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6.xml" ContentType="application/vnd.openxmlformats-officedocument.drawingml.chart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3.xml" ContentType="application/vnd.openxmlformats-officedocument.presentationml.notesSl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2"/>
    <p:sldMasterId id="2147483708" r:id="rId3"/>
    <p:sldMasterId id="2147483731" r:id="rId4"/>
  </p:sldMasterIdLst>
  <p:notesMasterIdLst>
    <p:notesMasterId r:id="rId48"/>
  </p:notesMasterIdLst>
  <p:sldIdLst>
    <p:sldId id="256" r:id="rId5"/>
    <p:sldId id="303" r:id="rId6"/>
    <p:sldId id="258" r:id="rId7"/>
    <p:sldId id="1437" r:id="rId8"/>
    <p:sldId id="1439" r:id="rId9"/>
    <p:sldId id="1438" r:id="rId10"/>
    <p:sldId id="266" r:id="rId11"/>
    <p:sldId id="271" r:id="rId12"/>
    <p:sldId id="262" r:id="rId13"/>
    <p:sldId id="259" r:id="rId14"/>
    <p:sldId id="295" r:id="rId15"/>
    <p:sldId id="296" r:id="rId16"/>
    <p:sldId id="261" r:id="rId17"/>
    <p:sldId id="263" r:id="rId18"/>
    <p:sldId id="276" r:id="rId19"/>
    <p:sldId id="302" r:id="rId20"/>
    <p:sldId id="270" r:id="rId21"/>
    <p:sldId id="344" r:id="rId22"/>
    <p:sldId id="299" r:id="rId23"/>
    <p:sldId id="308" r:id="rId24"/>
    <p:sldId id="280" r:id="rId25"/>
    <p:sldId id="310" r:id="rId26"/>
    <p:sldId id="312" r:id="rId27"/>
    <p:sldId id="1443" r:id="rId28"/>
    <p:sldId id="1442" r:id="rId29"/>
    <p:sldId id="257" r:id="rId30"/>
    <p:sldId id="1408" r:id="rId31"/>
    <p:sldId id="289" r:id="rId32"/>
    <p:sldId id="314" r:id="rId33"/>
    <p:sldId id="293" r:id="rId34"/>
    <p:sldId id="297" r:id="rId35"/>
    <p:sldId id="1433" r:id="rId36"/>
    <p:sldId id="292" r:id="rId37"/>
    <p:sldId id="301" r:id="rId38"/>
    <p:sldId id="291" r:id="rId39"/>
    <p:sldId id="268" r:id="rId40"/>
    <p:sldId id="1440" r:id="rId41"/>
    <p:sldId id="1441" r:id="rId42"/>
    <p:sldId id="265" r:id="rId43"/>
    <p:sldId id="279" r:id="rId44"/>
    <p:sldId id="273" r:id="rId45"/>
    <p:sldId id="300" r:id="rId46"/>
    <p:sldId id="1444" r:id="rId47"/>
  </p:sldIdLst>
  <p:sldSz cx="12192000" cy="6858000"/>
  <p:notesSz cx="6858000" cy="9144000"/>
  <p:embeddedFontLst>
    <p:embeddedFont>
      <p:font typeface="思源黑体" panose="020B0400000000000000" pitchFamily="34" charset="-122"/>
      <p:regular r:id="rId49"/>
    </p:embeddedFont>
    <p:embeddedFont>
      <p:font typeface="思源黑体 CN Normal" panose="020B0400000000000000" pitchFamily="34" charset="-122"/>
      <p:regular r:id="rId50"/>
    </p:embeddedFont>
    <p:embeddedFont>
      <p:font typeface="Advent Pro" panose="02010600030101010101" charset="0"/>
      <p:regular r:id="rId51"/>
      <p:bold r:id="rId52"/>
    </p:embeddedFont>
    <p:embeddedFont>
      <p:font typeface="Calibri" panose="020F0502020204030204" pitchFamily="34" charset="0"/>
      <p:regular r:id="rId53"/>
      <p:bold r:id="rId54"/>
      <p:italic r:id="rId55"/>
      <p:boldItalic r:id="rId56"/>
    </p:embeddedFont>
    <p:embeddedFont>
      <p:font typeface="Chaparral Pro Light" panose="02060403030505090203" charset="0"/>
      <p:italic r:id="rId57"/>
    </p:embeddedFont>
    <p:embeddedFont>
      <p:font typeface="Gill Sans" panose="02010600030101010101" charset="0"/>
      <p:regular r:id="rId58"/>
      <p:bold r:id="rId59"/>
    </p:embeddedFont>
    <p:embeddedFont>
      <p:font typeface="Helvetica" panose="020B0604020202020204" pitchFamily="34" charset="0"/>
      <p:regular r:id="rId60"/>
      <p:bold r:id="rId61"/>
      <p:italic r:id="rId62"/>
      <p:boldItalic r:id="rId63"/>
    </p:embeddedFont>
    <p:embeddedFont>
      <p:font typeface="Miriam" panose="020B0502050101010101" pitchFamily="34" charset="-79"/>
      <p:regular r:id="rId64"/>
    </p:embeddedFont>
    <p:embeddedFont>
      <p:font typeface="Montserrat" panose="00000500000000000000" pitchFamily="2" charset="0"/>
      <p:regular r:id="rId65"/>
      <p:bold r:id="rId66"/>
      <p:italic r:id="rId67"/>
      <p:boldItalic r:id="rId68"/>
    </p:embeddedFont>
    <p:embeddedFont>
      <p:font typeface="Open Sans" panose="020B0606030504020204" pitchFamily="34" charset="0"/>
      <p:regular r:id="rId69"/>
      <p:bold r:id="rId70"/>
      <p:italic r:id="rId71"/>
      <p:boldItalic r:id="rId72"/>
    </p:embeddedFont>
    <p:embeddedFont>
      <p:font typeface="Open Sans BOLD" panose="020B0806030504020204" charset="0"/>
      <p:bold r:id="rId73"/>
    </p:embeddedFont>
    <p:embeddedFont>
      <p:font typeface="Open Sans Light" panose="020B0306030504020204" pitchFamily="34" charset="0"/>
      <p:regular r:id="rId74"/>
      <p:italic r:id="rId75"/>
    </p:embeddedFont>
    <p:embeddedFont>
      <p:font typeface="Open Sans Semibold" panose="020B0706030804020204" pitchFamily="34" charset="0"/>
      <p:bold r:id="rId76"/>
      <p:boldItalic r:id="rId77"/>
    </p:embeddedFont>
    <p:embeddedFont>
      <p:font typeface="Open Sans Semibold" panose="020B0706030804020204" pitchFamily="34" charset="0"/>
      <p:bold r:id="rId76"/>
      <p:boldItalic r:id="rId77"/>
    </p:embeddedFont>
    <p:embeddedFont>
      <p:font typeface="Poppins SemiBold" panose="00000700000000000000" pitchFamily="2" charset="0"/>
      <p:bold r:id="rId78"/>
      <p:boldItalic r:id="rId79"/>
    </p:embeddedFont>
    <p:embeddedFont>
      <p:font typeface="Roboto" panose="02000000000000000000" pitchFamily="2" charset="0"/>
      <p:regular r:id="rId80"/>
      <p:bold r:id="rId81"/>
      <p:italic r:id="rId82"/>
      <p:boldItalic r:id="rId83"/>
    </p:embeddedFont>
    <p:embeddedFont>
      <p:font typeface="等线" panose="02010600030101010101" pitchFamily="2" charset="-122"/>
      <p:regular r:id="rId84"/>
      <p:bold r:id="rId85"/>
    </p:embeddedFont>
    <p:embeddedFont>
      <p:font typeface="华文细黑" panose="02010600040101010101" pitchFamily="2" charset="-122"/>
      <p:regular r:id="rId86"/>
    </p:embeddedFont>
    <p:embeddedFont>
      <p:font typeface="微软雅黑" panose="020B0503020204020204" pitchFamily="34" charset="-122"/>
      <p:regular r:id="rId87"/>
      <p:bold r:id="rId88"/>
    </p:embeddedFont>
    <p:embeddedFont>
      <p:font typeface="微软雅黑 Light" panose="020B0502040204020203" pitchFamily="34" charset="-122"/>
      <p:regular r:id="rId89"/>
    </p:embeddedFont>
  </p:embeddedFont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1B127D24-9F60-4BE2-A492-2C1F05A5C373}">
          <p14:sldIdLst>
            <p14:sldId id="256"/>
            <p14:sldId id="303"/>
            <p14:sldId id="258"/>
            <p14:sldId id="1437"/>
            <p14:sldId id="1439"/>
            <p14:sldId id="1438"/>
            <p14:sldId id="266"/>
            <p14:sldId id="271"/>
            <p14:sldId id="262"/>
            <p14:sldId id="259"/>
            <p14:sldId id="295"/>
            <p14:sldId id="296"/>
            <p14:sldId id="261"/>
            <p14:sldId id="263"/>
            <p14:sldId id="276"/>
            <p14:sldId id="302"/>
            <p14:sldId id="270"/>
            <p14:sldId id="344"/>
            <p14:sldId id="299"/>
            <p14:sldId id="308"/>
            <p14:sldId id="280"/>
            <p14:sldId id="310"/>
            <p14:sldId id="312"/>
            <p14:sldId id="1443"/>
            <p14:sldId id="1442"/>
            <p14:sldId id="257"/>
            <p14:sldId id="1408"/>
            <p14:sldId id="289"/>
            <p14:sldId id="314"/>
            <p14:sldId id="293"/>
            <p14:sldId id="297"/>
            <p14:sldId id="1433"/>
            <p14:sldId id="292"/>
            <p14:sldId id="301"/>
            <p14:sldId id="291"/>
            <p14:sldId id="268"/>
            <p14:sldId id="1440"/>
            <p14:sldId id="1441"/>
            <p14:sldId id="265"/>
            <p14:sldId id="279"/>
            <p14:sldId id="273"/>
            <p14:sldId id="300"/>
            <p14:sldId id="144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i jialuo" initials="hj" lastIdx="1" clrIdx="0">
    <p:extLst>
      <p:ext uri="{19B8F6BF-5375-455C-9EA6-DF929625EA0E}">
        <p15:presenceInfo xmlns:p15="http://schemas.microsoft.com/office/powerpoint/2012/main" userId="3cabefa00445702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2929"/>
    <a:srgbClr val="02010B"/>
    <a:srgbClr val="6F60F2"/>
    <a:srgbClr val="FADE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9CC2BDD-E2EF-4214-94C2-0BA52BAE01C7}" v="12" dt="2023-05-19T02:43:02.01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2108" autoAdjust="0"/>
  </p:normalViewPr>
  <p:slideViewPr>
    <p:cSldViewPr snapToGrid="0" showGuides="1">
      <p:cViewPr varScale="1">
        <p:scale>
          <a:sx n="86" d="100"/>
          <a:sy n="86" d="100"/>
        </p:scale>
        <p:origin x="40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950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font" Target="fonts/font15.fntdata"/><Relationship Id="rId68" Type="http://schemas.openxmlformats.org/officeDocument/2006/relationships/font" Target="fonts/font20.fntdata"/><Relationship Id="rId84" Type="http://schemas.openxmlformats.org/officeDocument/2006/relationships/font" Target="fonts/font36.fntdata"/><Relationship Id="rId89" Type="http://schemas.openxmlformats.org/officeDocument/2006/relationships/font" Target="fonts/font41.fntdata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font" Target="fonts/font5.fntdata"/><Relationship Id="rId58" Type="http://schemas.openxmlformats.org/officeDocument/2006/relationships/font" Target="fonts/font10.fntdata"/><Relationship Id="rId74" Type="http://schemas.openxmlformats.org/officeDocument/2006/relationships/font" Target="fonts/font26.fntdata"/><Relationship Id="rId79" Type="http://schemas.openxmlformats.org/officeDocument/2006/relationships/font" Target="fonts/font31.fntdata"/><Relationship Id="rId5" Type="http://schemas.openxmlformats.org/officeDocument/2006/relationships/slide" Target="slides/slide1.xml"/><Relationship Id="rId90" Type="http://schemas.openxmlformats.org/officeDocument/2006/relationships/commentAuthors" Target="commentAuthors.xml"/><Relationship Id="rId95" Type="http://schemas.microsoft.com/office/2015/10/relationships/revisionInfo" Target="revisionInfo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64" Type="http://schemas.openxmlformats.org/officeDocument/2006/relationships/font" Target="fonts/font16.fntdata"/><Relationship Id="rId69" Type="http://schemas.openxmlformats.org/officeDocument/2006/relationships/font" Target="fonts/font21.fntdata"/><Relationship Id="rId8" Type="http://schemas.openxmlformats.org/officeDocument/2006/relationships/slide" Target="slides/slide4.xml"/><Relationship Id="rId51" Type="http://schemas.openxmlformats.org/officeDocument/2006/relationships/font" Target="fonts/font3.fntdata"/><Relationship Id="rId72" Type="http://schemas.openxmlformats.org/officeDocument/2006/relationships/font" Target="fonts/font24.fntdata"/><Relationship Id="rId80" Type="http://schemas.openxmlformats.org/officeDocument/2006/relationships/font" Target="fonts/font32.fntdata"/><Relationship Id="rId85" Type="http://schemas.openxmlformats.org/officeDocument/2006/relationships/font" Target="fonts/font37.fntdata"/><Relationship Id="rId93" Type="http://schemas.openxmlformats.org/officeDocument/2006/relationships/theme" Target="theme/theme1.xml"/><Relationship Id="rId3" Type="http://schemas.openxmlformats.org/officeDocument/2006/relationships/slideMaster" Target="slideMasters/slideMaster2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font" Target="fonts/font11.fntdata"/><Relationship Id="rId67" Type="http://schemas.openxmlformats.org/officeDocument/2006/relationships/font" Target="fonts/font19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font" Target="fonts/font6.fntdata"/><Relationship Id="rId62" Type="http://schemas.openxmlformats.org/officeDocument/2006/relationships/font" Target="fonts/font14.fntdata"/><Relationship Id="rId70" Type="http://schemas.openxmlformats.org/officeDocument/2006/relationships/font" Target="fonts/font22.fntdata"/><Relationship Id="rId75" Type="http://schemas.openxmlformats.org/officeDocument/2006/relationships/font" Target="fonts/font27.fntdata"/><Relationship Id="rId83" Type="http://schemas.openxmlformats.org/officeDocument/2006/relationships/font" Target="fonts/font35.fntdata"/><Relationship Id="rId88" Type="http://schemas.openxmlformats.org/officeDocument/2006/relationships/font" Target="fonts/font40.fntdata"/><Relationship Id="rId9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font" Target="fonts/font1.fntdata"/><Relationship Id="rId57" Type="http://schemas.openxmlformats.org/officeDocument/2006/relationships/font" Target="fonts/font9.fntdata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font" Target="fonts/font4.fntdata"/><Relationship Id="rId60" Type="http://schemas.openxmlformats.org/officeDocument/2006/relationships/font" Target="fonts/font12.fntdata"/><Relationship Id="rId65" Type="http://schemas.openxmlformats.org/officeDocument/2006/relationships/font" Target="fonts/font17.fntdata"/><Relationship Id="rId73" Type="http://schemas.openxmlformats.org/officeDocument/2006/relationships/font" Target="fonts/font25.fntdata"/><Relationship Id="rId78" Type="http://schemas.openxmlformats.org/officeDocument/2006/relationships/font" Target="fonts/font30.fntdata"/><Relationship Id="rId81" Type="http://schemas.openxmlformats.org/officeDocument/2006/relationships/font" Target="fonts/font33.fntdata"/><Relationship Id="rId86" Type="http://schemas.openxmlformats.org/officeDocument/2006/relationships/font" Target="fonts/font38.fntdata"/><Relationship Id="rId94" Type="http://schemas.openxmlformats.org/officeDocument/2006/relationships/tableStyles" Target="tableStyles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font" Target="fonts/font2.fntdata"/><Relationship Id="rId55" Type="http://schemas.openxmlformats.org/officeDocument/2006/relationships/font" Target="fonts/font7.fntdata"/><Relationship Id="rId76" Type="http://schemas.openxmlformats.org/officeDocument/2006/relationships/font" Target="fonts/font28.fntdata"/><Relationship Id="rId7" Type="http://schemas.openxmlformats.org/officeDocument/2006/relationships/slide" Target="slides/slide3.xml"/><Relationship Id="rId71" Type="http://schemas.openxmlformats.org/officeDocument/2006/relationships/font" Target="fonts/font23.fntdata"/><Relationship Id="rId92" Type="http://schemas.openxmlformats.org/officeDocument/2006/relationships/viewProps" Target="viewProps.xml"/><Relationship Id="rId2" Type="http://schemas.openxmlformats.org/officeDocument/2006/relationships/slideMaster" Target="slideMasters/slideMaster1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font" Target="fonts/font18.fntdata"/><Relationship Id="rId87" Type="http://schemas.openxmlformats.org/officeDocument/2006/relationships/font" Target="fonts/font39.fntdata"/><Relationship Id="rId61" Type="http://schemas.openxmlformats.org/officeDocument/2006/relationships/font" Target="fonts/font13.fntdata"/><Relationship Id="rId82" Type="http://schemas.openxmlformats.org/officeDocument/2006/relationships/font" Target="fonts/font34.fntdata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font" Target="fonts/font8.fntdata"/><Relationship Id="rId77" Type="http://schemas.openxmlformats.org/officeDocument/2006/relationships/font" Target="fonts/font29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2700">
                <a:noFill/>
              </a:ln>
              <a:effectLst/>
            </c:spPr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s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.5</c:v>
                </c:pt>
                <c:pt idx="5">
                  <c:v>6.2</c:v>
                </c:pt>
                <c:pt idx="6">
                  <c:v>1.2</c:v>
                </c:pt>
                <c:pt idx="7">
                  <c:v>5.2</c:v>
                </c:pt>
                <c:pt idx="8">
                  <c:v>3.2</c:v>
                </c:pt>
                <c:pt idx="9">
                  <c:v>4.3</c:v>
                </c:pt>
                <c:pt idx="10">
                  <c:v>3.5</c:v>
                </c:pt>
                <c:pt idx="11">
                  <c:v>1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5D-4251-96A5-0C5F177037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2700">
                <a:noFill/>
              </a:ln>
              <a:effectLst/>
            </c:spPr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s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3.2</c:v>
                </c:pt>
                <c:pt idx="5">
                  <c:v>4.2</c:v>
                </c:pt>
                <c:pt idx="6">
                  <c:v>3.2</c:v>
                </c:pt>
                <c:pt idx="7">
                  <c:v>3.6</c:v>
                </c:pt>
                <c:pt idx="8">
                  <c:v>2.2999999999999998</c:v>
                </c:pt>
                <c:pt idx="9">
                  <c:v>4.2</c:v>
                </c:pt>
                <c:pt idx="10">
                  <c:v>2.2999999999999998</c:v>
                </c:pt>
                <c:pt idx="11">
                  <c:v>5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5D-4251-96A5-0C5F177037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0618928"/>
        <c:axId val="400619320"/>
      </c:lineChart>
      <c:catAx>
        <c:axId val="400618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/>
                </a:solidFill>
                <a:latin typeface="Montserrat" panose="020B0604020202020204" charset="0"/>
                <a:ea typeface="+mn-ea"/>
                <a:cs typeface="+mn-cs"/>
              </a:defRPr>
            </a:pPr>
            <a:endParaRPr lang="zh-CN"/>
          </a:p>
        </c:txPr>
        <c:crossAx val="400619320"/>
        <c:crosses val="autoZero"/>
        <c:auto val="1"/>
        <c:lblAlgn val="ctr"/>
        <c:lblOffset val="100"/>
        <c:noMultiLvlLbl val="0"/>
      </c:catAx>
      <c:valAx>
        <c:axId val="40061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alpha val="1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bg1"/>
                </a:solidFill>
                <a:latin typeface="Montserrat" panose="020B0604020202020204" charset="0"/>
                <a:ea typeface="+mn-ea"/>
                <a:cs typeface="+mn-cs"/>
              </a:defRPr>
            </a:pPr>
            <a:endParaRPr lang="zh-CN"/>
          </a:p>
        </c:txPr>
        <c:crossAx val="400618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28575">
                <a:solidFill>
                  <a:schemeClr val="accent6"/>
                </a:solidFill>
              </a:ln>
              <a:effectLst/>
            </c:spPr>
          </c:marker>
          <c:xVal>
            <c:numRef>
              <c:f>Sheet1!$A$2:$A$10</c:f>
              <c:numCache>
                <c:formatCode>General</c:formatCode>
                <c:ptCount val="9"/>
                <c:pt idx="0">
                  <c:v>0.1</c:v>
                </c:pt>
                <c:pt idx="1">
                  <c:v>1.2</c:v>
                </c:pt>
                <c:pt idx="2">
                  <c:v>1.8</c:v>
                </c:pt>
                <c:pt idx="3">
                  <c:v>3</c:v>
                </c:pt>
                <c:pt idx="4">
                  <c:v>3.5</c:v>
                </c:pt>
                <c:pt idx="5">
                  <c:v>4</c:v>
                </c:pt>
                <c:pt idx="6">
                  <c:v>4.2</c:v>
                </c:pt>
                <c:pt idx="7">
                  <c:v>4.5</c:v>
                </c:pt>
                <c:pt idx="8">
                  <c:v>5</c:v>
                </c:pt>
              </c:numCache>
            </c:numRef>
          </c:xVal>
          <c:yVal>
            <c:numRef>
              <c:f>Sheet1!$B$2:$B$10</c:f>
              <c:numCache>
                <c:formatCode>General</c:formatCode>
                <c:ptCount val="9"/>
                <c:pt idx="0">
                  <c:v>1</c:v>
                </c:pt>
                <c:pt idx="1">
                  <c:v>2.2000000000000002</c:v>
                </c:pt>
                <c:pt idx="2">
                  <c:v>0.8</c:v>
                </c:pt>
                <c:pt idx="3">
                  <c:v>1.5</c:v>
                </c:pt>
                <c:pt idx="4">
                  <c:v>1.2</c:v>
                </c:pt>
                <c:pt idx="5">
                  <c:v>0.5</c:v>
                </c:pt>
                <c:pt idx="6">
                  <c:v>1.5</c:v>
                </c:pt>
                <c:pt idx="7">
                  <c:v>1</c:v>
                </c:pt>
                <c:pt idx="8">
                  <c:v>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A40D-411F-AF36-CD52C4F263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48287952"/>
        <c:axId val="1248264432"/>
      </c:scatterChart>
      <c:valAx>
        <c:axId val="124828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zh-CN"/>
          </a:p>
        </c:txPr>
        <c:crossAx val="1248264432"/>
        <c:crosses val="autoZero"/>
        <c:crossBetween val="midCat"/>
      </c:valAx>
      <c:valAx>
        <c:axId val="12482644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zh-CN"/>
          </a:p>
        </c:txPr>
        <c:crossAx val="124828795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tx2">
                  <a:alpha val="10000"/>
                </a:schemeClr>
              </a:solidFill>
            </a:ln>
          </c:spPr>
          <c:dPt>
            <c:idx val="0"/>
            <c:bubble3D val="0"/>
            <c:spPr>
              <a:solidFill>
                <a:schemeClr val="tx2">
                  <a:alpha val="20000"/>
                </a:schemeClr>
              </a:solidFill>
              <a:ln w="19050">
                <a:solidFill>
                  <a:schemeClr val="tx2">
                    <a:alpha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2921-445A-A9D9-062B1FA15AF1}"/>
              </c:ext>
            </c:extLst>
          </c:dPt>
          <c:dPt>
            <c:idx val="1"/>
            <c:bubble3D val="0"/>
            <c:spPr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ln w="19050">
                <a:solidFill>
                  <a:schemeClr val="tx2">
                    <a:alpha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921-445A-A9D9-062B1FA15AF1}"/>
              </c:ext>
            </c:extLst>
          </c:dPt>
          <c:dPt>
            <c:idx val="2"/>
            <c:bubble3D val="0"/>
            <c:spPr>
              <a:gradFill>
                <a:gsLst>
                  <a:gs pos="0">
                    <a:schemeClr val="accent3"/>
                  </a:gs>
                  <a:gs pos="100000">
                    <a:schemeClr val="accent4"/>
                  </a:gs>
                </a:gsLst>
                <a:lin ang="5400000" scaled="1"/>
              </a:gradFill>
              <a:ln w="19050">
                <a:solidFill>
                  <a:schemeClr val="tx2">
                    <a:alpha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921-445A-A9D9-062B1FA15AF1}"/>
              </c:ext>
            </c:extLst>
          </c:dPt>
          <c:dPt>
            <c:idx val="3"/>
            <c:bubble3D val="0"/>
            <c:spPr>
              <a:gradFill>
                <a:gsLst>
                  <a:gs pos="0">
                    <a:schemeClr val="accent5"/>
                  </a:gs>
                  <a:gs pos="100000">
                    <a:schemeClr val="accent6"/>
                  </a:gs>
                </a:gsLst>
                <a:lin ang="5400000" scaled="1"/>
              </a:gradFill>
              <a:ln w="19050">
                <a:solidFill>
                  <a:schemeClr val="tx2">
                    <a:alpha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921-445A-A9D9-062B1FA15AF1}"/>
              </c:ext>
            </c:extLst>
          </c:dPt>
          <c:cat>
            <c:strRef>
              <c:f>Sheet1!$A$2:$A$5</c:f>
              <c:strCache>
                <c:ptCount val="4"/>
                <c:pt idx="0">
                  <c:v>Searsh Engenes</c:v>
                </c:pt>
                <c:pt idx="1">
                  <c:v>Social Media</c:v>
                </c:pt>
                <c:pt idx="2">
                  <c:v>Direct</c:v>
                </c:pt>
                <c:pt idx="3">
                  <c:v>Octhe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12</c:v>
                </c:pt>
                <c:pt idx="1">
                  <c:v>0.55000000000000004</c:v>
                </c:pt>
                <c:pt idx="2">
                  <c:v>0.45</c:v>
                </c:pt>
                <c:pt idx="3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21-445A-A9D9-062B1FA15A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8533813243041497"/>
          <c:y val="0.21594357755072799"/>
          <c:w val="0.31466186756958497"/>
          <c:h val="0.554562559046779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bg1"/>
              </a:solidFill>
              <a:latin typeface="Montserrat" panose="020B0604020202020204" charset="0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  <c:pt idx="7">
                  <c:v>Category 8</c:v>
                </c:pt>
                <c:pt idx="8">
                  <c:v>Category 9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.2</c:v>
                </c:pt>
                <c:pt idx="5">
                  <c:v>1.2</c:v>
                </c:pt>
                <c:pt idx="6">
                  <c:v>3.6</c:v>
                </c:pt>
                <c:pt idx="7">
                  <c:v>2.2999999999999998</c:v>
                </c:pt>
                <c:pt idx="8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21-4BF2-B51B-5014E77214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0620496"/>
        <c:axId val="400620888"/>
      </c:barChart>
      <c:catAx>
        <c:axId val="4006204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0620888"/>
        <c:crosses val="autoZero"/>
        <c:auto val="1"/>
        <c:lblAlgn val="ctr"/>
        <c:lblOffset val="100"/>
        <c:noMultiLvlLbl val="0"/>
      </c:catAx>
      <c:valAx>
        <c:axId val="40062088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2">
                  <a:alpha val="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00620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flip="none" rotWithShape="1"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  <c:pt idx="7">
                  <c:v>Category 8</c:v>
                </c:pt>
                <c:pt idx="8">
                  <c:v>Category 9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.2</c:v>
                </c:pt>
                <c:pt idx="5">
                  <c:v>1.2</c:v>
                </c:pt>
                <c:pt idx="6">
                  <c:v>3.6</c:v>
                </c:pt>
                <c:pt idx="7">
                  <c:v>2.2999999999999998</c:v>
                </c:pt>
                <c:pt idx="8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21-4BF2-B51B-5014E77214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0621672"/>
        <c:axId val="400622064"/>
      </c:barChart>
      <c:catAx>
        <c:axId val="4006216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0622064"/>
        <c:crosses val="autoZero"/>
        <c:auto val="1"/>
        <c:lblAlgn val="ctr"/>
        <c:lblOffset val="100"/>
        <c:noMultiLvlLbl val="0"/>
      </c:catAx>
      <c:valAx>
        <c:axId val="40062206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2">
                  <a:alpha val="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00621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flip="none" rotWithShape="1">
              <a:gsLst>
                <a:gs pos="0">
                  <a:schemeClr val="accent5"/>
                </a:gs>
                <a:gs pos="100000">
                  <a:schemeClr val="accent6"/>
                </a:gs>
              </a:gsLst>
              <a:lin ang="54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  <c:pt idx="7">
                  <c:v>Category 8</c:v>
                </c:pt>
                <c:pt idx="8">
                  <c:v>Category 9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.2</c:v>
                </c:pt>
                <c:pt idx="5">
                  <c:v>1.2</c:v>
                </c:pt>
                <c:pt idx="6">
                  <c:v>3.6</c:v>
                </c:pt>
                <c:pt idx="7">
                  <c:v>2.2999999999999998</c:v>
                </c:pt>
                <c:pt idx="8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21-4BF2-B51B-5014E77214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0841096"/>
        <c:axId val="400841488"/>
      </c:barChart>
      <c:catAx>
        <c:axId val="4008410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0841488"/>
        <c:crosses val="autoZero"/>
        <c:auto val="1"/>
        <c:lblAlgn val="ctr"/>
        <c:lblOffset val="100"/>
        <c:noMultiLvlLbl val="0"/>
      </c:catAx>
      <c:valAx>
        <c:axId val="40084148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2">
                  <a:alpha val="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00841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>
              <a:solidFill>
                <a:schemeClr val="accent4"/>
              </a:solidFill>
            </a:ln>
          </c:spPr>
          <c:marker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</c:spPr>
          </c:marker>
          <c:cat>
            <c:strRef>
              <c:f>Sheet1!$A$2:$A$13</c:f>
              <c:strCache>
                <c:ptCount val="7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7"/>
                <c:pt idx="0">
                  <c:v>2</c:v>
                </c:pt>
                <c:pt idx="1">
                  <c:v>1.3</c:v>
                </c:pt>
                <c:pt idx="2">
                  <c:v>2.5</c:v>
                </c:pt>
                <c:pt idx="3">
                  <c:v>2.2000000000000002</c:v>
                </c:pt>
                <c:pt idx="4">
                  <c:v>4</c:v>
                </c:pt>
                <c:pt idx="5">
                  <c:v>4.3</c:v>
                </c:pt>
                <c:pt idx="6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C3E-4E29-B045-1A3DAC819E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73006472"/>
        <c:axId val="773006864"/>
      </c:lineChart>
      <c:catAx>
        <c:axId val="7730064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50000"/>
                <a:alpha val="20000"/>
              </a:schemeClr>
            </a:solidFill>
          </a:ln>
        </c:spPr>
        <c:crossAx val="773006864"/>
        <c:crosses val="autoZero"/>
        <c:auto val="1"/>
        <c:lblAlgn val="ctr"/>
        <c:lblOffset val="100"/>
        <c:noMultiLvlLbl val="0"/>
      </c:catAx>
      <c:valAx>
        <c:axId val="773006864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ln>
            <a:solidFill>
              <a:schemeClr val="bg1">
                <a:lumMod val="50000"/>
                <a:alpha val="20000"/>
              </a:schemeClr>
            </a:solidFill>
          </a:ln>
        </c:spPr>
        <c:crossAx val="7730064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50">
          <a:solidFill>
            <a:schemeClr val="tx1"/>
          </a:solidFill>
        </a:defRPr>
      </a:pPr>
      <a:endParaRPr lang="zh-CN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BD0-40AB-8ABB-9EED00412CBF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BD0-40AB-8ABB-9EED00412CBF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BD0-40AB-8ABB-9EED00412CBF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BD0-40AB-8ABB-9EED00412CBF}"/>
              </c:ext>
            </c:extLst>
          </c:dPt>
          <c:cat>
            <c:strRef>
              <c:f>Sheet1!$A$2:$A$5</c:f>
              <c:strCache>
                <c:ptCount val="4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</c:v>
                </c:pt>
                <c:pt idx="1">
                  <c:v>30</c:v>
                </c:pt>
                <c:pt idx="2">
                  <c:v>40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BD0-40AB-8ABB-9EED00412C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596480528152016"/>
          <c:w val="1"/>
          <c:h val="0.17670808867200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4D7-454D-A740-B3EA45E5C18E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4D7-454D-A740-B3EA45E5C18E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4D7-454D-A740-B3EA45E5C18E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4D7-454D-A740-B3EA45E5C18E}"/>
              </c:ext>
            </c:extLst>
          </c:dPt>
          <c:cat>
            <c:strRef>
              <c:f>Sheet1!$A$2:$A$5</c:f>
              <c:strCache>
                <c:ptCount val="4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</c:v>
                </c:pt>
                <c:pt idx="1">
                  <c:v>30</c:v>
                </c:pt>
                <c:pt idx="2">
                  <c:v>40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4D7-454D-A740-B3EA45E5C1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2208302862654059"/>
          <c:w val="1"/>
          <c:h val="0.17670808867200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gradFill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/>
                </a:gs>
              </a:gsLst>
              <a:lin ang="5400000" scaled="1"/>
            </a:gradFill>
            <a:ln>
              <a:noFill/>
            </a:ln>
            <a:effectLst/>
          </c:spPr>
          <c:cat>
            <c:strRef>
              <c:f>Sheet1!$A$2:$A$7</c:f>
              <c:strCache>
                <c:ptCount val="6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  <c:pt idx="4">
                  <c:v>Data 5</c:v>
                </c:pt>
                <c:pt idx="5">
                  <c:v>Data 6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3</c:v>
                </c:pt>
                <c:pt idx="1">
                  <c:v>5</c:v>
                </c:pt>
                <c:pt idx="2">
                  <c:v>4</c:v>
                </c:pt>
                <c:pt idx="3">
                  <c:v>2.8</c:v>
                </c:pt>
                <c:pt idx="4">
                  <c:v>5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25-4AA1-A803-6033001EFABE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>
              <a:noFill/>
            </a:ln>
            <a:effectLst/>
          </c:spPr>
          <c:cat>
            <c:strRef>
              <c:f>Sheet1!$A$2:$A$7</c:f>
              <c:strCache>
                <c:ptCount val="6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  <c:pt idx="4">
                  <c:v>Data 5</c:v>
                </c:pt>
                <c:pt idx="5">
                  <c:v>Data 6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4</c:v>
                </c:pt>
                <c:pt idx="1">
                  <c:v>3</c:v>
                </c:pt>
                <c:pt idx="2">
                  <c:v>3</c:v>
                </c:pt>
                <c:pt idx="3">
                  <c:v>4</c:v>
                </c:pt>
                <c:pt idx="4">
                  <c:v>2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25-4AA1-A803-6033001EF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051168"/>
        <c:axId val="757740192"/>
      </c:areaChart>
      <c:catAx>
        <c:axId val="574051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57740192"/>
        <c:crosses val="autoZero"/>
        <c:auto val="1"/>
        <c:lblAlgn val="ctr"/>
        <c:lblOffset val="100"/>
        <c:noMultiLvlLbl val="0"/>
      </c:catAx>
      <c:valAx>
        <c:axId val="75774019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5116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bg1">
              <a:lumMod val="65000"/>
            </a:schemeClr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2B04C7-8D3E-4120-9D17-F09B28397A6D}" type="datetimeFigureOut">
              <a:rPr lang="zh-CN" altLang="en-US" smtClean="0"/>
              <a:t>2023/5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E0C3C8-9B9C-410B-B0E8-E041009C6F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7323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https://www.pptstore.net/author/Company/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0C3C8-9B9C-410B-B0E8-E041009C6FBB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81794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ttps://www.pexels.com/photo/buildings-businessman-city-cityscape-561458/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5DF79-95D4-4978-AFF4-30F04000B2DC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57531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ttps://www.pexels.com/photo/photo-of-woman-in-denim-jacket-2584269/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ACD5B-14B1-DA42-BEC9-430116664396}" type="slidenum">
              <a:rPr lang="vi-VN"/>
              <a:t>15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4922969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https://www.pexels.com/photo/back-view-of-a-woman-in-brown-dress-3866555/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5DF79-95D4-4978-AFF4-30F04000B2DC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65160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ttps://www.pexels.com/photo/fingers-touching-2172156/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5DF79-95D4-4978-AFF4-30F04000B2DC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805627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https://www.pexels.com/photo/woman-in-blue-denim-button-down-jacket-and-black-pants-1124092/</a:t>
            </a:r>
          </a:p>
          <a:p>
            <a:r>
              <a:rPr lang="en-US" altLang="zh-CN" dirty="0"/>
              <a:t>https://www.pexels.com/photo/woman-wearing-orange-sleeveless-dress-921152/</a:t>
            </a:r>
          </a:p>
          <a:p>
            <a:r>
              <a:rPr lang="en-US" altLang="zh-CN" dirty="0"/>
              <a:t>https://www.pexels.com/photo/shallow-focus-photography-of-woman-in-black-shirt-1006227/</a:t>
            </a:r>
          </a:p>
          <a:p>
            <a:r>
              <a:rPr lang="en-US" altLang="zh-CN" dirty="0"/>
              <a:t>https://www.pexels.com/photo/man-smoking-cigarette-stick-1011529/</a:t>
            </a:r>
          </a:p>
          <a:p>
            <a:r>
              <a:rPr lang="en-US" altLang="zh-CN" dirty="0"/>
              <a:t>https://www.pexels.com/photo/adult-blur-boy-daylight-428361/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C3AF4-76FF-4F41-BE8B-EB3EF02293A0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16293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ttps://www.pexels.com/photo/selective-focus-photography-of-woman-holding-disposable-cup-using-gray-laptop-on-table-1250014/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5DF79-95D4-4978-AFF4-30F04000B2DC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1880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https://www.pexels.com/photo/close-up-photo-of-wom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ttps://www.pexels.com/photo/architecture-buildings-business-city-325185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ttps://www.pexels.com/photo/the-beverly-hills-building-2670273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ttps://www.pexels.com/photo/modern-building-3034343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ttps://www.pexels.com/photo/lotus-temple-1098460/-holding-flower-1816606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ttps://unsplash.com/photos/OJ74pFtrYi0</a:t>
            </a:r>
            <a:endParaRPr lang="zh-CN" alt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5DF79-95D4-4978-AFF4-30F04000B2DC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59505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5DF79-95D4-4978-AFF4-30F04000B2DC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07698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24379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https://www.pexels.com/photo/bread-field-summer-agriculture-450796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03EB49-3A8A-4F9F-BEAC-C8A3DE58DCB1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5307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https://www.pexels.com/photo/architectural-design-black-and-white-buildings-city-443395/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C3AF4-76FF-4F41-BE8B-EB3EF02293A0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84815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5DF79-95D4-4978-AFF4-30F04000B2DC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38532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https://www.pexels.com/photo/space-shuttle-rocket-586031/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C3AF4-76FF-4F41-BE8B-EB3EF02293A0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175951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https://www.pexels.com/photo/woman-in-white-long-sleeved-dress-1030895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ttps://www.pexels.com/photo/adult-chill-computer-connection-450271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ttps://www.pexels.com/photo/photo-of-woman-holding-chin-954559/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C3AF4-76FF-4F41-BE8B-EB3EF02293A0}" type="slidenum">
              <a:rPr lang="zh-CN" altLang="en-US" smtClean="0"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619939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1B8E1C-0BEC-497B-9987-5C8A53428959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36287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1B8E1C-0BEC-497B-9987-5C8A53428959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351685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1B8E1C-0BEC-497B-9987-5C8A53428959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00581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1B8E1C-0BEC-497B-9987-5C8A53428959}" type="slidenum">
              <a:rPr lang="zh-CN" altLang="en-US" smtClean="0"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466123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1B8E1C-0BEC-497B-9987-5C8A53428959}" type="slidenum">
              <a:rPr lang="zh-CN" altLang="en-US" smtClean="0"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38819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B9727C-7F21-464B-832E-F0D09F1F5DF6}" type="slidenum">
              <a:rPr lang="zh-CN" altLang="en-US" smtClean="0"/>
              <a:t>3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899159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https://unsplash.com/photos/RRshxnCn8Lk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1B8E1C-0BEC-497B-9987-5C8A53428959}" type="slidenum">
              <a:rPr lang="zh-CN" altLang="en-US" smtClean="0"/>
              <a:t>3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458405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1B8E1C-0BEC-497B-9987-5C8A53428959}" type="slidenum">
              <a:rPr lang="zh-CN" altLang="en-US" smtClean="0"/>
              <a:t>4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966786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ttps://www.pexels.com/photo/high-rise-building-1662159/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5DF79-95D4-4978-AFF4-30F04000B2DC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937097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1B8E1C-0BEC-497B-9987-5C8A5342895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622855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1B8E1C-0BEC-497B-9987-5C8A53428959}" type="slidenum">
              <a:rPr lang="zh-CN" altLang="en-US" smtClean="0"/>
              <a:t>4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58554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https://www.pexels.com/photo/woman-in-blue-denim-button-down-jacket-and-black-pants-1124092/</a:t>
            </a:r>
          </a:p>
          <a:p>
            <a:r>
              <a:rPr lang="en-US" altLang="zh-CN" dirty="0"/>
              <a:t>https://www.pexels.com/photo/woman-wearing-orange-sleeveless-dress-921152/</a:t>
            </a:r>
          </a:p>
          <a:p>
            <a:r>
              <a:rPr lang="en-US" altLang="zh-CN" dirty="0"/>
              <a:t>https://www.pexels.com/photo/shallow-focus-photography-of-woman-in-black-shirt-1006227/</a:t>
            </a:r>
          </a:p>
          <a:p>
            <a:r>
              <a:rPr lang="en-US" altLang="zh-CN" dirty="0"/>
              <a:t>https://www.pexels.com/photo/man-smoking-cigarette-stick-1011529/</a:t>
            </a:r>
          </a:p>
          <a:p>
            <a:r>
              <a:rPr lang="en-US" altLang="zh-CN" dirty="0"/>
              <a:t>https://www.pexels.com/photo/adult-blur-boy-daylight-428361/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C3AF4-76FF-4F41-BE8B-EB3EF02293A0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16293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https://www.pexels.com/photo/low-angle-photo-of-flatiron-building-1123982/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5DF79-95D4-4978-AFF4-30F04000B2DC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949224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ACD5B-14B1-DA42-BEC9-430116664396}" type="slidenum">
              <a:t>7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40733083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5DF79-95D4-4978-AFF4-30F04000B2DC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68734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D0905A-D672-E04B-909F-16D2F6C2CC3D}" type="slidenum"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1486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ttps://www.pexels.com/photo/four-people-using-laptop-computers-and-smartphone-3277808/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5DF79-95D4-4978-AFF4-30F04000B2DC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064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7">
            <a:extLst>
              <a:ext uri="{FF2B5EF4-FFF2-40B4-BE49-F238E27FC236}">
                <a16:creationId xmlns:a16="http://schemas.microsoft.com/office/drawing/2014/main" id="{6AA77CAC-7414-4131-BA58-04E2D85E10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0668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34"/>
          <p:cNvSpPr>
            <a:spLocks noGrp="1"/>
          </p:cNvSpPr>
          <p:nvPr>
            <p:ph type="pic" sz="quarter" idx="10"/>
          </p:nvPr>
        </p:nvSpPr>
        <p:spPr>
          <a:xfrm>
            <a:off x="1987534" y="0"/>
            <a:ext cx="8216935" cy="6003944"/>
          </a:xfrm>
          <a:custGeom>
            <a:avLst/>
            <a:gdLst>
              <a:gd name="connsiteX0" fmla="*/ 4108468 w 8216935"/>
              <a:gd name="connsiteY0" fmla="*/ 4091148 h 6003944"/>
              <a:gd name="connsiteX1" fmla="*/ 5064866 w 8216935"/>
              <a:gd name="connsiteY1" fmla="*/ 5047546 h 6003944"/>
              <a:gd name="connsiteX2" fmla="*/ 4108468 w 8216935"/>
              <a:gd name="connsiteY2" fmla="*/ 6003944 h 6003944"/>
              <a:gd name="connsiteX3" fmla="*/ 3152070 w 8216935"/>
              <a:gd name="connsiteY3" fmla="*/ 5047546 h 6003944"/>
              <a:gd name="connsiteX4" fmla="*/ 5159158 w 8216935"/>
              <a:gd name="connsiteY4" fmla="*/ 3040458 h 6003944"/>
              <a:gd name="connsiteX5" fmla="*/ 6115556 w 8216935"/>
              <a:gd name="connsiteY5" fmla="*/ 3996856 h 6003944"/>
              <a:gd name="connsiteX6" fmla="*/ 5159158 w 8216935"/>
              <a:gd name="connsiteY6" fmla="*/ 4953253 h 6003944"/>
              <a:gd name="connsiteX7" fmla="*/ 4202760 w 8216935"/>
              <a:gd name="connsiteY7" fmla="*/ 3996855 h 6003944"/>
              <a:gd name="connsiteX8" fmla="*/ 3057778 w 8216935"/>
              <a:gd name="connsiteY8" fmla="*/ 3040458 h 6003944"/>
              <a:gd name="connsiteX9" fmla="*/ 4014176 w 8216935"/>
              <a:gd name="connsiteY9" fmla="*/ 3996856 h 6003944"/>
              <a:gd name="connsiteX10" fmla="*/ 3057778 w 8216935"/>
              <a:gd name="connsiteY10" fmla="*/ 4953254 h 6003944"/>
              <a:gd name="connsiteX11" fmla="*/ 2101381 w 8216935"/>
              <a:gd name="connsiteY11" fmla="*/ 3996856 h 6003944"/>
              <a:gd name="connsiteX12" fmla="*/ 6209848 w 8216935"/>
              <a:gd name="connsiteY12" fmla="*/ 1989768 h 6003944"/>
              <a:gd name="connsiteX13" fmla="*/ 7166245 w 8216935"/>
              <a:gd name="connsiteY13" fmla="*/ 2946165 h 6003944"/>
              <a:gd name="connsiteX14" fmla="*/ 6209848 w 8216935"/>
              <a:gd name="connsiteY14" fmla="*/ 3902562 h 6003944"/>
              <a:gd name="connsiteX15" fmla="*/ 5253450 w 8216935"/>
              <a:gd name="connsiteY15" fmla="*/ 2946165 h 6003944"/>
              <a:gd name="connsiteX16" fmla="*/ 4108468 w 8216935"/>
              <a:gd name="connsiteY16" fmla="*/ 1989768 h 6003944"/>
              <a:gd name="connsiteX17" fmla="*/ 5064866 w 8216935"/>
              <a:gd name="connsiteY17" fmla="*/ 2946166 h 6003944"/>
              <a:gd name="connsiteX18" fmla="*/ 4108468 w 8216935"/>
              <a:gd name="connsiteY18" fmla="*/ 3902562 h 6003944"/>
              <a:gd name="connsiteX19" fmla="*/ 3152070 w 8216935"/>
              <a:gd name="connsiteY19" fmla="*/ 2946165 h 6003944"/>
              <a:gd name="connsiteX20" fmla="*/ 2007088 w 8216935"/>
              <a:gd name="connsiteY20" fmla="*/ 1989768 h 6003944"/>
              <a:gd name="connsiteX21" fmla="*/ 2963485 w 8216935"/>
              <a:gd name="connsiteY21" fmla="*/ 2946165 h 6003944"/>
              <a:gd name="connsiteX22" fmla="*/ 2007088 w 8216935"/>
              <a:gd name="connsiteY22" fmla="*/ 3902562 h 6003944"/>
              <a:gd name="connsiteX23" fmla="*/ 1050691 w 8216935"/>
              <a:gd name="connsiteY23" fmla="*/ 2946165 h 6003944"/>
              <a:gd name="connsiteX24" fmla="*/ 5159158 w 8216935"/>
              <a:gd name="connsiteY24" fmla="*/ 939079 h 6003944"/>
              <a:gd name="connsiteX25" fmla="*/ 6115556 w 8216935"/>
              <a:gd name="connsiteY25" fmla="*/ 1895476 h 6003944"/>
              <a:gd name="connsiteX26" fmla="*/ 5159158 w 8216935"/>
              <a:gd name="connsiteY26" fmla="*/ 2851872 h 6003944"/>
              <a:gd name="connsiteX27" fmla="*/ 4202760 w 8216935"/>
              <a:gd name="connsiteY27" fmla="*/ 1895475 h 6003944"/>
              <a:gd name="connsiteX28" fmla="*/ 3057778 w 8216935"/>
              <a:gd name="connsiteY28" fmla="*/ 939079 h 6003944"/>
              <a:gd name="connsiteX29" fmla="*/ 4014176 w 8216935"/>
              <a:gd name="connsiteY29" fmla="*/ 1895476 h 6003944"/>
              <a:gd name="connsiteX30" fmla="*/ 3057778 w 8216935"/>
              <a:gd name="connsiteY30" fmla="*/ 2851872 h 6003944"/>
              <a:gd name="connsiteX31" fmla="*/ 2101381 w 8216935"/>
              <a:gd name="connsiteY31" fmla="*/ 1895476 h 6003944"/>
              <a:gd name="connsiteX32" fmla="*/ 956398 w 8216935"/>
              <a:gd name="connsiteY32" fmla="*/ 939078 h 6003944"/>
              <a:gd name="connsiteX33" fmla="*/ 1912795 w 8216935"/>
              <a:gd name="connsiteY33" fmla="*/ 1895475 h 6003944"/>
              <a:gd name="connsiteX34" fmla="*/ 956398 w 8216935"/>
              <a:gd name="connsiteY34" fmla="*/ 2851872 h 6003944"/>
              <a:gd name="connsiteX35" fmla="*/ 0 w 8216935"/>
              <a:gd name="connsiteY35" fmla="*/ 1895476 h 6003944"/>
              <a:gd name="connsiteX36" fmla="*/ 7260537 w 8216935"/>
              <a:gd name="connsiteY36" fmla="*/ 939078 h 6003944"/>
              <a:gd name="connsiteX37" fmla="*/ 8216935 w 8216935"/>
              <a:gd name="connsiteY37" fmla="*/ 1895475 h 6003944"/>
              <a:gd name="connsiteX38" fmla="*/ 7260537 w 8216935"/>
              <a:gd name="connsiteY38" fmla="*/ 2851872 h 6003944"/>
              <a:gd name="connsiteX39" fmla="*/ 6304140 w 8216935"/>
              <a:gd name="connsiteY39" fmla="*/ 1895475 h 6003944"/>
              <a:gd name="connsiteX40" fmla="*/ 6098235 w 8216935"/>
              <a:gd name="connsiteY40" fmla="*/ 0 h 6003944"/>
              <a:gd name="connsiteX41" fmla="*/ 6321460 w 8216935"/>
              <a:gd name="connsiteY41" fmla="*/ 0 h 6003944"/>
              <a:gd name="connsiteX42" fmla="*/ 7166245 w 8216935"/>
              <a:gd name="connsiteY42" fmla="*/ 844785 h 6003944"/>
              <a:gd name="connsiteX43" fmla="*/ 6209848 w 8216935"/>
              <a:gd name="connsiteY43" fmla="*/ 1801183 h 6003944"/>
              <a:gd name="connsiteX44" fmla="*/ 5253450 w 8216935"/>
              <a:gd name="connsiteY44" fmla="*/ 844785 h 6003944"/>
              <a:gd name="connsiteX45" fmla="*/ 4408665 w 8216935"/>
              <a:gd name="connsiteY45" fmla="*/ 0 h 6003944"/>
              <a:gd name="connsiteX46" fmla="*/ 5909651 w 8216935"/>
              <a:gd name="connsiteY46" fmla="*/ 0 h 6003944"/>
              <a:gd name="connsiteX47" fmla="*/ 5159158 w 8216935"/>
              <a:gd name="connsiteY47" fmla="*/ 750492 h 6003944"/>
              <a:gd name="connsiteX48" fmla="*/ 3996857 w 8216935"/>
              <a:gd name="connsiteY48" fmla="*/ 0 h 6003944"/>
              <a:gd name="connsiteX49" fmla="*/ 4220079 w 8216935"/>
              <a:gd name="connsiteY49" fmla="*/ 0 h 6003944"/>
              <a:gd name="connsiteX50" fmla="*/ 5064865 w 8216935"/>
              <a:gd name="connsiteY50" fmla="*/ 844786 h 6003944"/>
              <a:gd name="connsiteX51" fmla="*/ 4108468 w 8216935"/>
              <a:gd name="connsiteY51" fmla="*/ 1801184 h 6003944"/>
              <a:gd name="connsiteX52" fmla="*/ 3152070 w 8216935"/>
              <a:gd name="connsiteY52" fmla="*/ 844786 h 6003944"/>
              <a:gd name="connsiteX53" fmla="*/ 2307284 w 8216935"/>
              <a:gd name="connsiteY53" fmla="*/ 0 h 6003944"/>
              <a:gd name="connsiteX54" fmla="*/ 3808272 w 8216935"/>
              <a:gd name="connsiteY54" fmla="*/ 0 h 6003944"/>
              <a:gd name="connsiteX55" fmla="*/ 3057778 w 8216935"/>
              <a:gd name="connsiteY55" fmla="*/ 750494 h 6003944"/>
              <a:gd name="connsiteX56" fmla="*/ 1895477 w 8216935"/>
              <a:gd name="connsiteY56" fmla="*/ 0 h 6003944"/>
              <a:gd name="connsiteX57" fmla="*/ 2118699 w 8216935"/>
              <a:gd name="connsiteY57" fmla="*/ 0 h 6003944"/>
              <a:gd name="connsiteX58" fmla="*/ 2963485 w 8216935"/>
              <a:gd name="connsiteY58" fmla="*/ 844786 h 6003944"/>
              <a:gd name="connsiteX59" fmla="*/ 2007088 w 8216935"/>
              <a:gd name="connsiteY59" fmla="*/ 1801184 h 6003944"/>
              <a:gd name="connsiteX60" fmla="*/ 1050691 w 8216935"/>
              <a:gd name="connsiteY60" fmla="*/ 844786 h 6003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8216935" h="6003944">
                <a:moveTo>
                  <a:pt x="4108468" y="4091148"/>
                </a:moveTo>
                <a:lnTo>
                  <a:pt x="5064866" y="5047546"/>
                </a:lnTo>
                <a:lnTo>
                  <a:pt x="4108468" y="6003944"/>
                </a:lnTo>
                <a:lnTo>
                  <a:pt x="3152070" y="5047546"/>
                </a:lnTo>
                <a:close/>
                <a:moveTo>
                  <a:pt x="5159158" y="3040458"/>
                </a:moveTo>
                <a:lnTo>
                  <a:pt x="6115556" y="3996856"/>
                </a:lnTo>
                <a:lnTo>
                  <a:pt x="5159158" y="4953253"/>
                </a:lnTo>
                <a:lnTo>
                  <a:pt x="4202760" y="3996855"/>
                </a:lnTo>
                <a:close/>
                <a:moveTo>
                  <a:pt x="3057778" y="3040458"/>
                </a:moveTo>
                <a:lnTo>
                  <a:pt x="4014176" y="3996856"/>
                </a:lnTo>
                <a:lnTo>
                  <a:pt x="3057778" y="4953254"/>
                </a:lnTo>
                <a:lnTo>
                  <a:pt x="2101381" y="3996856"/>
                </a:lnTo>
                <a:close/>
                <a:moveTo>
                  <a:pt x="6209848" y="1989768"/>
                </a:moveTo>
                <a:lnTo>
                  <a:pt x="7166245" y="2946165"/>
                </a:lnTo>
                <a:lnTo>
                  <a:pt x="6209848" y="3902562"/>
                </a:lnTo>
                <a:lnTo>
                  <a:pt x="5253450" y="2946165"/>
                </a:lnTo>
                <a:close/>
                <a:moveTo>
                  <a:pt x="4108468" y="1989768"/>
                </a:moveTo>
                <a:lnTo>
                  <a:pt x="5064866" y="2946166"/>
                </a:lnTo>
                <a:lnTo>
                  <a:pt x="4108468" y="3902562"/>
                </a:lnTo>
                <a:lnTo>
                  <a:pt x="3152070" y="2946165"/>
                </a:lnTo>
                <a:close/>
                <a:moveTo>
                  <a:pt x="2007088" y="1989768"/>
                </a:moveTo>
                <a:lnTo>
                  <a:pt x="2963485" y="2946165"/>
                </a:lnTo>
                <a:lnTo>
                  <a:pt x="2007088" y="3902562"/>
                </a:lnTo>
                <a:lnTo>
                  <a:pt x="1050691" y="2946165"/>
                </a:lnTo>
                <a:close/>
                <a:moveTo>
                  <a:pt x="5159158" y="939079"/>
                </a:moveTo>
                <a:lnTo>
                  <a:pt x="6115556" y="1895476"/>
                </a:lnTo>
                <a:lnTo>
                  <a:pt x="5159158" y="2851872"/>
                </a:lnTo>
                <a:lnTo>
                  <a:pt x="4202760" y="1895475"/>
                </a:lnTo>
                <a:close/>
                <a:moveTo>
                  <a:pt x="3057778" y="939079"/>
                </a:moveTo>
                <a:lnTo>
                  <a:pt x="4014176" y="1895476"/>
                </a:lnTo>
                <a:lnTo>
                  <a:pt x="3057778" y="2851872"/>
                </a:lnTo>
                <a:lnTo>
                  <a:pt x="2101381" y="1895476"/>
                </a:lnTo>
                <a:close/>
                <a:moveTo>
                  <a:pt x="956398" y="939078"/>
                </a:moveTo>
                <a:lnTo>
                  <a:pt x="1912795" y="1895475"/>
                </a:lnTo>
                <a:lnTo>
                  <a:pt x="956398" y="2851872"/>
                </a:lnTo>
                <a:lnTo>
                  <a:pt x="0" y="1895476"/>
                </a:lnTo>
                <a:close/>
                <a:moveTo>
                  <a:pt x="7260537" y="939078"/>
                </a:moveTo>
                <a:lnTo>
                  <a:pt x="8216935" y="1895475"/>
                </a:lnTo>
                <a:lnTo>
                  <a:pt x="7260537" y="2851872"/>
                </a:lnTo>
                <a:lnTo>
                  <a:pt x="6304140" y="1895475"/>
                </a:lnTo>
                <a:close/>
                <a:moveTo>
                  <a:pt x="6098235" y="0"/>
                </a:moveTo>
                <a:lnTo>
                  <a:pt x="6321460" y="0"/>
                </a:lnTo>
                <a:lnTo>
                  <a:pt x="7166245" y="844785"/>
                </a:lnTo>
                <a:lnTo>
                  <a:pt x="6209848" y="1801183"/>
                </a:lnTo>
                <a:lnTo>
                  <a:pt x="5253450" y="844785"/>
                </a:lnTo>
                <a:close/>
                <a:moveTo>
                  <a:pt x="4408665" y="0"/>
                </a:moveTo>
                <a:lnTo>
                  <a:pt x="5909651" y="0"/>
                </a:lnTo>
                <a:lnTo>
                  <a:pt x="5159158" y="750492"/>
                </a:lnTo>
                <a:close/>
                <a:moveTo>
                  <a:pt x="3996857" y="0"/>
                </a:moveTo>
                <a:lnTo>
                  <a:pt x="4220079" y="0"/>
                </a:lnTo>
                <a:lnTo>
                  <a:pt x="5064865" y="844786"/>
                </a:lnTo>
                <a:lnTo>
                  <a:pt x="4108468" y="1801184"/>
                </a:lnTo>
                <a:lnTo>
                  <a:pt x="3152070" y="844786"/>
                </a:lnTo>
                <a:close/>
                <a:moveTo>
                  <a:pt x="2307284" y="0"/>
                </a:moveTo>
                <a:lnTo>
                  <a:pt x="3808272" y="0"/>
                </a:lnTo>
                <a:lnTo>
                  <a:pt x="3057778" y="750494"/>
                </a:lnTo>
                <a:close/>
                <a:moveTo>
                  <a:pt x="1895477" y="0"/>
                </a:moveTo>
                <a:lnTo>
                  <a:pt x="2118699" y="0"/>
                </a:lnTo>
                <a:lnTo>
                  <a:pt x="2963485" y="844786"/>
                </a:lnTo>
                <a:lnTo>
                  <a:pt x="2007088" y="1801184"/>
                </a:lnTo>
                <a:lnTo>
                  <a:pt x="1050691" y="84478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088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AB25309-F292-5144-9421-5E7B4F19462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94510" y="1260763"/>
            <a:ext cx="803563" cy="803563"/>
          </a:xfrm>
          <a:custGeom>
            <a:avLst/>
            <a:gdLst>
              <a:gd name="connsiteX0" fmla="*/ 872836 w 1745672"/>
              <a:gd name="connsiteY0" fmla="*/ 0 h 1745672"/>
              <a:gd name="connsiteX1" fmla="*/ 1745672 w 1745672"/>
              <a:gd name="connsiteY1" fmla="*/ 872836 h 1745672"/>
              <a:gd name="connsiteX2" fmla="*/ 872836 w 1745672"/>
              <a:gd name="connsiteY2" fmla="*/ 1745672 h 1745672"/>
              <a:gd name="connsiteX3" fmla="*/ 0 w 1745672"/>
              <a:gd name="connsiteY3" fmla="*/ 872836 h 1745672"/>
              <a:gd name="connsiteX4" fmla="*/ 872836 w 1745672"/>
              <a:gd name="connsiteY4" fmla="*/ 0 h 1745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5672" h="1745672">
                <a:moveTo>
                  <a:pt x="872836" y="0"/>
                </a:moveTo>
                <a:cubicBezTo>
                  <a:pt x="1354890" y="0"/>
                  <a:pt x="1745672" y="390782"/>
                  <a:pt x="1745672" y="872836"/>
                </a:cubicBezTo>
                <a:cubicBezTo>
                  <a:pt x="1745672" y="1354890"/>
                  <a:pt x="1354890" y="1745672"/>
                  <a:pt x="872836" y="1745672"/>
                </a:cubicBezTo>
                <a:cubicBezTo>
                  <a:pt x="390782" y="1745672"/>
                  <a:pt x="0" y="1354890"/>
                  <a:pt x="0" y="872836"/>
                </a:cubicBezTo>
                <a:cubicBezTo>
                  <a:pt x="0" y="390782"/>
                  <a:pt x="390782" y="0"/>
                  <a:pt x="87283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vi-V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9B12E7B-FC0B-924C-8C04-E2243A8B3C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5767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A4FC9C8-0514-C547-9CBB-16EFB4E8C9F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26733" y="1183216"/>
            <a:ext cx="4495134" cy="3285931"/>
          </a:xfrm>
          <a:custGeom>
            <a:avLst/>
            <a:gdLst>
              <a:gd name="connsiteX0" fmla="*/ 0 w 4495134"/>
              <a:gd name="connsiteY0" fmla="*/ 0 h 3285931"/>
              <a:gd name="connsiteX1" fmla="*/ 1342482 w 4495134"/>
              <a:gd name="connsiteY1" fmla="*/ 0 h 3285931"/>
              <a:gd name="connsiteX2" fmla="*/ 2265741 w 4495134"/>
              <a:gd name="connsiteY2" fmla="*/ 2166389 h 3285931"/>
              <a:gd name="connsiteX3" fmla="*/ 3157498 w 4495134"/>
              <a:gd name="connsiteY3" fmla="*/ 0 h 3285931"/>
              <a:gd name="connsiteX4" fmla="*/ 4495134 w 4495134"/>
              <a:gd name="connsiteY4" fmla="*/ 0 h 3285931"/>
              <a:gd name="connsiteX5" fmla="*/ 4495134 w 4495134"/>
              <a:gd name="connsiteY5" fmla="*/ 89662 h 3285931"/>
              <a:gd name="connsiteX6" fmla="*/ 4388512 w 4495134"/>
              <a:gd name="connsiteY6" fmla="*/ 89662 h 3285931"/>
              <a:gd name="connsiteX7" fmla="*/ 4155879 w 4495134"/>
              <a:gd name="connsiteY7" fmla="*/ 140550 h 3285931"/>
              <a:gd name="connsiteX8" fmla="*/ 4058949 w 4495134"/>
              <a:gd name="connsiteY8" fmla="*/ 254443 h 3285931"/>
              <a:gd name="connsiteX9" fmla="*/ 4032293 w 4495134"/>
              <a:gd name="connsiteY9" fmla="*/ 557348 h 3285931"/>
              <a:gd name="connsiteX10" fmla="*/ 4032293 w 4495134"/>
              <a:gd name="connsiteY10" fmla="*/ 2723737 h 3285931"/>
              <a:gd name="connsiteX11" fmla="*/ 4058949 w 4495134"/>
              <a:gd name="connsiteY11" fmla="*/ 3038760 h 3285931"/>
              <a:gd name="connsiteX12" fmla="*/ 4167995 w 4495134"/>
              <a:gd name="connsiteY12" fmla="*/ 3149018 h 3285931"/>
              <a:gd name="connsiteX13" fmla="*/ 4388512 w 4495134"/>
              <a:gd name="connsiteY13" fmla="*/ 3196271 h 3285931"/>
              <a:gd name="connsiteX14" fmla="*/ 4495134 w 4495134"/>
              <a:gd name="connsiteY14" fmla="*/ 3196271 h 3285931"/>
              <a:gd name="connsiteX15" fmla="*/ 4495134 w 4495134"/>
              <a:gd name="connsiteY15" fmla="*/ 3285931 h 3285931"/>
              <a:gd name="connsiteX16" fmla="*/ 2779471 w 4495134"/>
              <a:gd name="connsiteY16" fmla="*/ 3285931 h 3285931"/>
              <a:gd name="connsiteX17" fmla="*/ 2779471 w 4495134"/>
              <a:gd name="connsiteY17" fmla="*/ 3196271 h 3285931"/>
              <a:gd name="connsiteX18" fmla="*/ 2886095 w 4495134"/>
              <a:gd name="connsiteY18" fmla="*/ 3196271 h 3285931"/>
              <a:gd name="connsiteX19" fmla="*/ 3118726 w 4495134"/>
              <a:gd name="connsiteY19" fmla="*/ 3145383 h 3285931"/>
              <a:gd name="connsiteX20" fmla="*/ 3215658 w 4495134"/>
              <a:gd name="connsiteY20" fmla="*/ 3029066 h 3285931"/>
              <a:gd name="connsiteX21" fmla="*/ 3242312 w 4495134"/>
              <a:gd name="connsiteY21" fmla="*/ 2723737 h 3285931"/>
              <a:gd name="connsiteX22" fmla="*/ 3242312 w 4495134"/>
              <a:gd name="connsiteY22" fmla="*/ 288367 h 3285931"/>
              <a:gd name="connsiteX23" fmla="*/ 1982222 w 4495134"/>
              <a:gd name="connsiteY23" fmla="*/ 3285931 h 3285931"/>
              <a:gd name="connsiteX24" fmla="*/ 1924064 w 4495134"/>
              <a:gd name="connsiteY24" fmla="*/ 3285931 h 3285931"/>
              <a:gd name="connsiteX25" fmla="*/ 644586 w 4495134"/>
              <a:gd name="connsiteY25" fmla="*/ 310177 h 3285931"/>
              <a:gd name="connsiteX26" fmla="*/ 644586 w 4495134"/>
              <a:gd name="connsiteY26" fmla="*/ 2624383 h 3285931"/>
              <a:gd name="connsiteX27" fmla="*/ 656702 w 4495134"/>
              <a:gd name="connsiteY27" fmla="*/ 2922444 h 3285931"/>
              <a:gd name="connsiteX28" fmla="*/ 793616 w 4495134"/>
              <a:gd name="connsiteY28" fmla="*/ 3119938 h 3285931"/>
              <a:gd name="connsiteX29" fmla="*/ 1124390 w 4495134"/>
              <a:gd name="connsiteY29" fmla="*/ 3196271 h 3285931"/>
              <a:gd name="connsiteX30" fmla="*/ 1124390 w 4495134"/>
              <a:gd name="connsiteY30" fmla="*/ 3285931 h 3285931"/>
              <a:gd name="connsiteX31" fmla="*/ 0 w 4495134"/>
              <a:gd name="connsiteY31" fmla="*/ 3285931 h 3285931"/>
              <a:gd name="connsiteX32" fmla="*/ 0 w 4495134"/>
              <a:gd name="connsiteY32" fmla="*/ 3196271 h 3285931"/>
              <a:gd name="connsiteX33" fmla="*/ 33926 w 4495134"/>
              <a:gd name="connsiteY33" fmla="*/ 3196271 h 3285931"/>
              <a:gd name="connsiteX34" fmla="*/ 237479 w 4495134"/>
              <a:gd name="connsiteY34" fmla="*/ 3161134 h 3285931"/>
              <a:gd name="connsiteX35" fmla="*/ 380451 w 4495134"/>
              <a:gd name="connsiteY35" fmla="*/ 3060570 h 3285931"/>
              <a:gd name="connsiteX36" fmla="*/ 455572 w 4495134"/>
              <a:gd name="connsiteY36" fmla="*/ 2883671 h 3285931"/>
              <a:gd name="connsiteX37" fmla="*/ 460419 w 4495134"/>
              <a:gd name="connsiteY37" fmla="*/ 2636499 h 3285931"/>
              <a:gd name="connsiteX38" fmla="*/ 460419 w 4495134"/>
              <a:gd name="connsiteY38" fmla="*/ 557348 h 3285931"/>
              <a:gd name="connsiteX39" fmla="*/ 433763 w 4495134"/>
              <a:gd name="connsiteY39" fmla="*/ 245961 h 3285931"/>
              <a:gd name="connsiteX40" fmla="*/ 324715 w 4495134"/>
              <a:gd name="connsiteY40" fmla="*/ 136914 h 3285931"/>
              <a:gd name="connsiteX41" fmla="*/ 104200 w 4495134"/>
              <a:gd name="connsiteY41" fmla="*/ 89662 h 3285931"/>
              <a:gd name="connsiteX42" fmla="*/ 0 w 4495134"/>
              <a:gd name="connsiteY42" fmla="*/ 89662 h 3285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495134" h="3285931">
                <a:moveTo>
                  <a:pt x="0" y="0"/>
                </a:moveTo>
                <a:lnTo>
                  <a:pt x="1342482" y="0"/>
                </a:lnTo>
                <a:lnTo>
                  <a:pt x="2265741" y="2166389"/>
                </a:lnTo>
                <a:lnTo>
                  <a:pt x="3157498" y="0"/>
                </a:lnTo>
                <a:lnTo>
                  <a:pt x="4495134" y="0"/>
                </a:lnTo>
                <a:lnTo>
                  <a:pt x="4495134" y="89662"/>
                </a:lnTo>
                <a:lnTo>
                  <a:pt x="4388512" y="89662"/>
                </a:lnTo>
                <a:cubicBezTo>
                  <a:pt x="4291581" y="89662"/>
                  <a:pt x="4214037" y="106624"/>
                  <a:pt x="4155879" y="140550"/>
                </a:cubicBezTo>
                <a:cubicBezTo>
                  <a:pt x="4115492" y="163166"/>
                  <a:pt x="4083181" y="201131"/>
                  <a:pt x="4058949" y="254443"/>
                </a:cubicBezTo>
                <a:cubicBezTo>
                  <a:pt x="4041179" y="293215"/>
                  <a:pt x="4032293" y="394184"/>
                  <a:pt x="4032293" y="557348"/>
                </a:cubicBezTo>
                <a:lnTo>
                  <a:pt x="4032293" y="2723737"/>
                </a:lnTo>
                <a:cubicBezTo>
                  <a:pt x="4032293" y="2891749"/>
                  <a:pt x="4041179" y="2996757"/>
                  <a:pt x="4058949" y="3038760"/>
                </a:cubicBezTo>
                <a:cubicBezTo>
                  <a:pt x="4076720" y="3080762"/>
                  <a:pt x="4113068" y="3117516"/>
                  <a:pt x="4167995" y="3149018"/>
                </a:cubicBezTo>
                <a:cubicBezTo>
                  <a:pt x="4222922" y="3180520"/>
                  <a:pt x="4296429" y="3196271"/>
                  <a:pt x="4388512" y="3196271"/>
                </a:cubicBezTo>
                <a:lnTo>
                  <a:pt x="4495134" y="3196271"/>
                </a:lnTo>
                <a:lnTo>
                  <a:pt x="4495134" y="3285931"/>
                </a:lnTo>
                <a:lnTo>
                  <a:pt x="2779471" y="3285931"/>
                </a:lnTo>
                <a:lnTo>
                  <a:pt x="2779471" y="3196271"/>
                </a:lnTo>
                <a:lnTo>
                  <a:pt x="2886095" y="3196271"/>
                </a:lnTo>
                <a:cubicBezTo>
                  <a:pt x="2983025" y="3196271"/>
                  <a:pt x="3060569" y="3179308"/>
                  <a:pt x="3118726" y="3145383"/>
                </a:cubicBezTo>
                <a:cubicBezTo>
                  <a:pt x="3159114" y="3122765"/>
                  <a:pt x="3191424" y="3083993"/>
                  <a:pt x="3215658" y="3029066"/>
                </a:cubicBezTo>
                <a:cubicBezTo>
                  <a:pt x="3233427" y="2990294"/>
                  <a:pt x="3242312" y="2888518"/>
                  <a:pt x="3242312" y="2723737"/>
                </a:cubicBezTo>
                <a:lnTo>
                  <a:pt x="3242312" y="288367"/>
                </a:lnTo>
                <a:lnTo>
                  <a:pt x="1982222" y="3285931"/>
                </a:lnTo>
                <a:lnTo>
                  <a:pt x="1924064" y="3285931"/>
                </a:lnTo>
                <a:lnTo>
                  <a:pt x="644586" y="310177"/>
                </a:lnTo>
                <a:lnTo>
                  <a:pt x="644586" y="2624383"/>
                </a:lnTo>
                <a:cubicBezTo>
                  <a:pt x="644586" y="2785934"/>
                  <a:pt x="648624" y="2885288"/>
                  <a:pt x="656702" y="2922444"/>
                </a:cubicBezTo>
                <a:cubicBezTo>
                  <a:pt x="677703" y="3003219"/>
                  <a:pt x="723342" y="3069050"/>
                  <a:pt x="793616" y="3119938"/>
                </a:cubicBezTo>
                <a:cubicBezTo>
                  <a:pt x="863890" y="3170827"/>
                  <a:pt x="974147" y="3196271"/>
                  <a:pt x="1124390" y="3196271"/>
                </a:cubicBezTo>
                <a:lnTo>
                  <a:pt x="1124390" y="3285931"/>
                </a:lnTo>
                <a:lnTo>
                  <a:pt x="0" y="3285931"/>
                </a:lnTo>
                <a:lnTo>
                  <a:pt x="0" y="3196271"/>
                </a:lnTo>
                <a:lnTo>
                  <a:pt x="33926" y="3196271"/>
                </a:lnTo>
                <a:cubicBezTo>
                  <a:pt x="106624" y="3197887"/>
                  <a:pt x="174474" y="3186174"/>
                  <a:pt x="237479" y="3161134"/>
                </a:cubicBezTo>
                <a:cubicBezTo>
                  <a:pt x="300483" y="3136093"/>
                  <a:pt x="348140" y="3102572"/>
                  <a:pt x="380451" y="3060570"/>
                </a:cubicBezTo>
                <a:cubicBezTo>
                  <a:pt x="412761" y="3018565"/>
                  <a:pt x="437802" y="2959599"/>
                  <a:pt x="455572" y="2883671"/>
                </a:cubicBezTo>
                <a:cubicBezTo>
                  <a:pt x="458803" y="2865902"/>
                  <a:pt x="460419" y="2783510"/>
                  <a:pt x="460419" y="2636499"/>
                </a:cubicBezTo>
                <a:lnTo>
                  <a:pt x="460419" y="557348"/>
                </a:lnTo>
                <a:cubicBezTo>
                  <a:pt x="460419" y="390951"/>
                  <a:pt x="451533" y="287157"/>
                  <a:pt x="433763" y="245961"/>
                </a:cubicBezTo>
                <a:cubicBezTo>
                  <a:pt x="415992" y="204765"/>
                  <a:pt x="379642" y="168417"/>
                  <a:pt x="324715" y="136914"/>
                </a:cubicBezTo>
                <a:cubicBezTo>
                  <a:pt x="269790" y="105412"/>
                  <a:pt x="196284" y="89662"/>
                  <a:pt x="104200" y="89662"/>
                </a:cubicBezTo>
                <a:lnTo>
                  <a:pt x="0" y="896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7565169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881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0B1CB786-A27E-7E40-90B9-ACD5036796A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124196"/>
          </a:xfrm>
          <a:custGeom>
            <a:avLst/>
            <a:gdLst>
              <a:gd name="connsiteX0" fmla="*/ 0 w 12192000"/>
              <a:gd name="connsiteY0" fmla="*/ 0 h 6124196"/>
              <a:gd name="connsiteX1" fmla="*/ 12192000 w 12192000"/>
              <a:gd name="connsiteY1" fmla="*/ 0 h 6124196"/>
              <a:gd name="connsiteX2" fmla="*/ 12192000 w 12192000"/>
              <a:gd name="connsiteY2" fmla="*/ 1239221 h 6124196"/>
              <a:gd name="connsiteX3" fmla="*/ 3978225 w 12192000"/>
              <a:gd name="connsiteY3" fmla="*/ 5981446 h 6124196"/>
              <a:gd name="connsiteX4" fmla="*/ 2524535 w 12192000"/>
              <a:gd name="connsiteY4" fmla="*/ 5591931 h 6124196"/>
              <a:gd name="connsiteX5" fmla="*/ 0 w 12192000"/>
              <a:gd name="connsiteY5" fmla="*/ 1219308 h 6124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4196">
                <a:moveTo>
                  <a:pt x="0" y="0"/>
                </a:moveTo>
                <a:lnTo>
                  <a:pt x="12192000" y="0"/>
                </a:lnTo>
                <a:lnTo>
                  <a:pt x="12192000" y="1239221"/>
                </a:lnTo>
                <a:lnTo>
                  <a:pt x="3978225" y="5981446"/>
                </a:lnTo>
                <a:cubicBezTo>
                  <a:pt x="3469238" y="6275310"/>
                  <a:pt x="2818399" y="6100918"/>
                  <a:pt x="2524535" y="5591931"/>
                </a:cubicBezTo>
                <a:lnTo>
                  <a:pt x="0" y="121930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417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A95549A-00F2-1B41-9D6B-AF4AC3CCE4A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2804406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3D71944-98BA-F54E-AF64-1DF45A81F5AC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1">
                  <a:alpha val="7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vi-VN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AECC897-E196-ED44-BF8E-645623E4D3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0400" y="0"/>
            <a:ext cx="4284663" cy="6858000"/>
          </a:xfrm>
          <a:prstGeom prst="rect">
            <a:avLst/>
          </a:prstGeom>
        </p:spPr>
        <p:txBody>
          <a:bodyPr/>
          <a:lstStyle/>
          <a:p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855155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71BB7B8-C181-1E48-8833-8A78A2775F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810539"/>
          </a:xfrm>
          <a:prstGeom prst="rect">
            <a:avLst/>
          </a:prstGeom>
        </p:spPr>
        <p:txBody>
          <a:bodyPr/>
          <a:lstStyle/>
          <a:p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4205703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6096001" y="0"/>
            <a:ext cx="6095999" cy="4293096"/>
          </a:xfrm>
          <a:custGeom>
            <a:avLst/>
            <a:gdLst>
              <a:gd name="connsiteX0" fmla="*/ 0 w 6095999"/>
              <a:gd name="connsiteY0" fmla="*/ 0 h 4293096"/>
              <a:gd name="connsiteX1" fmla="*/ 6095999 w 6095999"/>
              <a:gd name="connsiteY1" fmla="*/ 0 h 4293096"/>
              <a:gd name="connsiteX2" fmla="*/ 6095999 w 6095999"/>
              <a:gd name="connsiteY2" fmla="*/ 3357539 h 4293096"/>
              <a:gd name="connsiteX3" fmla="*/ 3240359 w 6095999"/>
              <a:gd name="connsiteY3" fmla="*/ 3357539 h 4293096"/>
              <a:gd name="connsiteX4" fmla="*/ 3240359 w 6095999"/>
              <a:gd name="connsiteY4" fmla="*/ 4009306 h 4293096"/>
              <a:gd name="connsiteX5" fmla="*/ 1794722 w 6095999"/>
              <a:gd name="connsiteY5" fmla="*/ 4009306 h 4293096"/>
              <a:gd name="connsiteX6" fmla="*/ 1794722 w 6095999"/>
              <a:gd name="connsiteY6" fmla="*/ 4293096 h 4293096"/>
              <a:gd name="connsiteX7" fmla="*/ 720079 w 6095999"/>
              <a:gd name="connsiteY7" fmla="*/ 4293096 h 4293096"/>
              <a:gd name="connsiteX8" fmla="*/ 720079 w 6095999"/>
              <a:gd name="connsiteY8" fmla="*/ 4009306 h 4293096"/>
              <a:gd name="connsiteX9" fmla="*/ 0 w 6095999"/>
              <a:gd name="connsiteY9" fmla="*/ 4009306 h 429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5999" h="4293096">
                <a:moveTo>
                  <a:pt x="0" y="0"/>
                </a:moveTo>
                <a:lnTo>
                  <a:pt x="6095999" y="0"/>
                </a:lnTo>
                <a:lnTo>
                  <a:pt x="6095999" y="3357539"/>
                </a:lnTo>
                <a:lnTo>
                  <a:pt x="3240359" y="3357539"/>
                </a:lnTo>
                <a:lnTo>
                  <a:pt x="3240359" y="4009306"/>
                </a:lnTo>
                <a:lnTo>
                  <a:pt x="1794722" y="4009306"/>
                </a:lnTo>
                <a:lnTo>
                  <a:pt x="1794722" y="4293096"/>
                </a:lnTo>
                <a:lnTo>
                  <a:pt x="720079" y="4293096"/>
                </a:lnTo>
                <a:lnTo>
                  <a:pt x="720079" y="4009306"/>
                </a:lnTo>
                <a:lnTo>
                  <a:pt x="0" y="400930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8820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3551935" y="1575329"/>
            <a:ext cx="982134" cy="982134"/>
          </a:xfrm>
          <a:custGeom>
            <a:avLst/>
            <a:gdLst>
              <a:gd name="connsiteX0" fmla="*/ 180538 w 1388004"/>
              <a:gd name="connsiteY0" fmla="*/ 0 h 1388004"/>
              <a:gd name="connsiteX1" fmla="*/ 1207466 w 1388004"/>
              <a:gd name="connsiteY1" fmla="*/ 0 h 1388004"/>
              <a:gd name="connsiteX2" fmla="*/ 1388004 w 1388004"/>
              <a:gd name="connsiteY2" fmla="*/ 180538 h 1388004"/>
              <a:gd name="connsiteX3" fmla="*/ 1388004 w 1388004"/>
              <a:gd name="connsiteY3" fmla="*/ 1207466 h 1388004"/>
              <a:gd name="connsiteX4" fmla="*/ 1207466 w 1388004"/>
              <a:gd name="connsiteY4" fmla="*/ 1388004 h 1388004"/>
              <a:gd name="connsiteX5" fmla="*/ 180538 w 1388004"/>
              <a:gd name="connsiteY5" fmla="*/ 1388004 h 1388004"/>
              <a:gd name="connsiteX6" fmla="*/ 0 w 1388004"/>
              <a:gd name="connsiteY6" fmla="*/ 1207466 h 1388004"/>
              <a:gd name="connsiteX7" fmla="*/ 0 w 1388004"/>
              <a:gd name="connsiteY7" fmla="*/ 180538 h 1388004"/>
              <a:gd name="connsiteX8" fmla="*/ 180538 w 1388004"/>
              <a:gd name="connsiteY8" fmla="*/ 0 h 138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8004" h="1388004">
                <a:moveTo>
                  <a:pt x="180538" y="0"/>
                </a:moveTo>
                <a:lnTo>
                  <a:pt x="1207466" y="0"/>
                </a:lnTo>
                <a:cubicBezTo>
                  <a:pt x="1307174" y="0"/>
                  <a:pt x="1388004" y="80830"/>
                  <a:pt x="1388004" y="180538"/>
                </a:cubicBezTo>
                <a:lnTo>
                  <a:pt x="1388004" y="1207466"/>
                </a:lnTo>
                <a:cubicBezTo>
                  <a:pt x="1388004" y="1307174"/>
                  <a:pt x="1307174" y="1388004"/>
                  <a:pt x="1207466" y="1388004"/>
                </a:cubicBezTo>
                <a:lnTo>
                  <a:pt x="180538" y="1388004"/>
                </a:lnTo>
                <a:cubicBezTo>
                  <a:pt x="80830" y="1388004"/>
                  <a:pt x="0" y="1307174"/>
                  <a:pt x="0" y="1207466"/>
                </a:cubicBezTo>
                <a:lnTo>
                  <a:pt x="0" y="180538"/>
                </a:lnTo>
                <a:cubicBezTo>
                  <a:pt x="0" y="80830"/>
                  <a:pt x="80830" y="0"/>
                  <a:pt x="1805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58466" y="762529"/>
            <a:ext cx="2235200" cy="2235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4703402" y="1575329"/>
            <a:ext cx="982134" cy="982134"/>
          </a:xfrm>
          <a:custGeom>
            <a:avLst/>
            <a:gdLst>
              <a:gd name="connsiteX0" fmla="*/ 180538 w 1388004"/>
              <a:gd name="connsiteY0" fmla="*/ 0 h 1388004"/>
              <a:gd name="connsiteX1" fmla="*/ 1207466 w 1388004"/>
              <a:gd name="connsiteY1" fmla="*/ 0 h 1388004"/>
              <a:gd name="connsiteX2" fmla="*/ 1388004 w 1388004"/>
              <a:gd name="connsiteY2" fmla="*/ 180538 h 1388004"/>
              <a:gd name="connsiteX3" fmla="*/ 1388004 w 1388004"/>
              <a:gd name="connsiteY3" fmla="*/ 1207466 h 1388004"/>
              <a:gd name="connsiteX4" fmla="*/ 1207466 w 1388004"/>
              <a:gd name="connsiteY4" fmla="*/ 1388004 h 1388004"/>
              <a:gd name="connsiteX5" fmla="*/ 180538 w 1388004"/>
              <a:gd name="connsiteY5" fmla="*/ 1388004 h 1388004"/>
              <a:gd name="connsiteX6" fmla="*/ 0 w 1388004"/>
              <a:gd name="connsiteY6" fmla="*/ 1207466 h 1388004"/>
              <a:gd name="connsiteX7" fmla="*/ 0 w 1388004"/>
              <a:gd name="connsiteY7" fmla="*/ 180538 h 1388004"/>
              <a:gd name="connsiteX8" fmla="*/ 180538 w 1388004"/>
              <a:gd name="connsiteY8" fmla="*/ 0 h 138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8004" h="1388004">
                <a:moveTo>
                  <a:pt x="180538" y="0"/>
                </a:moveTo>
                <a:lnTo>
                  <a:pt x="1207466" y="0"/>
                </a:lnTo>
                <a:cubicBezTo>
                  <a:pt x="1307174" y="0"/>
                  <a:pt x="1388004" y="80830"/>
                  <a:pt x="1388004" y="180538"/>
                </a:cubicBezTo>
                <a:lnTo>
                  <a:pt x="1388004" y="1207466"/>
                </a:lnTo>
                <a:cubicBezTo>
                  <a:pt x="1388004" y="1307174"/>
                  <a:pt x="1307174" y="1388004"/>
                  <a:pt x="1207466" y="1388004"/>
                </a:cubicBezTo>
                <a:lnTo>
                  <a:pt x="180538" y="1388004"/>
                </a:lnTo>
                <a:cubicBezTo>
                  <a:pt x="80830" y="1388004"/>
                  <a:pt x="0" y="1307174"/>
                  <a:pt x="0" y="1207466"/>
                </a:cubicBezTo>
                <a:lnTo>
                  <a:pt x="0" y="180538"/>
                </a:lnTo>
                <a:cubicBezTo>
                  <a:pt x="0" y="80830"/>
                  <a:pt x="80830" y="0"/>
                  <a:pt x="1805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5854869" y="1575329"/>
            <a:ext cx="982134" cy="982134"/>
          </a:xfrm>
          <a:custGeom>
            <a:avLst/>
            <a:gdLst>
              <a:gd name="connsiteX0" fmla="*/ 180538 w 1388004"/>
              <a:gd name="connsiteY0" fmla="*/ 0 h 1388004"/>
              <a:gd name="connsiteX1" fmla="*/ 1207466 w 1388004"/>
              <a:gd name="connsiteY1" fmla="*/ 0 h 1388004"/>
              <a:gd name="connsiteX2" fmla="*/ 1388004 w 1388004"/>
              <a:gd name="connsiteY2" fmla="*/ 180538 h 1388004"/>
              <a:gd name="connsiteX3" fmla="*/ 1388004 w 1388004"/>
              <a:gd name="connsiteY3" fmla="*/ 1207466 h 1388004"/>
              <a:gd name="connsiteX4" fmla="*/ 1207466 w 1388004"/>
              <a:gd name="connsiteY4" fmla="*/ 1388004 h 1388004"/>
              <a:gd name="connsiteX5" fmla="*/ 180538 w 1388004"/>
              <a:gd name="connsiteY5" fmla="*/ 1388004 h 1388004"/>
              <a:gd name="connsiteX6" fmla="*/ 0 w 1388004"/>
              <a:gd name="connsiteY6" fmla="*/ 1207466 h 1388004"/>
              <a:gd name="connsiteX7" fmla="*/ 0 w 1388004"/>
              <a:gd name="connsiteY7" fmla="*/ 180538 h 1388004"/>
              <a:gd name="connsiteX8" fmla="*/ 180538 w 1388004"/>
              <a:gd name="connsiteY8" fmla="*/ 0 h 138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8004" h="1388004">
                <a:moveTo>
                  <a:pt x="180538" y="0"/>
                </a:moveTo>
                <a:lnTo>
                  <a:pt x="1207466" y="0"/>
                </a:lnTo>
                <a:cubicBezTo>
                  <a:pt x="1307174" y="0"/>
                  <a:pt x="1388004" y="80830"/>
                  <a:pt x="1388004" y="180538"/>
                </a:cubicBezTo>
                <a:lnTo>
                  <a:pt x="1388004" y="1207466"/>
                </a:lnTo>
                <a:cubicBezTo>
                  <a:pt x="1388004" y="1307174"/>
                  <a:pt x="1307174" y="1388004"/>
                  <a:pt x="1207466" y="1388004"/>
                </a:cubicBezTo>
                <a:lnTo>
                  <a:pt x="180538" y="1388004"/>
                </a:lnTo>
                <a:cubicBezTo>
                  <a:pt x="80830" y="1388004"/>
                  <a:pt x="0" y="1307174"/>
                  <a:pt x="0" y="1207466"/>
                </a:cubicBezTo>
                <a:lnTo>
                  <a:pt x="0" y="180538"/>
                </a:lnTo>
                <a:cubicBezTo>
                  <a:pt x="0" y="80830"/>
                  <a:pt x="80830" y="0"/>
                  <a:pt x="1805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7006336" y="1575329"/>
            <a:ext cx="982134" cy="982134"/>
          </a:xfrm>
          <a:custGeom>
            <a:avLst/>
            <a:gdLst>
              <a:gd name="connsiteX0" fmla="*/ 180538 w 1388004"/>
              <a:gd name="connsiteY0" fmla="*/ 0 h 1388004"/>
              <a:gd name="connsiteX1" fmla="*/ 1207466 w 1388004"/>
              <a:gd name="connsiteY1" fmla="*/ 0 h 1388004"/>
              <a:gd name="connsiteX2" fmla="*/ 1388004 w 1388004"/>
              <a:gd name="connsiteY2" fmla="*/ 180538 h 1388004"/>
              <a:gd name="connsiteX3" fmla="*/ 1388004 w 1388004"/>
              <a:gd name="connsiteY3" fmla="*/ 1207466 h 1388004"/>
              <a:gd name="connsiteX4" fmla="*/ 1207466 w 1388004"/>
              <a:gd name="connsiteY4" fmla="*/ 1388004 h 1388004"/>
              <a:gd name="connsiteX5" fmla="*/ 180538 w 1388004"/>
              <a:gd name="connsiteY5" fmla="*/ 1388004 h 1388004"/>
              <a:gd name="connsiteX6" fmla="*/ 0 w 1388004"/>
              <a:gd name="connsiteY6" fmla="*/ 1207466 h 1388004"/>
              <a:gd name="connsiteX7" fmla="*/ 0 w 1388004"/>
              <a:gd name="connsiteY7" fmla="*/ 180538 h 1388004"/>
              <a:gd name="connsiteX8" fmla="*/ 180538 w 1388004"/>
              <a:gd name="connsiteY8" fmla="*/ 0 h 138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8004" h="1388004">
                <a:moveTo>
                  <a:pt x="180538" y="0"/>
                </a:moveTo>
                <a:lnTo>
                  <a:pt x="1207466" y="0"/>
                </a:lnTo>
                <a:cubicBezTo>
                  <a:pt x="1307174" y="0"/>
                  <a:pt x="1388004" y="80830"/>
                  <a:pt x="1388004" y="180538"/>
                </a:cubicBezTo>
                <a:lnTo>
                  <a:pt x="1388004" y="1207466"/>
                </a:lnTo>
                <a:cubicBezTo>
                  <a:pt x="1388004" y="1307174"/>
                  <a:pt x="1307174" y="1388004"/>
                  <a:pt x="1207466" y="1388004"/>
                </a:cubicBezTo>
                <a:lnTo>
                  <a:pt x="180538" y="1388004"/>
                </a:lnTo>
                <a:cubicBezTo>
                  <a:pt x="80830" y="1388004"/>
                  <a:pt x="0" y="1307174"/>
                  <a:pt x="0" y="1207466"/>
                </a:cubicBezTo>
                <a:lnTo>
                  <a:pt x="0" y="180538"/>
                </a:lnTo>
                <a:cubicBezTo>
                  <a:pt x="0" y="80830"/>
                  <a:pt x="80830" y="0"/>
                  <a:pt x="1805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5"/>
          </p:nvPr>
        </p:nvSpPr>
        <p:spPr>
          <a:xfrm>
            <a:off x="8157803" y="1575329"/>
            <a:ext cx="982134" cy="982134"/>
          </a:xfrm>
          <a:custGeom>
            <a:avLst/>
            <a:gdLst>
              <a:gd name="connsiteX0" fmla="*/ 180538 w 1388004"/>
              <a:gd name="connsiteY0" fmla="*/ 0 h 1388004"/>
              <a:gd name="connsiteX1" fmla="*/ 1207466 w 1388004"/>
              <a:gd name="connsiteY1" fmla="*/ 0 h 1388004"/>
              <a:gd name="connsiteX2" fmla="*/ 1388004 w 1388004"/>
              <a:gd name="connsiteY2" fmla="*/ 180538 h 1388004"/>
              <a:gd name="connsiteX3" fmla="*/ 1388004 w 1388004"/>
              <a:gd name="connsiteY3" fmla="*/ 1207466 h 1388004"/>
              <a:gd name="connsiteX4" fmla="*/ 1207466 w 1388004"/>
              <a:gd name="connsiteY4" fmla="*/ 1388004 h 1388004"/>
              <a:gd name="connsiteX5" fmla="*/ 180538 w 1388004"/>
              <a:gd name="connsiteY5" fmla="*/ 1388004 h 1388004"/>
              <a:gd name="connsiteX6" fmla="*/ 0 w 1388004"/>
              <a:gd name="connsiteY6" fmla="*/ 1207466 h 1388004"/>
              <a:gd name="connsiteX7" fmla="*/ 0 w 1388004"/>
              <a:gd name="connsiteY7" fmla="*/ 180538 h 1388004"/>
              <a:gd name="connsiteX8" fmla="*/ 180538 w 1388004"/>
              <a:gd name="connsiteY8" fmla="*/ 0 h 138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8004" h="1388004">
                <a:moveTo>
                  <a:pt x="180538" y="0"/>
                </a:moveTo>
                <a:lnTo>
                  <a:pt x="1207466" y="0"/>
                </a:lnTo>
                <a:cubicBezTo>
                  <a:pt x="1307174" y="0"/>
                  <a:pt x="1388004" y="80830"/>
                  <a:pt x="1388004" y="180538"/>
                </a:cubicBezTo>
                <a:lnTo>
                  <a:pt x="1388004" y="1207466"/>
                </a:lnTo>
                <a:cubicBezTo>
                  <a:pt x="1388004" y="1307174"/>
                  <a:pt x="1307174" y="1388004"/>
                  <a:pt x="1207466" y="1388004"/>
                </a:cubicBezTo>
                <a:lnTo>
                  <a:pt x="180538" y="1388004"/>
                </a:lnTo>
                <a:cubicBezTo>
                  <a:pt x="80830" y="1388004"/>
                  <a:pt x="0" y="1307174"/>
                  <a:pt x="0" y="1207466"/>
                </a:cubicBezTo>
                <a:lnTo>
                  <a:pt x="0" y="180538"/>
                </a:lnTo>
                <a:cubicBezTo>
                  <a:pt x="0" y="80830"/>
                  <a:pt x="80830" y="0"/>
                  <a:pt x="1805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1354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bg>
      <p:bgPr>
        <a:gradFill>
          <a:gsLst>
            <a:gs pos="100000">
              <a:srgbClr val="02010B"/>
            </a:gs>
            <a:gs pos="0">
              <a:schemeClr val="tx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38405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9147496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Right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897896" cy="6818085"/>
          </a:xfrm>
          <a:prstGeom prst="donut">
            <a:avLst>
              <a:gd name="adj" fmla="val 34316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6094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6039337-2B65-4D5A-821E-7E1A166ECBD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129214" y="2286000"/>
            <a:ext cx="5933574" cy="2286000"/>
          </a:xfrm>
          <a:custGeom>
            <a:avLst/>
            <a:gdLst>
              <a:gd name="connsiteX0" fmla="*/ 0 w 5933574"/>
              <a:gd name="connsiteY0" fmla="*/ 0 h 2286000"/>
              <a:gd name="connsiteX1" fmla="*/ 5933574 w 5933574"/>
              <a:gd name="connsiteY1" fmla="*/ 0 h 2286000"/>
              <a:gd name="connsiteX2" fmla="*/ 5933574 w 5933574"/>
              <a:gd name="connsiteY2" fmla="*/ 2286000 h 2286000"/>
              <a:gd name="connsiteX3" fmla="*/ 0 w 5933574"/>
              <a:gd name="connsiteY3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3574" h="2286000">
                <a:moveTo>
                  <a:pt x="0" y="0"/>
                </a:moveTo>
                <a:lnTo>
                  <a:pt x="5933574" y="0"/>
                </a:lnTo>
                <a:lnTo>
                  <a:pt x="5933574" y="2286000"/>
                </a:lnTo>
                <a:lnTo>
                  <a:pt x="0" y="228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7760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7889903"/>
      </p:ext>
    </p:extLst>
  </p:cSld>
  <p:clrMapOvr>
    <a:masterClrMapping/>
  </p:clrMapOvr>
  <p:transition spd="med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CD043CC-6AE8-4D19-B6CE-CDA3352AF76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23582" y="331719"/>
            <a:ext cx="3564610" cy="6194562"/>
          </a:xfrm>
          <a:custGeom>
            <a:avLst/>
            <a:gdLst>
              <a:gd name="connsiteX0" fmla="*/ 0 w 3564610"/>
              <a:gd name="connsiteY0" fmla="*/ 0 h 6194562"/>
              <a:gd name="connsiteX1" fmla="*/ 3564610 w 3564610"/>
              <a:gd name="connsiteY1" fmla="*/ 0 h 6194562"/>
              <a:gd name="connsiteX2" fmla="*/ 3564610 w 3564610"/>
              <a:gd name="connsiteY2" fmla="*/ 6194562 h 6194562"/>
              <a:gd name="connsiteX3" fmla="*/ 0 w 3564610"/>
              <a:gd name="connsiteY3" fmla="*/ 6194562 h 6194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64610" h="6194562">
                <a:moveTo>
                  <a:pt x="0" y="0"/>
                </a:moveTo>
                <a:lnTo>
                  <a:pt x="3564610" y="0"/>
                </a:lnTo>
                <a:lnTo>
                  <a:pt x="3564610" y="6194562"/>
                </a:lnTo>
                <a:lnTo>
                  <a:pt x="0" y="61945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056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797016" y="1191400"/>
            <a:ext cx="2310715" cy="198995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/>
          <a:lstStyle>
            <a:lvl1pPr>
              <a:defRPr sz="606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3190774" y="1191399"/>
            <a:ext cx="2310715" cy="198995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/>
          <a:lstStyle>
            <a:lvl1pPr>
              <a:defRPr sz="606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5584531" y="1191399"/>
            <a:ext cx="2310715" cy="198995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/>
          <a:lstStyle>
            <a:lvl1pPr>
              <a:defRPr sz="606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881292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D54414BA-CB4A-4296-B432-31F122423B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287463" y="2595563"/>
            <a:ext cx="1739900" cy="1608137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6788C4B9-4E8D-4B52-AE91-38D45DC37F1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500227" y="2595563"/>
            <a:ext cx="1739900" cy="1608137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B5D92AC8-011D-4041-B30D-8867668E287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602224" y="2594925"/>
            <a:ext cx="1739900" cy="1608137"/>
          </a:xfrm>
          <a:prstGeom prst="rect">
            <a:avLst/>
          </a:prstGeom>
        </p:spPr>
        <p:txBody>
          <a:bodyPr/>
          <a:lstStyle/>
          <a:p>
            <a:endParaRPr lang="id-ID" dirty="0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3B74B7E7-68E8-4953-856D-FB86E588277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400941" y="3667840"/>
            <a:ext cx="1739900" cy="1608137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53E2C955-A0A2-40EA-8B8C-B19621FD97D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613705" y="3667840"/>
            <a:ext cx="1739900" cy="1608137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908344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90388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Subtitle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1581825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arna Mast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21903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占位符 3">
            <a:extLst>
              <a:ext uri="{FF2B5EF4-FFF2-40B4-BE49-F238E27FC236}">
                <a16:creationId xmlns:a16="http://schemas.microsoft.com/office/drawing/2014/main" id="{CBFB6A4A-C491-4B34-8136-28A5468CEB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169E5B47-6258-4A19-81D8-DA24362149D5}"/>
              </a:ext>
            </a:extLst>
          </p:cNvPr>
          <p:cNvSpPr/>
          <p:nvPr userDrawn="1"/>
        </p:nvSpPr>
        <p:spPr>
          <a:xfrm>
            <a:off x="7783551" y="0"/>
            <a:ext cx="4408449" cy="6858000"/>
          </a:xfrm>
          <a:prstGeom prst="rect">
            <a:avLst/>
          </a:prstGeom>
          <a:solidFill>
            <a:srgbClr val="02010B">
              <a:alpha val="76000"/>
            </a:srgbClr>
          </a:solidFill>
          <a:ln>
            <a:noFill/>
          </a:ln>
          <a:effectLst>
            <a:outerShdw blurRad="50800" dist="50800" dir="5400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图片占位符 16">
            <a:extLst>
              <a:ext uri="{FF2B5EF4-FFF2-40B4-BE49-F238E27FC236}">
                <a16:creationId xmlns:a16="http://schemas.microsoft.com/office/drawing/2014/main" id="{D523CDE4-F4B6-49EA-B46B-730FAFBCAA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43475" y="933449"/>
            <a:ext cx="2305050" cy="4991101"/>
          </a:xfrm>
          <a:custGeom>
            <a:avLst/>
            <a:gdLst>
              <a:gd name="connsiteX0" fmla="*/ 269875 w 2305050"/>
              <a:gd name="connsiteY0" fmla="*/ 0 h 4991101"/>
              <a:gd name="connsiteX1" fmla="*/ 666750 w 2305050"/>
              <a:gd name="connsiteY1" fmla="*/ 0 h 4991101"/>
              <a:gd name="connsiteX2" fmla="*/ 666750 w 2305050"/>
              <a:gd name="connsiteY2" fmla="*/ 63499 h 4991101"/>
              <a:gd name="connsiteX3" fmla="*/ 774701 w 2305050"/>
              <a:gd name="connsiteY3" fmla="*/ 171450 h 4991101"/>
              <a:gd name="connsiteX4" fmla="*/ 1539874 w 2305050"/>
              <a:gd name="connsiteY4" fmla="*/ 171450 h 4991101"/>
              <a:gd name="connsiteX5" fmla="*/ 1647825 w 2305050"/>
              <a:gd name="connsiteY5" fmla="*/ 63499 h 4991101"/>
              <a:gd name="connsiteX6" fmla="*/ 1647825 w 2305050"/>
              <a:gd name="connsiteY6" fmla="*/ 0 h 4991101"/>
              <a:gd name="connsiteX7" fmla="*/ 2035175 w 2305050"/>
              <a:gd name="connsiteY7" fmla="*/ 0 h 4991101"/>
              <a:gd name="connsiteX8" fmla="*/ 2305050 w 2305050"/>
              <a:gd name="connsiteY8" fmla="*/ 269875 h 4991101"/>
              <a:gd name="connsiteX9" fmla="*/ 2305050 w 2305050"/>
              <a:gd name="connsiteY9" fmla="*/ 4721226 h 4991101"/>
              <a:gd name="connsiteX10" fmla="*/ 2035175 w 2305050"/>
              <a:gd name="connsiteY10" fmla="*/ 4991101 h 4991101"/>
              <a:gd name="connsiteX11" fmla="*/ 269875 w 2305050"/>
              <a:gd name="connsiteY11" fmla="*/ 4991101 h 4991101"/>
              <a:gd name="connsiteX12" fmla="*/ 0 w 2305050"/>
              <a:gd name="connsiteY12" fmla="*/ 4721226 h 4991101"/>
              <a:gd name="connsiteX13" fmla="*/ 0 w 2305050"/>
              <a:gd name="connsiteY13" fmla="*/ 269875 h 4991101"/>
              <a:gd name="connsiteX14" fmla="*/ 269875 w 2305050"/>
              <a:gd name="connsiteY14" fmla="*/ 0 h 4991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305050" h="4991101">
                <a:moveTo>
                  <a:pt x="269875" y="0"/>
                </a:moveTo>
                <a:lnTo>
                  <a:pt x="666750" y="0"/>
                </a:lnTo>
                <a:lnTo>
                  <a:pt x="666750" y="63499"/>
                </a:lnTo>
                <a:cubicBezTo>
                  <a:pt x="666750" y="123119"/>
                  <a:pt x="715081" y="171450"/>
                  <a:pt x="774701" y="171450"/>
                </a:cubicBezTo>
                <a:lnTo>
                  <a:pt x="1539874" y="171450"/>
                </a:lnTo>
                <a:cubicBezTo>
                  <a:pt x="1599494" y="171450"/>
                  <a:pt x="1647825" y="123119"/>
                  <a:pt x="1647825" y="63499"/>
                </a:cubicBezTo>
                <a:lnTo>
                  <a:pt x="1647825" y="0"/>
                </a:lnTo>
                <a:lnTo>
                  <a:pt x="2035175" y="0"/>
                </a:lnTo>
                <a:cubicBezTo>
                  <a:pt x="2184223" y="0"/>
                  <a:pt x="2305050" y="120827"/>
                  <a:pt x="2305050" y="269875"/>
                </a:cubicBezTo>
                <a:lnTo>
                  <a:pt x="2305050" y="4721226"/>
                </a:lnTo>
                <a:cubicBezTo>
                  <a:pt x="2305050" y="4870274"/>
                  <a:pt x="2184223" y="4991101"/>
                  <a:pt x="2035175" y="4991101"/>
                </a:cubicBezTo>
                <a:lnTo>
                  <a:pt x="269875" y="4991101"/>
                </a:lnTo>
                <a:cubicBezTo>
                  <a:pt x="120827" y="4991101"/>
                  <a:pt x="0" y="4870274"/>
                  <a:pt x="0" y="4721226"/>
                </a:cubicBezTo>
                <a:lnTo>
                  <a:pt x="0" y="269875"/>
                </a:lnTo>
                <a:cubicBezTo>
                  <a:pt x="0" y="120827"/>
                  <a:pt x="120827" y="0"/>
                  <a:pt x="26987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15484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ig screen 02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laceholder.png"/>
          <p:cNvPicPr/>
          <p:nvPr/>
        </p:nvPicPr>
        <p:blipFill rotWithShape="1">
          <a:blip r:embed="rId2" cstate="print">
            <a:alphaModFix amt="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6350" y="-95250"/>
            <a:ext cx="12306300" cy="6051550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-38100"/>
            <a:ext cx="12192000" cy="5994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  <p:sp>
        <p:nvSpPr>
          <p:cNvPr id="66" name="Shape 66"/>
          <p:cNvSpPr/>
          <p:nvPr/>
        </p:nvSpPr>
        <p:spPr>
          <a:xfrm>
            <a:off x="-57150" y="-57150"/>
            <a:ext cx="12306300" cy="6019800"/>
          </a:xfrm>
          <a:prstGeom prst="rect">
            <a:avLst/>
          </a:prstGeom>
          <a:solidFill>
            <a:srgbClr val="7B8DB3">
              <a:alpha val="10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</p:spTree>
    <p:extLst>
      <p:ext uri="{BB962C8B-B14F-4D97-AF65-F5344CB8AC3E}">
        <p14:creationId xmlns:p14="http://schemas.microsoft.com/office/powerpoint/2010/main" val="4189840380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CAA1F-465C-4B0C-A122-B391DDE820B7}" type="datetimeFigureOut">
              <a:rPr lang="zh-CN" altLang="en-US" smtClean="0"/>
              <a:t>2023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19652-E430-4889-8A05-3ED8B59E777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55406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CAA1F-465C-4B0C-A122-B391DDE820B7}" type="datetimeFigureOut">
              <a:rPr lang="zh-CN" altLang="en-US" smtClean="0"/>
              <a:t>2023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19652-E430-4889-8A05-3ED8B59E777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83476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CAA1F-465C-4B0C-A122-B391DDE820B7}" type="datetimeFigureOut">
              <a:rPr lang="zh-CN" altLang="en-US" smtClean="0"/>
              <a:t>2023/5/1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19652-E430-4889-8A05-3ED8B59E777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4223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ig screen 02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laceholder.png"/>
          <p:cNvPicPr/>
          <p:nvPr/>
        </p:nvPicPr>
        <p:blipFill rotWithShape="1">
          <a:blip r:embed="rId2" cstate="print">
            <a:alphaModFix amt="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6350" y="-95250"/>
            <a:ext cx="12306300" cy="6051550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-38100"/>
            <a:ext cx="12192000" cy="5994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  <p:sp>
        <p:nvSpPr>
          <p:cNvPr id="66" name="Shape 66"/>
          <p:cNvSpPr/>
          <p:nvPr/>
        </p:nvSpPr>
        <p:spPr>
          <a:xfrm>
            <a:off x="-57150" y="-57150"/>
            <a:ext cx="12306300" cy="6019800"/>
          </a:xfrm>
          <a:prstGeom prst="rect">
            <a:avLst/>
          </a:prstGeom>
          <a:solidFill>
            <a:srgbClr val="7B8DB3">
              <a:alpha val="10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</p:spTree>
    <p:extLst>
      <p:ext uri="{BB962C8B-B14F-4D97-AF65-F5344CB8AC3E}">
        <p14:creationId xmlns:p14="http://schemas.microsoft.com/office/powerpoint/2010/main" val="2156142831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4362865" y="1670078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7" name="Picture Placeholder 17"/>
          <p:cNvSpPr>
            <a:spLocks noGrp="1" noChangeAspect="1"/>
          </p:cNvSpPr>
          <p:nvPr>
            <p:ph type="pic" sz="quarter" idx="11"/>
          </p:nvPr>
        </p:nvSpPr>
        <p:spPr>
          <a:xfrm>
            <a:off x="6563683" y="1670078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8" name="Picture Placeholder 17"/>
          <p:cNvSpPr>
            <a:spLocks noGrp="1" noChangeAspect="1"/>
          </p:cNvSpPr>
          <p:nvPr>
            <p:ph type="pic" sz="quarter" idx="12"/>
          </p:nvPr>
        </p:nvSpPr>
        <p:spPr>
          <a:xfrm>
            <a:off x="8785321" y="1670078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9" name="Picture Placeholder 17"/>
          <p:cNvSpPr>
            <a:spLocks noGrp="1" noChangeAspect="1"/>
          </p:cNvSpPr>
          <p:nvPr>
            <p:ph type="pic" sz="quarter" idx="13"/>
          </p:nvPr>
        </p:nvSpPr>
        <p:spPr>
          <a:xfrm>
            <a:off x="4362865" y="3244435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30" name="Picture Placeholder 17"/>
          <p:cNvSpPr>
            <a:spLocks noGrp="1" noChangeAspect="1"/>
          </p:cNvSpPr>
          <p:nvPr>
            <p:ph type="pic" sz="quarter" idx="14"/>
          </p:nvPr>
        </p:nvSpPr>
        <p:spPr>
          <a:xfrm>
            <a:off x="6563683" y="3244435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31" name="Picture Placeholder 17"/>
          <p:cNvSpPr>
            <a:spLocks noGrp="1" noChangeAspect="1"/>
          </p:cNvSpPr>
          <p:nvPr>
            <p:ph type="pic" sz="quarter" idx="15"/>
          </p:nvPr>
        </p:nvSpPr>
        <p:spPr>
          <a:xfrm>
            <a:off x="8785321" y="3244435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32" name="Picture Placeholder 17"/>
          <p:cNvSpPr>
            <a:spLocks noGrp="1" noChangeAspect="1"/>
          </p:cNvSpPr>
          <p:nvPr>
            <p:ph type="pic" sz="quarter" idx="16"/>
          </p:nvPr>
        </p:nvSpPr>
        <p:spPr>
          <a:xfrm>
            <a:off x="4362865" y="4818352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33" name="Picture Placeholder 17"/>
          <p:cNvSpPr>
            <a:spLocks noGrp="1" noChangeAspect="1"/>
          </p:cNvSpPr>
          <p:nvPr>
            <p:ph type="pic" sz="quarter" idx="17"/>
          </p:nvPr>
        </p:nvSpPr>
        <p:spPr>
          <a:xfrm>
            <a:off x="6563683" y="4818352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34" name="Picture Placeholder 17"/>
          <p:cNvSpPr>
            <a:spLocks noGrp="1" noChangeAspect="1"/>
          </p:cNvSpPr>
          <p:nvPr>
            <p:ph type="pic" sz="quarter" idx="18"/>
          </p:nvPr>
        </p:nvSpPr>
        <p:spPr>
          <a:xfrm>
            <a:off x="8785321" y="4818352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671127684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366000" y="1416050"/>
            <a:ext cx="4826000" cy="236537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959350" y="3781581"/>
            <a:ext cx="4826000" cy="236537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3801241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Subtitle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5238493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Subtitle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/>
          <p:nvPr/>
        </p:nvSpPr>
        <p:spPr>
          <a:xfrm>
            <a:off x="-57150" y="-120650"/>
            <a:ext cx="12306300" cy="6997700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100000">
                <a:schemeClr val="accent1"/>
              </a:gs>
            </a:gsLst>
            <a:lin ang="5400000"/>
          </a:gradFill>
          <a:ln w="25400">
            <a:solidFill>
              <a:srgbClr val="EBEBEB"/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6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2324478" y="1538027"/>
            <a:ext cx="2307600" cy="23076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396899833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 #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/>
          <p:nvPr/>
        </p:nvSpPr>
        <p:spPr>
          <a:xfrm>
            <a:off x="-57150" y="-120650"/>
            <a:ext cx="12306300" cy="69977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/>
          </a:gradFill>
          <a:ln w="25400">
            <a:solidFill>
              <a:srgbClr val="EBEBEB"/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9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7807951" y="4477986"/>
            <a:ext cx="1414800" cy="1414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10" name="Picture Placeholder 17"/>
          <p:cNvSpPr>
            <a:spLocks noGrp="1" noChangeAspect="1"/>
          </p:cNvSpPr>
          <p:nvPr>
            <p:ph type="pic" sz="quarter" idx="11"/>
          </p:nvPr>
        </p:nvSpPr>
        <p:spPr>
          <a:xfrm>
            <a:off x="3053923" y="1231900"/>
            <a:ext cx="811800" cy="811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131401813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606DA1E-4DCF-42CA-8AA2-5B40DDCB4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C9525E-A3F3-403C-9767-94F93EA1D165}" type="datetimeFigureOut">
              <a:rPr lang="zh-CN" altLang="en-US" smtClean="0"/>
              <a:t>2023/5/1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B78A761-9997-4234-93CF-75F37E6A60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898881B-6539-4468-8BA8-0D69EF17B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F1111C-C26D-41A7-9050-C98D282923B9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占位符 10">
            <a:extLst>
              <a:ext uri="{FF2B5EF4-FFF2-40B4-BE49-F238E27FC236}">
                <a16:creationId xmlns:a16="http://schemas.microsoft.com/office/drawing/2014/main" id="{B27C70CC-E7BB-40FF-84AB-FB9DDBABDA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60E603C9-3E2A-42DB-8998-F5A1CF7B9E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2010B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92724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 #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/>
          <p:nvPr/>
        </p:nvSpPr>
        <p:spPr>
          <a:xfrm>
            <a:off x="-57150" y="-120650"/>
            <a:ext cx="12306300" cy="6997700"/>
          </a:xfrm>
          <a:prstGeom prst="rect">
            <a:avLst/>
          </a:prstGeom>
          <a:gradFill>
            <a:gsLst>
              <a:gs pos="100000">
                <a:schemeClr val="accent5"/>
              </a:gs>
              <a:gs pos="13000">
                <a:schemeClr val="accent2"/>
              </a:gs>
            </a:gsLst>
            <a:lin ang="5400000"/>
          </a:gradFill>
          <a:ln w="25400">
            <a:solidFill>
              <a:srgbClr val="EBEBEB"/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7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7406453" y="2936053"/>
            <a:ext cx="2251800" cy="2251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908546137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8362768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1992667" y="1885762"/>
            <a:ext cx="1326600" cy="13266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2" name="Picture Placeholder 17"/>
          <p:cNvSpPr>
            <a:spLocks noGrp="1" noChangeAspect="1"/>
          </p:cNvSpPr>
          <p:nvPr>
            <p:ph type="pic" sz="quarter" idx="11"/>
          </p:nvPr>
        </p:nvSpPr>
        <p:spPr>
          <a:xfrm>
            <a:off x="5471798" y="1885762"/>
            <a:ext cx="1326600" cy="13266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3" name="Picture Placeholder 17"/>
          <p:cNvSpPr>
            <a:spLocks noGrp="1" noChangeAspect="1"/>
          </p:cNvSpPr>
          <p:nvPr>
            <p:ph type="pic" sz="quarter" idx="12"/>
          </p:nvPr>
        </p:nvSpPr>
        <p:spPr>
          <a:xfrm>
            <a:off x="8930500" y="1885762"/>
            <a:ext cx="1326600" cy="13266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649046723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C1234D60-8CC4-437E-A852-56E0D88030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14918" y="1032387"/>
            <a:ext cx="2729892" cy="239661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1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EA94F082-A656-49E8-8648-542A8A01A45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44812" y="1032387"/>
            <a:ext cx="2729892" cy="239661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1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DF59C389-1CF5-42E6-BD6A-C504D2B87C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14918" y="3429000"/>
            <a:ext cx="2729892" cy="239661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1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DE6FC279-AA5C-4BBE-B0CE-A972063575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944812" y="3429000"/>
            <a:ext cx="2729892" cy="239661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1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823670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2F83890-E56F-420B-ADDF-05694EFE5C5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154408" cy="6858001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effectLst/>
        </p:spPr>
        <p:txBody>
          <a:bodyPr/>
          <a:lstStyle>
            <a:lvl1pPr marL="0" indent="0" algn="ctr">
              <a:buNone/>
              <a:defRPr sz="175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77837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FDA1F73-6377-418A-9F4B-6551D939A6C0}"/>
              </a:ext>
            </a:extLst>
          </p:cNvPr>
          <p:cNvSpPr/>
          <p:nvPr userDrawn="1"/>
        </p:nvSpPr>
        <p:spPr>
          <a:xfrm>
            <a:off x="0" y="-1"/>
            <a:ext cx="12192000" cy="476372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9CA2849-1483-43F9-A4CB-AC7952B8A205}"/>
              </a:ext>
            </a:extLst>
          </p:cNvPr>
          <p:cNvCxnSpPr/>
          <p:nvPr userDrawn="1"/>
        </p:nvCxnSpPr>
        <p:spPr>
          <a:xfrm>
            <a:off x="0" y="201630"/>
            <a:ext cx="71628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C8D6ABC-B988-4359-BE60-251D195FC61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763728"/>
            <a:ext cx="12192000" cy="20942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00121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C8D6ABC-B988-4359-BE60-251D195FC61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9245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9894029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69016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135C8A6-84E6-4581-B467-F3B5AC64B3F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32388" y="638959"/>
            <a:ext cx="2129544" cy="2129544"/>
          </a:xfrm>
          <a:custGeom>
            <a:avLst/>
            <a:gdLst>
              <a:gd name="connsiteX0" fmla="*/ 1064772 w 2129544"/>
              <a:gd name="connsiteY0" fmla="*/ 0 h 2129544"/>
              <a:gd name="connsiteX1" fmla="*/ 2129544 w 2129544"/>
              <a:gd name="connsiteY1" fmla="*/ 1064772 h 2129544"/>
              <a:gd name="connsiteX2" fmla="*/ 1064772 w 2129544"/>
              <a:gd name="connsiteY2" fmla="*/ 2129544 h 2129544"/>
              <a:gd name="connsiteX3" fmla="*/ 0 w 2129544"/>
              <a:gd name="connsiteY3" fmla="*/ 1064772 h 2129544"/>
              <a:gd name="connsiteX4" fmla="*/ 1064772 w 2129544"/>
              <a:gd name="connsiteY4" fmla="*/ 0 h 212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9544" h="2129544">
                <a:moveTo>
                  <a:pt x="1064772" y="0"/>
                </a:moveTo>
                <a:cubicBezTo>
                  <a:pt x="1652829" y="0"/>
                  <a:pt x="2129544" y="476715"/>
                  <a:pt x="2129544" y="1064772"/>
                </a:cubicBezTo>
                <a:cubicBezTo>
                  <a:pt x="2129544" y="1652829"/>
                  <a:pt x="1652829" y="2129544"/>
                  <a:pt x="1064772" y="2129544"/>
                </a:cubicBezTo>
                <a:cubicBezTo>
                  <a:pt x="476715" y="2129544"/>
                  <a:pt x="0" y="1652829"/>
                  <a:pt x="0" y="1064772"/>
                </a:cubicBezTo>
                <a:cubicBezTo>
                  <a:pt x="0" y="476715"/>
                  <a:pt x="476715" y="0"/>
                  <a:pt x="1064772" y="0"/>
                </a:cubicBezTo>
                <a:close/>
              </a:path>
            </a:pathLst>
          </a:custGeom>
          <a:effectLst>
            <a:outerShdw blurRad="228600" dist="38100" dir="5400000" algn="t" rotWithShape="0">
              <a:prstClr val="black">
                <a:alpha val="26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545974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 rot="300380">
            <a:off x="6763096" y="1534698"/>
            <a:ext cx="4309022" cy="2867729"/>
          </a:xfrm>
          <a:custGeom>
            <a:avLst/>
            <a:gdLst>
              <a:gd name="connsiteX0" fmla="*/ 0 w 3507697"/>
              <a:gd name="connsiteY0" fmla="*/ 0 h 2338388"/>
              <a:gd name="connsiteX1" fmla="*/ 3507697 w 3507697"/>
              <a:gd name="connsiteY1" fmla="*/ 0 h 2338388"/>
              <a:gd name="connsiteX2" fmla="*/ 3507697 w 3507697"/>
              <a:gd name="connsiteY2" fmla="*/ 2338388 h 2338388"/>
              <a:gd name="connsiteX3" fmla="*/ 0 w 3507697"/>
              <a:gd name="connsiteY3" fmla="*/ 2338388 h 2338388"/>
              <a:gd name="connsiteX4" fmla="*/ 0 w 3507697"/>
              <a:gd name="connsiteY4" fmla="*/ 0 h 2338388"/>
              <a:gd name="connsiteX0" fmla="*/ 0 w 3783518"/>
              <a:gd name="connsiteY0" fmla="*/ 169497 h 2507885"/>
              <a:gd name="connsiteX1" fmla="*/ 3783518 w 3783518"/>
              <a:gd name="connsiteY1" fmla="*/ 0 h 2507885"/>
              <a:gd name="connsiteX2" fmla="*/ 3507697 w 3783518"/>
              <a:gd name="connsiteY2" fmla="*/ 2507885 h 2507885"/>
              <a:gd name="connsiteX3" fmla="*/ 0 w 3783518"/>
              <a:gd name="connsiteY3" fmla="*/ 2507885 h 2507885"/>
              <a:gd name="connsiteX4" fmla="*/ 0 w 3783518"/>
              <a:gd name="connsiteY4" fmla="*/ 169497 h 2507885"/>
              <a:gd name="connsiteX0" fmla="*/ 0 w 3889791"/>
              <a:gd name="connsiteY0" fmla="*/ 178806 h 2517194"/>
              <a:gd name="connsiteX1" fmla="*/ 3889791 w 3889791"/>
              <a:gd name="connsiteY1" fmla="*/ 0 h 2517194"/>
              <a:gd name="connsiteX2" fmla="*/ 3507697 w 3889791"/>
              <a:gd name="connsiteY2" fmla="*/ 2517194 h 2517194"/>
              <a:gd name="connsiteX3" fmla="*/ 0 w 3889791"/>
              <a:gd name="connsiteY3" fmla="*/ 2517194 h 2517194"/>
              <a:gd name="connsiteX4" fmla="*/ 0 w 3889791"/>
              <a:gd name="connsiteY4" fmla="*/ 178806 h 2517194"/>
              <a:gd name="connsiteX0" fmla="*/ 0 w 3966642"/>
              <a:gd name="connsiteY0" fmla="*/ 262030 h 2600418"/>
              <a:gd name="connsiteX1" fmla="*/ 3966642 w 3966642"/>
              <a:gd name="connsiteY1" fmla="*/ 0 h 2600418"/>
              <a:gd name="connsiteX2" fmla="*/ 3507697 w 3966642"/>
              <a:gd name="connsiteY2" fmla="*/ 2600418 h 2600418"/>
              <a:gd name="connsiteX3" fmla="*/ 0 w 3966642"/>
              <a:gd name="connsiteY3" fmla="*/ 2600418 h 2600418"/>
              <a:gd name="connsiteX4" fmla="*/ 0 w 3966642"/>
              <a:gd name="connsiteY4" fmla="*/ 262030 h 2600418"/>
              <a:gd name="connsiteX0" fmla="*/ 0 w 4072250"/>
              <a:gd name="connsiteY0" fmla="*/ 278931 h 2617319"/>
              <a:gd name="connsiteX1" fmla="*/ 4072250 w 4072250"/>
              <a:gd name="connsiteY1" fmla="*/ 0 h 2617319"/>
              <a:gd name="connsiteX2" fmla="*/ 3507697 w 4072250"/>
              <a:gd name="connsiteY2" fmla="*/ 2617319 h 2617319"/>
              <a:gd name="connsiteX3" fmla="*/ 0 w 4072250"/>
              <a:gd name="connsiteY3" fmla="*/ 2617319 h 2617319"/>
              <a:gd name="connsiteX4" fmla="*/ 0 w 4072250"/>
              <a:gd name="connsiteY4" fmla="*/ 278931 h 2617319"/>
              <a:gd name="connsiteX0" fmla="*/ 0 w 4128988"/>
              <a:gd name="connsiteY0" fmla="*/ 329796 h 2668184"/>
              <a:gd name="connsiteX1" fmla="*/ 4128988 w 4128988"/>
              <a:gd name="connsiteY1" fmla="*/ 0 h 2668184"/>
              <a:gd name="connsiteX2" fmla="*/ 3507697 w 4128988"/>
              <a:gd name="connsiteY2" fmla="*/ 2668184 h 2668184"/>
              <a:gd name="connsiteX3" fmla="*/ 0 w 4128988"/>
              <a:gd name="connsiteY3" fmla="*/ 2668184 h 2668184"/>
              <a:gd name="connsiteX4" fmla="*/ 0 w 4128988"/>
              <a:gd name="connsiteY4" fmla="*/ 329796 h 2668184"/>
              <a:gd name="connsiteX0" fmla="*/ 0 w 4086102"/>
              <a:gd name="connsiteY0" fmla="*/ 295443 h 2633831"/>
              <a:gd name="connsiteX1" fmla="*/ 4086102 w 4086102"/>
              <a:gd name="connsiteY1" fmla="*/ 0 h 2633831"/>
              <a:gd name="connsiteX2" fmla="*/ 3507697 w 4086102"/>
              <a:gd name="connsiteY2" fmla="*/ 2633831 h 2633831"/>
              <a:gd name="connsiteX3" fmla="*/ 0 w 4086102"/>
              <a:gd name="connsiteY3" fmla="*/ 2633831 h 2633831"/>
              <a:gd name="connsiteX4" fmla="*/ 0 w 4086102"/>
              <a:gd name="connsiteY4" fmla="*/ 295443 h 2633831"/>
              <a:gd name="connsiteX0" fmla="*/ 0 w 4086102"/>
              <a:gd name="connsiteY0" fmla="*/ 295443 h 2695111"/>
              <a:gd name="connsiteX1" fmla="*/ 4086102 w 4086102"/>
              <a:gd name="connsiteY1" fmla="*/ 0 h 2695111"/>
              <a:gd name="connsiteX2" fmla="*/ 3681347 w 4086102"/>
              <a:gd name="connsiteY2" fmla="*/ 2695111 h 2695111"/>
              <a:gd name="connsiteX3" fmla="*/ 0 w 4086102"/>
              <a:gd name="connsiteY3" fmla="*/ 2633831 h 2695111"/>
              <a:gd name="connsiteX4" fmla="*/ 0 w 4086102"/>
              <a:gd name="connsiteY4" fmla="*/ 295443 h 2695111"/>
              <a:gd name="connsiteX0" fmla="*/ 0 w 4086102"/>
              <a:gd name="connsiteY0" fmla="*/ 295443 h 2798060"/>
              <a:gd name="connsiteX1" fmla="*/ 4086102 w 4086102"/>
              <a:gd name="connsiteY1" fmla="*/ 0 h 2798060"/>
              <a:gd name="connsiteX2" fmla="*/ 3728611 w 4086102"/>
              <a:gd name="connsiteY2" fmla="*/ 2798060 h 2798060"/>
              <a:gd name="connsiteX3" fmla="*/ 0 w 4086102"/>
              <a:gd name="connsiteY3" fmla="*/ 2633831 h 2798060"/>
              <a:gd name="connsiteX4" fmla="*/ 0 w 4086102"/>
              <a:gd name="connsiteY4" fmla="*/ 295443 h 2798060"/>
              <a:gd name="connsiteX0" fmla="*/ 0 w 4086102"/>
              <a:gd name="connsiteY0" fmla="*/ 295443 h 2841611"/>
              <a:gd name="connsiteX1" fmla="*/ 4086102 w 4086102"/>
              <a:gd name="connsiteY1" fmla="*/ 0 h 2841611"/>
              <a:gd name="connsiteX2" fmla="*/ 3755373 w 4086102"/>
              <a:gd name="connsiteY2" fmla="*/ 2841611 h 2841611"/>
              <a:gd name="connsiteX3" fmla="*/ 0 w 4086102"/>
              <a:gd name="connsiteY3" fmla="*/ 2633831 h 2841611"/>
              <a:gd name="connsiteX4" fmla="*/ 0 w 4086102"/>
              <a:gd name="connsiteY4" fmla="*/ 295443 h 2841611"/>
              <a:gd name="connsiteX0" fmla="*/ 0 w 4086102"/>
              <a:gd name="connsiteY0" fmla="*/ 295443 h 2832025"/>
              <a:gd name="connsiteX1" fmla="*/ 4086102 w 4086102"/>
              <a:gd name="connsiteY1" fmla="*/ 0 h 2832025"/>
              <a:gd name="connsiteX2" fmla="*/ 3777481 w 4086102"/>
              <a:gd name="connsiteY2" fmla="*/ 2832025 h 2832025"/>
              <a:gd name="connsiteX3" fmla="*/ 0 w 4086102"/>
              <a:gd name="connsiteY3" fmla="*/ 2633831 h 2832025"/>
              <a:gd name="connsiteX4" fmla="*/ 0 w 4086102"/>
              <a:gd name="connsiteY4" fmla="*/ 295443 h 2832025"/>
              <a:gd name="connsiteX0" fmla="*/ 105884 w 4191986"/>
              <a:gd name="connsiteY0" fmla="*/ 295443 h 2832025"/>
              <a:gd name="connsiteX1" fmla="*/ 4191986 w 4191986"/>
              <a:gd name="connsiteY1" fmla="*/ 0 h 2832025"/>
              <a:gd name="connsiteX2" fmla="*/ 3883365 w 4191986"/>
              <a:gd name="connsiteY2" fmla="*/ 2832025 h 2832025"/>
              <a:gd name="connsiteX3" fmla="*/ 0 w 4191986"/>
              <a:gd name="connsiteY3" fmla="*/ 2734897 h 2832025"/>
              <a:gd name="connsiteX4" fmla="*/ 105884 w 4191986"/>
              <a:gd name="connsiteY4" fmla="*/ 295443 h 2832025"/>
              <a:gd name="connsiteX0" fmla="*/ 197364 w 4283466"/>
              <a:gd name="connsiteY0" fmla="*/ 295443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197364 w 4283466"/>
              <a:gd name="connsiteY4" fmla="*/ 295443 h 2832025"/>
              <a:gd name="connsiteX0" fmla="*/ 284189 w 4283466"/>
              <a:gd name="connsiteY0" fmla="*/ 326083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284189 w 4283466"/>
              <a:gd name="connsiteY4" fmla="*/ 326083 h 2832025"/>
              <a:gd name="connsiteX0" fmla="*/ 399383 w 4283466"/>
              <a:gd name="connsiteY0" fmla="*/ 331290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399383 w 4283466"/>
              <a:gd name="connsiteY4" fmla="*/ 331290 h 2832025"/>
              <a:gd name="connsiteX0" fmla="*/ 437338 w 4283466"/>
              <a:gd name="connsiteY0" fmla="*/ 327965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37338 w 4283466"/>
              <a:gd name="connsiteY4" fmla="*/ 327965 h 2832025"/>
              <a:gd name="connsiteX0" fmla="*/ 433348 w 4283466"/>
              <a:gd name="connsiteY0" fmla="*/ 282420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33348 w 4283466"/>
              <a:gd name="connsiteY4" fmla="*/ 282420 h 2832025"/>
              <a:gd name="connsiteX0" fmla="*/ 463712 w 4283466"/>
              <a:gd name="connsiteY0" fmla="*/ 279760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63712 w 4283466"/>
              <a:gd name="connsiteY4" fmla="*/ 279760 h 2832025"/>
              <a:gd name="connsiteX0" fmla="*/ 482344 w 4283466"/>
              <a:gd name="connsiteY0" fmla="*/ 383305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82344 w 4283466"/>
              <a:gd name="connsiteY4" fmla="*/ 383305 h 2832025"/>
              <a:gd name="connsiteX0" fmla="*/ 468699 w 4283466"/>
              <a:gd name="connsiteY0" fmla="*/ 336693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68699 w 4283466"/>
              <a:gd name="connsiteY4" fmla="*/ 336693 h 2832025"/>
              <a:gd name="connsiteX0" fmla="*/ 470534 w 4283466"/>
              <a:gd name="connsiteY0" fmla="*/ 303066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70534 w 4283466"/>
              <a:gd name="connsiteY4" fmla="*/ 303066 h 2832025"/>
              <a:gd name="connsiteX0" fmla="*/ 450309 w 4283466"/>
              <a:gd name="connsiteY0" fmla="*/ 290495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50309 w 4283466"/>
              <a:gd name="connsiteY4" fmla="*/ 290495 h 2832025"/>
              <a:gd name="connsiteX0" fmla="*/ 450309 w 4296452"/>
              <a:gd name="connsiteY0" fmla="*/ 305975 h 2847505"/>
              <a:gd name="connsiteX1" fmla="*/ 4296452 w 4296452"/>
              <a:gd name="connsiteY1" fmla="*/ 0 h 2847505"/>
              <a:gd name="connsiteX2" fmla="*/ 3974845 w 4296452"/>
              <a:gd name="connsiteY2" fmla="*/ 2847505 h 2847505"/>
              <a:gd name="connsiteX3" fmla="*/ 0 w 4296452"/>
              <a:gd name="connsiteY3" fmla="*/ 2666600 h 2847505"/>
              <a:gd name="connsiteX4" fmla="*/ 450309 w 4296452"/>
              <a:gd name="connsiteY4" fmla="*/ 305975 h 2847505"/>
              <a:gd name="connsiteX0" fmla="*/ 450309 w 4310684"/>
              <a:gd name="connsiteY0" fmla="*/ 307222 h 2848752"/>
              <a:gd name="connsiteX1" fmla="*/ 4310684 w 4310684"/>
              <a:gd name="connsiteY1" fmla="*/ 0 h 2848752"/>
              <a:gd name="connsiteX2" fmla="*/ 3974845 w 4310684"/>
              <a:gd name="connsiteY2" fmla="*/ 2848752 h 2848752"/>
              <a:gd name="connsiteX3" fmla="*/ 0 w 4310684"/>
              <a:gd name="connsiteY3" fmla="*/ 2667847 h 2848752"/>
              <a:gd name="connsiteX4" fmla="*/ 450309 w 4310684"/>
              <a:gd name="connsiteY4" fmla="*/ 307222 h 2848752"/>
              <a:gd name="connsiteX0" fmla="*/ 450309 w 4310684"/>
              <a:gd name="connsiteY0" fmla="*/ 307222 h 2867729"/>
              <a:gd name="connsiteX1" fmla="*/ 4310684 w 4310684"/>
              <a:gd name="connsiteY1" fmla="*/ 0 h 2867729"/>
              <a:gd name="connsiteX2" fmla="*/ 3976507 w 4310684"/>
              <a:gd name="connsiteY2" fmla="*/ 2867729 h 2867729"/>
              <a:gd name="connsiteX3" fmla="*/ 0 w 4310684"/>
              <a:gd name="connsiteY3" fmla="*/ 2667847 h 2867729"/>
              <a:gd name="connsiteX4" fmla="*/ 450309 w 4310684"/>
              <a:gd name="connsiteY4" fmla="*/ 307222 h 2867729"/>
              <a:gd name="connsiteX0" fmla="*/ 445149 w 4305524"/>
              <a:gd name="connsiteY0" fmla="*/ 307222 h 2867729"/>
              <a:gd name="connsiteX1" fmla="*/ 4305524 w 4305524"/>
              <a:gd name="connsiteY1" fmla="*/ 0 h 2867729"/>
              <a:gd name="connsiteX2" fmla="*/ 3971347 w 4305524"/>
              <a:gd name="connsiteY2" fmla="*/ 2867729 h 2867729"/>
              <a:gd name="connsiteX3" fmla="*/ 0 w 4305524"/>
              <a:gd name="connsiteY3" fmla="*/ 2672175 h 2867729"/>
              <a:gd name="connsiteX4" fmla="*/ 445149 w 4305524"/>
              <a:gd name="connsiteY4" fmla="*/ 307222 h 2867729"/>
              <a:gd name="connsiteX0" fmla="*/ 441825 w 4302200"/>
              <a:gd name="connsiteY0" fmla="*/ 307222 h 2867729"/>
              <a:gd name="connsiteX1" fmla="*/ 4302200 w 4302200"/>
              <a:gd name="connsiteY1" fmla="*/ 0 h 2867729"/>
              <a:gd name="connsiteX2" fmla="*/ 3968023 w 4302200"/>
              <a:gd name="connsiteY2" fmla="*/ 2867729 h 2867729"/>
              <a:gd name="connsiteX3" fmla="*/ 0 w 4302200"/>
              <a:gd name="connsiteY3" fmla="*/ 2710129 h 2867729"/>
              <a:gd name="connsiteX4" fmla="*/ 441825 w 4302200"/>
              <a:gd name="connsiteY4" fmla="*/ 307222 h 2867729"/>
              <a:gd name="connsiteX0" fmla="*/ 448231 w 4308606"/>
              <a:gd name="connsiteY0" fmla="*/ 307222 h 2867729"/>
              <a:gd name="connsiteX1" fmla="*/ 4308606 w 4308606"/>
              <a:gd name="connsiteY1" fmla="*/ 0 h 2867729"/>
              <a:gd name="connsiteX2" fmla="*/ 3974429 w 4308606"/>
              <a:gd name="connsiteY2" fmla="*/ 2867729 h 2867729"/>
              <a:gd name="connsiteX3" fmla="*/ 0 w 4308606"/>
              <a:gd name="connsiteY3" fmla="*/ 2691567 h 2867729"/>
              <a:gd name="connsiteX4" fmla="*/ 448231 w 4308606"/>
              <a:gd name="connsiteY4" fmla="*/ 307222 h 2867729"/>
              <a:gd name="connsiteX0" fmla="*/ 448647 w 4309022"/>
              <a:gd name="connsiteY0" fmla="*/ 307222 h 2867729"/>
              <a:gd name="connsiteX1" fmla="*/ 4309022 w 4309022"/>
              <a:gd name="connsiteY1" fmla="*/ 0 h 2867729"/>
              <a:gd name="connsiteX2" fmla="*/ 3974845 w 4309022"/>
              <a:gd name="connsiteY2" fmla="*/ 2867729 h 2867729"/>
              <a:gd name="connsiteX3" fmla="*/ 0 w 4309022"/>
              <a:gd name="connsiteY3" fmla="*/ 2686822 h 2867729"/>
              <a:gd name="connsiteX4" fmla="*/ 448647 w 4309022"/>
              <a:gd name="connsiteY4" fmla="*/ 307222 h 2867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9022" h="2867729">
                <a:moveTo>
                  <a:pt x="448647" y="307222"/>
                </a:moveTo>
                <a:lnTo>
                  <a:pt x="4309022" y="0"/>
                </a:lnTo>
                <a:lnTo>
                  <a:pt x="3974845" y="2867729"/>
                </a:lnTo>
                <a:lnTo>
                  <a:pt x="0" y="2686822"/>
                </a:lnTo>
                <a:lnTo>
                  <a:pt x="448647" y="3072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effectLst>
            <a:innerShdw blurRad="114300">
              <a:prstClr val="black"/>
            </a:innerShdw>
          </a:effectLst>
          <a:scene3d>
            <a:camera prst="isometricOffAxis1Right"/>
            <a:lightRig rig="threePt" dir="t"/>
          </a:scene3d>
        </p:spPr>
        <p:txBody>
          <a:bodyPr/>
          <a:lstStyle>
            <a:lvl1pPr marL="0" indent="0" algn="ctr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84767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A5C9AB2E-2B61-4EDD-820B-DA8DE1F2E3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0151" y="908050"/>
            <a:ext cx="5219700" cy="1492250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67618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arna Mast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2677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41554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CAA1F-465C-4B0C-A122-B391DDE820B7}" type="datetimeFigureOut">
              <a:rPr lang="zh-CN" altLang="en-US" smtClean="0"/>
              <a:t>2023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19652-E430-4889-8A05-3ED8B59E777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561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CAA1F-465C-4B0C-A122-B391DDE820B7}" type="datetimeFigureOut">
              <a:rPr lang="zh-CN" altLang="en-US" smtClean="0"/>
              <a:t>2023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19652-E430-4889-8A05-3ED8B59E777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55991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CAA1F-465C-4B0C-A122-B391DDE820B7}" type="datetimeFigureOut">
              <a:rPr lang="zh-CN" altLang="en-US" smtClean="0"/>
              <a:t>2023/5/1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19652-E430-4889-8A05-3ED8B59E777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534184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ig screen 02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laceholder.png"/>
          <p:cNvPicPr/>
          <p:nvPr/>
        </p:nvPicPr>
        <p:blipFill rotWithShape="1">
          <a:blip r:embed="rId2" cstate="print">
            <a:alphaModFix amt="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6350" y="-95250"/>
            <a:ext cx="12306300" cy="6051550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-38100"/>
            <a:ext cx="12192000" cy="5994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  <p:sp>
        <p:nvSpPr>
          <p:cNvPr id="66" name="Shape 66"/>
          <p:cNvSpPr/>
          <p:nvPr/>
        </p:nvSpPr>
        <p:spPr>
          <a:xfrm>
            <a:off x="-57150" y="-57150"/>
            <a:ext cx="12306300" cy="6019800"/>
          </a:xfrm>
          <a:prstGeom prst="rect">
            <a:avLst/>
          </a:prstGeom>
          <a:solidFill>
            <a:srgbClr val="7B8DB3">
              <a:alpha val="10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</p:spTree>
    <p:extLst>
      <p:ext uri="{BB962C8B-B14F-4D97-AF65-F5344CB8AC3E}">
        <p14:creationId xmlns:p14="http://schemas.microsoft.com/office/powerpoint/2010/main" val="3248886274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4362865" y="1670078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7" name="Picture Placeholder 17"/>
          <p:cNvSpPr>
            <a:spLocks noGrp="1" noChangeAspect="1"/>
          </p:cNvSpPr>
          <p:nvPr>
            <p:ph type="pic" sz="quarter" idx="11"/>
          </p:nvPr>
        </p:nvSpPr>
        <p:spPr>
          <a:xfrm>
            <a:off x="6563683" y="1670078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8" name="Picture Placeholder 17"/>
          <p:cNvSpPr>
            <a:spLocks noGrp="1" noChangeAspect="1"/>
          </p:cNvSpPr>
          <p:nvPr>
            <p:ph type="pic" sz="quarter" idx="12"/>
          </p:nvPr>
        </p:nvSpPr>
        <p:spPr>
          <a:xfrm>
            <a:off x="8785321" y="1670078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9" name="Picture Placeholder 17"/>
          <p:cNvSpPr>
            <a:spLocks noGrp="1" noChangeAspect="1"/>
          </p:cNvSpPr>
          <p:nvPr>
            <p:ph type="pic" sz="quarter" idx="13"/>
          </p:nvPr>
        </p:nvSpPr>
        <p:spPr>
          <a:xfrm>
            <a:off x="4362865" y="3244435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30" name="Picture Placeholder 17"/>
          <p:cNvSpPr>
            <a:spLocks noGrp="1" noChangeAspect="1"/>
          </p:cNvSpPr>
          <p:nvPr>
            <p:ph type="pic" sz="quarter" idx="14"/>
          </p:nvPr>
        </p:nvSpPr>
        <p:spPr>
          <a:xfrm>
            <a:off x="6563683" y="3244435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31" name="Picture Placeholder 17"/>
          <p:cNvSpPr>
            <a:spLocks noGrp="1" noChangeAspect="1"/>
          </p:cNvSpPr>
          <p:nvPr>
            <p:ph type="pic" sz="quarter" idx="15"/>
          </p:nvPr>
        </p:nvSpPr>
        <p:spPr>
          <a:xfrm>
            <a:off x="8785321" y="3244435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32" name="Picture Placeholder 17"/>
          <p:cNvSpPr>
            <a:spLocks noGrp="1" noChangeAspect="1"/>
          </p:cNvSpPr>
          <p:nvPr>
            <p:ph type="pic" sz="quarter" idx="16"/>
          </p:nvPr>
        </p:nvSpPr>
        <p:spPr>
          <a:xfrm>
            <a:off x="4362865" y="4818352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33" name="Picture Placeholder 17"/>
          <p:cNvSpPr>
            <a:spLocks noGrp="1" noChangeAspect="1"/>
          </p:cNvSpPr>
          <p:nvPr>
            <p:ph type="pic" sz="quarter" idx="17"/>
          </p:nvPr>
        </p:nvSpPr>
        <p:spPr>
          <a:xfrm>
            <a:off x="6563683" y="4818352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34" name="Picture Placeholder 17"/>
          <p:cNvSpPr>
            <a:spLocks noGrp="1" noChangeAspect="1"/>
          </p:cNvSpPr>
          <p:nvPr>
            <p:ph type="pic" sz="quarter" idx="18"/>
          </p:nvPr>
        </p:nvSpPr>
        <p:spPr>
          <a:xfrm>
            <a:off x="8785321" y="4818352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360046447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366000" y="1416050"/>
            <a:ext cx="4826000" cy="236537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959350" y="3781581"/>
            <a:ext cx="4826000" cy="236537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99745024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Subtitle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1620025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Subtitle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/>
          <p:nvPr/>
        </p:nvSpPr>
        <p:spPr>
          <a:xfrm>
            <a:off x="-57150" y="-120650"/>
            <a:ext cx="12306300" cy="6997700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100000">
                <a:schemeClr val="accent1"/>
              </a:gs>
            </a:gsLst>
            <a:lin ang="5400000"/>
          </a:gradFill>
          <a:ln w="25400">
            <a:solidFill>
              <a:srgbClr val="EBEBEB"/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6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2324478" y="1538027"/>
            <a:ext cx="2307600" cy="23076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789202704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87556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 #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/>
          <p:nvPr/>
        </p:nvSpPr>
        <p:spPr>
          <a:xfrm>
            <a:off x="-57150" y="-120650"/>
            <a:ext cx="12306300" cy="69977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/>
          </a:gradFill>
          <a:ln w="25400">
            <a:solidFill>
              <a:srgbClr val="EBEBEB"/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9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7807951" y="4477986"/>
            <a:ext cx="1414800" cy="1414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10" name="Picture Placeholder 17"/>
          <p:cNvSpPr>
            <a:spLocks noGrp="1" noChangeAspect="1"/>
          </p:cNvSpPr>
          <p:nvPr>
            <p:ph type="pic" sz="quarter" idx="11"/>
          </p:nvPr>
        </p:nvSpPr>
        <p:spPr>
          <a:xfrm>
            <a:off x="3053923" y="1231900"/>
            <a:ext cx="811800" cy="811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347091642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 #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/>
          <p:nvPr/>
        </p:nvSpPr>
        <p:spPr>
          <a:xfrm>
            <a:off x="-57150" y="-120650"/>
            <a:ext cx="12306300" cy="6997700"/>
          </a:xfrm>
          <a:prstGeom prst="rect">
            <a:avLst/>
          </a:prstGeom>
          <a:gradFill>
            <a:gsLst>
              <a:gs pos="100000">
                <a:schemeClr val="accent5"/>
              </a:gs>
              <a:gs pos="13000">
                <a:schemeClr val="accent2"/>
              </a:gs>
            </a:gsLst>
            <a:lin ang="5400000"/>
          </a:gradFill>
          <a:ln w="25400">
            <a:solidFill>
              <a:srgbClr val="EBEBEB"/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7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7406453" y="2936053"/>
            <a:ext cx="2251800" cy="2251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360485266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5070316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1992667" y="1885762"/>
            <a:ext cx="1326600" cy="13266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2" name="Picture Placeholder 17"/>
          <p:cNvSpPr>
            <a:spLocks noGrp="1" noChangeAspect="1"/>
          </p:cNvSpPr>
          <p:nvPr>
            <p:ph type="pic" sz="quarter" idx="11"/>
          </p:nvPr>
        </p:nvSpPr>
        <p:spPr>
          <a:xfrm>
            <a:off x="5471798" y="1885762"/>
            <a:ext cx="1326600" cy="13266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3" name="Picture Placeholder 17"/>
          <p:cNvSpPr>
            <a:spLocks noGrp="1" noChangeAspect="1"/>
          </p:cNvSpPr>
          <p:nvPr>
            <p:ph type="pic" sz="quarter" idx="12"/>
          </p:nvPr>
        </p:nvSpPr>
        <p:spPr>
          <a:xfrm>
            <a:off x="8930500" y="1885762"/>
            <a:ext cx="1326600" cy="13266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692464944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C1234D60-8CC4-437E-A852-56E0D88030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14918" y="1032387"/>
            <a:ext cx="2729892" cy="239661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1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EA94F082-A656-49E8-8648-542A8A01A45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44812" y="1032387"/>
            <a:ext cx="2729892" cy="239661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1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DF59C389-1CF5-42E6-BD6A-C504D2B87C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14918" y="3429000"/>
            <a:ext cx="2729892" cy="239661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1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DE6FC279-AA5C-4BBE-B0CE-A972063575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944812" y="3429000"/>
            <a:ext cx="2729892" cy="239661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1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7622564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2F83890-E56F-420B-ADDF-05694EFE5C5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154408" cy="6858001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effectLst/>
        </p:spPr>
        <p:txBody>
          <a:bodyPr/>
          <a:lstStyle>
            <a:lvl1pPr marL="0" indent="0" algn="ctr">
              <a:buNone/>
              <a:defRPr sz="175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650715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66416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FDA1F73-6377-418A-9F4B-6551D939A6C0}"/>
              </a:ext>
            </a:extLst>
          </p:cNvPr>
          <p:cNvSpPr/>
          <p:nvPr userDrawn="1"/>
        </p:nvSpPr>
        <p:spPr>
          <a:xfrm>
            <a:off x="0" y="-1"/>
            <a:ext cx="12192000" cy="476372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9CA2849-1483-43F9-A4CB-AC7952B8A205}"/>
              </a:ext>
            </a:extLst>
          </p:cNvPr>
          <p:cNvCxnSpPr/>
          <p:nvPr userDrawn="1"/>
        </p:nvCxnSpPr>
        <p:spPr>
          <a:xfrm>
            <a:off x="0" y="201630"/>
            <a:ext cx="71628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C8D6ABC-B988-4359-BE60-251D195FC61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763728"/>
            <a:ext cx="12192000" cy="20942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6469727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C8D6ABC-B988-4359-BE60-251D195FC61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9245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5418462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34684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ist-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432256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135C8A6-84E6-4581-B467-F3B5AC64B3F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32388" y="638959"/>
            <a:ext cx="2129544" cy="2129544"/>
          </a:xfrm>
          <a:custGeom>
            <a:avLst/>
            <a:gdLst>
              <a:gd name="connsiteX0" fmla="*/ 1064772 w 2129544"/>
              <a:gd name="connsiteY0" fmla="*/ 0 h 2129544"/>
              <a:gd name="connsiteX1" fmla="*/ 2129544 w 2129544"/>
              <a:gd name="connsiteY1" fmla="*/ 1064772 h 2129544"/>
              <a:gd name="connsiteX2" fmla="*/ 1064772 w 2129544"/>
              <a:gd name="connsiteY2" fmla="*/ 2129544 h 2129544"/>
              <a:gd name="connsiteX3" fmla="*/ 0 w 2129544"/>
              <a:gd name="connsiteY3" fmla="*/ 1064772 h 2129544"/>
              <a:gd name="connsiteX4" fmla="*/ 1064772 w 2129544"/>
              <a:gd name="connsiteY4" fmla="*/ 0 h 212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9544" h="2129544">
                <a:moveTo>
                  <a:pt x="1064772" y="0"/>
                </a:moveTo>
                <a:cubicBezTo>
                  <a:pt x="1652829" y="0"/>
                  <a:pt x="2129544" y="476715"/>
                  <a:pt x="2129544" y="1064772"/>
                </a:cubicBezTo>
                <a:cubicBezTo>
                  <a:pt x="2129544" y="1652829"/>
                  <a:pt x="1652829" y="2129544"/>
                  <a:pt x="1064772" y="2129544"/>
                </a:cubicBezTo>
                <a:cubicBezTo>
                  <a:pt x="476715" y="2129544"/>
                  <a:pt x="0" y="1652829"/>
                  <a:pt x="0" y="1064772"/>
                </a:cubicBezTo>
                <a:cubicBezTo>
                  <a:pt x="0" y="476715"/>
                  <a:pt x="476715" y="0"/>
                  <a:pt x="1064772" y="0"/>
                </a:cubicBezTo>
                <a:close/>
              </a:path>
            </a:pathLst>
          </a:custGeom>
          <a:effectLst>
            <a:outerShdw blurRad="228600" dist="38100" dir="5400000" algn="t" rotWithShape="0">
              <a:prstClr val="black">
                <a:alpha val="26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52563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 rot="300380">
            <a:off x="6763096" y="1534698"/>
            <a:ext cx="4309022" cy="2867729"/>
          </a:xfrm>
          <a:custGeom>
            <a:avLst/>
            <a:gdLst>
              <a:gd name="connsiteX0" fmla="*/ 0 w 3507697"/>
              <a:gd name="connsiteY0" fmla="*/ 0 h 2338388"/>
              <a:gd name="connsiteX1" fmla="*/ 3507697 w 3507697"/>
              <a:gd name="connsiteY1" fmla="*/ 0 h 2338388"/>
              <a:gd name="connsiteX2" fmla="*/ 3507697 w 3507697"/>
              <a:gd name="connsiteY2" fmla="*/ 2338388 h 2338388"/>
              <a:gd name="connsiteX3" fmla="*/ 0 w 3507697"/>
              <a:gd name="connsiteY3" fmla="*/ 2338388 h 2338388"/>
              <a:gd name="connsiteX4" fmla="*/ 0 w 3507697"/>
              <a:gd name="connsiteY4" fmla="*/ 0 h 2338388"/>
              <a:gd name="connsiteX0" fmla="*/ 0 w 3783518"/>
              <a:gd name="connsiteY0" fmla="*/ 169497 h 2507885"/>
              <a:gd name="connsiteX1" fmla="*/ 3783518 w 3783518"/>
              <a:gd name="connsiteY1" fmla="*/ 0 h 2507885"/>
              <a:gd name="connsiteX2" fmla="*/ 3507697 w 3783518"/>
              <a:gd name="connsiteY2" fmla="*/ 2507885 h 2507885"/>
              <a:gd name="connsiteX3" fmla="*/ 0 w 3783518"/>
              <a:gd name="connsiteY3" fmla="*/ 2507885 h 2507885"/>
              <a:gd name="connsiteX4" fmla="*/ 0 w 3783518"/>
              <a:gd name="connsiteY4" fmla="*/ 169497 h 2507885"/>
              <a:gd name="connsiteX0" fmla="*/ 0 w 3889791"/>
              <a:gd name="connsiteY0" fmla="*/ 178806 h 2517194"/>
              <a:gd name="connsiteX1" fmla="*/ 3889791 w 3889791"/>
              <a:gd name="connsiteY1" fmla="*/ 0 h 2517194"/>
              <a:gd name="connsiteX2" fmla="*/ 3507697 w 3889791"/>
              <a:gd name="connsiteY2" fmla="*/ 2517194 h 2517194"/>
              <a:gd name="connsiteX3" fmla="*/ 0 w 3889791"/>
              <a:gd name="connsiteY3" fmla="*/ 2517194 h 2517194"/>
              <a:gd name="connsiteX4" fmla="*/ 0 w 3889791"/>
              <a:gd name="connsiteY4" fmla="*/ 178806 h 2517194"/>
              <a:gd name="connsiteX0" fmla="*/ 0 w 3966642"/>
              <a:gd name="connsiteY0" fmla="*/ 262030 h 2600418"/>
              <a:gd name="connsiteX1" fmla="*/ 3966642 w 3966642"/>
              <a:gd name="connsiteY1" fmla="*/ 0 h 2600418"/>
              <a:gd name="connsiteX2" fmla="*/ 3507697 w 3966642"/>
              <a:gd name="connsiteY2" fmla="*/ 2600418 h 2600418"/>
              <a:gd name="connsiteX3" fmla="*/ 0 w 3966642"/>
              <a:gd name="connsiteY3" fmla="*/ 2600418 h 2600418"/>
              <a:gd name="connsiteX4" fmla="*/ 0 w 3966642"/>
              <a:gd name="connsiteY4" fmla="*/ 262030 h 2600418"/>
              <a:gd name="connsiteX0" fmla="*/ 0 w 4072250"/>
              <a:gd name="connsiteY0" fmla="*/ 278931 h 2617319"/>
              <a:gd name="connsiteX1" fmla="*/ 4072250 w 4072250"/>
              <a:gd name="connsiteY1" fmla="*/ 0 h 2617319"/>
              <a:gd name="connsiteX2" fmla="*/ 3507697 w 4072250"/>
              <a:gd name="connsiteY2" fmla="*/ 2617319 h 2617319"/>
              <a:gd name="connsiteX3" fmla="*/ 0 w 4072250"/>
              <a:gd name="connsiteY3" fmla="*/ 2617319 h 2617319"/>
              <a:gd name="connsiteX4" fmla="*/ 0 w 4072250"/>
              <a:gd name="connsiteY4" fmla="*/ 278931 h 2617319"/>
              <a:gd name="connsiteX0" fmla="*/ 0 w 4128988"/>
              <a:gd name="connsiteY0" fmla="*/ 329796 h 2668184"/>
              <a:gd name="connsiteX1" fmla="*/ 4128988 w 4128988"/>
              <a:gd name="connsiteY1" fmla="*/ 0 h 2668184"/>
              <a:gd name="connsiteX2" fmla="*/ 3507697 w 4128988"/>
              <a:gd name="connsiteY2" fmla="*/ 2668184 h 2668184"/>
              <a:gd name="connsiteX3" fmla="*/ 0 w 4128988"/>
              <a:gd name="connsiteY3" fmla="*/ 2668184 h 2668184"/>
              <a:gd name="connsiteX4" fmla="*/ 0 w 4128988"/>
              <a:gd name="connsiteY4" fmla="*/ 329796 h 2668184"/>
              <a:gd name="connsiteX0" fmla="*/ 0 w 4086102"/>
              <a:gd name="connsiteY0" fmla="*/ 295443 h 2633831"/>
              <a:gd name="connsiteX1" fmla="*/ 4086102 w 4086102"/>
              <a:gd name="connsiteY1" fmla="*/ 0 h 2633831"/>
              <a:gd name="connsiteX2" fmla="*/ 3507697 w 4086102"/>
              <a:gd name="connsiteY2" fmla="*/ 2633831 h 2633831"/>
              <a:gd name="connsiteX3" fmla="*/ 0 w 4086102"/>
              <a:gd name="connsiteY3" fmla="*/ 2633831 h 2633831"/>
              <a:gd name="connsiteX4" fmla="*/ 0 w 4086102"/>
              <a:gd name="connsiteY4" fmla="*/ 295443 h 2633831"/>
              <a:gd name="connsiteX0" fmla="*/ 0 w 4086102"/>
              <a:gd name="connsiteY0" fmla="*/ 295443 h 2695111"/>
              <a:gd name="connsiteX1" fmla="*/ 4086102 w 4086102"/>
              <a:gd name="connsiteY1" fmla="*/ 0 h 2695111"/>
              <a:gd name="connsiteX2" fmla="*/ 3681347 w 4086102"/>
              <a:gd name="connsiteY2" fmla="*/ 2695111 h 2695111"/>
              <a:gd name="connsiteX3" fmla="*/ 0 w 4086102"/>
              <a:gd name="connsiteY3" fmla="*/ 2633831 h 2695111"/>
              <a:gd name="connsiteX4" fmla="*/ 0 w 4086102"/>
              <a:gd name="connsiteY4" fmla="*/ 295443 h 2695111"/>
              <a:gd name="connsiteX0" fmla="*/ 0 w 4086102"/>
              <a:gd name="connsiteY0" fmla="*/ 295443 h 2798060"/>
              <a:gd name="connsiteX1" fmla="*/ 4086102 w 4086102"/>
              <a:gd name="connsiteY1" fmla="*/ 0 h 2798060"/>
              <a:gd name="connsiteX2" fmla="*/ 3728611 w 4086102"/>
              <a:gd name="connsiteY2" fmla="*/ 2798060 h 2798060"/>
              <a:gd name="connsiteX3" fmla="*/ 0 w 4086102"/>
              <a:gd name="connsiteY3" fmla="*/ 2633831 h 2798060"/>
              <a:gd name="connsiteX4" fmla="*/ 0 w 4086102"/>
              <a:gd name="connsiteY4" fmla="*/ 295443 h 2798060"/>
              <a:gd name="connsiteX0" fmla="*/ 0 w 4086102"/>
              <a:gd name="connsiteY0" fmla="*/ 295443 h 2841611"/>
              <a:gd name="connsiteX1" fmla="*/ 4086102 w 4086102"/>
              <a:gd name="connsiteY1" fmla="*/ 0 h 2841611"/>
              <a:gd name="connsiteX2" fmla="*/ 3755373 w 4086102"/>
              <a:gd name="connsiteY2" fmla="*/ 2841611 h 2841611"/>
              <a:gd name="connsiteX3" fmla="*/ 0 w 4086102"/>
              <a:gd name="connsiteY3" fmla="*/ 2633831 h 2841611"/>
              <a:gd name="connsiteX4" fmla="*/ 0 w 4086102"/>
              <a:gd name="connsiteY4" fmla="*/ 295443 h 2841611"/>
              <a:gd name="connsiteX0" fmla="*/ 0 w 4086102"/>
              <a:gd name="connsiteY0" fmla="*/ 295443 h 2832025"/>
              <a:gd name="connsiteX1" fmla="*/ 4086102 w 4086102"/>
              <a:gd name="connsiteY1" fmla="*/ 0 h 2832025"/>
              <a:gd name="connsiteX2" fmla="*/ 3777481 w 4086102"/>
              <a:gd name="connsiteY2" fmla="*/ 2832025 h 2832025"/>
              <a:gd name="connsiteX3" fmla="*/ 0 w 4086102"/>
              <a:gd name="connsiteY3" fmla="*/ 2633831 h 2832025"/>
              <a:gd name="connsiteX4" fmla="*/ 0 w 4086102"/>
              <a:gd name="connsiteY4" fmla="*/ 295443 h 2832025"/>
              <a:gd name="connsiteX0" fmla="*/ 105884 w 4191986"/>
              <a:gd name="connsiteY0" fmla="*/ 295443 h 2832025"/>
              <a:gd name="connsiteX1" fmla="*/ 4191986 w 4191986"/>
              <a:gd name="connsiteY1" fmla="*/ 0 h 2832025"/>
              <a:gd name="connsiteX2" fmla="*/ 3883365 w 4191986"/>
              <a:gd name="connsiteY2" fmla="*/ 2832025 h 2832025"/>
              <a:gd name="connsiteX3" fmla="*/ 0 w 4191986"/>
              <a:gd name="connsiteY3" fmla="*/ 2734897 h 2832025"/>
              <a:gd name="connsiteX4" fmla="*/ 105884 w 4191986"/>
              <a:gd name="connsiteY4" fmla="*/ 295443 h 2832025"/>
              <a:gd name="connsiteX0" fmla="*/ 197364 w 4283466"/>
              <a:gd name="connsiteY0" fmla="*/ 295443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197364 w 4283466"/>
              <a:gd name="connsiteY4" fmla="*/ 295443 h 2832025"/>
              <a:gd name="connsiteX0" fmla="*/ 284189 w 4283466"/>
              <a:gd name="connsiteY0" fmla="*/ 326083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284189 w 4283466"/>
              <a:gd name="connsiteY4" fmla="*/ 326083 h 2832025"/>
              <a:gd name="connsiteX0" fmla="*/ 399383 w 4283466"/>
              <a:gd name="connsiteY0" fmla="*/ 331290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399383 w 4283466"/>
              <a:gd name="connsiteY4" fmla="*/ 331290 h 2832025"/>
              <a:gd name="connsiteX0" fmla="*/ 437338 w 4283466"/>
              <a:gd name="connsiteY0" fmla="*/ 327965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37338 w 4283466"/>
              <a:gd name="connsiteY4" fmla="*/ 327965 h 2832025"/>
              <a:gd name="connsiteX0" fmla="*/ 433348 w 4283466"/>
              <a:gd name="connsiteY0" fmla="*/ 282420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33348 w 4283466"/>
              <a:gd name="connsiteY4" fmla="*/ 282420 h 2832025"/>
              <a:gd name="connsiteX0" fmla="*/ 463712 w 4283466"/>
              <a:gd name="connsiteY0" fmla="*/ 279760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63712 w 4283466"/>
              <a:gd name="connsiteY4" fmla="*/ 279760 h 2832025"/>
              <a:gd name="connsiteX0" fmla="*/ 482344 w 4283466"/>
              <a:gd name="connsiteY0" fmla="*/ 383305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82344 w 4283466"/>
              <a:gd name="connsiteY4" fmla="*/ 383305 h 2832025"/>
              <a:gd name="connsiteX0" fmla="*/ 468699 w 4283466"/>
              <a:gd name="connsiteY0" fmla="*/ 336693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68699 w 4283466"/>
              <a:gd name="connsiteY4" fmla="*/ 336693 h 2832025"/>
              <a:gd name="connsiteX0" fmla="*/ 470534 w 4283466"/>
              <a:gd name="connsiteY0" fmla="*/ 303066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70534 w 4283466"/>
              <a:gd name="connsiteY4" fmla="*/ 303066 h 2832025"/>
              <a:gd name="connsiteX0" fmla="*/ 450309 w 4283466"/>
              <a:gd name="connsiteY0" fmla="*/ 290495 h 2832025"/>
              <a:gd name="connsiteX1" fmla="*/ 4283466 w 4283466"/>
              <a:gd name="connsiteY1" fmla="*/ 0 h 2832025"/>
              <a:gd name="connsiteX2" fmla="*/ 3974845 w 4283466"/>
              <a:gd name="connsiteY2" fmla="*/ 2832025 h 2832025"/>
              <a:gd name="connsiteX3" fmla="*/ 0 w 4283466"/>
              <a:gd name="connsiteY3" fmla="*/ 2651120 h 2832025"/>
              <a:gd name="connsiteX4" fmla="*/ 450309 w 4283466"/>
              <a:gd name="connsiteY4" fmla="*/ 290495 h 2832025"/>
              <a:gd name="connsiteX0" fmla="*/ 450309 w 4296452"/>
              <a:gd name="connsiteY0" fmla="*/ 305975 h 2847505"/>
              <a:gd name="connsiteX1" fmla="*/ 4296452 w 4296452"/>
              <a:gd name="connsiteY1" fmla="*/ 0 h 2847505"/>
              <a:gd name="connsiteX2" fmla="*/ 3974845 w 4296452"/>
              <a:gd name="connsiteY2" fmla="*/ 2847505 h 2847505"/>
              <a:gd name="connsiteX3" fmla="*/ 0 w 4296452"/>
              <a:gd name="connsiteY3" fmla="*/ 2666600 h 2847505"/>
              <a:gd name="connsiteX4" fmla="*/ 450309 w 4296452"/>
              <a:gd name="connsiteY4" fmla="*/ 305975 h 2847505"/>
              <a:gd name="connsiteX0" fmla="*/ 450309 w 4310684"/>
              <a:gd name="connsiteY0" fmla="*/ 307222 h 2848752"/>
              <a:gd name="connsiteX1" fmla="*/ 4310684 w 4310684"/>
              <a:gd name="connsiteY1" fmla="*/ 0 h 2848752"/>
              <a:gd name="connsiteX2" fmla="*/ 3974845 w 4310684"/>
              <a:gd name="connsiteY2" fmla="*/ 2848752 h 2848752"/>
              <a:gd name="connsiteX3" fmla="*/ 0 w 4310684"/>
              <a:gd name="connsiteY3" fmla="*/ 2667847 h 2848752"/>
              <a:gd name="connsiteX4" fmla="*/ 450309 w 4310684"/>
              <a:gd name="connsiteY4" fmla="*/ 307222 h 2848752"/>
              <a:gd name="connsiteX0" fmla="*/ 450309 w 4310684"/>
              <a:gd name="connsiteY0" fmla="*/ 307222 h 2867729"/>
              <a:gd name="connsiteX1" fmla="*/ 4310684 w 4310684"/>
              <a:gd name="connsiteY1" fmla="*/ 0 h 2867729"/>
              <a:gd name="connsiteX2" fmla="*/ 3976507 w 4310684"/>
              <a:gd name="connsiteY2" fmla="*/ 2867729 h 2867729"/>
              <a:gd name="connsiteX3" fmla="*/ 0 w 4310684"/>
              <a:gd name="connsiteY3" fmla="*/ 2667847 h 2867729"/>
              <a:gd name="connsiteX4" fmla="*/ 450309 w 4310684"/>
              <a:gd name="connsiteY4" fmla="*/ 307222 h 2867729"/>
              <a:gd name="connsiteX0" fmla="*/ 445149 w 4305524"/>
              <a:gd name="connsiteY0" fmla="*/ 307222 h 2867729"/>
              <a:gd name="connsiteX1" fmla="*/ 4305524 w 4305524"/>
              <a:gd name="connsiteY1" fmla="*/ 0 h 2867729"/>
              <a:gd name="connsiteX2" fmla="*/ 3971347 w 4305524"/>
              <a:gd name="connsiteY2" fmla="*/ 2867729 h 2867729"/>
              <a:gd name="connsiteX3" fmla="*/ 0 w 4305524"/>
              <a:gd name="connsiteY3" fmla="*/ 2672175 h 2867729"/>
              <a:gd name="connsiteX4" fmla="*/ 445149 w 4305524"/>
              <a:gd name="connsiteY4" fmla="*/ 307222 h 2867729"/>
              <a:gd name="connsiteX0" fmla="*/ 441825 w 4302200"/>
              <a:gd name="connsiteY0" fmla="*/ 307222 h 2867729"/>
              <a:gd name="connsiteX1" fmla="*/ 4302200 w 4302200"/>
              <a:gd name="connsiteY1" fmla="*/ 0 h 2867729"/>
              <a:gd name="connsiteX2" fmla="*/ 3968023 w 4302200"/>
              <a:gd name="connsiteY2" fmla="*/ 2867729 h 2867729"/>
              <a:gd name="connsiteX3" fmla="*/ 0 w 4302200"/>
              <a:gd name="connsiteY3" fmla="*/ 2710129 h 2867729"/>
              <a:gd name="connsiteX4" fmla="*/ 441825 w 4302200"/>
              <a:gd name="connsiteY4" fmla="*/ 307222 h 2867729"/>
              <a:gd name="connsiteX0" fmla="*/ 448231 w 4308606"/>
              <a:gd name="connsiteY0" fmla="*/ 307222 h 2867729"/>
              <a:gd name="connsiteX1" fmla="*/ 4308606 w 4308606"/>
              <a:gd name="connsiteY1" fmla="*/ 0 h 2867729"/>
              <a:gd name="connsiteX2" fmla="*/ 3974429 w 4308606"/>
              <a:gd name="connsiteY2" fmla="*/ 2867729 h 2867729"/>
              <a:gd name="connsiteX3" fmla="*/ 0 w 4308606"/>
              <a:gd name="connsiteY3" fmla="*/ 2691567 h 2867729"/>
              <a:gd name="connsiteX4" fmla="*/ 448231 w 4308606"/>
              <a:gd name="connsiteY4" fmla="*/ 307222 h 2867729"/>
              <a:gd name="connsiteX0" fmla="*/ 448647 w 4309022"/>
              <a:gd name="connsiteY0" fmla="*/ 307222 h 2867729"/>
              <a:gd name="connsiteX1" fmla="*/ 4309022 w 4309022"/>
              <a:gd name="connsiteY1" fmla="*/ 0 h 2867729"/>
              <a:gd name="connsiteX2" fmla="*/ 3974845 w 4309022"/>
              <a:gd name="connsiteY2" fmla="*/ 2867729 h 2867729"/>
              <a:gd name="connsiteX3" fmla="*/ 0 w 4309022"/>
              <a:gd name="connsiteY3" fmla="*/ 2686822 h 2867729"/>
              <a:gd name="connsiteX4" fmla="*/ 448647 w 4309022"/>
              <a:gd name="connsiteY4" fmla="*/ 307222 h 2867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9022" h="2867729">
                <a:moveTo>
                  <a:pt x="448647" y="307222"/>
                </a:moveTo>
                <a:lnTo>
                  <a:pt x="4309022" y="0"/>
                </a:lnTo>
                <a:lnTo>
                  <a:pt x="3974845" y="2867729"/>
                </a:lnTo>
                <a:lnTo>
                  <a:pt x="0" y="2686822"/>
                </a:lnTo>
                <a:lnTo>
                  <a:pt x="448647" y="3072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effectLst>
            <a:innerShdw blurRad="114300">
              <a:prstClr val="black"/>
            </a:innerShdw>
          </a:effectLst>
          <a:scene3d>
            <a:camera prst="isometricOffAxis1Right"/>
            <a:lightRig rig="threePt" dir="t"/>
          </a:scene3d>
        </p:spPr>
        <p:txBody>
          <a:bodyPr/>
          <a:lstStyle>
            <a:lvl1pPr marL="0" indent="0" algn="ctr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61852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arna Mast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08789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8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478804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ist-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576502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bg>
      <p:bgPr>
        <a:gradFill>
          <a:gsLst>
            <a:gs pos="100000">
              <a:srgbClr val="02010B"/>
            </a:gs>
            <a:gs pos="0">
              <a:schemeClr val="tx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75542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938B2A-D281-4526-BF8F-F6738B5E6966}" type="datetimeFigureOut">
              <a:rPr lang="zh-CN" altLang="en-US" smtClean="0"/>
              <a:t>2023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33C039-E862-41ED-8881-C5F578DFC0A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22049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2C11EA48-4C9C-4B4A-BE5E-20BCC69AE96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32864" y="1025029"/>
            <a:ext cx="11726270" cy="5863135"/>
          </a:xfrm>
          <a:custGeom>
            <a:avLst/>
            <a:gdLst>
              <a:gd name="connsiteX0" fmla="*/ 5863135 w 11726270"/>
              <a:gd name="connsiteY0" fmla="*/ 0 h 5863135"/>
              <a:gd name="connsiteX1" fmla="*/ 11726270 w 11726270"/>
              <a:gd name="connsiteY1" fmla="*/ 5863135 h 5863135"/>
              <a:gd name="connsiteX2" fmla="*/ 0 w 11726270"/>
              <a:gd name="connsiteY2" fmla="*/ 5863135 h 5863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26270" h="5863135">
                <a:moveTo>
                  <a:pt x="5863135" y="0"/>
                </a:moveTo>
                <a:lnTo>
                  <a:pt x="11726270" y="5863135"/>
                </a:lnTo>
                <a:lnTo>
                  <a:pt x="0" y="586313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vi-VN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A6EF6BE9-CADA-8445-A11E-F7CC3D6A14C7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3944126" y="-1826544"/>
            <a:ext cx="4318917" cy="8640728"/>
          </a:xfrm>
          <a:custGeom>
            <a:avLst/>
            <a:gdLst>
              <a:gd name="T0" fmla="*/ 0 w 1493"/>
              <a:gd name="T1" fmla="*/ 0 h 2987"/>
              <a:gd name="T2" fmla="*/ 0 w 1493"/>
              <a:gd name="T3" fmla="*/ 2987 h 2987"/>
              <a:gd name="T4" fmla="*/ 1493 w 1493"/>
              <a:gd name="T5" fmla="*/ 1491 h 2987"/>
              <a:gd name="T6" fmla="*/ 0 w 1493"/>
              <a:gd name="T7" fmla="*/ 0 h 2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93" h="2987">
                <a:moveTo>
                  <a:pt x="0" y="0"/>
                </a:moveTo>
                <a:lnTo>
                  <a:pt x="0" y="2987"/>
                </a:lnTo>
                <a:lnTo>
                  <a:pt x="1493" y="149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10">
            <a:extLst>
              <a:ext uri="{FF2B5EF4-FFF2-40B4-BE49-F238E27FC236}">
                <a16:creationId xmlns:a16="http://schemas.microsoft.com/office/drawing/2014/main" id="{81460AD5-20F0-AE4F-A1B1-5D8EC159E87A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3513103" y="24833"/>
            <a:ext cx="5180965" cy="10341681"/>
          </a:xfrm>
          <a:custGeom>
            <a:avLst/>
            <a:gdLst>
              <a:gd name="T0" fmla="*/ 0 w 1791"/>
              <a:gd name="T1" fmla="*/ 3526 h 3575"/>
              <a:gd name="T2" fmla="*/ 0 w 1791"/>
              <a:gd name="T3" fmla="*/ 3575 h 3575"/>
              <a:gd name="T4" fmla="*/ 1791 w 1791"/>
              <a:gd name="T5" fmla="*/ 1785 h 3575"/>
              <a:gd name="T6" fmla="*/ 0 w 1791"/>
              <a:gd name="T7" fmla="*/ 0 h 3575"/>
              <a:gd name="T8" fmla="*/ 0 w 1791"/>
              <a:gd name="T9" fmla="*/ 43 h 3575"/>
              <a:gd name="T10" fmla="*/ 1743 w 1791"/>
              <a:gd name="T11" fmla="*/ 1785 h 3575"/>
              <a:gd name="T12" fmla="*/ 0 w 1791"/>
              <a:gd name="T13" fmla="*/ 3526 h 3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91" h="3575">
                <a:moveTo>
                  <a:pt x="0" y="3526"/>
                </a:moveTo>
                <a:lnTo>
                  <a:pt x="0" y="3575"/>
                </a:lnTo>
                <a:lnTo>
                  <a:pt x="1791" y="1785"/>
                </a:lnTo>
                <a:lnTo>
                  <a:pt x="0" y="0"/>
                </a:lnTo>
                <a:lnTo>
                  <a:pt x="0" y="43"/>
                </a:lnTo>
                <a:lnTo>
                  <a:pt x="1743" y="1785"/>
                </a:lnTo>
                <a:lnTo>
                  <a:pt x="0" y="352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19">
            <a:extLst>
              <a:ext uri="{FF2B5EF4-FFF2-40B4-BE49-F238E27FC236}">
                <a16:creationId xmlns:a16="http://schemas.microsoft.com/office/drawing/2014/main" id="{13FE24BE-D234-AC4F-841B-FE35A40834DE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4800388" y="3831730"/>
            <a:ext cx="2591928" cy="5039219"/>
          </a:xfrm>
          <a:custGeom>
            <a:avLst/>
            <a:gdLst>
              <a:gd name="T0" fmla="*/ 43 w 896"/>
              <a:gd name="T1" fmla="*/ 871 h 1742"/>
              <a:gd name="T2" fmla="*/ 896 w 896"/>
              <a:gd name="T3" fmla="*/ 24 h 1742"/>
              <a:gd name="T4" fmla="*/ 872 w 896"/>
              <a:gd name="T5" fmla="*/ 0 h 1742"/>
              <a:gd name="T6" fmla="*/ 0 w 896"/>
              <a:gd name="T7" fmla="*/ 871 h 1742"/>
              <a:gd name="T8" fmla="*/ 872 w 896"/>
              <a:gd name="T9" fmla="*/ 1742 h 1742"/>
              <a:gd name="T10" fmla="*/ 896 w 896"/>
              <a:gd name="T11" fmla="*/ 1718 h 1742"/>
              <a:gd name="T12" fmla="*/ 43 w 896"/>
              <a:gd name="T13" fmla="*/ 871 h 17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96" h="1742">
                <a:moveTo>
                  <a:pt x="43" y="871"/>
                </a:moveTo>
                <a:lnTo>
                  <a:pt x="896" y="24"/>
                </a:lnTo>
                <a:lnTo>
                  <a:pt x="872" y="0"/>
                </a:lnTo>
                <a:lnTo>
                  <a:pt x="0" y="871"/>
                </a:lnTo>
                <a:lnTo>
                  <a:pt x="872" y="1742"/>
                </a:lnTo>
                <a:lnTo>
                  <a:pt x="896" y="1718"/>
                </a:lnTo>
                <a:lnTo>
                  <a:pt x="43" y="8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21">
            <a:extLst>
              <a:ext uri="{FF2B5EF4-FFF2-40B4-BE49-F238E27FC236}">
                <a16:creationId xmlns:a16="http://schemas.microsoft.com/office/drawing/2014/main" id="{EA84B11F-2C04-5147-A565-3A77B4ADA3D7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174837" y="5133480"/>
            <a:ext cx="1753023" cy="1683597"/>
          </a:xfrm>
          <a:custGeom>
            <a:avLst/>
            <a:gdLst>
              <a:gd name="T0" fmla="*/ 48 w 606"/>
              <a:gd name="T1" fmla="*/ 0 h 582"/>
              <a:gd name="T2" fmla="*/ 0 w 606"/>
              <a:gd name="T3" fmla="*/ 0 h 582"/>
              <a:gd name="T4" fmla="*/ 587 w 606"/>
              <a:gd name="T5" fmla="*/ 582 h 582"/>
              <a:gd name="T6" fmla="*/ 606 w 606"/>
              <a:gd name="T7" fmla="*/ 563 h 582"/>
              <a:gd name="T8" fmla="*/ 48 w 606"/>
              <a:gd name="T9" fmla="*/ 0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06" h="582">
                <a:moveTo>
                  <a:pt x="48" y="0"/>
                </a:moveTo>
                <a:lnTo>
                  <a:pt x="0" y="0"/>
                </a:lnTo>
                <a:lnTo>
                  <a:pt x="587" y="582"/>
                </a:lnTo>
                <a:lnTo>
                  <a:pt x="606" y="563"/>
                </a:lnTo>
                <a:lnTo>
                  <a:pt x="4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22">
            <a:extLst>
              <a:ext uri="{FF2B5EF4-FFF2-40B4-BE49-F238E27FC236}">
                <a16:creationId xmlns:a16="http://schemas.microsoft.com/office/drawing/2014/main" id="{444C3DA6-FAA0-644A-AD03-FF85870863A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10270631" y="5127693"/>
            <a:ext cx="2464646" cy="2406791"/>
          </a:xfrm>
          <a:custGeom>
            <a:avLst/>
            <a:gdLst>
              <a:gd name="T0" fmla="*/ 0 w 852"/>
              <a:gd name="T1" fmla="*/ 832 h 832"/>
              <a:gd name="T2" fmla="*/ 43 w 852"/>
              <a:gd name="T3" fmla="*/ 832 h 832"/>
              <a:gd name="T4" fmla="*/ 852 w 852"/>
              <a:gd name="T5" fmla="*/ 24 h 832"/>
              <a:gd name="T6" fmla="*/ 833 w 852"/>
              <a:gd name="T7" fmla="*/ 0 h 832"/>
              <a:gd name="T8" fmla="*/ 0 w 852"/>
              <a:gd name="T9" fmla="*/ 832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52" h="832">
                <a:moveTo>
                  <a:pt x="0" y="832"/>
                </a:moveTo>
                <a:lnTo>
                  <a:pt x="43" y="832"/>
                </a:lnTo>
                <a:lnTo>
                  <a:pt x="852" y="24"/>
                </a:lnTo>
                <a:lnTo>
                  <a:pt x="833" y="0"/>
                </a:lnTo>
                <a:lnTo>
                  <a:pt x="0" y="8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2233C454-AA5E-9C42-9258-591CC7688480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4363579" y="-880605"/>
            <a:ext cx="3480012" cy="6887705"/>
          </a:xfrm>
          <a:custGeom>
            <a:avLst/>
            <a:gdLst>
              <a:gd name="T0" fmla="*/ 0 w 1203"/>
              <a:gd name="T1" fmla="*/ 33 h 2381"/>
              <a:gd name="T2" fmla="*/ 1155 w 1203"/>
              <a:gd name="T3" fmla="*/ 1188 h 2381"/>
              <a:gd name="T4" fmla="*/ 0 w 1203"/>
              <a:gd name="T5" fmla="*/ 2347 h 2381"/>
              <a:gd name="T6" fmla="*/ 14 w 1203"/>
              <a:gd name="T7" fmla="*/ 2357 h 2381"/>
              <a:gd name="T8" fmla="*/ 14 w 1203"/>
              <a:gd name="T9" fmla="*/ 2381 h 2381"/>
              <a:gd name="T10" fmla="*/ 1203 w 1203"/>
              <a:gd name="T11" fmla="*/ 1188 h 2381"/>
              <a:gd name="T12" fmla="*/ 14 w 1203"/>
              <a:gd name="T13" fmla="*/ 0 h 2381"/>
              <a:gd name="T14" fmla="*/ 14 w 1203"/>
              <a:gd name="T15" fmla="*/ 24 h 2381"/>
              <a:gd name="T16" fmla="*/ 0 w 1203"/>
              <a:gd name="T17" fmla="*/ 33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03" h="2381">
                <a:moveTo>
                  <a:pt x="0" y="33"/>
                </a:moveTo>
                <a:lnTo>
                  <a:pt x="1155" y="1188"/>
                </a:lnTo>
                <a:lnTo>
                  <a:pt x="0" y="2347"/>
                </a:lnTo>
                <a:lnTo>
                  <a:pt x="14" y="2357"/>
                </a:lnTo>
                <a:lnTo>
                  <a:pt x="14" y="2381"/>
                </a:lnTo>
                <a:lnTo>
                  <a:pt x="1203" y="1188"/>
                </a:lnTo>
                <a:lnTo>
                  <a:pt x="14" y="0"/>
                </a:lnTo>
                <a:lnTo>
                  <a:pt x="14" y="24"/>
                </a:lnTo>
                <a:lnTo>
                  <a:pt x="0" y="3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173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6D19B25-4AAB-473C-BFEF-28AF94F46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A56F748-147E-4BDF-BCB9-56A85FBD55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C0F02B5-B929-46EC-BA44-5CEC20A9E2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C9525E-A3F3-403C-9767-94F93EA1D165}" type="datetimeFigureOut">
              <a:rPr lang="zh-CN" altLang="en-US" smtClean="0"/>
              <a:t>2023/5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D086E28-9043-46FD-B5E3-5DB3834DD9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FCA8449-469F-4458-A7F3-159D3087EE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F1111C-C26D-41A7-9050-C98D282923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5246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6" r:id="rId4"/>
    <p:sldLayoutId id="2147483661" r:id="rId5"/>
    <p:sldLayoutId id="2147483665" r:id="rId6"/>
    <p:sldLayoutId id="2147483680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  <p:sldLayoutId id="2147483702" r:id="rId25"/>
    <p:sldLayoutId id="2147483703" r:id="rId26"/>
    <p:sldLayoutId id="2147483704" r:id="rId27"/>
    <p:sldLayoutId id="2147483705" r:id="rId28"/>
    <p:sldLayoutId id="2147483706" r:id="rId29"/>
    <p:sldLayoutId id="2147483707" r:id="rId3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DCAA1F-465C-4B0C-A122-B391DDE820B7}" type="datetimeFigureOut">
              <a:rPr lang="zh-CN" altLang="en-US" smtClean="0"/>
              <a:t>2023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019652-E430-4889-8A05-3ED8B59E777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350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DCAA1F-465C-4B0C-A122-B391DDE820B7}" type="datetimeFigureOut">
              <a:rPr lang="zh-CN" altLang="en-US" smtClean="0"/>
              <a:t>2023/5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019652-E430-4889-8A05-3ED8B59E777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39845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  <p:sldLayoutId id="2147483751" r:id="rId20"/>
    <p:sldLayoutId id="2147483752" r:id="rId21"/>
    <p:sldLayoutId id="2147483753" r:id="rId22"/>
    <p:sldLayoutId id="2147483754" r:id="rId23"/>
    <p:sldLayoutId id="2147483755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34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10" Type="http://schemas.openxmlformats.org/officeDocument/2006/relationships/image" Target="../media/image19.jpeg"/><Relationship Id="rId4" Type="http://schemas.openxmlformats.org/officeDocument/2006/relationships/image" Target="../media/image13.png"/><Relationship Id="rId9" Type="http://schemas.openxmlformats.org/officeDocument/2006/relationships/image" Target="../media/image1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image" Target="../media/image46.jpeg"/><Relationship Id="rId7" Type="http://schemas.openxmlformats.org/officeDocument/2006/relationships/image" Target="../media/image5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9.png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3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55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58.jpeg"/><Relationship Id="rId4" Type="http://schemas.openxmlformats.org/officeDocument/2006/relationships/image" Target="../media/image57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6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64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65.jpe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4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70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10" Type="http://schemas.openxmlformats.org/officeDocument/2006/relationships/image" Target="../media/image19.jpeg"/><Relationship Id="rId4" Type="http://schemas.openxmlformats.org/officeDocument/2006/relationships/image" Target="../media/image13.png"/><Relationship Id="rId9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F40874A0-EA25-41B0-807A-9C52B43E527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TextBox 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876CCB3A-1CA4-41B6-ABAB-C22F21C5703F}"/>
              </a:ext>
            </a:extLst>
          </p:cNvPr>
          <p:cNvSpPr txBox="1"/>
          <p:nvPr/>
        </p:nvSpPr>
        <p:spPr>
          <a:xfrm>
            <a:off x="2112423" y="2390673"/>
            <a:ext cx="8089074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1500" b="1" spc="300" dirty="0">
                <a:ln w="50800">
                  <a:solidFill>
                    <a:schemeClr val="bg1"/>
                  </a:solidFill>
                </a:ln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Rajdhani Bold" panose="02000000000000000000" pitchFamily="2" charset="0"/>
              </a:rPr>
              <a:t>COMP</a:t>
            </a:r>
            <a:r>
              <a:rPr lang="en-US" altLang="zh-CN" sz="11500" b="1" spc="300" dirty="0">
                <a:ln w="50800">
                  <a:solidFill>
                    <a:schemeClr val="bg1"/>
                  </a:solidFill>
                </a:ln>
                <a:gradFill>
                  <a:gsLst>
                    <a:gs pos="0">
                      <a:schemeClr val="accent1">
                        <a:alpha val="64000"/>
                      </a:schemeClr>
                    </a:gs>
                    <a:gs pos="100000">
                      <a:schemeClr val="accent2"/>
                    </a:gs>
                  </a:gsLst>
                  <a:lin ang="8100000" scaled="1"/>
                </a:gradFill>
                <a:latin typeface="+mj-lt"/>
                <a:ea typeface="Open Sans" panose="020B0606030504020204" pitchFamily="34" charset="0"/>
                <a:cs typeface="Rajdhani Bold" panose="02000000000000000000" pitchFamily="2" charset="0"/>
              </a:rPr>
              <a:t>ANY</a:t>
            </a:r>
            <a:endParaRPr lang="en-US" sz="11500" b="1" spc="300" dirty="0">
              <a:ln w="50800">
                <a:solidFill>
                  <a:schemeClr val="bg1"/>
                </a:solidFill>
              </a:ln>
              <a:gradFill>
                <a:gsLst>
                  <a:gs pos="0">
                    <a:schemeClr val="accent1">
                      <a:alpha val="64000"/>
                    </a:schemeClr>
                  </a:gs>
                  <a:gs pos="100000">
                    <a:schemeClr val="accent2"/>
                  </a:gs>
                </a:gsLst>
                <a:lin ang="8100000" scaled="1"/>
              </a:gradFill>
              <a:latin typeface="+mj-lt"/>
              <a:ea typeface="Open Sans" panose="020B0606030504020204" pitchFamily="34" charset="0"/>
              <a:cs typeface="Rajdhani Bold" panose="02000000000000000000" pitchFamily="2" charset="0"/>
            </a:endParaRPr>
          </a:p>
        </p:txBody>
      </p:sp>
      <p:pic>
        <p:nvPicPr>
          <p:cNvPr id="9" name="3D Model 2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5DC64C79-C3E4-4E85-BED8-889C426C20C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2063" y="2642075"/>
            <a:ext cx="536689" cy="536690"/>
          </a:xfrm>
          <a:prstGeom prst="rect">
            <a:avLst/>
          </a:prstGeom>
        </p:spPr>
      </p:pic>
      <p:sp>
        <p:nvSpPr>
          <p:cNvPr id="10" name="文本框 9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FFE92861-47DF-4435-BDBA-524D9339CA9C}"/>
              </a:ext>
            </a:extLst>
          </p:cNvPr>
          <p:cNvSpPr txBox="1"/>
          <p:nvPr/>
        </p:nvSpPr>
        <p:spPr>
          <a:xfrm>
            <a:off x="2390774" y="3929555"/>
            <a:ext cx="75342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id-ID" altLang="zh-CN" sz="1600" b="1" dirty="0">
                <a:solidFill>
                  <a:schemeClr val="bg1"/>
                </a:solidFill>
                <a:latin typeface="+mj-lt"/>
                <a:cs typeface="Poppins" panose="00000500000000000000" pitchFamily="50" charset="0"/>
              </a:rPr>
              <a:t>Technology Presentation Template</a:t>
            </a:r>
          </a:p>
          <a:p>
            <a:pPr algn="dist"/>
            <a:endParaRPr lang="zh-CN" altLang="en-US" sz="1600" b="1" dirty="0">
              <a:latin typeface="+mj-lt"/>
            </a:endParaRPr>
          </a:p>
        </p:txBody>
      </p:sp>
      <p:sp>
        <p:nvSpPr>
          <p:cNvPr id="11" name="Freeform 6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67242081-C54F-4D2A-A216-AE2FFD7DDF9F}"/>
              </a:ext>
            </a:extLst>
          </p:cNvPr>
          <p:cNvSpPr>
            <a:spLocks noEditPoints="1"/>
          </p:cNvSpPr>
          <p:nvPr/>
        </p:nvSpPr>
        <p:spPr bwMode="auto">
          <a:xfrm>
            <a:off x="4921287" y="6468579"/>
            <a:ext cx="137450" cy="135137"/>
          </a:xfrm>
          <a:custGeom>
            <a:avLst/>
            <a:gdLst>
              <a:gd name="T0" fmla="*/ 92739 w 55"/>
              <a:gd name="T1" fmla="*/ 185737 h 54"/>
              <a:gd name="T2" fmla="*/ 0 w 55"/>
              <a:gd name="T3" fmla="*/ 92869 h 54"/>
              <a:gd name="T4" fmla="*/ 92739 w 55"/>
              <a:gd name="T5" fmla="*/ 0 h 54"/>
              <a:gd name="T6" fmla="*/ 188913 w 55"/>
              <a:gd name="T7" fmla="*/ 92869 h 54"/>
              <a:gd name="T8" fmla="*/ 92739 w 55"/>
              <a:gd name="T9" fmla="*/ 185737 h 54"/>
              <a:gd name="T10" fmla="*/ 13739 w 55"/>
              <a:gd name="T11" fmla="*/ 92869 h 54"/>
              <a:gd name="T12" fmla="*/ 92739 w 55"/>
              <a:gd name="T13" fmla="*/ 171979 h 54"/>
              <a:gd name="T14" fmla="*/ 171739 w 55"/>
              <a:gd name="T15" fmla="*/ 92869 h 54"/>
              <a:gd name="T16" fmla="*/ 92739 w 55"/>
              <a:gd name="T17" fmla="*/ 13758 h 54"/>
              <a:gd name="T18" fmla="*/ 13739 w 55"/>
              <a:gd name="T19" fmla="*/ 92869 h 54"/>
              <a:gd name="T20" fmla="*/ 140826 w 55"/>
              <a:gd name="T21" fmla="*/ 127264 h 54"/>
              <a:gd name="T22" fmla="*/ 96174 w 55"/>
              <a:gd name="T23" fmla="*/ 151341 h 54"/>
              <a:gd name="T24" fmla="*/ 37783 w 55"/>
              <a:gd name="T25" fmla="*/ 92869 h 54"/>
              <a:gd name="T26" fmla="*/ 96174 w 55"/>
              <a:gd name="T27" fmla="*/ 34396 h 54"/>
              <a:gd name="T28" fmla="*/ 137391 w 55"/>
              <a:gd name="T29" fmla="*/ 58473 h 54"/>
              <a:gd name="T30" fmla="*/ 137391 w 55"/>
              <a:gd name="T31" fmla="*/ 72231 h 54"/>
              <a:gd name="T32" fmla="*/ 137391 w 55"/>
              <a:gd name="T33" fmla="*/ 72231 h 54"/>
              <a:gd name="T34" fmla="*/ 123652 w 55"/>
              <a:gd name="T35" fmla="*/ 72231 h 54"/>
              <a:gd name="T36" fmla="*/ 120217 w 55"/>
              <a:gd name="T37" fmla="*/ 72231 h 54"/>
              <a:gd name="T38" fmla="*/ 120217 w 55"/>
              <a:gd name="T39" fmla="*/ 61912 h 54"/>
              <a:gd name="T40" fmla="*/ 96174 w 55"/>
              <a:gd name="T41" fmla="*/ 51594 h 54"/>
              <a:gd name="T42" fmla="*/ 54957 w 55"/>
              <a:gd name="T43" fmla="*/ 92869 h 54"/>
              <a:gd name="T44" fmla="*/ 96174 w 55"/>
              <a:gd name="T45" fmla="*/ 134143 h 54"/>
              <a:gd name="T46" fmla="*/ 120217 w 55"/>
              <a:gd name="T47" fmla="*/ 123825 h 54"/>
              <a:gd name="T48" fmla="*/ 120217 w 55"/>
              <a:gd name="T49" fmla="*/ 113506 h 54"/>
              <a:gd name="T50" fmla="*/ 123652 w 55"/>
              <a:gd name="T51" fmla="*/ 113506 h 54"/>
              <a:gd name="T52" fmla="*/ 137391 w 55"/>
              <a:gd name="T53" fmla="*/ 113506 h 54"/>
              <a:gd name="T54" fmla="*/ 140826 w 55"/>
              <a:gd name="T55" fmla="*/ 113506 h 54"/>
              <a:gd name="T56" fmla="*/ 140826 w 55"/>
              <a:gd name="T57" fmla="*/ 127264 h 5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55" h="54">
                <a:moveTo>
                  <a:pt x="27" y="54"/>
                </a:moveTo>
                <a:cubicBezTo>
                  <a:pt x="12" y="54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4"/>
                  <a:pt x="27" y="54"/>
                </a:cubicBezTo>
                <a:close/>
                <a:moveTo>
                  <a:pt x="4" y="27"/>
                </a:moveTo>
                <a:cubicBezTo>
                  <a:pt x="4" y="40"/>
                  <a:pt x="15" y="50"/>
                  <a:pt x="27" y="50"/>
                </a:cubicBezTo>
                <a:cubicBezTo>
                  <a:pt x="40" y="50"/>
                  <a:pt x="50" y="40"/>
                  <a:pt x="50" y="27"/>
                </a:cubicBezTo>
                <a:cubicBezTo>
                  <a:pt x="50" y="14"/>
                  <a:pt x="40" y="4"/>
                  <a:pt x="27" y="4"/>
                </a:cubicBezTo>
                <a:cubicBezTo>
                  <a:pt x="15" y="4"/>
                  <a:pt x="4" y="14"/>
                  <a:pt x="4" y="27"/>
                </a:cubicBezTo>
                <a:close/>
                <a:moveTo>
                  <a:pt x="41" y="37"/>
                </a:moveTo>
                <a:cubicBezTo>
                  <a:pt x="41" y="42"/>
                  <a:pt x="33" y="44"/>
                  <a:pt x="28" y="44"/>
                </a:cubicBezTo>
                <a:cubicBezTo>
                  <a:pt x="18" y="44"/>
                  <a:pt x="11" y="37"/>
                  <a:pt x="11" y="27"/>
                </a:cubicBezTo>
                <a:cubicBezTo>
                  <a:pt x="11" y="17"/>
                  <a:pt x="18" y="10"/>
                  <a:pt x="28" y="10"/>
                </a:cubicBezTo>
                <a:cubicBezTo>
                  <a:pt x="31" y="10"/>
                  <a:pt x="40" y="11"/>
                  <a:pt x="40" y="17"/>
                </a:cubicBezTo>
                <a:cubicBezTo>
                  <a:pt x="40" y="21"/>
                  <a:pt x="40" y="21"/>
                  <a:pt x="40" y="21"/>
                </a:cubicBezTo>
                <a:cubicBezTo>
                  <a:pt x="40" y="21"/>
                  <a:pt x="40" y="21"/>
                  <a:pt x="40" y="21"/>
                </a:cubicBezTo>
                <a:cubicBezTo>
                  <a:pt x="36" y="21"/>
                  <a:pt x="36" y="21"/>
                  <a:pt x="36" y="21"/>
                </a:cubicBezTo>
                <a:cubicBezTo>
                  <a:pt x="35" y="21"/>
                  <a:pt x="35" y="21"/>
                  <a:pt x="35" y="21"/>
                </a:cubicBezTo>
                <a:cubicBezTo>
                  <a:pt x="35" y="18"/>
                  <a:pt x="35" y="18"/>
                  <a:pt x="35" y="18"/>
                </a:cubicBezTo>
                <a:cubicBezTo>
                  <a:pt x="35" y="16"/>
                  <a:pt x="31" y="15"/>
                  <a:pt x="28" y="15"/>
                </a:cubicBezTo>
                <a:cubicBezTo>
                  <a:pt x="21" y="15"/>
                  <a:pt x="16" y="20"/>
                  <a:pt x="16" y="27"/>
                </a:cubicBezTo>
                <a:cubicBezTo>
                  <a:pt x="16" y="34"/>
                  <a:pt x="21" y="39"/>
                  <a:pt x="28" y="39"/>
                </a:cubicBezTo>
                <a:cubicBezTo>
                  <a:pt x="31" y="39"/>
                  <a:pt x="35" y="38"/>
                  <a:pt x="35" y="36"/>
                </a:cubicBezTo>
                <a:cubicBezTo>
                  <a:pt x="35" y="33"/>
                  <a:pt x="35" y="33"/>
                  <a:pt x="35" y="33"/>
                </a:cubicBezTo>
                <a:cubicBezTo>
                  <a:pt x="35" y="33"/>
                  <a:pt x="36" y="33"/>
                  <a:pt x="36" y="33"/>
                </a:cubicBezTo>
                <a:cubicBezTo>
                  <a:pt x="40" y="33"/>
                  <a:pt x="40" y="33"/>
                  <a:pt x="40" y="33"/>
                </a:cubicBezTo>
                <a:cubicBezTo>
                  <a:pt x="41" y="33"/>
                  <a:pt x="41" y="33"/>
                  <a:pt x="41" y="33"/>
                </a:cubicBezTo>
                <a:lnTo>
                  <a:pt x="41" y="3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>
            <a:ext uri="{91240B29-F687-4f45-9708-019B960494DF}">
              <a14:hiddenLine xmlns="" xmlns:a16="http://schemas.microsoft.com/office/drawing/2014/main" xmlns:mc="http://schemas.openxmlformats.org/markup-compatibility/2006" xmlns:am3d="http://schemas.microsoft.com/office/drawing/2017/model3d" xmlns:p14="http://schemas.microsoft.com/office/powerpoint/2010/main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l"/>
            <a:endParaRPr lang="en-US" sz="1000" dirty="0">
              <a:solidFill>
                <a:schemeClr val="bg1">
                  <a:lumMod val="7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</a:endParaRPr>
          </a:p>
        </p:txBody>
      </p:sp>
      <p:sp>
        <p:nvSpPr>
          <p:cNvPr id="12" name="TextBox 4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700916D9-7156-4B96-A5F6-7C7BA6732783}"/>
              </a:ext>
            </a:extLst>
          </p:cNvPr>
          <p:cNvSpPr txBox="1"/>
          <p:nvPr/>
        </p:nvSpPr>
        <p:spPr>
          <a:xfrm>
            <a:off x="5096275" y="6409189"/>
            <a:ext cx="22028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spc="300" dirty="0" err="1">
                <a:solidFill>
                  <a:schemeClr val="bg1">
                    <a:lumMod val="75000"/>
                  </a:schemeClr>
                </a:solidFill>
                <a:latin typeface="Nexa Light" panose="02000000000000000000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Company.ALL</a:t>
            </a:r>
            <a:r>
              <a:rPr lang="en-US" sz="1000" spc="300" dirty="0">
                <a:solidFill>
                  <a:schemeClr val="bg1">
                    <a:lumMod val="75000"/>
                  </a:schemeClr>
                </a:solidFill>
                <a:latin typeface="Nexa Light" panose="02000000000000000000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 RIGHTS</a:t>
            </a:r>
            <a:endParaRPr lang="id-ID" sz="1000" spc="300" dirty="0">
              <a:solidFill>
                <a:schemeClr val="bg1">
                  <a:lumMod val="75000"/>
                </a:schemeClr>
              </a:solidFill>
              <a:latin typeface="Nexa Light" panose="02000000000000000000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84BEA2B79408FB094EB53969616FE837C4DDA931FB4B50B287CB9E976CD8A286A6B09202195C1175A3DD2481D60CC400D4B189D647C2854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12648649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93649583-216D-465C-976F-B8B485753EB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TextBox 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D8D05C7-153E-4B6E-A913-AD6B92905D1F}"/>
              </a:ext>
            </a:extLst>
          </p:cNvPr>
          <p:cNvSpPr txBox="1"/>
          <p:nvPr/>
        </p:nvSpPr>
        <p:spPr>
          <a:xfrm>
            <a:off x="2044929" y="2497976"/>
            <a:ext cx="4477509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1500" b="1" spc="300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Rajdhani Bold" panose="02000000000000000000" pitchFamily="2" charset="0"/>
              </a:rPr>
              <a:t>PART </a:t>
            </a:r>
            <a:endParaRPr lang="en-US" sz="11500" b="1" spc="300" dirty="0">
              <a:ln w="50800">
                <a:solidFill>
                  <a:schemeClr val="bg1"/>
                </a:solidFill>
              </a:ln>
              <a:gradFill>
                <a:gsLst>
                  <a:gs pos="0">
                    <a:schemeClr val="accent1">
                      <a:alpha val="64000"/>
                    </a:schemeClr>
                  </a:gs>
                  <a:gs pos="100000">
                    <a:schemeClr val="accent2"/>
                  </a:gs>
                </a:gsLst>
                <a:lin ang="8100000" scaled="1"/>
              </a:gradFill>
              <a:latin typeface="+mj-lt"/>
              <a:ea typeface="Open Sans" panose="020B0606030504020204" pitchFamily="34" charset="0"/>
              <a:cs typeface="Rajdhani Bold" panose="02000000000000000000" pitchFamily="2" charset="0"/>
            </a:endParaRPr>
          </a:p>
        </p:txBody>
      </p:sp>
      <p:sp>
        <p:nvSpPr>
          <p:cNvPr id="8" name="文本框 7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4A4626EE-E482-41DD-82CD-5F64A02ABB0A}"/>
              </a:ext>
            </a:extLst>
          </p:cNvPr>
          <p:cNvSpPr txBox="1"/>
          <p:nvPr/>
        </p:nvSpPr>
        <p:spPr>
          <a:xfrm>
            <a:off x="2168752" y="4022802"/>
            <a:ext cx="75342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id-ID" altLang="zh-CN" sz="1600" b="1" dirty="0">
                <a:solidFill>
                  <a:schemeClr val="bg1"/>
                </a:solidFill>
                <a:latin typeface="+mj-lt"/>
                <a:cs typeface="Poppins" panose="00000500000000000000" pitchFamily="50" charset="0"/>
              </a:rPr>
              <a:t>Technology Presentation Template</a:t>
            </a:r>
          </a:p>
          <a:p>
            <a:pPr algn="dist"/>
            <a:endParaRPr lang="zh-CN" altLang="en-US" sz="1600" b="1" dirty="0">
              <a:latin typeface="+mj-lt"/>
            </a:endParaRPr>
          </a:p>
        </p:txBody>
      </p:sp>
      <p:sp>
        <p:nvSpPr>
          <p:cNvPr id="9" name="Freeform 6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96AE08BD-82A7-4A25-8012-6C91688C3037}"/>
              </a:ext>
            </a:extLst>
          </p:cNvPr>
          <p:cNvSpPr>
            <a:spLocks noEditPoints="1"/>
          </p:cNvSpPr>
          <p:nvPr/>
        </p:nvSpPr>
        <p:spPr bwMode="auto">
          <a:xfrm>
            <a:off x="4921287" y="6468579"/>
            <a:ext cx="137450" cy="135137"/>
          </a:xfrm>
          <a:custGeom>
            <a:avLst/>
            <a:gdLst>
              <a:gd name="T0" fmla="*/ 92739 w 55"/>
              <a:gd name="T1" fmla="*/ 185737 h 54"/>
              <a:gd name="T2" fmla="*/ 0 w 55"/>
              <a:gd name="T3" fmla="*/ 92869 h 54"/>
              <a:gd name="T4" fmla="*/ 92739 w 55"/>
              <a:gd name="T5" fmla="*/ 0 h 54"/>
              <a:gd name="T6" fmla="*/ 188913 w 55"/>
              <a:gd name="T7" fmla="*/ 92869 h 54"/>
              <a:gd name="T8" fmla="*/ 92739 w 55"/>
              <a:gd name="T9" fmla="*/ 185737 h 54"/>
              <a:gd name="T10" fmla="*/ 13739 w 55"/>
              <a:gd name="T11" fmla="*/ 92869 h 54"/>
              <a:gd name="T12" fmla="*/ 92739 w 55"/>
              <a:gd name="T13" fmla="*/ 171979 h 54"/>
              <a:gd name="T14" fmla="*/ 171739 w 55"/>
              <a:gd name="T15" fmla="*/ 92869 h 54"/>
              <a:gd name="T16" fmla="*/ 92739 w 55"/>
              <a:gd name="T17" fmla="*/ 13758 h 54"/>
              <a:gd name="T18" fmla="*/ 13739 w 55"/>
              <a:gd name="T19" fmla="*/ 92869 h 54"/>
              <a:gd name="T20" fmla="*/ 140826 w 55"/>
              <a:gd name="T21" fmla="*/ 127264 h 54"/>
              <a:gd name="T22" fmla="*/ 96174 w 55"/>
              <a:gd name="T23" fmla="*/ 151341 h 54"/>
              <a:gd name="T24" fmla="*/ 37783 w 55"/>
              <a:gd name="T25" fmla="*/ 92869 h 54"/>
              <a:gd name="T26" fmla="*/ 96174 w 55"/>
              <a:gd name="T27" fmla="*/ 34396 h 54"/>
              <a:gd name="T28" fmla="*/ 137391 w 55"/>
              <a:gd name="T29" fmla="*/ 58473 h 54"/>
              <a:gd name="T30" fmla="*/ 137391 w 55"/>
              <a:gd name="T31" fmla="*/ 72231 h 54"/>
              <a:gd name="T32" fmla="*/ 137391 w 55"/>
              <a:gd name="T33" fmla="*/ 72231 h 54"/>
              <a:gd name="T34" fmla="*/ 123652 w 55"/>
              <a:gd name="T35" fmla="*/ 72231 h 54"/>
              <a:gd name="T36" fmla="*/ 120217 w 55"/>
              <a:gd name="T37" fmla="*/ 72231 h 54"/>
              <a:gd name="T38" fmla="*/ 120217 w 55"/>
              <a:gd name="T39" fmla="*/ 61912 h 54"/>
              <a:gd name="T40" fmla="*/ 96174 w 55"/>
              <a:gd name="T41" fmla="*/ 51594 h 54"/>
              <a:gd name="T42" fmla="*/ 54957 w 55"/>
              <a:gd name="T43" fmla="*/ 92869 h 54"/>
              <a:gd name="T44" fmla="*/ 96174 w 55"/>
              <a:gd name="T45" fmla="*/ 134143 h 54"/>
              <a:gd name="T46" fmla="*/ 120217 w 55"/>
              <a:gd name="T47" fmla="*/ 123825 h 54"/>
              <a:gd name="T48" fmla="*/ 120217 w 55"/>
              <a:gd name="T49" fmla="*/ 113506 h 54"/>
              <a:gd name="T50" fmla="*/ 123652 w 55"/>
              <a:gd name="T51" fmla="*/ 113506 h 54"/>
              <a:gd name="T52" fmla="*/ 137391 w 55"/>
              <a:gd name="T53" fmla="*/ 113506 h 54"/>
              <a:gd name="T54" fmla="*/ 140826 w 55"/>
              <a:gd name="T55" fmla="*/ 113506 h 54"/>
              <a:gd name="T56" fmla="*/ 140826 w 55"/>
              <a:gd name="T57" fmla="*/ 127264 h 5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55" h="54">
                <a:moveTo>
                  <a:pt x="27" y="54"/>
                </a:moveTo>
                <a:cubicBezTo>
                  <a:pt x="12" y="54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4"/>
                  <a:pt x="27" y="54"/>
                </a:cubicBezTo>
                <a:close/>
                <a:moveTo>
                  <a:pt x="4" y="27"/>
                </a:moveTo>
                <a:cubicBezTo>
                  <a:pt x="4" y="40"/>
                  <a:pt x="15" y="50"/>
                  <a:pt x="27" y="50"/>
                </a:cubicBezTo>
                <a:cubicBezTo>
                  <a:pt x="40" y="50"/>
                  <a:pt x="50" y="40"/>
                  <a:pt x="50" y="27"/>
                </a:cubicBezTo>
                <a:cubicBezTo>
                  <a:pt x="50" y="14"/>
                  <a:pt x="40" y="4"/>
                  <a:pt x="27" y="4"/>
                </a:cubicBezTo>
                <a:cubicBezTo>
                  <a:pt x="15" y="4"/>
                  <a:pt x="4" y="14"/>
                  <a:pt x="4" y="27"/>
                </a:cubicBezTo>
                <a:close/>
                <a:moveTo>
                  <a:pt x="41" y="37"/>
                </a:moveTo>
                <a:cubicBezTo>
                  <a:pt x="41" y="42"/>
                  <a:pt x="33" y="44"/>
                  <a:pt x="28" y="44"/>
                </a:cubicBezTo>
                <a:cubicBezTo>
                  <a:pt x="18" y="44"/>
                  <a:pt x="11" y="37"/>
                  <a:pt x="11" y="27"/>
                </a:cubicBezTo>
                <a:cubicBezTo>
                  <a:pt x="11" y="17"/>
                  <a:pt x="18" y="10"/>
                  <a:pt x="28" y="10"/>
                </a:cubicBezTo>
                <a:cubicBezTo>
                  <a:pt x="31" y="10"/>
                  <a:pt x="40" y="11"/>
                  <a:pt x="40" y="17"/>
                </a:cubicBezTo>
                <a:cubicBezTo>
                  <a:pt x="40" y="21"/>
                  <a:pt x="40" y="21"/>
                  <a:pt x="40" y="21"/>
                </a:cubicBezTo>
                <a:cubicBezTo>
                  <a:pt x="40" y="21"/>
                  <a:pt x="40" y="21"/>
                  <a:pt x="40" y="21"/>
                </a:cubicBezTo>
                <a:cubicBezTo>
                  <a:pt x="36" y="21"/>
                  <a:pt x="36" y="21"/>
                  <a:pt x="36" y="21"/>
                </a:cubicBezTo>
                <a:cubicBezTo>
                  <a:pt x="35" y="21"/>
                  <a:pt x="35" y="21"/>
                  <a:pt x="35" y="21"/>
                </a:cubicBezTo>
                <a:cubicBezTo>
                  <a:pt x="35" y="18"/>
                  <a:pt x="35" y="18"/>
                  <a:pt x="35" y="18"/>
                </a:cubicBezTo>
                <a:cubicBezTo>
                  <a:pt x="35" y="16"/>
                  <a:pt x="31" y="15"/>
                  <a:pt x="28" y="15"/>
                </a:cubicBezTo>
                <a:cubicBezTo>
                  <a:pt x="21" y="15"/>
                  <a:pt x="16" y="20"/>
                  <a:pt x="16" y="27"/>
                </a:cubicBezTo>
                <a:cubicBezTo>
                  <a:pt x="16" y="34"/>
                  <a:pt x="21" y="39"/>
                  <a:pt x="28" y="39"/>
                </a:cubicBezTo>
                <a:cubicBezTo>
                  <a:pt x="31" y="39"/>
                  <a:pt x="35" y="38"/>
                  <a:pt x="35" y="36"/>
                </a:cubicBezTo>
                <a:cubicBezTo>
                  <a:pt x="35" y="33"/>
                  <a:pt x="35" y="33"/>
                  <a:pt x="35" y="33"/>
                </a:cubicBezTo>
                <a:cubicBezTo>
                  <a:pt x="35" y="33"/>
                  <a:pt x="36" y="33"/>
                  <a:pt x="36" y="33"/>
                </a:cubicBezTo>
                <a:cubicBezTo>
                  <a:pt x="40" y="33"/>
                  <a:pt x="40" y="33"/>
                  <a:pt x="40" y="33"/>
                </a:cubicBezTo>
                <a:cubicBezTo>
                  <a:pt x="41" y="33"/>
                  <a:pt x="41" y="33"/>
                  <a:pt x="41" y="33"/>
                </a:cubicBezTo>
                <a:lnTo>
                  <a:pt x="41" y="3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>
            <a:ext uri="{91240B29-F687-4f45-9708-019B960494DF}">
              <a14:hiddenLine xmlns="" xmlns:a16="http://schemas.microsoft.com/office/drawing/2014/main" xmlns:mc="http://schemas.openxmlformats.org/markup-compatibility/2006" xmlns:am3d="http://schemas.microsoft.com/office/drawing/2017/model3d" xmlns:p14="http://schemas.microsoft.com/office/powerpoint/2010/main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l"/>
            <a:endParaRPr lang="en-US" sz="1000" dirty="0">
              <a:solidFill>
                <a:schemeClr val="bg1">
                  <a:lumMod val="7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</a:endParaRPr>
          </a:p>
        </p:txBody>
      </p:sp>
      <p:sp>
        <p:nvSpPr>
          <p:cNvPr id="10" name="TextBox 4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FF2C6EF7-5703-4B39-8BC5-2F61B490A90B}"/>
              </a:ext>
            </a:extLst>
          </p:cNvPr>
          <p:cNvSpPr txBox="1"/>
          <p:nvPr/>
        </p:nvSpPr>
        <p:spPr>
          <a:xfrm>
            <a:off x="5096275" y="6409189"/>
            <a:ext cx="22028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spc="300" dirty="0" err="1">
                <a:solidFill>
                  <a:schemeClr val="bg1">
                    <a:lumMod val="75000"/>
                  </a:schemeClr>
                </a:solidFill>
                <a:latin typeface="Nexa Light" panose="02000000000000000000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Company.ALL</a:t>
            </a:r>
            <a:r>
              <a:rPr lang="en-US" sz="1000" spc="300" dirty="0">
                <a:solidFill>
                  <a:schemeClr val="bg1">
                    <a:lumMod val="75000"/>
                  </a:schemeClr>
                </a:solidFill>
                <a:latin typeface="Nexa Light" panose="02000000000000000000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 RIGHTS</a:t>
            </a:r>
            <a:endParaRPr lang="id-ID" sz="1000" spc="300" dirty="0">
              <a:solidFill>
                <a:schemeClr val="bg1">
                  <a:lumMod val="75000"/>
                </a:schemeClr>
              </a:solidFill>
              <a:latin typeface="Nexa Light" panose="02000000000000000000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11" name="TextBox 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667CF800-9BFB-4765-9030-AECA0C22F3C2}"/>
              </a:ext>
            </a:extLst>
          </p:cNvPr>
          <p:cNvSpPr txBox="1"/>
          <p:nvPr/>
        </p:nvSpPr>
        <p:spPr>
          <a:xfrm>
            <a:off x="6096000" y="2497976"/>
            <a:ext cx="3818674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1500" b="1" spc="300" dirty="0">
                <a:ln w="50800">
                  <a:solidFill>
                    <a:schemeClr val="bg1"/>
                  </a:solidFill>
                </a:ln>
                <a:gradFill>
                  <a:gsLst>
                    <a:gs pos="0">
                      <a:schemeClr val="accent1">
                        <a:alpha val="64000"/>
                      </a:schemeClr>
                    </a:gs>
                    <a:gs pos="100000">
                      <a:schemeClr val="accent2"/>
                    </a:gs>
                  </a:gsLst>
                  <a:lin ang="8100000" scaled="1"/>
                </a:gradFill>
                <a:latin typeface="+mj-lt"/>
                <a:ea typeface="Open Sans" panose="020B0606030504020204" pitchFamily="34" charset="0"/>
                <a:cs typeface="Rajdhani Bold" panose="02000000000000000000" pitchFamily="2" charset="0"/>
              </a:rPr>
              <a:t>TWO</a:t>
            </a:r>
            <a:endParaRPr lang="en-US" sz="11500" b="1" spc="300" dirty="0">
              <a:ln w="50800">
                <a:solidFill>
                  <a:schemeClr val="bg1"/>
                </a:solidFill>
              </a:ln>
              <a:gradFill>
                <a:gsLst>
                  <a:gs pos="0">
                    <a:schemeClr val="accent1">
                      <a:alpha val="64000"/>
                    </a:schemeClr>
                  </a:gs>
                  <a:gs pos="100000">
                    <a:schemeClr val="accent2"/>
                  </a:gs>
                </a:gsLst>
                <a:lin ang="8100000" scaled="1"/>
              </a:gradFill>
              <a:latin typeface="+mj-lt"/>
              <a:ea typeface="Open Sans" panose="020B0606030504020204" pitchFamily="34" charset="0"/>
              <a:cs typeface="Rajdhani Bold" panose="02000000000000000000" pitchFamily="2" charset="0"/>
            </a:endParaRPr>
          </a:p>
        </p:txBody>
      </p:sp>
      <p:pic>
        <p:nvPicPr>
          <p:cNvPr id="12" name="3D Model 2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99D6E55-8D6B-4F6F-95AB-E51467C60C1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7690" y="2644188"/>
            <a:ext cx="517858" cy="536689"/>
          </a:xfrm>
          <a:prstGeom prst="rect">
            <a:avLst/>
          </a:prstGeom>
        </p:spPr>
      </p:pic>
      <p:sp>
        <p:nvSpPr>
          <p:cNvPr id="2" name="e7d195523061f1c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84BEA2B79408FB094EB53969616FE837C4DDA931FB4B50B287CB9E976CD8A286A6B09202195C1175A3DD2481D60CC400D4B189D647C2854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13240448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6000">
              <a:schemeClr val="tx2">
                <a:lumMod val="25000"/>
                <a:lumOff val="75000"/>
              </a:schemeClr>
            </a:gs>
            <a:gs pos="0">
              <a:schemeClr val="tx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475F039C-5AF2-42CA-99A8-EEE6B9F6CFF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"/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4605" y="0"/>
            <a:ext cx="6858000" cy="6858000"/>
          </a:xfrm>
          <a:prstGeom prst="rect">
            <a:avLst/>
          </a:prstGeom>
        </p:spPr>
      </p:pic>
      <p:sp>
        <p:nvSpPr>
          <p:cNvPr id="2" name="Slide Number Placeholder 1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C9AB2E-2B61-4EDD-820B-DA8DE1F2E361}" type="slidenum">
              <a:rPr lang="en-US" smtClean="0"/>
              <a:t>11</a:t>
            </a:fld>
            <a:endParaRPr lang="en-US"/>
          </a:p>
        </p:txBody>
      </p:sp>
      <p:sp>
        <p:nvSpPr>
          <p:cNvPr id="4" name="Title 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/>
          <p:cNvSpPr>
            <a:spLocks noGrp="1"/>
          </p:cNvSpPr>
          <p:nvPr>
            <p:ph type="title"/>
          </p:nvPr>
        </p:nvSpPr>
        <p:spPr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effectLst>
                  <a:outerShdw blurRad="165100" dist="1625600" dir="19740000" sx="114000" sy="114000" algn="bl" rotWithShape="0">
                    <a:schemeClr val="bg1">
                      <a:alpha val="11000"/>
                    </a:schemeClr>
                  </a:outerShdw>
                </a:effectLst>
                <a:latin typeface="+mj-ea"/>
                <a:cs typeface="+mn-ea"/>
              </a:rPr>
              <a:t>Agenda Slide</a:t>
            </a:r>
          </a:p>
        </p:txBody>
      </p:sp>
      <p:sp>
        <p:nvSpPr>
          <p:cNvPr id="6" name="Rectangle 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/>
          <p:cNvSpPr/>
          <p:nvPr/>
        </p:nvSpPr>
        <p:spPr>
          <a:xfrm>
            <a:off x="1206500" y="4121321"/>
            <a:ext cx="4064000" cy="658812"/>
          </a:xfrm>
          <a:prstGeom prst="rect">
            <a:avLst/>
          </a:prstGeom>
          <a:gradFill>
            <a:gsLst>
              <a:gs pos="0">
                <a:schemeClr val="accent2"/>
              </a:gs>
              <a:gs pos="52000">
                <a:schemeClr val="accent3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 anchorCtr="0"/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01</a:t>
            </a:r>
          </a:p>
          <a:p>
            <a:r>
              <a:rPr lang="en-US" sz="1200" dirty="0">
                <a:solidFill>
                  <a:schemeClr val="bg1"/>
                </a:solidFill>
              </a:rPr>
              <a:t>Overview</a:t>
            </a:r>
          </a:p>
        </p:txBody>
      </p:sp>
      <p:sp>
        <p:nvSpPr>
          <p:cNvPr id="7" name="Rectangle 6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/>
          <p:cNvSpPr/>
          <p:nvPr/>
        </p:nvSpPr>
        <p:spPr>
          <a:xfrm>
            <a:off x="5270500" y="4121321"/>
            <a:ext cx="4064000" cy="6588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 anchorCtr="0"/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02</a:t>
            </a:r>
          </a:p>
          <a:p>
            <a:r>
              <a:rPr lang="en-US" sz="1200" dirty="0">
                <a:solidFill>
                  <a:schemeClr val="bg1"/>
                </a:solidFill>
              </a:rPr>
              <a:t>Our solution</a:t>
            </a:r>
          </a:p>
        </p:txBody>
      </p:sp>
      <p:sp>
        <p:nvSpPr>
          <p:cNvPr id="8" name="Rectangle 7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/>
          <p:cNvSpPr/>
          <p:nvPr/>
        </p:nvSpPr>
        <p:spPr>
          <a:xfrm>
            <a:off x="9334500" y="4121321"/>
            <a:ext cx="2857500" cy="6588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 anchorCtr="0"/>
          <a:lstStyle/>
          <a:p>
            <a:r>
              <a:rPr lang="en-US" dirty="0">
                <a:solidFill>
                  <a:schemeClr val="bg1"/>
                </a:solidFill>
                <a:latin typeface="+mj-lt"/>
              </a:rPr>
              <a:t>03</a:t>
            </a:r>
          </a:p>
          <a:p>
            <a:r>
              <a:rPr lang="en-US" sz="1200" dirty="0">
                <a:solidFill>
                  <a:schemeClr val="bg1"/>
                </a:solidFill>
              </a:rPr>
              <a:t>Meet our team</a:t>
            </a:r>
          </a:p>
        </p:txBody>
      </p:sp>
      <p:sp>
        <p:nvSpPr>
          <p:cNvPr id="9" name="TextBox 8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/>
          <p:cNvSpPr txBox="1"/>
          <p:nvPr/>
        </p:nvSpPr>
        <p:spPr>
          <a:xfrm>
            <a:off x="1404578" y="5051758"/>
            <a:ext cx="2741072" cy="472813"/>
          </a:xfrm>
          <a:prstGeom prst="rect">
            <a:avLst/>
          </a:prstGeom>
          <a:noFill/>
        </p:spPr>
        <p:txBody>
          <a:bodyPr wrap="square" lIns="0" tIns="36000" rIns="216000" bIns="36000" rtlCol="0">
            <a:spAutoFit/>
          </a:bodyPr>
          <a:lstStyle/>
          <a:p>
            <a:pPr>
              <a:lnSpc>
                <a:spcPct val="130000"/>
              </a:lnSpc>
              <a:spcBef>
                <a:spcPts val="1000"/>
              </a:spcBef>
            </a:pPr>
            <a:r>
              <a:rPr lang="en-US" sz="1000" dirty="0">
                <a:solidFill>
                  <a:schemeClr val="bg1"/>
                </a:solidFill>
              </a:rPr>
              <a:t>A peep at some distant orb has power to raise and purify.</a:t>
            </a:r>
          </a:p>
        </p:txBody>
      </p:sp>
      <p:sp>
        <p:nvSpPr>
          <p:cNvPr id="10" name="TextBox 9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/>
          <p:cNvSpPr txBox="1"/>
          <p:nvPr/>
        </p:nvSpPr>
        <p:spPr>
          <a:xfrm>
            <a:off x="5462796" y="5051758"/>
            <a:ext cx="2557254" cy="974232"/>
          </a:xfrm>
          <a:prstGeom prst="rect">
            <a:avLst/>
          </a:prstGeom>
          <a:noFill/>
        </p:spPr>
        <p:txBody>
          <a:bodyPr wrap="square" lIns="0" tIns="36000" rIns="216000" bIns="360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bg1"/>
                </a:solidFill>
              </a:rPr>
              <a:t>Hey, hey, hey! It's Fat </a:t>
            </a:r>
            <a:r>
              <a:rPr lang="en-US" altLang="zh-CN" sz="1000" dirty="0">
                <a:solidFill>
                  <a:schemeClr val="bg1"/>
                </a:solidFill>
              </a:rPr>
              <a:t>Company</a:t>
            </a:r>
            <a:r>
              <a:rPr lang="zh-CN" altLang="en-US" sz="1000" dirty="0">
                <a:solidFill>
                  <a:schemeClr val="bg1"/>
                </a:solidFill>
              </a:rPr>
              <a:t>! Now I'm gonna sing a song for you, and this is gonna show you a thing or two. You'll have some</a:t>
            </a:r>
          </a:p>
        </p:txBody>
      </p:sp>
      <p:sp>
        <p:nvSpPr>
          <p:cNvPr id="11" name="TextBox 1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/>
          <p:cNvSpPr txBox="1"/>
          <p:nvPr/>
        </p:nvSpPr>
        <p:spPr>
          <a:xfrm>
            <a:off x="9501395" y="5051758"/>
            <a:ext cx="2138155" cy="1207629"/>
          </a:xfrm>
          <a:prstGeom prst="rect">
            <a:avLst/>
          </a:prstGeom>
          <a:noFill/>
        </p:spPr>
        <p:txBody>
          <a:bodyPr wrap="square" lIns="0" tIns="36000" rIns="216000" bIns="360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bg1"/>
                </a:solidFill>
              </a:rPr>
              <a:t>Hey, hey, hey! It's Fat </a:t>
            </a:r>
            <a:r>
              <a:rPr lang="en-US" altLang="zh-CN" sz="1000" dirty="0">
                <a:solidFill>
                  <a:schemeClr val="bg1"/>
                </a:solidFill>
              </a:rPr>
              <a:t>Company</a:t>
            </a:r>
            <a:r>
              <a:rPr lang="zh-CN" altLang="en-US" sz="1000" dirty="0">
                <a:solidFill>
                  <a:schemeClr val="bg1"/>
                </a:solidFill>
              </a:rPr>
              <a:t>! Now I'm gonna sing a song for you, and this is gonna show you a thing or two. </a:t>
            </a:r>
          </a:p>
        </p:txBody>
      </p:sp>
      <p:sp>
        <p:nvSpPr>
          <p:cNvPr id="20" name="矩形 19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46ED12C8-4EA9-46BE-95A0-F6E36B8E8C75}"/>
              </a:ext>
            </a:extLst>
          </p:cNvPr>
          <p:cNvSpPr/>
          <p:nvPr/>
        </p:nvSpPr>
        <p:spPr>
          <a:xfrm>
            <a:off x="1438985" y="2303807"/>
            <a:ext cx="5863515" cy="8971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</a:rPr>
              <a:t>Hey, hey, hey! It's Fat </a:t>
            </a:r>
            <a:r>
              <a:rPr lang="en-US" altLang="zh-CN" sz="1200" dirty="0">
                <a:solidFill>
                  <a:schemeClr val="bg1"/>
                </a:solidFill>
              </a:rPr>
              <a:t>Company</a:t>
            </a:r>
            <a:r>
              <a:rPr lang="zh-CN" altLang="en-US" sz="1200" dirty="0">
                <a:solidFill>
                  <a:schemeClr val="bg1"/>
                </a:solidFill>
              </a:rPr>
              <a:t>! Now I'm gonna sing a song for you, and this is gonna show you a thing or two. You'll have some fun now With me and the gang, learning from each other While we do our thing.</a:t>
            </a:r>
          </a:p>
        </p:txBody>
      </p:sp>
      <p:pic>
        <p:nvPicPr>
          <p:cNvPr id="13" name="图片 1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A2A2DB7E-E9D4-4E51-99EC-6BF81736D1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8871" y="558121"/>
            <a:ext cx="2731190" cy="2731190"/>
          </a:xfrm>
          <a:prstGeom prst="rect">
            <a:avLst/>
          </a:prstGeom>
        </p:spPr>
      </p:pic>
      <p:sp>
        <p:nvSpPr>
          <p:cNvPr id="3" name="e7d195523061f1c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84BEA2B79408FB094EB53969616FE837C4DDA931FB4B50B287CB9E976CD8A286A6B09202195C1175A3DD2481D60CC400D4B189D647C2854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21587707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tx1">
                <a:lumMod val="25000"/>
                <a:lumOff val="75000"/>
              </a:schemeClr>
            </a:gs>
            <a:gs pos="0">
              <a:schemeClr val="tx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6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/>
          <p:cNvSpPr txBox="1"/>
          <p:nvPr/>
        </p:nvSpPr>
        <p:spPr>
          <a:xfrm>
            <a:off x="788498" y="760217"/>
            <a:ext cx="737456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4800" b="1">
                <a:solidFill>
                  <a:schemeClr val="bg1"/>
                </a:solidFill>
                <a:effectLst>
                  <a:outerShdw blurRad="165100" dist="1625600" dir="19740000" sx="114000" sy="114000" algn="bl" rotWithShape="0">
                    <a:schemeClr val="bg1">
                      <a:alpha val="11000"/>
                    </a:schemeClr>
                  </a:outerShdw>
                </a:effectLst>
                <a:latin typeface="+mj-ea"/>
                <a:ea typeface="+mj-ea"/>
                <a:cs typeface="+mn-ea"/>
              </a:defRPr>
            </a:lvl1pPr>
          </a:lstStyle>
          <a:p>
            <a:r>
              <a:rPr lang="en-US" sz="4400" dirty="0"/>
              <a:t>Creating solutions is what  We do best.</a:t>
            </a:r>
          </a:p>
        </p:txBody>
      </p:sp>
      <p:sp>
        <p:nvSpPr>
          <p:cNvPr id="4" name="矩形 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/>
          <p:cNvSpPr/>
          <p:nvPr/>
        </p:nvSpPr>
        <p:spPr>
          <a:xfrm>
            <a:off x="789175" y="2121826"/>
            <a:ext cx="5863515" cy="8971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</a:rPr>
              <a:t>Hey, hey, hey! It's Fat </a:t>
            </a:r>
            <a:r>
              <a:rPr lang="en-US" altLang="zh-CN" sz="1200" dirty="0">
                <a:solidFill>
                  <a:schemeClr val="bg1"/>
                </a:solidFill>
              </a:rPr>
              <a:t>Company</a:t>
            </a:r>
            <a:r>
              <a:rPr lang="zh-CN" altLang="en-US" sz="1200" dirty="0">
                <a:solidFill>
                  <a:schemeClr val="bg1"/>
                </a:solidFill>
              </a:rPr>
              <a:t>! Now I'm gonna sing a song for you, and this is gonna show you a thing or two. You'll have some fun now With me and the gang, learning from each other While we do our thing.</a:t>
            </a:r>
          </a:p>
        </p:txBody>
      </p:sp>
      <p:pic>
        <p:nvPicPr>
          <p:cNvPr id="2" name="图片 1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4606" y="12852"/>
            <a:ext cx="4768250" cy="4334773"/>
          </a:xfrm>
          <a:prstGeom prst="rect">
            <a:avLst/>
          </a:prstGeom>
        </p:spPr>
      </p:pic>
      <p:sp>
        <p:nvSpPr>
          <p:cNvPr id="12" name="Rectangle: Rounded Corners 16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D0F2C82-E307-4E9C-BD6E-DA32DAB4365B}"/>
              </a:ext>
            </a:extLst>
          </p:cNvPr>
          <p:cNvSpPr/>
          <p:nvPr/>
        </p:nvSpPr>
        <p:spPr>
          <a:xfrm>
            <a:off x="473416" y="3779996"/>
            <a:ext cx="3421691" cy="2565505"/>
          </a:xfrm>
          <a:prstGeom prst="roundRect">
            <a:avLst>
              <a:gd name="adj" fmla="val 3972"/>
            </a:avLst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2700000" scaled="1"/>
          </a:gradFill>
          <a:ln>
            <a:noFill/>
          </a:ln>
          <a:effectLst>
            <a:outerShdw blurRad="50800" dist="127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: Rounded Corners 17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144D2A54-B71B-4C95-A05C-6891D85C69EE}"/>
              </a:ext>
            </a:extLst>
          </p:cNvPr>
          <p:cNvSpPr/>
          <p:nvPr/>
        </p:nvSpPr>
        <p:spPr>
          <a:xfrm>
            <a:off x="8163740" y="3779996"/>
            <a:ext cx="3421691" cy="2565505"/>
          </a:xfrm>
          <a:prstGeom prst="roundRect">
            <a:avLst>
              <a:gd name="adj" fmla="val 3293"/>
            </a:avLst>
          </a:prstGeom>
          <a:gradFill>
            <a:gsLst>
              <a:gs pos="0">
                <a:srgbClr val="EDEDA1"/>
              </a:gs>
              <a:gs pos="100000">
                <a:schemeClr val="accent2"/>
              </a:gs>
            </a:gsLst>
            <a:lin ang="2700000" scaled="1"/>
          </a:gradFill>
          <a:ln>
            <a:noFill/>
          </a:ln>
          <a:effectLst>
            <a:outerShdw blurRad="50800" dist="127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: Rounded Corners 18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2BEBB6FD-B101-4E79-8831-E64E3F134C92}"/>
              </a:ext>
            </a:extLst>
          </p:cNvPr>
          <p:cNvSpPr/>
          <p:nvPr/>
        </p:nvSpPr>
        <p:spPr>
          <a:xfrm>
            <a:off x="4318578" y="3779996"/>
            <a:ext cx="3421691" cy="2565505"/>
          </a:xfrm>
          <a:prstGeom prst="roundRect">
            <a:avLst>
              <a:gd name="adj" fmla="val 3972"/>
            </a:avLst>
          </a:prstGeom>
          <a:gradFill>
            <a:gsLst>
              <a:gs pos="1000">
                <a:schemeClr val="accent6"/>
              </a:gs>
              <a:gs pos="100000">
                <a:schemeClr val="accent5"/>
              </a:gs>
            </a:gsLst>
            <a:lin ang="2700000" scaled="1"/>
          </a:gradFill>
          <a:ln>
            <a:noFill/>
          </a:ln>
          <a:effectLst>
            <a:outerShdw blurRad="50800" dist="127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9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13CB3B4D-BEA4-4225-9094-F18D893ADF9A}"/>
              </a:ext>
            </a:extLst>
          </p:cNvPr>
          <p:cNvGrpSpPr/>
          <p:nvPr/>
        </p:nvGrpSpPr>
        <p:grpSpPr>
          <a:xfrm>
            <a:off x="1486846" y="4700388"/>
            <a:ext cx="1324616" cy="1324616"/>
            <a:chOff x="9882728" y="1842881"/>
            <a:chExt cx="1324616" cy="1324616"/>
          </a:xfrm>
        </p:grpSpPr>
        <p:sp>
          <p:nvSpPr>
            <p:cNvPr id="16" name="Oval 20">
              <a:extLst>
                <a:ext uri="{FF2B5EF4-FFF2-40B4-BE49-F238E27FC236}">
                  <a16:creationId xmlns:a16="http://schemas.microsoft.com/office/drawing/2014/main" id="{73AAE1DD-62D1-44E0-A2AB-A5F97CD0A054}"/>
                </a:ext>
              </a:extLst>
            </p:cNvPr>
            <p:cNvSpPr/>
            <p:nvPr/>
          </p:nvSpPr>
          <p:spPr>
            <a:xfrm>
              <a:off x="9914073" y="1874226"/>
              <a:ext cx="1261926" cy="1261926"/>
            </a:xfrm>
            <a:prstGeom prst="ellipse">
              <a:avLst/>
            </a:prstGeom>
            <a:noFill/>
            <a:ln w="3175">
              <a:solidFill>
                <a:schemeClr val="bg1">
                  <a:alpha val="3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Block Arc 21">
              <a:extLst>
                <a:ext uri="{FF2B5EF4-FFF2-40B4-BE49-F238E27FC236}">
                  <a16:creationId xmlns:a16="http://schemas.microsoft.com/office/drawing/2014/main" id="{F609E315-77C0-40C0-AE1E-4707C98896B4}"/>
                </a:ext>
              </a:extLst>
            </p:cNvPr>
            <p:cNvSpPr/>
            <p:nvPr/>
          </p:nvSpPr>
          <p:spPr>
            <a:xfrm>
              <a:off x="9882728" y="1842881"/>
              <a:ext cx="1324616" cy="1324616"/>
            </a:xfrm>
            <a:prstGeom prst="blockArc">
              <a:avLst>
                <a:gd name="adj1" fmla="val 2800032"/>
                <a:gd name="adj2" fmla="val 112569"/>
                <a:gd name="adj3" fmla="val 709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8" name="TextBox 2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58CA0D7B-8686-4E6C-8D9C-870A14D385C8}"/>
              </a:ext>
            </a:extLst>
          </p:cNvPr>
          <p:cNvSpPr txBox="1"/>
          <p:nvPr/>
        </p:nvSpPr>
        <p:spPr>
          <a:xfrm>
            <a:off x="1702604" y="5162641"/>
            <a:ext cx="8931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ontserrat" panose="020B0604020202020204" charset="0"/>
              </a:rPr>
              <a:t>70%</a:t>
            </a:r>
          </a:p>
        </p:txBody>
      </p:sp>
      <p:sp>
        <p:nvSpPr>
          <p:cNvPr id="19" name="TextBox 2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D55E8C22-0588-453A-831D-D6885A50CD4F}"/>
              </a:ext>
            </a:extLst>
          </p:cNvPr>
          <p:cNvSpPr txBox="1"/>
          <p:nvPr/>
        </p:nvSpPr>
        <p:spPr>
          <a:xfrm>
            <a:off x="1256957" y="4030667"/>
            <a:ext cx="1854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Montserrat" panose="020B0604020202020204" charset="0"/>
              </a:rPr>
              <a:t>Current Parlance</a:t>
            </a:r>
          </a:p>
        </p:txBody>
      </p:sp>
      <p:sp>
        <p:nvSpPr>
          <p:cNvPr id="20" name="TextBox 2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3BABC90C-C036-437D-96BB-1C7CD042347C}"/>
              </a:ext>
            </a:extLst>
          </p:cNvPr>
          <p:cNvSpPr txBox="1"/>
          <p:nvPr/>
        </p:nvSpPr>
        <p:spPr>
          <a:xfrm>
            <a:off x="1256957" y="4319819"/>
            <a:ext cx="1854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Montserrat" panose="020B0604020202020204" charset="0"/>
              </a:rPr>
              <a:t>15,582,000</a:t>
            </a:r>
          </a:p>
        </p:txBody>
      </p:sp>
      <p:sp>
        <p:nvSpPr>
          <p:cNvPr id="21" name="TextBox 2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76042445-3A7C-40C7-BCB3-B758F1F18FBD}"/>
              </a:ext>
            </a:extLst>
          </p:cNvPr>
          <p:cNvSpPr txBox="1"/>
          <p:nvPr/>
        </p:nvSpPr>
        <p:spPr>
          <a:xfrm>
            <a:off x="5102119" y="4018514"/>
            <a:ext cx="1854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Montserrat" panose="020B0604020202020204" charset="0"/>
              </a:rPr>
              <a:t>Expended So Far</a:t>
            </a:r>
          </a:p>
        </p:txBody>
      </p:sp>
      <p:sp>
        <p:nvSpPr>
          <p:cNvPr id="22" name="TextBox 26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8764985-51FE-4FCB-8C77-0D2950A6D123}"/>
              </a:ext>
            </a:extLst>
          </p:cNvPr>
          <p:cNvSpPr txBox="1"/>
          <p:nvPr/>
        </p:nvSpPr>
        <p:spPr>
          <a:xfrm>
            <a:off x="5102119" y="4307666"/>
            <a:ext cx="1854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Montserrat" panose="020B0604020202020204" charset="0"/>
              </a:rPr>
              <a:t>1,085,000</a:t>
            </a:r>
          </a:p>
        </p:txBody>
      </p:sp>
      <p:sp>
        <p:nvSpPr>
          <p:cNvPr id="23" name="TextBox 27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5C40D088-5DCD-482E-9532-C75CC4194BE4}"/>
              </a:ext>
            </a:extLst>
          </p:cNvPr>
          <p:cNvSpPr txBox="1"/>
          <p:nvPr/>
        </p:nvSpPr>
        <p:spPr>
          <a:xfrm>
            <a:off x="5085264" y="4578999"/>
            <a:ext cx="18546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alpha val="70000"/>
                  </a:schemeClr>
                </a:solidFill>
                <a:latin typeface="Montserrat" panose="020B0604020202020204" charset="0"/>
              </a:rPr>
              <a:t>-20% from last Month</a:t>
            </a:r>
          </a:p>
        </p:txBody>
      </p:sp>
      <p:cxnSp>
        <p:nvCxnSpPr>
          <p:cNvPr id="24" name="Straight Connector 29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46C6F138-58DD-4D47-B220-3C8F444ECA51}"/>
              </a:ext>
            </a:extLst>
          </p:cNvPr>
          <p:cNvCxnSpPr>
            <a:cxnSpLocks/>
          </p:cNvCxnSpPr>
          <p:nvPr/>
        </p:nvCxnSpPr>
        <p:spPr>
          <a:xfrm>
            <a:off x="4810007" y="5436899"/>
            <a:ext cx="0" cy="473964"/>
          </a:xfrm>
          <a:prstGeom prst="line">
            <a:avLst/>
          </a:prstGeom>
          <a:ln w="101600" cap="rnd">
            <a:solidFill>
              <a:schemeClr val="bg1">
                <a:alpha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3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7B16DCBB-2633-4293-99FE-99A8E5FD5A5D}"/>
              </a:ext>
            </a:extLst>
          </p:cNvPr>
          <p:cNvCxnSpPr>
            <a:cxnSpLocks/>
          </p:cNvCxnSpPr>
          <p:nvPr/>
        </p:nvCxnSpPr>
        <p:spPr>
          <a:xfrm>
            <a:off x="5202219" y="5176616"/>
            <a:ext cx="0" cy="734247"/>
          </a:xfrm>
          <a:prstGeom prst="line">
            <a:avLst/>
          </a:prstGeom>
          <a:ln w="101600" cap="rnd">
            <a:solidFill>
              <a:schemeClr val="bg1">
                <a:alpha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3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02FB8848-C7E6-4EDF-A1E1-3F8725A64AE3}"/>
              </a:ext>
            </a:extLst>
          </p:cNvPr>
          <p:cNvCxnSpPr>
            <a:cxnSpLocks/>
          </p:cNvCxnSpPr>
          <p:nvPr/>
        </p:nvCxnSpPr>
        <p:spPr>
          <a:xfrm>
            <a:off x="5594431" y="5286496"/>
            <a:ext cx="0" cy="624367"/>
          </a:xfrm>
          <a:prstGeom prst="line">
            <a:avLst/>
          </a:prstGeom>
          <a:ln w="101600" cap="rnd">
            <a:solidFill>
              <a:schemeClr val="bg1">
                <a:alpha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3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B27C3A1-1F18-48AA-8F49-121812EBDBF9}"/>
              </a:ext>
            </a:extLst>
          </p:cNvPr>
          <p:cNvCxnSpPr>
            <a:cxnSpLocks/>
          </p:cNvCxnSpPr>
          <p:nvPr/>
        </p:nvCxnSpPr>
        <p:spPr>
          <a:xfrm>
            <a:off x="5986643" y="5086441"/>
            <a:ext cx="0" cy="824422"/>
          </a:xfrm>
          <a:prstGeom prst="line">
            <a:avLst/>
          </a:prstGeom>
          <a:ln w="101600" cap="rnd">
            <a:solidFill>
              <a:schemeClr val="bg1">
                <a:alpha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3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462082E0-6E43-4D49-9545-90826C624783}"/>
              </a:ext>
            </a:extLst>
          </p:cNvPr>
          <p:cNvCxnSpPr>
            <a:cxnSpLocks/>
          </p:cNvCxnSpPr>
          <p:nvPr/>
        </p:nvCxnSpPr>
        <p:spPr>
          <a:xfrm>
            <a:off x="6378855" y="5286496"/>
            <a:ext cx="0" cy="624367"/>
          </a:xfrm>
          <a:prstGeom prst="line">
            <a:avLst/>
          </a:prstGeom>
          <a:ln w="101600" cap="rnd">
            <a:solidFill>
              <a:schemeClr val="bg1">
                <a:alpha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6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124EF18-F81C-40B6-B408-229AEA966A83}"/>
              </a:ext>
            </a:extLst>
          </p:cNvPr>
          <p:cNvCxnSpPr>
            <a:cxnSpLocks/>
          </p:cNvCxnSpPr>
          <p:nvPr/>
        </p:nvCxnSpPr>
        <p:spPr>
          <a:xfrm>
            <a:off x="6771067" y="5086441"/>
            <a:ext cx="0" cy="824422"/>
          </a:xfrm>
          <a:prstGeom prst="line">
            <a:avLst/>
          </a:prstGeom>
          <a:ln w="101600" cap="rnd">
            <a:solidFill>
              <a:schemeClr val="bg1">
                <a:alpha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37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19F443ED-B5D0-4F1C-A9F5-BFD72F90B581}"/>
              </a:ext>
            </a:extLst>
          </p:cNvPr>
          <p:cNvCxnSpPr>
            <a:cxnSpLocks/>
          </p:cNvCxnSpPr>
          <p:nvPr/>
        </p:nvCxnSpPr>
        <p:spPr>
          <a:xfrm>
            <a:off x="7163279" y="4962935"/>
            <a:ext cx="0" cy="947928"/>
          </a:xfrm>
          <a:prstGeom prst="line">
            <a:avLst/>
          </a:prstGeom>
          <a:ln w="1016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4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A6CB6F1-25F3-437F-AF38-0D3C45878273}"/>
              </a:ext>
            </a:extLst>
          </p:cNvPr>
          <p:cNvSpPr txBox="1"/>
          <p:nvPr/>
        </p:nvSpPr>
        <p:spPr>
          <a:xfrm>
            <a:off x="4608100" y="5969599"/>
            <a:ext cx="40381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 dirty="0">
                <a:solidFill>
                  <a:schemeClr val="bg1">
                    <a:alpha val="70000"/>
                  </a:schemeClr>
                </a:solidFill>
                <a:latin typeface="Montserrat" panose="020B0604020202020204" charset="0"/>
              </a:rPr>
              <a:t>JAN</a:t>
            </a:r>
          </a:p>
        </p:txBody>
      </p:sp>
      <p:sp>
        <p:nvSpPr>
          <p:cNvPr id="32" name="TextBox 46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7674ACF-C920-4ED2-B013-74A5DFB46808}"/>
              </a:ext>
            </a:extLst>
          </p:cNvPr>
          <p:cNvSpPr txBox="1"/>
          <p:nvPr/>
        </p:nvSpPr>
        <p:spPr>
          <a:xfrm>
            <a:off x="5000312" y="5969599"/>
            <a:ext cx="40381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 dirty="0">
                <a:solidFill>
                  <a:schemeClr val="bg1">
                    <a:alpha val="70000"/>
                  </a:schemeClr>
                </a:solidFill>
                <a:latin typeface="Montserrat" panose="020B0604020202020204" charset="0"/>
              </a:rPr>
              <a:t>FEB</a:t>
            </a:r>
          </a:p>
        </p:txBody>
      </p:sp>
      <p:sp>
        <p:nvSpPr>
          <p:cNvPr id="33" name="TextBox 47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EEF01D7B-5BF5-4B20-8820-6BE17F3354AE}"/>
              </a:ext>
            </a:extLst>
          </p:cNvPr>
          <p:cNvSpPr txBox="1"/>
          <p:nvPr/>
        </p:nvSpPr>
        <p:spPr>
          <a:xfrm>
            <a:off x="5357276" y="5969599"/>
            <a:ext cx="45361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 dirty="0">
                <a:solidFill>
                  <a:schemeClr val="bg1">
                    <a:alpha val="70000"/>
                  </a:schemeClr>
                </a:solidFill>
                <a:latin typeface="Montserrat" panose="020B0604020202020204" charset="0"/>
              </a:rPr>
              <a:t>MAR</a:t>
            </a:r>
          </a:p>
        </p:txBody>
      </p:sp>
      <p:sp>
        <p:nvSpPr>
          <p:cNvPr id="34" name="TextBox 48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864E856A-04A1-4701-8C80-EFEA383CFA54}"/>
              </a:ext>
            </a:extLst>
          </p:cNvPr>
          <p:cNvSpPr txBox="1"/>
          <p:nvPr/>
        </p:nvSpPr>
        <p:spPr>
          <a:xfrm>
            <a:off x="5757052" y="5969599"/>
            <a:ext cx="45361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 dirty="0">
                <a:solidFill>
                  <a:schemeClr val="bg1">
                    <a:alpha val="70000"/>
                  </a:schemeClr>
                </a:solidFill>
                <a:latin typeface="Montserrat" panose="020B0604020202020204" charset="0"/>
              </a:rPr>
              <a:t>APR</a:t>
            </a:r>
          </a:p>
        </p:txBody>
      </p:sp>
      <p:sp>
        <p:nvSpPr>
          <p:cNvPr id="35" name="TextBox 49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939D2212-DBF9-40CD-AEAF-63AA8E591831}"/>
              </a:ext>
            </a:extLst>
          </p:cNvPr>
          <p:cNvSpPr txBox="1"/>
          <p:nvPr/>
        </p:nvSpPr>
        <p:spPr>
          <a:xfrm>
            <a:off x="6156828" y="5969599"/>
            <a:ext cx="45361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 dirty="0">
                <a:solidFill>
                  <a:schemeClr val="bg1">
                    <a:alpha val="70000"/>
                  </a:schemeClr>
                </a:solidFill>
                <a:latin typeface="Montserrat" panose="020B0604020202020204" charset="0"/>
              </a:rPr>
              <a:t>MAY</a:t>
            </a:r>
          </a:p>
        </p:txBody>
      </p:sp>
      <p:sp>
        <p:nvSpPr>
          <p:cNvPr id="36" name="TextBox 5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4130F454-8D83-479A-B428-8A44B73C31F5}"/>
              </a:ext>
            </a:extLst>
          </p:cNvPr>
          <p:cNvSpPr txBox="1"/>
          <p:nvPr/>
        </p:nvSpPr>
        <p:spPr>
          <a:xfrm>
            <a:off x="6544260" y="5969599"/>
            <a:ext cx="45361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 dirty="0">
                <a:solidFill>
                  <a:schemeClr val="bg1">
                    <a:alpha val="70000"/>
                  </a:schemeClr>
                </a:solidFill>
                <a:latin typeface="Montserrat" panose="020B0604020202020204" charset="0"/>
              </a:rPr>
              <a:t>JUN</a:t>
            </a:r>
          </a:p>
        </p:txBody>
      </p:sp>
      <p:sp>
        <p:nvSpPr>
          <p:cNvPr id="37" name="TextBox 51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15201A9-6C11-4D28-8D9D-5E76F89E5DB5}"/>
              </a:ext>
            </a:extLst>
          </p:cNvPr>
          <p:cNvSpPr txBox="1"/>
          <p:nvPr/>
        </p:nvSpPr>
        <p:spPr>
          <a:xfrm>
            <a:off x="6945807" y="5969599"/>
            <a:ext cx="45361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 dirty="0">
                <a:solidFill>
                  <a:schemeClr val="bg1">
                    <a:alpha val="70000"/>
                  </a:schemeClr>
                </a:solidFill>
                <a:latin typeface="Montserrat" panose="020B0604020202020204" charset="0"/>
              </a:rPr>
              <a:t>JUL</a:t>
            </a:r>
          </a:p>
        </p:txBody>
      </p:sp>
      <p:grpSp>
        <p:nvGrpSpPr>
          <p:cNvPr id="38" name="Group 5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853FB63F-4D80-4F79-8338-ADC9E69A0767}"/>
              </a:ext>
            </a:extLst>
          </p:cNvPr>
          <p:cNvGrpSpPr/>
          <p:nvPr/>
        </p:nvGrpSpPr>
        <p:grpSpPr>
          <a:xfrm>
            <a:off x="8656362" y="4792986"/>
            <a:ext cx="2440242" cy="1341059"/>
            <a:chOff x="7277581" y="4209903"/>
            <a:chExt cx="2813156" cy="1545991"/>
          </a:xfrm>
        </p:grpSpPr>
        <p:sp>
          <p:nvSpPr>
            <p:cNvPr id="39" name="Freeform: Shape 55">
              <a:extLst>
                <a:ext uri="{FF2B5EF4-FFF2-40B4-BE49-F238E27FC236}">
                  <a16:creationId xmlns:a16="http://schemas.microsoft.com/office/drawing/2014/main" id="{6BE41603-642D-4D1E-8F51-A8607FACA838}"/>
                </a:ext>
              </a:extLst>
            </p:cNvPr>
            <p:cNvSpPr/>
            <p:nvPr/>
          </p:nvSpPr>
          <p:spPr>
            <a:xfrm>
              <a:off x="7593560" y="4403556"/>
              <a:ext cx="2089096" cy="1209791"/>
            </a:xfrm>
            <a:custGeom>
              <a:avLst/>
              <a:gdLst>
                <a:gd name="connsiteX0" fmla="*/ 1677766 w 3546265"/>
                <a:gd name="connsiteY0" fmla="*/ 2416 h 2053636"/>
                <a:gd name="connsiteX1" fmla="*/ 1901945 w 3546265"/>
                <a:gd name="connsiteY1" fmla="*/ 4480 h 2053636"/>
                <a:gd name="connsiteX2" fmla="*/ 2445715 w 3546265"/>
                <a:gd name="connsiteY2" fmla="*/ 126033 h 2053636"/>
                <a:gd name="connsiteX3" fmla="*/ 2923550 w 3546265"/>
                <a:gd name="connsiteY3" fmla="*/ 406658 h 2053636"/>
                <a:gd name="connsiteX4" fmla="*/ 3385871 w 3546265"/>
                <a:gd name="connsiteY4" fmla="*/ 990416 h 2053636"/>
                <a:gd name="connsiteX5" fmla="*/ 3537910 w 3546265"/>
                <a:gd name="connsiteY5" fmla="*/ 1509645 h 2053636"/>
                <a:gd name="connsiteX6" fmla="*/ 3544115 w 3546265"/>
                <a:gd name="connsiteY6" fmla="*/ 1827786 h 2053636"/>
                <a:gd name="connsiteX7" fmla="*/ 3295889 w 3546265"/>
                <a:gd name="connsiteY7" fmla="*/ 2053636 h 2053636"/>
                <a:gd name="connsiteX8" fmla="*/ 2102591 w 3546265"/>
                <a:gd name="connsiteY8" fmla="*/ 2053636 h 2053636"/>
                <a:gd name="connsiteX9" fmla="*/ 2093775 w 3546265"/>
                <a:gd name="connsiteY9" fmla="*/ 1987370 h 2053636"/>
                <a:gd name="connsiteX10" fmla="*/ 1756941 w 3546265"/>
                <a:gd name="connsiteY10" fmla="*/ 1718310 h 2053636"/>
                <a:gd name="connsiteX11" fmla="*/ 1441029 w 3546265"/>
                <a:gd name="connsiteY11" fmla="*/ 2011653 h 2053636"/>
                <a:gd name="connsiteX12" fmla="*/ 1438596 w 3546265"/>
                <a:gd name="connsiteY12" fmla="*/ 2053636 h 2053636"/>
                <a:gd name="connsiteX13" fmla="*/ 262878 w 3546265"/>
                <a:gd name="connsiteY13" fmla="*/ 2053636 h 2053636"/>
                <a:gd name="connsiteX14" fmla="*/ 689 w 3546265"/>
                <a:gd name="connsiteY14" fmla="*/ 1801524 h 2053636"/>
                <a:gd name="connsiteX15" fmla="*/ 689 w 3546265"/>
                <a:gd name="connsiteY15" fmla="*/ 1587680 h 2053636"/>
                <a:gd name="connsiteX16" fmla="*/ 117045 w 3546265"/>
                <a:gd name="connsiteY16" fmla="*/ 1078955 h 2053636"/>
                <a:gd name="connsiteX17" fmla="*/ 371477 w 3546265"/>
                <a:gd name="connsiteY17" fmla="*/ 652766 h 2053636"/>
                <a:gd name="connsiteX18" fmla="*/ 870256 w 3546265"/>
                <a:gd name="connsiteY18" fmla="*/ 234081 h 2053636"/>
                <a:gd name="connsiteX19" fmla="*/ 1455914 w 3546265"/>
                <a:gd name="connsiteY19" fmla="*/ 26240 h 2053636"/>
                <a:gd name="connsiteX20" fmla="*/ 1677766 w 3546265"/>
                <a:gd name="connsiteY20" fmla="*/ 2416 h 205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46265" h="2053636">
                  <a:moveTo>
                    <a:pt x="1677766" y="2416"/>
                  </a:moveTo>
                  <a:cubicBezTo>
                    <a:pt x="1752040" y="-1335"/>
                    <a:pt x="1826702" y="-773"/>
                    <a:pt x="1901945" y="4480"/>
                  </a:cubicBezTo>
                  <a:cubicBezTo>
                    <a:pt x="2090442" y="17986"/>
                    <a:pt x="2271181" y="58504"/>
                    <a:pt x="2445715" y="126033"/>
                  </a:cubicBezTo>
                  <a:cubicBezTo>
                    <a:pt x="2621024" y="194314"/>
                    <a:pt x="2779268" y="288856"/>
                    <a:pt x="2923550" y="406658"/>
                  </a:cubicBezTo>
                  <a:cubicBezTo>
                    <a:pt x="3121355" y="568729"/>
                    <a:pt x="3275720" y="763065"/>
                    <a:pt x="3385871" y="990416"/>
                  </a:cubicBezTo>
                  <a:cubicBezTo>
                    <a:pt x="3465769" y="1155489"/>
                    <a:pt x="3516965" y="1328065"/>
                    <a:pt x="3537910" y="1509645"/>
                  </a:cubicBezTo>
                  <a:cubicBezTo>
                    <a:pt x="3550321" y="1615442"/>
                    <a:pt x="3545667" y="1721239"/>
                    <a:pt x="3544115" y="1827786"/>
                  </a:cubicBezTo>
                  <a:cubicBezTo>
                    <a:pt x="3542564" y="1950090"/>
                    <a:pt x="3425432" y="2053636"/>
                    <a:pt x="3295889" y="2053636"/>
                  </a:cubicBezTo>
                  <a:lnTo>
                    <a:pt x="2102591" y="2053636"/>
                  </a:lnTo>
                  <a:lnTo>
                    <a:pt x="2093775" y="1987370"/>
                  </a:lnTo>
                  <a:cubicBezTo>
                    <a:pt x="2056741" y="1828044"/>
                    <a:pt x="1917932" y="1712320"/>
                    <a:pt x="1756941" y="1718310"/>
                  </a:cubicBezTo>
                  <a:cubicBezTo>
                    <a:pt x="1595951" y="1724299"/>
                    <a:pt x="1466123" y="1850016"/>
                    <a:pt x="1441029" y="2011653"/>
                  </a:cubicBezTo>
                  <a:lnTo>
                    <a:pt x="1438596" y="2053636"/>
                  </a:lnTo>
                  <a:lnTo>
                    <a:pt x="262878" y="2053636"/>
                  </a:lnTo>
                  <a:cubicBezTo>
                    <a:pt x="110064" y="2053636"/>
                    <a:pt x="689" y="1948589"/>
                    <a:pt x="689" y="1801524"/>
                  </a:cubicBezTo>
                  <a:cubicBezTo>
                    <a:pt x="689" y="1730243"/>
                    <a:pt x="-862" y="1658961"/>
                    <a:pt x="689" y="1587680"/>
                  </a:cubicBezTo>
                  <a:cubicBezTo>
                    <a:pt x="5343" y="1410601"/>
                    <a:pt x="51111" y="1242527"/>
                    <a:pt x="117045" y="1078955"/>
                  </a:cubicBezTo>
                  <a:cubicBezTo>
                    <a:pt x="179878" y="925137"/>
                    <a:pt x="265205" y="783324"/>
                    <a:pt x="371477" y="652766"/>
                  </a:cubicBezTo>
                  <a:cubicBezTo>
                    <a:pt x="510329" y="481691"/>
                    <a:pt x="677105" y="342880"/>
                    <a:pt x="870256" y="234081"/>
                  </a:cubicBezTo>
                  <a:cubicBezTo>
                    <a:pt x="1052547" y="131286"/>
                    <a:pt x="1247249" y="60004"/>
                    <a:pt x="1455914" y="26240"/>
                  </a:cubicBezTo>
                  <a:cubicBezTo>
                    <a:pt x="1529606" y="14234"/>
                    <a:pt x="1603492" y="6168"/>
                    <a:pt x="1677766" y="241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  <a:tileRect/>
            </a:gradFill>
            <a:ln w="50800" cap="flat">
              <a:solidFill>
                <a:schemeClr val="bg1"/>
              </a:solidFill>
              <a:prstDash val="solid"/>
              <a:miter/>
            </a:ln>
            <a:effectLst>
              <a:innerShdw blurRad="152400">
                <a:prstClr val="black">
                  <a:alpha val="67000"/>
                </a:prstClr>
              </a:innerShdw>
            </a:effectLst>
          </p:spPr>
          <p:txBody>
            <a:bodyPr rtlCol="0" anchor="ctr"/>
            <a:lstStyle/>
            <a:p>
              <a:endParaRPr lang="en-US">
                <a:latin typeface="Montserrat" panose="020B0604020202020204" charset="0"/>
              </a:endParaRPr>
            </a:p>
          </p:txBody>
        </p:sp>
        <p:sp>
          <p:nvSpPr>
            <p:cNvPr id="40" name="Freeform: Shape 56">
              <a:extLst>
                <a:ext uri="{FF2B5EF4-FFF2-40B4-BE49-F238E27FC236}">
                  <a16:creationId xmlns:a16="http://schemas.microsoft.com/office/drawing/2014/main" id="{32BA5494-618E-4BAD-9F49-497A317ABAC5}"/>
                </a:ext>
              </a:extLst>
            </p:cNvPr>
            <p:cNvSpPr/>
            <p:nvPr/>
          </p:nvSpPr>
          <p:spPr>
            <a:xfrm>
              <a:off x="7355840" y="4220139"/>
              <a:ext cx="2565229" cy="1535755"/>
            </a:xfrm>
            <a:custGeom>
              <a:avLst/>
              <a:gdLst>
                <a:gd name="connsiteX0" fmla="*/ 2197341 w 4354506"/>
                <a:gd name="connsiteY0" fmla="*/ 91 h 2606965"/>
                <a:gd name="connsiteX1" fmla="*/ 2335424 w 4354506"/>
                <a:gd name="connsiteY1" fmla="*/ 5687 h 2606965"/>
                <a:gd name="connsiteX2" fmla="*/ 3003126 w 4354506"/>
                <a:gd name="connsiteY2" fmla="*/ 159992 h 2606965"/>
                <a:gd name="connsiteX3" fmla="*/ 3589866 w 4354506"/>
                <a:gd name="connsiteY3" fmla="*/ 516227 h 2606965"/>
                <a:gd name="connsiteX4" fmla="*/ 4157557 w 4354506"/>
                <a:gd name="connsiteY4" fmla="*/ 1257272 h 2606965"/>
                <a:gd name="connsiteX5" fmla="*/ 4344247 w 4354506"/>
                <a:gd name="connsiteY5" fmla="*/ 1916402 h 2606965"/>
                <a:gd name="connsiteX6" fmla="*/ 4351867 w 4354506"/>
                <a:gd name="connsiteY6" fmla="*/ 2320262 h 2606965"/>
                <a:gd name="connsiteX7" fmla="*/ 4047066 w 4354506"/>
                <a:gd name="connsiteY7" fmla="*/ 2606965 h 2606965"/>
                <a:gd name="connsiteX8" fmla="*/ 2175404 w 4354506"/>
                <a:gd name="connsiteY8" fmla="*/ 2606965 h 2606965"/>
                <a:gd name="connsiteX9" fmla="*/ 322791 w 4354506"/>
                <a:gd name="connsiteY9" fmla="*/ 2606965 h 2606965"/>
                <a:gd name="connsiteX10" fmla="*/ 846 w 4354506"/>
                <a:gd name="connsiteY10" fmla="*/ 2286925 h 2606965"/>
                <a:gd name="connsiteX11" fmla="*/ 846 w 4354506"/>
                <a:gd name="connsiteY11" fmla="*/ 2015462 h 2606965"/>
                <a:gd name="connsiteX12" fmla="*/ 143721 w 4354506"/>
                <a:gd name="connsiteY12" fmla="*/ 1369667 h 2606965"/>
                <a:gd name="connsiteX13" fmla="*/ 456141 w 4354506"/>
                <a:gd name="connsiteY13" fmla="*/ 828647 h 2606965"/>
                <a:gd name="connsiteX14" fmla="*/ 1068599 w 4354506"/>
                <a:gd name="connsiteY14" fmla="*/ 297152 h 2606965"/>
                <a:gd name="connsiteX15" fmla="*/ 1787736 w 4354506"/>
                <a:gd name="connsiteY15" fmla="*/ 33310 h 2606965"/>
                <a:gd name="connsiteX16" fmla="*/ 2197341 w 4354506"/>
                <a:gd name="connsiteY16" fmla="*/ 91 h 2606965"/>
                <a:gd name="connsiteX17" fmla="*/ 2081298 w 4354506"/>
                <a:gd name="connsiteY17" fmla="*/ 313769 h 2606965"/>
                <a:gd name="connsiteX18" fmla="*/ 1859446 w 4354506"/>
                <a:gd name="connsiteY18" fmla="*/ 337593 h 2606965"/>
                <a:gd name="connsiteX19" fmla="*/ 1273788 w 4354506"/>
                <a:gd name="connsiteY19" fmla="*/ 545434 h 2606965"/>
                <a:gd name="connsiteX20" fmla="*/ 775009 w 4354506"/>
                <a:gd name="connsiteY20" fmla="*/ 964119 h 2606965"/>
                <a:gd name="connsiteX21" fmla="*/ 520577 w 4354506"/>
                <a:gd name="connsiteY21" fmla="*/ 1390308 h 2606965"/>
                <a:gd name="connsiteX22" fmla="*/ 404221 w 4354506"/>
                <a:gd name="connsiteY22" fmla="*/ 1899033 h 2606965"/>
                <a:gd name="connsiteX23" fmla="*/ 404221 w 4354506"/>
                <a:gd name="connsiteY23" fmla="*/ 2112877 h 2606965"/>
                <a:gd name="connsiteX24" fmla="*/ 666410 w 4354506"/>
                <a:gd name="connsiteY24" fmla="*/ 2364989 h 2606965"/>
                <a:gd name="connsiteX25" fmla="*/ 1842128 w 4354506"/>
                <a:gd name="connsiteY25" fmla="*/ 2364989 h 2606965"/>
                <a:gd name="connsiteX26" fmla="*/ 1844561 w 4354506"/>
                <a:gd name="connsiteY26" fmla="*/ 2323006 h 2606965"/>
                <a:gd name="connsiteX27" fmla="*/ 2160473 w 4354506"/>
                <a:gd name="connsiteY27" fmla="*/ 2029663 h 2606965"/>
                <a:gd name="connsiteX28" fmla="*/ 2497307 w 4354506"/>
                <a:gd name="connsiteY28" fmla="*/ 2298723 h 2606965"/>
                <a:gd name="connsiteX29" fmla="*/ 2506123 w 4354506"/>
                <a:gd name="connsiteY29" fmla="*/ 2364989 h 2606965"/>
                <a:gd name="connsiteX30" fmla="*/ 3699421 w 4354506"/>
                <a:gd name="connsiteY30" fmla="*/ 2364989 h 2606965"/>
                <a:gd name="connsiteX31" fmla="*/ 3947647 w 4354506"/>
                <a:gd name="connsiteY31" fmla="*/ 2139139 h 2606965"/>
                <a:gd name="connsiteX32" fmla="*/ 3941442 w 4354506"/>
                <a:gd name="connsiteY32" fmla="*/ 1820998 h 2606965"/>
                <a:gd name="connsiteX33" fmla="*/ 3789403 w 4354506"/>
                <a:gd name="connsiteY33" fmla="*/ 1301769 h 2606965"/>
                <a:gd name="connsiteX34" fmla="*/ 3327082 w 4354506"/>
                <a:gd name="connsiteY34" fmla="*/ 718011 h 2606965"/>
                <a:gd name="connsiteX35" fmla="*/ 2849247 w 4354506"/>
                <a:gd name="connsiteY35" fmla="*/ 437386 h 2606965"/>
                <a:gd name="connsiteX36" fmla="*/ 2305477 w 4354506"/>
                <a:gd name="connsiteY36" fmla="*/ 315833 h 2606965"/>
                <a:gd name="connsiteX37" fmla="*/ 2081298 w 4354506"/>
                <a:gd name="connsiteY37" fmla="*/ 313769 h 260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354506" h="2606965">
                  <a:moveTo>
                    <a:pt x="2197341" y="91"/>
                  </a:moveTo>
                  <a:cubicBezTo>
                    <a:pt x="2243210" y="508"/>
                    <a:pt x="2289228" y="2353"/>
                    <a:pt x="2335424" y="5687"/>
                  </a:cubicBezTo>
                  <a:cubicBezTo>
                    <a:pt x="2566882" y="22832"/>
                    <a:pt x="2788814" y="74267"/>
                    <a:pt x="3003126" y="159992"/>
                  </a:cubicBezTo>
                  <a:cubicBezTo>
                    <a:pt x="3218391" y="246670"/>
                    <a:pt x="3412701" y="366685"/>
                    <a:pt x="3589866" y="516227"/>
                  </a:cubicBezTo>
                  <a:cubicBezTo>
                    <a:pt x="3832754" y="721967"/>
                    <a:pt x="4022301" y="968665"/>
                    <a:pt x="4157557" y="1257272"/>
                  </a:cubicBezTo>
                  <a:cubicBezTo>
                    <a:pt x="4255664" y="1466822"/>
                    <a:pt x="4318529" y="1685897"/>
                    <a:pt x="4344247" y="1916402"/>
                  </a:cubicBezTo>
                  <a:cubicBezTo>
                    <a:pt x="4359487" y="2050705"/>
                    <a:pt x="4353772" y="2185007"/>
                    <a:pt x="4351867" y="2320262"/>
                  </a:cubicBezTo>
                  <a:cubicBezTo>
                    <a:pt x="4349962" y="2475520"/>
                    <a:pt x="4206134" y="2606965"/>
                    <a:pt x="4047066" y="2606965"/>
                  </a:cubicBezTo>
                  <a:cubicBezTo>
                    <a:pt x="3423179" y="2606965"/>
                    <a:pt x="2799291" y="2606965"/>
                    <a:pt x="2175404" y="2606965"/>
                  </a:cubicBezTo>
                  <a:cubicBezTo>
                    <a:pt x="1558184" y="2606965"/>
                    <a:pt x="940011" y="2606965"/>
                    <a:pt x="322791" y="2606965"/>
                  </a:cubicBezTo>
                  <a:cubicBezTo>
                    <a:pt x="135149" y="2606965"/>
                    <a:pt x="846" y="2473615"/>
                    <a:pt x="846" y="2286925"/>
                  </a:cubicBezTo>
                  <a:cubicBezTo>
                    <a:pt x="846" y="2196437"/>
                    <a:pt x="-1059" y="2105950"/>
                    <a:pt x="846" y="2015462"/>
                  </a:cubicBezTo>
                  <a:cubicBezTo>
                    <a:pt x="6561" y="1790672"/>
                    <a:pt x="62759" y="1577312"/>
                    <a:pt x="143721" y="1369667"/>
                  </a:cubicBezTo>
                  <a:cubicBezTo>
                    <a:pt x="220874" y="1174405"/>
                    <a:pt x="325649" y="994382"/>
                    <a:pt x="456141" y="828647"/>
                  </a:cubicBezTo>
                  <a:cubicBezTo>
                    <a:pt x="626639" y="611477"/>
                    <a:pt x="831426" y="435265"/>
                    <a:pt x="1068599" y="297152"/>
                  </a:cubicBezTo>
                  <a:cubicBezTo>
                    <a:pt x="1292436" y="166660"/>
                    <a:pt x="1531514" y="76172"/>
                    <a:pt x="1787736" y="33310"/>
                  </a:cubicBezTo>
                  <a:cubicBezTo>
                    <a:pt x="1923467" y="10450"/>
                    <a:pt x="2059735" y="-1159"/>
                    <a:pt x="2197341" y="91"/>
                  </a:cubicBezTo>
                  <a:close/>
                  <a:moveTo>
                    <a:pt x="2081298" y="313769"/>
                  </a:moveTo>
                  <a:cubicBezTo>
                    <a:pt x="2007024" y="317521"/>
                    <a:pt x="1933138" y="325587"/>
                    <a:pt x="1859446" y="337593"/>
                  </a:cubicBezTo>
                  <a:cubicBezTo>
                    <a:pt x="1650781" y="371357"/>
                    <a:pt x="1456079" y="442639"/>
                    <a:pt x="1273788" y="545434"/>
                  </a:cubicBezTo>
                  <a:cubicBezTo>
                    <a:pt x="1080637" y="654233"/>
                    <a:pt x="913861" y="793044"/>
                    <a:pt x="775009" y="964119"/>
                  </a:cubicBezTo>
                  <a:cubicBezTo>
                    <a:pt x="668737" y="1094677"/>
                    <a:pt x="583410" y="1236490"/>
                    <a:pt x="520577" y="1390308"/>
                  </a:cubicBezTo>
                  <a:cubicBezTo>
                    <a:pt x="454643" y="1553880"/>
                    <a:pt x="408875" y="1721954"/>
                    <a:pt x="404221" y="1899033"/>
                  </a:cubicBezTo>
                  <a:cubicBezTo>
                    <a:pt x="402670" y="1970314"/>
                    <a:pt x="404221" y="2041596"/>
                    <a:pt x="404221" y="2112877"/>
                  </a:cubicBezTo>
                  <a:cubicBezTo>
                    <a:pt x="404221" y="2259942"/>
                    <a:pt x="513596" y="2364989"/>
                    <a:pt x="666410" y="2364989"/>
                  </a:cubicBezTo>
                  <a:lnTo>
                    <a:pt x="1842128" y="2364989"/>
                  </a:lnTo>
                  <a:lnTo>
                    <a:pt x="1844561" y="2323006"/>
                  </a:lnTo>
                  <a:cubicBezTo>
                    <a:pt x="1869655" y="2161369"/>
                    <a:pt x="1999483" y="2035652"/>
                    <a:pt x="2160473" y="2029663"/>
                  </a:cubicBezTo>
                  <a:cubicBezTo>
                    <a:pt x="2321464" y="2023673"/>
                    <a:pt x="2460273" y="2139397"/>
                    <a:pt x="2497307" y="2298723"/>
                  </a:cubicBezTo>
                  <a:lnTo>
                    <a:pt x="2506123" y="2364989"/>
                  </a:lnTo>
                  <a:lnTo>
                    <a:pt x="3699421" y="2364989"/>
                  </a:lnTo>
                  <a:cubicBezTo>
                    <a:pt x="3828964" y="2364989"/>
                    <a:pt x="3946096" y="2261443"/>
                    <a:pt x="3947647" y="2139139"/>
                  </a:cubicBezTo>
                  <a:cubicBezTo>
                    <a:pt x="3949199" y="2032592"/>
                    <a:pt x="3953853" y="1926795"/>
                    <a:pt x="3941442" y="1820998"/>
                  </a:cubicBezTo>
                  <a:cubicBezTo>
                    <a:pt x="3920497" y="1639418"/>
                    <a:pt x="3869301" y="1466842"/>
                    <a:pt x="3789403" y="1301769"/>
                  </a:cubicBezTo>
                  <a:cubicBezTo>
                    <a:pt x="3679252" y="1074418"/>
                    <a:pt x="3524887" y="880082"/>
                    <a:pt x="3327082" y="718011"/>
                  </a:cubicBezTo>
                  <a:cubicBezTo>
                    <a:pt x="3182800" y="600209"/>
                    <a:pt x="3024556" y="505667"/>
                    <a:pt x="2849247" y="437386"/>
                  </a:cubicBezTo>
                  <a:cubicBezTo>
                    <a:pt x="2674713" y="369857"/>
                    <a:pt x="2493974" y="329339"/>
                    <a:pt x="2305477" y="315833"/>
                  </a:cubicBezTo>
                  <a:cubicBezTo>
                    <a:pt x="2230234" y="310580"/>
                    <a:pt x="2155572" y="310018"/>
                    <a:pt x="2081298" y="313769"/>
                  </a:cubicBezTo>
                  <a:close/>
                </a:path>
              </a:pathLst>
            </a:custGeom>
            <a:solidFill>
              <a:schemeClr val="bg2">
                <a:alpha val="3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TextBox 57">
              <a:extLst>
                <a:ext uri="{FF2B5EF4-FFF2-40B4-BE49-F238E27FC236}">
                  <a16:creationId xmlns:a16="http://schemas.microsoft.com/office/drawing/2014/main" id="{1603D7F9-9AA7-4E11-92D4-0985DF482E7B}"/>
                </a:ext>
              </a:extLst>
            </p:cNvPr>
            <p:cNvSpPr txBox="1"/>
            <p:nvPr/>
          </p:nvSpPr>
          <p:spPr>
            <a:xfrm>
              <a:off x="7277581" y="5459922"/>
              <a:ext cx="385308" cy="1951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500" b="1" dirty="0">
                  <a:solidFill>
                    <a:schemeClr val="tx2"/>
                  </a:solidFill>
                  <a:latin typeface="Montserrat" panose="020B0604020202020204" charset="0"/>
                </a:rPr>
                <a:t>0%</a:t>
              </a:r>
            </a:p>
          </p:txBody>
        </p:sp>
        <p:sp>
          <p:nvSpPr>
            <p:cNvPr id="42" name="TextBox 58">
              <a:extLst>
                <a:ext uri="{FF2B5EF4-FFF2-40B4-BE49-F238E27FC236}">
                  <a16:creationId xmlns:a16="http://schemas.microsoft.com/office/drawing/2014/main" id="{E0A312AC-49ED-47D6-B7F9-918A0008E436}"/>
                </a:ext>
              </a:extLst>
            </p:cNvPr>
            <p:cNvSpPr txBox="1"/>
            <p:nvPr/>
          </p:nvSpPr>
          <p:spPr>
            <a:xfrm>
              <a:off x="9603813" y="5460187"/>
              <a:ext cx="486924" cy="1951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00" b="1" dirty="0">
                  <a:solidFill>
                    <a:schemeClr val="tx2"/>
                  </a:solidFill>
                  <a:latin typeface="Montserrat" panose="020B0604020202020204" charset="0"/>
                </a:rPr>
                <a:t>100%</a:t>
              </a:r>
            </a:p>
          </p:txBody>
        </p:sp>
        <p:sp>
          <p:nvSpPr>
            <p:cNvPr id="43" name="TextBox 59">
              <a:extLst>
                <a:ext uri="{FF2B5EF4-FFF2-40B4-BE49-F238E27FC236}">
                  <a16:creationId xmlns:a16="http://schemas.microsoft.com/office/drawing/2014/main" id="{1600C5A6-459A-46E1-9BBD-9276A5C5ED6F}"/>
                </a:ext>
              </a:extLst>
            </p:cNvPr>
            <p:cNvSpPr txBox="1"/>
            <p:nvPr/>
          </p:nvSpPr>
          <p:spPr>
            <a:xfrm>
              <a:off x="8410074" y="4209903"/>
              <a:ext cx="456066" cy="1951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500" b="1" dirty="0">
                  <a:solidFill>
                    <a:schemeClr val="tx2"/>
                  </a:solidFill>
                  <a:latin typeface="Montserrat" panose="020B0604020202020204" charset="0"/>
                </a:rPr>
                <a:t>50%</a:t>
              </a:r>
            </a:p>
          </p:txBody>
        </p:sp>
        <p:sp>
          <p:nvSpPr>
            <p:cNvPr id="44" name="TextBox 60">
              <a:extLst>
                <a:ext uri="{FF2B5EF4-FFF2-40B4-BE49-F238E27FC236}">
                  <a16:creationId xmlns:a16="http://schemas.microsoft.com/office/drawing/2014/main" id="{A718A453-FAC0-40B1-973D-70D6B2716EE4}"/>
                </a:ext>
              </a:extLst>
            </p:cNvPr>
            <p:cNvSpPr txBox="1"/>
            <p:nvPr/>
          </p:nvSpPr>
          <p:spPr>
            <a:xfrm>
              <a:off x="7427036" y="4685416"/>
              <a:ext cx="431890" cy="1951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500" b="1" dirty="0">
                  <a:solidFill>
                    <a:schemeClr val="tx2"/>
                  </a:solidFill>
                  <a:latin typeface="Montserrat" panose="020B0604020202020204" charset="0"/>
                </a:rPr>
                <a:t>25%</a:t>
              </a:r>
            </a:p>
          </p:txBody>
        </p:sp>
        <p:sp>
          <p:nvSpPr>
            <p:cNvPr id="45" name="TextBox 61">
              <a:extLst>
                <a:ext uri="{FF2B5EF4-FFF2-40B4-BE49-F238E27FC236}">
                  <a16:creationId xmlns:a16="http://schemas.microsoft.com/office/drawing/2014/main" id="{B57F8E39-DB25-47A6-9B94-74D8E28B3B09}"/>
                </a:ext>
              </a:extLst>
            </p:cNvPr>
            <p:cNvSpPr txBox="1"/>
            <p:nvPr/>
          </p:nvSpPr>
          <p:spPr>
            <a:xfrm>
              <a:off x="9413522" y="4685415"/>
              <a:ext cx="445539" cy="1951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00" b="1" dirty="0">
                  <a:solidFill>
                    <a:schemeClr val="tx2"/>
                  </a:solidFill>
                  <a:latin typeface="Montserrat" panose="020B0604020202020204" charset="0"/>
                </a:rPr>
                <a:t>75%</a:t>
              </a:r>
            </a:p>
          </p:txBody>
        </p:sp>
      </p:grpSp>
      <p:sp>
        <p:nvSpPr>
          <p:cNvPr id="46" name="TextBox 6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CA445C21-EDE2-4920-AF1F-7AE6638FBFDC}"/>
              </a:ext>
            </a:extLst>
          </p:cNvPr>
          <p:cNvSpPr txBox="1"/>
          <p:nvPr/>
        </p:nvSpPr>
        <p:spPr>
          <a:xfrm>
            <a:off x="9518905" y="5097533"/>
            <a:ext cx="6353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Montserrat" panose="020B0604020202020204" charset="0"/>
              </a:rPr>
              <a:t>25%</a:t>
            </a:r>
          </a:p>
        </p:txBody>
      </p:sp>
      <p:grpSp>
        <p:nvGrpSpPr>
          <p:cNvPr id="47" name="Group 6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4BBD81D3-E346-455B-BC05-7B2B91C326FF}"/>
              </a:ext>
            </a:extLst>
          </p:cNvPr>
          <p:cNvGrpSpPr/>
          <p:nvPr/>
        </p:nvGrpSpPr>
        <p:grpSpPr>
          <a:xfrm rot="18485515">
            <a:off x="9770289" y="5180997"/>
            <a:ext cx="132223" cy="1526849"/>
            <a:chOff x="5966626" y="2866986"/>
            <a:chExt cx="258748" cy="2987916"/>
          </a:xfrm>
        </p:grpSpPr>
        <p:pic>
          <p:nvPicPr>
            <p:cNvPr id="48" name="Graphic 64">
              <a:extLst>
                <a:ext uri="{FF2B5EF4-FFF2-40B4-BE49-F238E27FC236}">
                  <a16:creationId xmlns:a16="http://schemas.microsoft.com/office/drawing/2014/main" id="{FE59ED84-7235-4753-97D1-DEB880DDC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66626" y="2866986"/>
              <a:ext cx="258748" cy="1623058"/>
            </a:xfrm>
            <a:prstGeom prst="rect">
              <a:avLst/>
            </a:prstGeom>
            <a:effectLst>
              <a:outerShdw blurRad="50800" dist="25400" algn="ctr" rotWithShape="0">
                <a:srgbClr val="000000">
                  <a:alpha val="39000"/>
                </a:srgbClr>
              </a:outerShdw>
            </a:effectLst>
          </p:spPr>
        </p:pic>
        <p:pic>
          <p:nvPicPr>
            <p:cNvPr id="49" name="Graphic 65">
              <a:extLst>
                <a:ext uri="{FF2B5EF4-FFF2-40B4-BE49-F238E27FC236}">
                  <a16:creationId xmlns:a16="http://schemas.microsoft.com/office/drawing/2014/main" id="{46CB0B58-74A8-436C-B62B-A6B3DD4BB5E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0800000">
              <a:off x="5966626" y="4231844"/>
              <a:ext cx="258748" cy="1623058"/>
            </a:xfrm>
            <a:prstGeom prst="rect">
              <a:avLst/>
            </a:prstGeom>
          </p:spPr>
        </p:pic>
      </p:grpSp>
      <p:sp>
        <p:nvSpPr>
          <p:cNvPr id="50" name="TextBox 66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C3C055F3-BFEC-4B8C-8A1C-FF8481ECB0F4}"/>
              </a:ext>
            </a:extLst>
          </p:cNvPr>
          <p:cNvSpPr txBox="1"/>
          <p:nvPr/>
        </p:nvSpPr>
        <p:spPr>
          <a:xfrm>
            <a:off x="8947281" y="3933370"/>
            <a:ext cx="1854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Montserrat" panose="020B0604020202020204" charset="0"/>
              </a:rPr>
              <a:t>Expended So Far</a:t>
            </a:r>
          </a:p>
        </p:txBody>
      </p:sp>
      <p:sp>
        <p:nvSpPr>
          <p:cNvPr id="51" name="TextBox 67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4DEB4A9C-64C9-4827-8321-FB54BC27D4FE}"/>
              </a:ext>
            </a:extLst>
          </p:cNvPr>
          <p:cNvSpPr txBox="1"/>
          <p:nvPr/>
        </p:nvSpPr>
        <p:spPr>
          <a:xfrm>
            <a:off x="8947281" y="4222522"/>
            <a:ext cx="1854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Montserrat" panose="020B0604020202020204" charset="0"/>
              </a:rPr>
              <a:t>1,085,000</a:t>
            </a:r>
          </a:p>
        </p:txBody>
      </p:sp>
      <p:sp>
        <p:nvSpPr>
          <p:cNvPr id="5" name="e7d195523061f1c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84BEA2B79408FB094EB53969616FE837C4DDA931FB4B50B287CB9E976CD8A286A6B09202195C1175A3DD2481D60CC400D4B189D647C2854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40538638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占位符 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4" b="12314"/>
          <a:stretch>
            <a:fillRect/>
          </a:stretch>
        </p:blipFill>
        <p:spPr/>
      </p:pic>
      <p:sp>
        <p:nvSpPr>
          <p:cNvPr id="3" name="Freeform 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AB88D6A1-11D9-8746-B6B1-1631B87DF64D}"/>
              </a:ext>
            </a:extLst>
          </p:cNvPr>
          <p:cNvSpPr/>
          <p:nvPr/>
        </p:nvSpPr>
        <p:spPr>
          <a:xfrm>
            <a:off x="0" y="0"/>
            <a:ext cx="12192000" cy="6124196"/>
          </a:xfrm>
          <a:custGeom>
            <a:avLst/>
            <a:gdLst>
              <a:gd name="connsiteX0" fmla="*/ 0 w 12192000"/>
              <a:gd name="connsiteY0" fmla="*/ 0 h 6124196"/>
              <a:gd name="connsiteX1" fmla="*/ 12192000 w 12192000"/>
              <a:gd name="connsiteY1" fmla="*/ 0 h 6124196"/>
              <a:gd name="connsiteX2" fmla="*/ 12192000 w 12192000"/>
              <a:gd name="connsiteY2" fmla="*/ 1239221 h 6124196"/>
              <a:gd name="connsiteX3" fmla="*/ 3978225 w 12192000"/>
              <a:gd name="connsiteY3" fmla="*/ 5981446 h 6124196"/>
              <a:gd name="connsiteX4" fmla="*/ 2524535 w 12192000"/>
              <a:gd name="connsiteY4" fmla="*/ 5591931 h 6124196"/>
              <a:gd name="connsiteX5" fmla="*/ 0 w 12192000"/>
              <a:gd name="connsiteY5" fmla="*/ 1219308 h 6124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4196">
                <a:moveTo>
                  <a:pt x="0" y="0"/>
                </a:moveTo>
                <a:lnTo>
                  <a:pt x="12192000" y="0"/>
                </a:lnTo>
                <a:lnTo>
                  <a:pt x="12192000" y="1239221"/>
                </a:lnTo>
                <a:lnTo>
                  <a:pt x="3978225" y="5981446"/>
                </a:lnTo>
                <a:cubicBezTo>
                  <a:pt x="3469238" y="6275310"/>
                  <a:pt x="2818399" y="6100918"/>
                  <a:pt x="2524535" y="5591931"/>
                </a:cubicBezTo>
                <a:lnTo>
                  <a:pt x="0" y="1219308"/>
                </a:lnTo>
                <a:close/>
              </a:path>
            </a:pathLst>
          </a:custGeom>
          <a:gradFill>
            <a:gsLst>
              <a:gs pos="2000">
                <a:schemeClr val="accent1">
                  <a:alpha val="62000"/>
                </a:schemeClr>
              </a:gs>
              <a:gs pos="100000">
                <a:schemeClr val="accent4">
                  <a:alpha val="6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Box 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317C1E78-C1DB-2D49-8C7F-E7301FB1E9D2}"/>
              </a:ext>
            </a:extLst>
          </p:cNvPr>
          <p:cNvSpPr txBox="1"/>
          <p:nvPr/>
        </p:nvSpPr>
        <p:spPr>
          <a:xfrm>
            <a:off x="1909413" y="1000889"/>
            <a:ext cx="4063094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0" b="1" i="0">
                <a:solidFill>
                  <a:schemeClr val="bg1"/>
                </a:solidFill>
                <a:effectLst>
                  <a:outerShdw blurRad="50800" dist="76200" dir="2700000" algn="tl" rotWithShape="0">
                    <a:prstClr val="black">
                      <a:alpha val="13000"/>
                    </a:prstClr>
                  </a:outerShdw>
                </a:effectLst>
                <a:latin typeface="Open Sans" charset="0"/>
                <a:ea typeface="Open Sans" charset="0"/>
                <a:cs typeface="Open Sans" charset="0"/>
              </a:rPr>
              <a:t>Startup</a:t>
            </a:r>
            <a:endParaRPr lang="en-US" sz="8000" b="1" i="1">
              <a:solidFill>
                <a:schemeClr val="bg1"/>
              </a:solidFill>
              <a:effectLst>
                <a:outerShdw blurRad="50800" dist="76200" dir="2700000" algn="tl" rotWithShape="0">
                  <a:prstClr val="black">
                    <a:alpha val="13000"/>
                  </a:prstClr>
                </a:outerShdw>
              </a:effectLst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6" name="TextBox 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A0B29E6-AD70-1B4D-9239-F4218972779F}"/>
              </a:ext>
            </a:extLst>
          </p:cNvPr>
          <p:cNvSpPr txBox="1"/>
          <p:nvPr/>
        </p:nvSpPr>
        <p:spPr>
          <a:xfrm flipH="1">
            <a:off x="1909413" y="2695544"/>
            <a:ext cx="5486400" cy="5213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</a:rPr>
              <a:t>Hey, hey, hey! It's Fat </a:t>
            </a:r>
            <a:r>
              <a:rPr lang="en-US" altLang="zh-CN" sz="1200" dirty="0">
                <a:solidFill>
                  <a:schemeClr val="bg1"/>
                </a:solidFill>
              </a:rPr>
              <a:t>Company</a:t>
            </a:r>
            <a:r>
              <a:rPr lang="zh-CN" altLang="en-US" sz="1200" dirty="0">
                <a:solidFill>
                  <a:schemeClr val="bg1"/>
                </a:solidFill>
              </a:rPr>
              <a:t>! Now I'm gonna sing a song for you, and this is gonna show you a thing or two. 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grpSp>
        <p:nvGrpSpPr>
          <p:cNvPr id="7" name="Group 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9E708827-998E-2F46-9A5C-4DDAE1323B6A}"/>
              </a:ext>
            </a:extLst>
          </p:cNvPr>
          <p:cNvGrpSpPr/>
          <p:nvPr/>
        </p:nvGrpSpPr>
        <p:grpSpPr>
          <a:xfrm>
            <a:off x="1909413" y="3387624"/>
            <a:ext cx="742535" cy="195926"/>
            <a:chOff x="1909413" y="3387624"/>
            <a:chExt cx="742535" cy="195926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7690DEC-87BB-AE4B-8208-1FFB537208FA}"/>
                </a:ext>
              </a:extLst>
            </p:cNvPr>
            <p:cNvSpPr/>
            <p:nvPr/>
          </p:nvSpPr>
          <p:spPr>
            <a:xfrm>
              <a:off x="2259343" y="3425937"/>
              <a:ext cx="119300" cy="1193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5F0C308-A1CC-2746-8C0A-05AADBE29537}"/>
                </a:ext>
              </a:extLst>
            </p:cNvPr>
            <p:cNvSpPr/>
            <p:nvPr/>
          </p:nvSpPr>
          <p:spPr>
            <a:xfrm>
              <a:off x="2532648" y="3425937"/>
              <a:ext cx="119300" cy="1193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A997BB2-1A3C-7C43-8D2F-3F0565068445}"/>
                </a:ext>
              </a:extLst>
            </p:cNvPr>
            <p:cNvGrpSpPr/>
            <p:nvPr/>
          </p:nvGrpSpPr>
          <p:grpSpPr>
            <a:xfrm>
              <a:off x="1909413" y="3387624"/>
              <a:ext cx="195926" cy="195926"/>
              <a:chOff x="1909413" y="3387624"/>
              <a:chExt cx="195926" cy="195926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C4ACAFDE-E2F6-A14C-BE28-4D46CE3A9B86}"/>
                  </a:ext>
                </a:extLst>
              </p:cNvPr>
              <p:cNvSpPr/>
              <p:nvPr/>
            </p:nvSpPr>
            <p:spPr>
              <a:xfrm>
                <a:off x="1947726" y="3425937"/>
                <a:ext cx="119300" cy="1193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3587CCC-01E4-CB4E-9564-9773E8DE16CA}"/>
                  </a:ext>
                </a:extLst>
              </p:cNvPr>
              <p:cNvSpPr/>
              <p:nvPr/>
            </p:nvSpPr>
            <p:spPr>
              <a:xfrm>
                <a:off x="1909413" y="3387624"/>
                <a:ext cx="195926" cy="195926"/>
              </a:xfrm>
              <a:prstGeom prst="ellipse">
                <a:avLst/>
              </a:prstGeom>
              <a:solidFill>
                <a:schemeClr val="bg1">
                  <a:alpha val="55000"/>
                </a:schemeClr>
              </a:solidFill>
              <a:ln>
                <a:noFill/>
              </a:ln>
              <a:effectLst>
                <a:outerShdw blurRad="177800" dist="76200" dir="2700000" algn="tl" rotWithShape="0">
                  <a:prstClr val="black">
                    <a:alpha val="4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13" name="TextBox 1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7AB940E-80E1-A44D-84CF-4546672405F9}"/>
              </a:ext>
            </a:extLst>
          </p:cNvPr>
          <p:cNvSpPr txBox="1"/>
          <p:nvPr/>
        </p:nvSpPr>
        <p:spPr>
          <a:xfrm>
            <a:off x="1909413" y="2449323"/>
            <a:ext cx="188833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Open Sans SemiBold" charset="0"/>
                <a:ea typeface="Open Sans SemiBold" charset="0"/>
                <a:cs typeface="Open Sans SemiBold" charset="0"/>
              </a:rPr>
              <a:t>WRITE SOMETHING</a:t>
            </a:r>
          </a:p>
        </p:txBody>
      </p:sp>
      <p:sp>
        <p:nvSpPr>
          <p:cNvPr id="18" name="TextBox 1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F3253CCC-7E25-4989-A878-CE6DB546A80B}"/>
              </a:ext>
            </a:extLst>
          </p:cNvPr>
          <p:cNvSpPr txBox="1"/>
          <p:nvPr/>
        </p:nvSpPr>
        <p:spPr>
          <a:xfrm>
            <a:off x="9405487" y="4432901"/>
            <a:ext cx="853442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20000"/>
              </a:lnSpc>
              <a:spcAft>
                <a:spcPts val="1200"/>
              </a:spcAft>
            </a:pPr>
            <a:r>
              <a:rPr lang="en-US" sz="3200" b="1" dirty="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27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Segoe UI Light" panose="020B0502040204020203" pitchFamily="34" charset="0"/>
                <a:sym typeface="微软雅黑" panose="020B0503020204020204" pitchFamily="34" charset="-122"/>
              </a:rPr>
              <a:t>02</a:t>
            </a:r>
          </a:p>
        </p:txBody>
      </p:sp>
      <p:sp>
        <p:nvSpPr>
          <p:cNvPr id="19" name="TextBox 4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BEA81E69-39CF-4806-91B8-2ED6A9E6E6EB}"/>
              </a:ext>
            </a:extLst>
          </p:cNvPr>
          <p:cNvSpPr txBox="1"/>
          <p:nvPr/>
        </p:nvSpPr>
        <p:spPr>
          <a:xfrm>
            <a:off x="9600437" y="5031803"/>
            <a:ext cx="230414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/>
              <a:t>Hey, hey, hey! It's Fat </a:t>
            </a:r>
            <a:r>
              <a:rPr lang="en-US" altLang="zh-CN" sz="1200" dirty="0"/>
              <a:t>Company</a:t>
            </a:r>
            <a:r>
              <a:rPr lang="zh-CN" altLang="en-US" sz="1200" dirty="0"/>
              <a:t>! Now I'm gonna sing a song for you, and this is gonna show you a thing or two. </a:t>
            </a:r>
            <a:endParaRPr lang="en-US" altLang="zh-CN" sz="1200" dirty="0"/>
          </a:p>
        </p:txBody>
      </p:sp>
      <p:sp>
        <p:nvSpPr>
          <p:cNvPr id="20" name="TextBox 4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83781D8C-B3F4-45E6-9D39-E953336D45F9}"/>
              </a:ext>
            </a:extLst>
          </p:cNvPr>
          <p:cNvSpPr txBox="1"/>
          <p:nvPr/>
        </p:nvSpPr>
        <p:spPr>
          <a:xfrm>
            <a:off x="6687114" y="4497069"/>
            <a:ext cx="853442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20000"/>
              </a:lnSpc>
              <a:spcAft>
                <a:spcPts val="1200"/>
              </a:spcAft>
            </a:pPr>
            <a:r>
              <a:rPr lang="en-US" sz="3200" b="1" dirty="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27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Segoe UI Light" panose="020B0502040204020203" pitchFamily="34" charset="0"/>
                <a:sym typeface="微软雅黑" panose="020B0503020204020204" pitchFamily="34" charset="-122"/>
              </a:rPr>
              <a:t>01</a:t>
            </a:r>
          </a:p>
        </p:txBody>
      </p:sp>
      <p:sp>
        <p:nvSpPr>
          <p:cNvPr id="21" name="TextBox 4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424467FF-2A10-4843-8B1B-F1262DE8CEEA}"/>
              </a:ext>
            </a:extLst>
          </p:cNvPr>
          <p:cNvSpPr txBox="1"/>
          <p:nvPr/>
        </p:nvSpPr>
        <p:spPr>
          <a:xfrm>
            <a:off x="6914147" y="5047845"/>
            <a:ext cx="230414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/>
              <a:t>Hey, hey, hey! It's Fat </a:t>
            </a:r>
            <a:r>
              <a:rPr lang="en-US" altLang="zh-CN" sz="1200" dirty="0"/>
              <a:t>Company</a:t>
            </a:r>
            <a:r>
              <a:rPr lang="zh-CN" altLang="en-US" sz="1200" dirty="0"/>
              <a:t>! Now I'm gonna sing a song for you, and this is gonna show you a thing or two. </a:t>
            </a:r>
            <a:endParaRPr lang="en-US" altLang="zh-CN" sz="1200" dirty="0"/>
          </a:p>
        </p:txBody>
      </p:sp>
      <p:sp>
        <p:nvSpPr>
          <p:cNvPr id="22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3596038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片占位符 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" b="31258"/>
          <a:stretch/>
        </p:blipFill>
        <p:spPr/>
      </p:pic>
      <p:sp>
        <p:nvSpPr>
          <p:cNvPr id="4" name="Rectangle 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64000"/>
                </a:schemeClr>
              </a:gs>
              <a:gs pos="100000">
                <a:schemeClr val="accent4">
                  <a:alpha val="62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5" name="Group 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GrpSpPr/>
          <p:nvPr/>
        </p:nvGrpSpPr>
        <p:grpSpPr>
          <a:xfrm>
            <a:off x="7753469" y="1148119"/>
            <a:ext cx="1078803" cy="1078803"/>
            <a:chOff x="9716245" y="5238447"/>
            <a:chExt cx="928701" cy="928701"/>
          </a:xfrm>
          <a:effectLst>
            <a:outerShdw blurRad="787400" dist="76200" dir="2700000" algn="tl" rotWithShape="0">
              <a:schemeClr val="accent1">
                <a:alpha val="59000"/>
              </a:schemeClr>
            </a:outerShdw>
          </a:effectLst>
        </p:grpSpPr>
        <p:sp>
          <p:nvSpPr>
            <p:cNvPr id="6" name="Oval 5"/>
            <p:cNvSpPr/>
            <p:nvPr userDrawn="1"/>
          </p:nvSpPr>
          <p:spPr>
            <a:xfrm>
              <a:off x="9716245" y="5238447"/>
              <a:ext cx="928701" cy="928701"/>
            </a:xfrm>
            <a:prstGeom prst="ellipse">
              <a:avLst/>
            </a:prstGeom>
            <a:solidFill>
              <a:schemeClr val="bg1">
                <a:alpha val="37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/>
            <p:cNvSpPr/>
            <p:nvPr userDrawn="1"/>
          </p:nvSpPr>
          <p:spPr>
            <a:xfrm>
              <a:off x="9832830" y="5355032"/>
              <a:ext cx="695529" cy="69552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" name="Group 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GrpSpPr/>
          <p:nvPr/>
        </p:nvGrpSpPr>
        <p:grpSpPr>
          <a:xfrm>
            <a:off x="9115419" y="2772354"/>
            <a:ext cx="1078803" cy="1078803"/>
            <a:chOff x="9716245" y="5238447"/>
            <a:chExt cx="928701" cy="928701"/>
          </a:xfrm>
          <a:effectLst>
            <a:outerShdw blurRad="787400" dist="76200" dir="2700000" algn="tl" rotWithShape="0">
              <a:schemeClr val="accent1">
                <a:alpha val="59000"/>
              </a:schemeClr>
            </a:outerShdw>
          </a:effectLst>
        </p:grpSpPr>
        <p:sp>
          <p:nvSpPr>
            <p:cNvPr id="9" name="Oval 8"/>
            <p:cNvSpPr/>
            <p:nvPr userDrawn="1"/>
          </p:nvSpPr>
          <p:spPr>
            <a:xfrm>
              <a:off x="9716245" y="5238447"/>
              <a:ext cx="928701" cy="928701"/>
            </a:xfrm>
            <a:prstGeom prst="ellipse">
              <a:avLst/>
            </a:prstGeom>
            <a:solidFill>
              <a:schemeClr val="bg1">
                <a:alpha val="37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9832830" y="5355032"/>
              <a:ext cx="695529" cy="69552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" name="Group 1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GrpSpPr/>
          <p:nvPr/>
        </p:nvGrpSpPr>
        <p:grpSpPr>
          <a:xfrm>
            <a:off x="7973508" y="4493780"/>
            <a:ext cx="1078803" cy="1078803"/>
            <a:chOff x="9716245" y="5238447"/>
            <a:chExt cx="928701" cy="928701"/>
          </a:xfrm>
          <a:effectLst>
            <a:outerShdw blurRad="787400" dist="76200" dir="2700000" algn="tl" rotWithShape="0">
              <a:schemeClr val="accent1">
                <a:alpha val="59000"/>
              </a:schemeClr>
            </a:outerShdw>
          </a:effectLst>
        </p:grpSpPr>
        <p:sp>
          <p:nvSpPr>
            <p:cNvPr id="12" name="Oval 11"/>
            <p:cNvSpPr/>
            <p:nvPr userDrawn="1"/>
          </p:nvSpPr>
          <p:spPr>
            <a:xfrm>
              <a:off x="9716245" y="5238447"/>
              <a:ext cx="928701" cy="928701"/>
            </a:xfrm>
            <a:prstGeom prst="ellipse">
              <a:avLst/>
            </a:prstGeom>
            <a:solidFill>
              <a:schemeClr val="bg1">
                <a:alpha val="37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9832830" y="5355032"/>
              <a:ext cx="695529" cy="69552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Shape 278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8119598" y="1545752"/>
            <a:ext cx="346542" cy="2835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400"/>
                </a:moveTo>
                <a:cubicBezTo>
                  <a:pt x="14522" y="20400"/>
                  <a:pt x="12764" y="18251"/>
                  <a:pt x="12764" y="15600"/>
                </a:cubicBezTo>
                <a:cubicBezTo>
                  <a:pt x="12764" y="12949"/>
                  <a:pt x="14522" y="10800"/>
                  <a:pt x="16691" y="10800"/>
                </a:cubicBezTo>
                <a:cubicBezTo>
                  <a:pt x="18860" y="10800"/>
                  <a:pt x="20618" y="12949"/>
                  <a:pt x="20618" y="15600"/>
                </a:cubicBezTo>
                <a:cubicBezTo>
                  <a:pt x="20618" y="18251"/>
                  <a:pt x="18860" y="20400"/>
                  <a:pt x="16691" y="20400"/>
                </a:cubicBezTo>
                <a:moveTo>
                  <a:pt x="12762" y="3393"/>
                </a:moveTo>
                <a:lnTo>
                  <a:pt x="12781" y="3388"/>
                </a:lnTo>
                <a:cubicBezTo>
                  <a:pt x="12870" y="2164"/>
                  <a:pt x="13702" y="1200"/>
                  <a:pt x="14727" y="1200"/>
                </a:cubicBezTo>
                <a:cubicBezTo>
                  <a:pt x="15521" y="1200"/>
                  <a:pt x="16202" y="1779"/>
                  <a:pt x="16511" y="2609"/>
                </a:cubicBezTo>
                <a:lnTo>
                  <a:pt x="16509" y="2609"/>
                </a:lnTo>
                <a:lnTo>
                  <a:pt x="19162" y="10421"/>
                </a:lnTo>
                <a:cubicBezTo>
                  <a:pt x="18436" y="9902"/>
                  <a:pt x="17593" y="9600"/>
                  <a:pt x="16691" y="9600"/>
                </a:cubicBezTo>
                <a:cubicBezTo>
                  <a:pt x="15082" y="9600"/>
                  <a:pt x="13658" y="10550"/>
                  <a:pt x="12763" y="12012"/>
                </a:cubicBezTo>
                <a:cubicBezTo>
                  <a:pt x="12763" y="12012"/>
                  <a:pt x="12762" y="3393"/>
                  <a:pt x="12762" y="3393"/>
                </a:cubicBezTo>
                <a:close/>
                <a:moveTo>
                  <a:pt x="11782" y="13200"/>
                </a:moveTo>
                <a:lnTo>
                  <a:pt x="9818" y="13200"/>
                </a:lnTo>
                <a:lnTo>
                  <a:pt x="9818" y="4800"/>
                </a:lnTo>
                <a:lnTo>
                  <a:pt x="11782" y="4800"/>
                </a:lnTo>
                <a:cubicBezTo>
                  <a:pt x="11782" y="4800"/>
                  <a:pt x="11782" y="13200"/>
                  <a:pt x="11782" y="13200"/>
                </a:cubicBezTo>
                <a:close/>
                <a:moveTo>
                  <a:pt x="11782" y="15600"/>
                </a:moveTo>
                <a:lnTo>
                  <a:pt x="9818" y="156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15600"/>
                  <a:pt x="11782" y="15600"/>
                </a:cubicBezTo>
                <a:close/>
                <a:moveTo>
                  <a:pt x="8837" y="12012"/>
                </a:moveTo>
                <a:cubicBezTo>
                  <a:pt x="7942" y="10550"/>
                  <a:pt x="6518" y="9600"/>
                  <a:pt x="4909" y="9600"/>
                </a:cubicBezTo>
                <a:cubicBezTo>
                  <a:pt x="4007" y="9600"/>
                  <a:pt x="3164" y="9902"/>
                  <a:pt x="2438" y="10421"/>
                </a:cubicBezTo>
                <a:lnTo>
                  <a:pt x="5091" y="2609"/>
                </a:lnTo>
                <a:lnTo>
                  <a:pt x="5089" y="2609"/>
                </a:lnTo>
                <a:cubicBezTo>
                  <a:pt x="5398" y="1779"/>
                  <a:pt x="6079" y="1200"/>
                  <a:pt x="6873" y="1200"/>
                </a:cubicBezTo>
                <a:cubicBezTo>
                  <a:pt x="7898" y="1200"/>
                  <a:pt x="8730" y="2164"/>
                  <a:pt x="8819" y="3388"/>
                </a:cubicBezTo>
                <a:lnTo>
                  <a:pt x="8838" y="3393"/>
                </a:lnTo>
                <a:cubicBezTo>
                  <a:pt x="8838" y="3393"/>
                  <a:pt x="8837" y="12012"/>
                  <a:pt x="8837" y="12012"/>
                </a:cubicBezTo>
                <a:close/>
                <a:moveTo>
                  <a:pt x="4909" y="20400"/>
                </a:moveTo>
                <a:cubicBezTo>
                  <a:pt x="2740" y="20400"/>
                  <a:pt x="982" y="18251"/>
                  <a:pt x="982" y="15600"/>
                </a:cubicBezTo>
                <a:cubicBezTo>
                  <a:pt x="982" y="12949"/>
                  <a:pt x="2740" y="10800"/>
                  <a:pt x="4909" y="10800"/>
                </a:cubicBezTo>
                <a:cubicBezTo>
                  <a:pt x="7078" y="10800"/>
                  <a:pt x="8836" y="12949"/>
                  <a:pt x="8836" y="15600"/>
                </a:cubicBezTo>
                <a:cubicBezTo>
                  <a:pt x="8836" y="18251"/>
                  <a:pt x="7078" y="20400"/>
                  <a:pt x="4909" y="20400"/>
                </a:cubicBezTo>
                <a:moveTo>
                  <a:pt x="21102" y="12980"/>
                </a:moveTo>
                <a:lnTo>
                  <a:pt x="17504" y="2400"/>
                </a:lnTo>
                <a:lnTo>
                  <a:pt x="17493" y="2402"/>
                </a:lnTo>
                <a:cubicBezTo>
                  <a:pt x="17088" y="1006"/>
                  <a:pt x="16009" y="0"/>
                  <a:pt x="14727" y="0"/>
                </a:cubicBezTo>
                <a:cubicBezTo>
                  <a:pt x="13101" y="0"/>
                  <a:pt x="11782" y="1612"/>
                  <a:pt x="11782" y="3600"/>
                </a:cubicBezTo>
                <a:lnTo>
                  <a:pt x="9818" y="3600"/>
                </a:lnTo>
                <a:cubicBezTo>
                  <a:pt x="9818" y="1612"/>
                  <a:pt x="8499" y="0"/>
                  <a:pt x="6873" y="0"/>
                </a:cubicBezTo>
                <a:cubicBezTo>
                  <a:pt x="5592" y="0"/>
                  <a:pt x="4512" y="1006"/>
                  <a:pt x="4107" y="2402"/>
                </a:cubicBezTo>
                <a:lnTo>
                  <a:pt x="4096" y="2400"/>
                </a:lnTo>
                <a:lnTo>
                  <a:pt x="498" y="12980"/>
                </a:lnTo>
                <a:cubicBezTo>
                  <a:pt x="182" y="13772"/>
                  <a:pt x="0" y="14659"/>
                  <a:pt x="0" y="15600"/>
                </a:cubicBezTo>
                <a:cubicBezTo>
                  <a:pt x="0" y="18914"/>
                  <a:pt x="2198" y="21600"/>
                  <a:pt x="4909" y="21600"/>
                </a:cubicBezTo>
                <a:cubicBezTo>
                  <a:pt x="7284" y="21600"/>
                  <a:pt x="9265" y="19539"/>
                  <a:pt x="9719" y="16800"/>
                </a:cubicBezTo>
                <a:lnTo>
                  <a:pt x="11881" y="16800"/>
                </a:lnTo>
                <a:cubicBezTo>
                  <a:pt x="12335" y="19539"/>
                  <a:pt x="14316" y="21600"/>
                  <a:pt x="16691" y="21600"/>
                </a:cubicBezTo>
                <a:cubicBezTo>
                  <a:pt x="19402" y="21600"/>
                  <a:pt x="21600" y="18914"/>
                  <a:pt x="21600" y="15600"/>
                </a:cubicBezTo>
                <a:cubicBezTo>
                  <a:pt x="21600" y="14659"/>
                  <a:pt x="21418" y="13772"/>
                  <a:pt x="21102" y="12980"/>
                </a:cubicBezTo>
                <a:moveTo>
                  <a:pt x="16691" y="12000"/>
                </a:moveTo>
                <a:cubicBezTo>
                  <a:pt x="15064" y="12000"/>
                  <a:pt x="13745" y="13612"/>
                  <a:pt x="13745" y="15600"/>
                </a:cubicBezTo>
                <a:cubicBezTo>
                  <a:pt x="13745" y="15932"/>
                  <a:pt x="13965" y="16200"/>
                  <a:pt x="14236" y="16200"/>
                </a:cubicBezTo>
                <a:cubicBezTo>
                  <a:pt x="14508" y="16200"/>
                  <a:pt x="14727" y="15932"/>
                  <a:pt x="14727" y="15600"/>
                </a:cubicBezTo>
                <a:cubicBezTo>
                  <a:pt x="14727" y="14275"/>
                  <a:pt x="15606" y="13200"/>
                  <a:pt x="16691" y="13200"/>
                </a:cubicBezTo>
                <a:cubicBezTo>
                  <a:pt x="16962" y="13200"/>
                  <a:pt x="17182" y="12932"/>
                  <a:pt x="17182" y="12600"/>
                </a:cubicBezTo>
                <a:cubicBezTo>
                  <a:pt x="17182" y="12268"/>
                  <a:pt x="16962" y="12000"/>
                  <a:pt x="16691" y="12000"/>
                </a:cubicBezTo>
                <a:moveTo>
                  <a:pt x="4909" y="12000"/>
                </a:moveTo>
                <a:cubicBezTo>
                  <a:pt x="3282" y="12000"/>
                  <a:pt x="1964" y="13612"/>
                  <a:pt x="1964" y="15600"/>
                </a:cubicBezTo>
                <a:cubicBezTo>
                  <a:pt x="1964" y="15932"/>
                  <a:pt x="2183" y="16200"/>
                  <a:pt x="2455" y="16200"/>
                </a:cubicBezTo>
                <a:cubicBezTo>
                  <a:pt x="2726" y="16200"/>
                  <a:pt x="2945" y="15932"/>
                  <a:pt x="2945" y="15600"/>
                </a:cubicBezTo>
                <a:cubicBezTo>
                  <a:pt x="2945" y="14275"/>
                  <a:pt x="3825" y="13200"/>
                  <a:pt x="4909" y="13200"/>
                </a:cubicBezTo>
                <a:cubicBezTo>
                  <a:pt x="5180" y="13200"/>
                  <a:pt x="5400" y="12932"/>
                  <a:pt x="5400" y="12600"/>
                </a:cubicBezTo>
                <a:cubicBezTo>
                  <a:pt x="5400" y="12268"/>
                  <a:pt x="5180" y="12000"/>
                  <a:pt x="4909" y="120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15" name="Shape 278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9443956" y="3154225"/>
            <a:ext cx="346292" cy="3150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79" h="20458" extrusionOk="0">
                <a:moveTo>
                  <a:pt x="8629" y="9718"/>
                </a:moveTo>
                <a:cubicBezTo>
                  <a:pt x="8364" y="9718"/>
                  <a:pt x="8150" y="9946"/>
                  <a:pt x="8150" y="10229"/>
                </a:cubicBezTo>
                <a:cubicBezTo>
                  <a:pt x="8150" y="10512"/>
                  <a:pt x="8364" y="10740"/>
                  <a:pt x="8629" y="10740"/>
                </a:cubicBezTo>
                <a:cubicBezTo>
                  <a:pt x="8894" y="10740"/>
                  <a:pt x="9109" y="10512"/>
                  <a:pt x="9109" y="10229"/>
                </a:cubicBezTo>
                <a:cubicBezTo>
                  <a:pt x="9109" y="9946"/>
                  <a:pt x="8894" y="9718"/>
                  <a:pt x="8629" y="9718"/>
                </a:cubicBezTo>
                <a:moveTo>
                  <a:pt x="19841" y="17227"/>
                </a:moveTo>
                <a:cubicBezTo>
                  <a:pt x="18962" y="17974"/>
                  <a:pt x="18122" y="17900"/>
                  <a:pt x="18122" y="17900"/>
                </a:cubicBezTo>
                <a:cubicBezTo>
                  <a:pt x="17681" y="17900"/>
                  <a:pt x="16277" y="16919"/>
                  <a:pt x="9448" y="11852"/>
                </a:cubicBezTo>
                <a:lnTo>
                  <a:pt x="10866" y="10844"/>
                </a:lnTo>
                <a:cubicBezTo>
                  <a:pt x="10866" y="10844"/>
                  <a:pt x="19841" y="17227"/>
                  <a:pt x="19841" y="17227"/>
                </a:cubicBezTo>
                <a:close/>
                <a:moveTo>
                  <a:pt x="6661" y="12605"/>
                </a:moveTo>
                <a:cubicBezTo>
                  <a:pt x="6010" y="12349"/>
                  <a:pt x="5264" y="12239"/>
                  <a:pt x="4521" y="12267"/>
                </a:cubicBezTo>
                <a:cubicBezTo>
                  <a:pt x="15686" y="3965"/>
                  <a:pt x="17591" y="2558"/>
                  <a:pt x="18122" y="2558"/>
                </a:cubicBezTo>
                <a:cubicBezTo>
                  <a:pt x="18122" y="2558"/>
                  <a:pt x="18962" y="2484"/>
                  <a:pt x="19841" y="3231"/>
                </a:cubicBezTo>
                <a:cubicBezTo>
                  <a:pt x="19841" y="3231"/>
                  <a:pt x="6661" y="12605"/>
                  <a:pt x="6661" y="12605"/>
                </a:cubicBezTo>
                <a:close/>
                <a:moveTo>
                  <a:pt x="5586" y="19031"/>
                </a:moveTo>
                <a:cubicBezTo>
                  <a:pt x="4111" y="19863"/>
                  <a:pt x="2224" y="19369"/>
                  <a:pt x="1372" y="17927"/>
                </a:cubicBezTo>
                <a:cubicBezTo>
                  <a:pt x="520" y="16485"/>
                  <a:pt x="1026" y="14640"/>
                  <a:pt x="2501" y="13808"/>
                </a:cubicBezTo>
                <a:cubicBezTo>
                  <a:pt x="3977" y="12975"/>
                  <a:pt x="6532" y="13092"/>
                  <a:pt x="7383" y="14534"/>
                </a:cubicBezTo>
                <a:cubicBezTo>
                  <a:pt x="8235" y="15977"/>
                  <a:pt x="7062" y="18198"/>
                  <a:pt x="5586" y="19031"/>
                </a:cubicBezTo>
                <a:moveTo>
                  <a:pt x="4521" y="8191"/>
                </a:moveTo>
                <a:cubicBezTo>
                  <a:pt x="5264" y="8219"/>
                  <a:pt x="6010" y="8109"/>
                  <a:pt x="6661" y="7853"/>
                </a:cubicBezTo>
                <a:lnTo>
                  <a:pt x="7765" y="8638"/>
                </a:lnTo>
                <a:cubicBezTo>
                  <a:pt x="7345" y="8950"/>
                  <a:pt x="6901" y="9281"/>
                  <a:pt x="6443" y="9621"/>
                </a:cubicBezTo>
                <a:cubicBezTo>
                  <a:pt x="5833" y="9167"/>
                  <a:pt x="5200" y="8696"/>
                  <a:pt x="4521" y="8191"/>
                </a:cubicBezTo>
                <a:moveTo>
                  <a:pt x="2501" y="6650"/>
                </a:moveTo>
                <a:cubicBezTo>
                  <a:pt x="1026" y="5818"/>
                  <a:pt x="520" y="3973"/>
                  <a:pt x="1372" y="2531"/>
                </a:cubicBezTo>
                <a:cubicBezTo>
                  <a:pt x="2224" y="1089"/>
                  <a:pt x="4111" y="595"/>
                  <a:pt x="5586" y="1427"/>
                </a:cubicBezTo>
                <a:cubicBezTo>
                  <a:pt x="7062" y="2260"/>
                  <a:pt x="8235" y="4481"/>
                  <a:pt x="7383" y="5924"/>
                </a:cubicBezTo>
                <a:cubicBezTo>
                  <a:pt x="6532" y="7366"/>
                  <a:pt x="3977" y="7483"/>
                  <a:pt x="2501" y="6650"/>
                </a:cubicBezTo>
                <a:moveTo>
                  <a:pt x="21079" y="3580"/>
                </a:moveTo>
                <a:cubicBezTo>
                  <a:pt x="21079" y="2451"/>
                  <a:pt x="19262" y="1535"/>
                  <a:pt x="18203" y="1535"/>
                </a:cubicBezTo>
                <a:lnTo>
                  <a:pt x="18122" y="1535"/>
                </a:lnTo>
                <a:cubicBezTo>
                  <a:pt x="17404" y="1535"/>
                  <a:pt x="17139" y="1673"/>
                  <a:pt x="8610" y="8009"/>
                </a:cubicBezTo>
                <a:lnTo>
                  <a:pt x="7613" y="7300"/>
                </a:lnTo>
                <a:cubicBezTo>
                  <a:pt x="7876" y="7084"/>
                  <a:pt x="8104" y="6833"/>
                  <a:pt x="8275" y="6534"/>
                </a:cubicBezTo>
                <a:cubicBezTo>
                  <a:pt x="9372" y="4611"/>
                  <a:pt x="7861" y="1650"/>
                  <a:pt x="5960" y="539"/>
                </a:cubicBezTo>
                <a:cubicBezTo>
                  <a:pt x="4060" y="-571"/>
                  <a:pt x="1629" y="88"/>
                  <a:pt x="532" y="2011"/>
                </a:cubicBezTo>
                <a:cubicBezTo>
                  <a:pt x="-521" y="3857"/>
                  <a:pt x="41" y="6194"/>
                  <a:pt x="1769" y="7361"/>
                </a:cubicBezTo>
                <a:cubicBezTo>
                  <a:pt x="3185" y="8414"/>
                  <a:pt x="4458" y="9360"/>
                  <a:pt x="5626" y="10229"/>
                </a:cubicBezTo>
                <a:cubicBezTo>
                  <a:pt x="4461" y="11096"/>
                  <a:pt x="3178" y="12049"/>
                  <a:pt x="1769" y="13097"/>
                </a:cubicBezTo>
                <a:cubicBezTo>
                  <a:pt x="40" y="14264"/>
                  <a:pt x="-521" y="16601"/>
                  <a:pt x="532" y="18447"/>
                </a:cubicBezTo>
                <a:cubicBezTo>
                  <a:pt x="1629" y="20371"/>
                  <a:pt x="4060" y="21029"/>
                  <a:pt x="5960" y="19919"/>
                </a:cubicBezTo>
                <a:cubicBezTo>
                  <a:pt x="7861" y="18808"/>
                  <a:pt x="9372" y="15847"/>
                  <a:pt x="8275" y="13924"/>
                </a:cubicBezTo>
                <a:cubicBezTo>
                  <a:pt x="8104" y="13625"/>
                  <a:pt x="7876" y="13374"/>
                  <a:pt x="7613" y="13158"/>
                </a:cubicBezTo>
                <a:lnTo>
                  <a:pt x="8610" y="12449"/>
                </a:lnTo>
                <a:cubicBezTo>
                  <a:pt x="17134" y="18781"/>
                  <a:pt x="17404" y="18923"/>
                  <a:pt x="18122" y="18923"/>
                </a:cubicBezTo>
                <a:lnTo>
                  <a:pt x="18203" y="18923"/>
                </a:lnTo>
                <a:cubicBezTo>
                  <a:pt x="19262" y="18923"/>
                  <a:pt x="21079" y="18007"/>
                  <a:pt x="21079" y="16878"/>
                </a:cubicBezTo>
                <a:lnTo>
                  <a:pt x="11731" y="10229"/>
                </a:lnTo>
                <a:cubicBezTo>
                  <a:pt x="11731" y="10229"/>
                  <a:pt x="21079" y="3580"/>
                  <a:pt x="21079" y="3580"/>
                </a:cubicBezTo>
                <a:close/>
                <a:moveTo>
                  <a:pt x="4639" y="16789"/>
                </a:moveTo>
                <a:cubicBezTo>
                  <a:pt x="4496" y="16859"/>
                  <a:pt x="4332" y="16897"/>
                  <a:pt x="4162" y="16897"/>
                </a:cubicBezTo>
                <a:cubicBezTo>
                  <a:pt x="3846" y="16897"/>
                  <a:pt x="3544" y="16764"/>
                  <a:pt x="3411" y="16567"/>
                </a:cubicBezTo>
                <a:cubicBezTo>
                  <a:pt x="3347" y="16471"/>
                  <a:pt x="3351" y="16406"/>
                  <a:pt x="3362" y="16361"/>
                </a:cubicBezTo>
                <a:cubicBezTo>
                  <a:pt x="3392" y="16240"/>
                  <a:pt x="3511" y="16117"/>
                  <a:pt x="3682" y="16034"/>
                </a:cubicBezTo>
                <a:cubicBezTo>
                  <a:pt x="3891" y="15930"/>
                  <a:pt x="4198" y="15869"/>
                  <a:pt x="4503" y="15869"/>
                </a:cubicBezTo>
                <a:cubicBezTo>
                  <a:pt x="4935" y="15869"/>
                  <a:pt x="5194" y="15988"/>
                  <a:pt x="5273" y="16050"/>
                </a:cubicBezTo>
                <a:cubicBezTo>
                  <a:pt x="5252" y="16207"/>
                  <a:pt x="5019" y="16601"/>
                  <a:pt x="4639" y="16789"/>
                </a:cubicBezTo>
                <a:moveTo>
                  <a:pt x="4503" y="14845"/>
                </a:moveTo>
                <a:cubicBezTo>
                  <a:pt x="4065" y="14845"/>
                  <a:pt x="3621" y="14936"/>
                  <a:pt x="3279" y="15105"/>
                </a:cubicBezTo>
                <a:cubicBezTo>
                  <a:pt x="2435" y="15522"/>
                  <a:pt x="2147" y="16443"/>
                  <a:pt x="2633" y="17165"/>
                </a:cubicBezTo>
                <a:cubicBezTo>
                  <a:pt x="2960" y="17649"/>
                  <a:pt x="3553" y="17919"/>
                  <a:pt x="4162" y="17919"/>
                </a:cubicBezTo>
                <a:cubicBezTo>
                  <a:pt x="4461" y="17919"/>
                  <a:pt x="4764" y="17854"/>
                  <a:pt x="5041" y="17717"/>
                </a:cubicBezTo>
                <a:cubicBezTo>
                  <a:pt x="5885" y="17300"/>
                  <a:pt x="6555" y="16190"/>
                  <a:pt x="6069" y="15469"/>
                </a:cubicBezTo>
                <a:cubicBezTo>
                  <a:pt x="5779" y="15040"/>
                  <a:pt x="5146" y="14845"/>
                  <a:pt x="4503" y="14845"/>
                </a:cubicBezTo>
                <a:moveTo>
                  <a:pt x="4503" y="4590"/>
                </a:moveTo>
                <a:cubicBezTo>
                  <a:pt x="4198" y="4590"/>
                  <a:pt x="3891" y="4528"/>
                  <a:pt x="3682" y="4425"/>
                </a:cubicBezTo>
                <a:cubicBezTo>
                  <a:pt x="3511" y="4341"/>
                  <a:pt x="3392" y="4219"/>
                  <a:pt x="3362" y="4098"/>
                </a:cubicBezTo>
                <a:cubicBezTo>
                  <a:pt x="3351" y="4052"/>
                  <a:pt x="3347" y="3987"/>
                  <a:pt x="3411" y="3891"/>
                </a:cubicBezTo>
                <a:cubicBezTo>
                  <a:pt x="3544" y="3694"/>
                  <a:pt x="3846" y="3561"/>
                  <a:pt x="4162" y="3561"/>
                </a:cubicBezTo>
                <a:cubicBezTo>
                  <a:pt x="4332" y="3561"/>
                  <a:pt x="4496" y="3599"/>
                  <a:pt x="4639" y="3669"/>
                </a:cubicBezTo>
                <a:cubicBezTo>
                  <a:pt x="5019" y="3857"/>
                  <a:pt x="5252" y="4252"/>
                  <a:pt x="5273" y="4408"/>
                </a:cubicBezTo>
                <a:cubicBezTo>
                  <a:pt x="5194" y="4470"/>
                  <a:pt x="4935" y="4590"/>
                  <a:pt x="4503" y="4590"/>
                </a:cubicBezTo>
                <a:moveTo>
                  <a:pt x="5041" y="2741"/>
                </a:moveTo>
                <a:cubicBezTo>
                  <a:pt x="4764" y="2604"/>
                  <a:pt x="4461" y="2539"/>
                  <a:pt x="4162" y="2539"/>
                </a:cubicBezTo>
                <a:cubicBezTo>
                  <a:pt x="3553" y="2539"/>
                  <a:pt x="2960" y="2809"/>
                  <a:pt x="2633" y="3294"/>
                </a:cubicBezTo>
                <a:cubicBezTo>
                  <a:pt x="2147" y="4015"/>
                  <a:pt x="2435" y="4937"/>
                  <a:pt x="3279" y="5353"/>
                </a:cubicBezTo>
                <a:cubicBezTo>
                  <a:pt x="3621" y="5522"/>
                  <a:pt x="4065" y="5613"/>
                  <a:pt x="4503" y="5613"/>
                </a:cubicBezTo>
                <a:cubicBezTo>
                  <a:pt x="5146" y="5613"/>
                  <a:pt x="5779" y="5418"/>
                  <a:pt x="6069" y="4990"/>
                </a:cubicBezTo>
                <a:cubicBezTo>
                  <a:pt x="6555" y="4268"/>
                  <a:pt x="5885" y="3158"/>
                  <a:pt x="5041" y="2741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16" name="Shape 278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8339746" y="4922249"/>
            <a:ext cx="346327" cy="3465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86" h="21600" extrusionOk="0">
                <a:moveTo>
                  <a:pt x="11502" y="10309"/>
                </a:moveTo>
                <a:cubicBezTo>
                  <a:pt x="11767" y="10309"/>
                  <a:pt x="11981" y="10090"/>
                  <a:pt x="11981" y="9818"/>
                </a:cubicBezTo>
                <a:cubicBezTo>
                  <a:pt x="11981" y="9547"/>
                  <a:pt x="11767" y="9327"/>
                  <a:pt x="11502" y="9327"/>
                </a:cubicBezTo>
                <a:cubicBezTo>
                  <a:pt x="11237" y="9327"/>
                  <a:pt x="11022" y="9547"/>
                  <a:pt x="11022" y="9818"/>
                </a:cubicBezTo>
                <a:cubicBezTo>
                  <a:pt x="11022" y="10090"/>
                  <a:pt x="11237" y="10309"/>
                  <a:pt x="11502" y="10309"/>
                </a:cubicBezTo>
                <a:moveTo>
                  <a:pt x="15818" y="4909"/>
                </a:moveTo>
                <a:cubicBezTo>
                  <a:pt x="16083" y="4909"/>
                  <a:pt x="16297" y="5129"/>
                  <a:pt x="16297" y="5400"/>
                </a:cubicBezTo>
                <a:cubicBezTo>
                  <a:pt x="16297" y="5672"/>
                  <a:pt x="16083" y="5891"/>
                  <a:pt x="15818" y="5891"/>
                </a:cubicBezTo>
                <a:cubicBezTo>
                  <a:pt x="15553" y="5891"/>
                  <a:pt x="15338" y="5672"/>
                  <a:pt x="15338" y="5400"/>
                </a:cubicBezTo>
                <a:cubicBezTo>
                  <a:pt x="15338" y="5129"/>
                  <a:pt x="15553" y="4909"/>
                  <a:pt x="15818" y="4909"/>
                </a:cubicBezTo>
                <a:moveTo>
                  <a:pt x="15818" y="6873"/>
                </a:moveTo>
                <a:cubicBezTo>
                  <a:pt x="16612" y="6873"/>
                  <a:pt x="17256" y="6213"/>
                  <a:pt x="17256" y="5400"/>
                </a:cubicBezTo>
                <a:cubicBezTo>
                  <a:pt x="17256" y="4587"/>
                  <a:pt x="16612" y="3928"/>
                  <a:pt x="15818" y="3928"/>
                </a:cubicBezTo>
                <a:cubicBezTo>
                  <a:pt x="15023" y="3928"/>
                  <a:pt x="14379" y="4587"/>
                  <a:pt x="14379" y="5400"/>
                </a:cubicBezTo>
                <a:cubicBezTo>
                  <a:pt x="14379" y="6213"/>
                  <a:pt x="15023" y="6873"/>
                  <a:pt x="15818" y="6873"/>
                </a:cubicBezTo>
                <a:moveTo>
                  <a:pt x="12941" y="11782"/>
                </a:moveTo>
                <a:cubicBezTo>
                  <a:pt x="13206" y="11782"/>
                  <a:pt x="13420" y="11562"/>
                  <a:pt x="13420" y="11291"/>
                </a:cubicBezTo>
                <a:cubicBezTo>
                  <a:pt x="13420" y="11020"/>
                  <a:pt x="13206" y="10800"/>
                  <a:pt x="12941" y="10800"/>
                </a:cubicBezTo>
                <a:cubicBezTo>
                  <a:pt x="12675" y="10800"/>
                  <a:pt x="12461" y="11020"/>
                  <a:pt x="12461" y="11291"/>
                </a:cubicBezTo>
                <a:cubicBezTo>
                  <a:pt x="12461" y="11562"/>
                  <a:pt x="12675" y="11782"/>
                  <a:pt x="12941" y="11782"/>
                </a:cubicBezTo>
                <a:moveTo>
                  <a:pt x="10063" y="7855"/>
                </a:moveTo>
                <a:cubicBezTo>
                  <a:pt x="9798" y="7855"/>
                  <a:pt x="9584" y="8074"/>
                  <a:pt x="9584" y="8346"/>
                </a:cubicBezTo>
                <a:cubicBezTo>
                  <a:pt x="9584" y="8617"/>
                  <a:pt x="9798" y="8836"/>
                  <a:pt x="10063" y="8836"/>
                </a:cubicBezTo>
                <a:cubicBezTo>
                  <a:pt x="10328" y="8836"/>
                  <a:pt x="10543" y="8617"/>
                  <a:pt x="10543" y="8346"/>
                </a:cubicBezTo>
                <a:cubicBezTo>
                  <a:pt x="10543" y="8074"/>
                  <a:pt x="10328" y="7855"/>
                  <a:pt x="10063" y="7855"/>
                </a:cubicBezTo>
                <a:moveTo>
                  <a:pt x="1718" y="19842"/>
                </a:moveTo>
                <a:lnTo>
                  <a:pt x="3451" y="15392"/>
                </a:lnTo>
                <a:cubicBezTo>
                  <a:pt x="3684" y="15834"/>
                  <a:pt x="3973" y="16253"/>
                  <a:pt x="4312" y="16642"/>
                </a:cubicBezTo>
                <a:cubicBezTo>
                  <a:pt x="4824" y="17230"/>
                  <a:pt x="5418" y="17711"/>
                  <a:pt x="6061" y="18068"/>
                </a:cubicBezTo>
                <a:cubicBezTo>
                  <a:pt x="6061" y="18068"/>
                  <a:pt x="1718" y="19842"/>
                  <a:pt x="1718" y="19842"/>
                </a:cubicBezTo>
                <a:close/>
                <a:moveTo>
                  <a:pt x="3717" y="12060"/>
                </a:moveTo>
                <a:lnTo>
                  <a:pt x="0" y="21600"/>
                </a:lnTo>
                <a:lnTo>
                  <a:pt x="9319" y="17795"/>
                </a:lnTo>
                <a:cubicBezTo>
                  <a:pt x="9153" y="17815"/>
                  <a:pt x="8987" y="17824"/>
                  <a:pt x="8822" y="17824"/>
                </a:cubicBezTo>
                <a:cubicBezTo>
                  <a:pt x="5971" y="17824"/>
                  <a:pt x="3389" y="15002"/>
                  <a:pt x="3717" y="12060"/>
                </a:cubicBezTo>
                <a:moveTo>
                  <a:pt x="16115" y="10657"/>
                </a:moveTo>
                <a:cubicBezTo>
                  <a:pt x="15925" y="10851"/>
                  <a:pt x="15627" y="11171"/>
                  <a:pt x="15280" y="11542"/>
                </a:cubicBezTo>
                <a:cubicBezTo>
                  <a:pt x="14662" y="12204"/>
                  <a:pt x="13712" y="13221"/>
                  <a:pt x="13147" y="13753"/>
                </a:cubicBezTo>
                <a:lnTo>
                  <a:pt x="7665" y="8141"/>
                </a:lnTo>
                <a:cubicBezTo>
                  <a:pt x="8185" y="7563"/>
                  <a:pt x="9179" y="6590"/>
                  <a:pt x="9825" y="5958"/>
                </a:cubicBezTo>
                <a:cubicBezTo>
                  <a:pt x="10188" y="5603"/>
                  <a:pt x="10500" y="5298"/>
                  <a:pt x="10690" y="5103"/>
                </a:cubicBezTo>
                <a:cubicBezTo>
                  <a:pt x="13284" y="2447"/>
                  <a:pt x="18271" y="993"/>
                  <a:pt x="20136" y="982"/>
                </a:cubicBezTo>
                <a:cubicBezTo>
                  <a:pt x="20132" y="2572"/>
                  <a:pt x="18824" y="7884"/>
                  <a:pt x="16115" y="10657"/>
                </a:cubicBezTo>
                <a:moveTo>
                  <a:pt x="12477" y="14563"/>
                </a:moveTo>
                <a:cubicBezTo>
                  <a:pt x="12127" y="15873"/>
                  <a:pt x="11665" y="17072"/>
                  <a:pt x="11154" y="18035"/>
                </a:cubicBezTo>
                <a:cubicBezTo>
                  <a:pt x="10943" y="17454"/>
                  <a:pt x="10642" y="16798"/>
                  <a:pt x="10214" y="16110"/>
                </a:cubicBezTo>
                <a:cubicBezTo>
                  <a:pt x="10035" y="15823"/>
                  <a:pt x="9728" y="15656"/>
                  <a:pt x="9405" y="15656"/>
                </a:cubicBezTo>
                <a:cubicBezTo>
                  <a:pt x="9329" y="15656"/>
                  <a:pt x="9252" y="15665"/>
                  <a:pt x="9176" y="15684"/>
                </a:cubicBezTo>
                <a:cubicBezTo>
                  <a:pt x="8990" y="15731"/>
                  <a:pt x="8799" y="15755"/>
                  <a:pt x="8610" y="15755"/>
                </a:cubicBezTo>
                <a:cubicBezTo>
                  <a:pt x="7905" y="15755"/>
                  <a:pt x="7217" y="15432"/>
                  <a:pt x="6621" y="14822"/>
                </a:cubicBezTo>
                <a:cubicBezTo>
                  <a:pt x="5861" y="14044"/>
                  <a:pt x="5561" y="13114"/>
                  <a:pt x="5779" y="12206"/>
                </a:cubicBezTo>
                <a:cubicBezTo>
                  <a:pt x="5877" y="11797"/>
                  <a:pt x="5709" y="11370"/>
                  <a:pt x="5363" y="11144"/>
                </a:cubicBezTo>
                <a:cubicBezTo>
                  <a:pt x="4690" y="10706"/>
                  <a:pt x="4050" y="10398"/>
                  <a:pt x="3482" y="10183"/>
                </a:cubicBezTo>
                <a:cubicBezTo>
                  <a:pt x="4423" y="9658"/>
                  <a:pt x="5594" y="9186"/>
                  <a:pt x="6874" y="8827"/>
                </a:cubicBezTo>
                <a:cubicBezTo>
                  <a:pt x="6900" y="8820"/>
                  <a:pt x="6921" y="8803"/>
                  <a:pt x="6946" y="8793"/>
                </a:cubicBezTo>
                <a:lnTo>
                  <a:pt x="12510" y="14490"/>
                </a:lnTo>
                <a:cubicBezTo>
                  <a:pt x="12501" y="14515"/>
                  <a:pt x="12484" y="14536"/>
                  <a:pt x="12477" y="14563"/>
                </a:cubicBezTo>
                <a:moveTo>
                  <a:pt x="20922" y="167"/>
                </a:moveTo>
                <a:cubicBezTo>
                  <a:pt x="20813" y="55"/>
                  <a:pt x="20545" y="0"/>
                  <a:pt x="20157" y="0"/>
                </a:cubicBezTo>
                <a:cubicBezTo>
                  <a:pt x="18131" y="0"/>
                  <a:pt x="12842" y="1511"/>
                  <a:pt x="10012" y="4409"/>
                </a:cubicBezTo>
                <a:cubicBezTo>
                  <a:pt x="9345" y="5092"/>
                  <a:pt x="7134" y="7175"/>
                  <a:pt x="6621" y="7880"/>
                </a:cubicBezTo>
                <a:cubicBezTo>
                  <a:pt x="4961" y="8346"/>
                  <a:pt x="2544" y="9277"/>
                  <a:pt x="1196" y="10657"/>
                </a:cubicBezTo>
                <a:cubicBezTo>
                  <a:pt x="1196" y="10657"/>
                  <a:pt x="2841" y="10663"/>
                  <a:pt x="4848" y="11972"/>
                </a:cubicBezTo>
                <a:cubicBezTo>
                  <a:pt x="4556" y="13190"/>
                  <a:pt x="4926" y="14475"/>
                  <a:pt x="5943" y="15516"/>
                </a:cubicBezTo>
                <a:cubicBezTo>
                  <a:pt x="6735" y="16327"/>
                  <a:pt x="7672" y="16737"/>
                  <a:pt x="8610" y="16737"/>
                </a:cubicBezTo>
                <a:cubicBezTo>
                  <a:pt x="8876" y="16737"/>
                  <a:pt x="9142" y="16704"/>
                  <a:pt x="9405" y="16637"/>
                </a:cubicBezTo>
                <a:cubicBezTo>
                  <a:pt x="10683" y="18692"/>
                  <a:pt x="10690" y="20376"/>
                  <a:pt x="10690" y="20376"/>
                </a:cubicBezTo>
                <a:cubicBezTo>
                  <a:pt x="12038" y="18996"/>
                  <a:pt x="12948" y="16521"/>
                  <a:pt x="13402" y="14822"/>
                </a:cubicBezTo>
                <a:cubicBezTo>
                  <a:pt x="14091" y="14297"/>
                  <a:pt x="16126" y="12034"/>
                  <a:pt x="16793" y="11351"/>
                </a:cubicBezTo>
                <a:cubicBezTo>
                  <a:pt x="20164" y="7900"/>
                  <a:pt x="21600" y="861"/>
                  <a:pt x="20922" y="16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17" name="TextBox 1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1009435" y="2187007"/>
            <a:ext cx="6706434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800" b="1" dirty="0">
                <a:solidFill>
                  <a:schemeClr val="bg1"/>
                </a:solidFill>
                <a:latin typeface="Open Sans SemiBold" charset="0"/>
                <a:ea typeface="Open Sans SemiBold" charset="0"/>
                <a:cs typeface="Open Sans SemiBold" charset="0"/>
              </a:rPr>
              <a:t>Check Your Website’s SEO Score For Free</a:t>
            </a:r>
          </a:p>
        </p:txBody>
      </p:sp>
      <p:sp>
        <p:nvSpPr>
          <p:cNvPr id="18" name="TextBox 1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1057562" y="1680453"/>
            <a:ext cx="325916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Open Sans SemiBold" charset="0"/>
                <a:ea typeface="Open Sans SemiBold" charset="0"/>
                <a:cs typeface="Open Sans SemiBold" charset="0"/>
              </a:rPr>
              <a:t>Check your SEO result</a:t>
            </a:r>
          </a:p>
        </p:txBody>
      </p:sp>
      <p:grpSp>
        <p:nvGrpSpPr>
          <p:cNvPr id="21" name="Group 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4E81EC4E-6633-48B0-B675-E34B803EE718}"/>
              </a:ext>
            </a:extLst>
          </p:cNvPr>
          <p:cNvGrpSpPr/>
          <p:nvPr/>
        </p:nvGrpSpPr>
        <p:grpSpPr>
          <a:xfrm>
            <a:off x="1017470" y="4782962"/>
            <a:ext cx="3741420" cy="664996"/>
            <a:chOff x="937260" y="4558373"/>
            <a:chExt cx="3741420" cy="664996"/>
          </a:xfrm>
        </p:grpSpPr>
        <p:sp>
          <p:nvSpPr>
            <p:cNvPr id="22" name="Rectangle: Rounded Corners 6">
              <a:extLst>
                <a:ext uri="{FF2B5EF4-FFF2-40B4-BE49-F238E27FC236}">
                  <a16:creationId xmlns:a16="http://schemas.microsoft.com/office/drawing/2014/main" id="{E58F4E31-1186-408E-9C49-7A8848A242FF}"/>
                </a:ext>
              </a:extLst>
            </p:cNvPr>
            <p:cNvSpPr/>
            <p:nvPr/>
          </p:nvSpPr>
          <p:spPr>
            <a:xfrm>
              <a:off x="937260" y="4558373"/>
              <a:ext cx="3741420" cy="664996"/>
            </a:xfrm>
            <a:prstGeom prst="roundRect">
              <a:avLst>
                <a:gd name="adj" fmla="val 7030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0"/>
            </a:gradFill>
            <a:ln>
              <a:noFill/>
            </a:ln>
            <a:effectLst>
              <a:outerShdw blurRad="317500" dist="190500" dir="2700000" sx="96000" sy="96000" algn="tl" rotWithShape="0">
                <a:schemeClr val="accent3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grpSp>
          <p:nvGrpSpPr>
            <p:cNvPr id="23" name="Group 28">
              <a:extLst>
                <a:ext uri="{FF2B5EF4-FFF2-40B4-BE49-F238E27FC236}">
                  <a16:creationId xmlns:a16="http://schemas.microsoft.com/office/drawing/2014/main" id="{D207FFA6-A510-489E-9782-A812BAB5A1D1}"/>
                </a:ext>
              </a:extLst>
            </p:cNvPr>
            <p:cNvGrpSpPr/>
            <p:nvPr/>
          </p:nvGrpSpPr>
          <p:grpSpPr>
            <a:xfrm>
              <a:off x="1176795" y="4635600"/>
              <a:ext cx="3486644" cy="510540"/>
              <a:chOff x="2903030" y="4346809"/>
              <a:chExt cx="3486644" cy="510540"/>
            </a:xfrm>
          </p:grpSpPr>
          <p:cxnSp>
            <p:nvCxnSpPr>
              <p:cNvPr id="24" name="Straight Connector 10">
                <a:extLst>
                  <a:ext uri="{FF2B5EF4-FFF2-40B4-BE49-F238E27FC236}">
                    <a16:creationId xmlns:a16="http://schemas.microsoft.com/office/drawing/2014/main" id="{5637E865-8C16-4655-97C5-A391DF50B02E}"/>
                  </a:ext>
                </a:extLst>
              </p:cNvPr>
              <p:cNvCxnSpPr/>
              <p:nvPr/>
            </p:nvCxnSpPr>
            <p:spPr>
              <a:xfrm>
                <a:off x="4224260" y="4346809"/>
                <a:ext cx="0" cy="510540"/>
              </a:xfrm>
              <a:prstGeom prst="line">
                <a:avLst/>
              </a:prstGeom>
              <a:ln w="12700">
                <a:gradFill>
                  <a:gsLst>
                    <a:gs pos="0">
                      <a:schemeClr val="bg1">
                        <a:alpha val="0"/>
                      </a:schemeClr>
                    </a:gs>
                    <a:gs pos="35000">
                      <a:schemeClr val="bg1">
                        <a:alpha val="40000"/>
                      </a:schemeClr>
                    </a:gs>
                    <a:gs pos="70000">
                      <a:schemeClr val="bg1">
                        <a:alpha val="40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5" name="Group 20">
                <a:extLst>
                  <a:ext uri="{FF2B5EF4-FFF2-40B4-BE49-F238E27FC236}">
                    <a16:creationId xmlns:a16="http://schemas.microsoft.com/office/drawing/2014/main" id="{0B2CC566-E13B-465D-A067-A65A420FEBDF}"/>
                  </a:ext>
                </a:extLst>
              </p:cNvPr>
              <p:cNvGrpSpPr/>
              <p:nvPr/>
            </p:nvGrpSpPr>
            <p:grpSpPr>
              <a:xfrm>
                <a:off x="2903030" y="4408180"/>
                <a:ext cx="1710095" cy="387798"/>
                <a:chOff x="2799443" y="4408180"/>
                <a:chExt cx="1710095" cy="387798"/>
              </a:xfrm>
            </p:grpSpPr>
            <p:sp>
              <p:nvSpPr>
                <p:cNvPr id="29" name="Freeform 28">
                  <a:extLst>
                    <a:ext uri="{FF2B5EF4-FFF2-40B4-BE49-F238E27FC236}">
                      <a16:creationId xmlns:a16="http://schemas.microsoft.com/office/drawing/2014/main" id="{33CF58A1-2737-41AE-B761-2B9AEFF4F9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99443" y="4497669"/>
                  <a:ext cx="225906" cy="208820"/>
                </a:xfrm>
                <a:custGeom>
                  <a:avLst/>
                  <a:gdLst>
                    <a:gd name="T0" fmla="*/ 8 w 200"/>
                    <a:gd name="T1" fmla="*/ 35 h 184"/>
                    <a:gd name="T2" fmla="*/ 33 w 200"/>
                    <a:gd name="T3" fmla="*/ 11 h 184"/>
                    <a:gd name="T4" fmla="*/ 38 w 200"/>
                    <a:gd name="T5" fmla="*/ 12 h 184"/>
                    <a:gd name="T6" fmla="*/ 44 w 200"/>
                    <a:gd name="T7" fmla="*/ 6 h 184"/>
                    <a:gd name="T8" fmla="*/ 33 w 200"/>
                    <a:gd name="T9" fmla="*/ 4 h 184"/>
                    <a:gd name="T10" fmla="*/ 0 w 200"/>
                    <a:gd name="T11" fmla="*/ 35 h 184"/>
                    <a:gd name="T12" fmla="*/ 3 w 200"/>
                    <a:gd name="T13" fmla="*/ 48 h 184"/>
                    <a:gd name="T14" fmla="*/ 9 w 200"/>
                    <a:gd name="T15" fmla="*/ 42 h 184"/>
                    <a:gd name="T16" fmla="*/ 8 w 200"/>
                    <a:gd name="T17" fmla="*/ 35 h 184"/>
                    <a:gd name="T18" fmla="*/ 100 w 200"/>
                    <a:gd name="T19" fmla="*/ 0 h 184"/>
                    <a:gd name="T20" fmla="*/ 8 w 200"/>
                    <a:gd name="T21" fmla="*/ 92 h 184"/>
                    <a:gd name="T22" fmla="*/ 100 w 200"/>
                    <a:gd name="T23" fmla="*/ 184 h 184"/>
                    <a:gd name="T24" fmla="*/ 192 w 200"/>
                    <a:gd name="T25" fmla="*/ 92 h 184"/>
                    <a:gd name="T26" fmla="*/ 100 w 200"/>
                    <a:gd name="T27" fmla="*/ 0 h 184"/>
                    <a:gd name="T28" fmla="*/ 100 w 200"/>
                    <a:gd name="T29" fmla="*/ 176 h 184"/>
                    <a:gd name="T30" fmla="*/ 16 w 200"/>
                    <a:gd name="T31" fmla="*/ 92 h 184"/>
                    <a:gd name="T32" fmla="*/ 100 w 200"/>
                    <a:gd name="T33" fmla="*/ 8 h 184"/>
                    <a:gd name="T34" fmla="*/ 184 w 200"/>
                    <a:gd name="T35" fmla="*/ 92 h 184"/>
                    <a:gd name="T36" fmla="*/ 100 w 200"/>
                    <a:gd name="T37" fmla="*/ 176 h 184"/>
                    <a:gd name="T38" fmla="*/ 167 w 200"/>
                    <a:gd name="T39" fmla="*/ 4 h 184"/>
                    <a:gd name="T40" fmla="*/ 156 w 200"/>
                    <a:gd name="T41" fmla="*/ 6 h 184"/>
                    <a:gd name="T42" fmla="*/ 162 w 200"/>
                    <a:gd name="T43" fmla="*/ 12 h 184"/>
                    <a:gd name="T44" fmla="*/ 167 w 200"/>
                    <a:gd name="T45" fmla="*/ 11 h 184"/>
                    <a:gd name="T46" fmla="*/ 192 w 200"/>
                    <a:gd name="T47" fmla="*/ 35 h 184"/>
                    <a:gd name="T48" fmla="*/ 191 w 200"/>
                    <a:gd name="T49" fmla="*/ 42 h 184"/>
                    <a:gd name="T50" fmla="*/ 197 w 200"/>
                    <a:gd name="T51" fmla="*/ 48 h 184"/>
                    <a:gd name="T52" fmla="*/ 200 w 200"/>
                    <a:gd name="T53" fmla="*/ 35 h 184"/>
                    <a:gd name="T54" fmla="*/ 167 w 200"/>
                    <a:gd name="T55" fmla="*/ 4 h 184"/>
                    <a:gd name="T56" fmla="*/ 100 w 200"/>
                    <a:gd name="T57" fmla="*/ 92 h 184"/>
                    <a:gd name="T58" fmla="*/ 64 w 200"/>
                    <a:gd name="T59" fmla="*/ 92 h 184"/>
                    <a:gd name="T60" fmla="*/ 64 w 200"/>
                    <a:gd name="T61" fmla="*/ 100 h 184"/>
                    <a:gd name="T62" fmla="*/ 108 w 200"/>
                    <a:gd name="T63" fmla="*/ 100 h 184"/>
                    <a:gd name="T64" fmla="*/ 108 w 200"/>
                    <a:gd name="T65" fmla="*/ 28 h 184"/>
                    <a:gd name="T66" fmla="*/ 100 w 200"/>
                    <a:gd name="T67" fmla="*/ 28 h 184"/>
                    <a:gd name="T68" fmla="*/ 100 w 200"/>
                    <a:gd name="T69" fmla="*/ 92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00" h="184">
                      <a:moveTo>
                        <a:pt x="8" y="35"/>
                      </a:moveTo>
                      <a:cubicBezTo>
                        <a:pt x="8" y="22"/>
                        <a:pt x="19" y="11"/>
                        <a:pt x="33" y="11"/>
                      </a:cubicBezTo>
                      <a:cubicBezTo>
                        <a:pt x="34" y="11"/>
                        <a:pt x="36" y="12"/>
                        <a:pt x="38" y="12"/>
                      </a:cubicBezTo>
                      <a:cubicBezTo>
                        <a:pt x="44" y="6"/>
                        <a:pt x="44" y="6"/>
                        <a:pt x="44" y="6"/>
                      </a:cubicBezTo>
                      <a:cubicBezTo>
                        <a:pt x="40" y="4"/>
                        <a:pt x="37" y="4"/>
                        <a:pt x="33" y="4"/>
                      </a:cubicBezTo>
                      <a:cubicBezTo>
                        <a:pt x="15" y="4"/>
                        <a:pt x="0" y="18"/>
                        <a:pt x="0" y="35"/>
                      </a:cubicBezTo>
                      <a:cubicBezTo>
                        <a:pt x="0" y="39"/>
                        <a:pt x="1" y="44"/>
                        <a:pt x="3" y="48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8" y="39"/>
                        <a:pt x="8" y="37"/>
                        <a:pt x="8" y="35"/>
                      </a:cubicBezTo>
                      <a:close/>
                      <a:moveTo>
                        <a:pt x="100" y="0"/>
                      </a:moveTo>
                      <a:cubicBezTo>
                        <a:pt x="49" y="0"/>
                        <a:pt x="8" y="41"/>
                        <a:pt x="8" y="92"/>
                      </a:cubicBezTo>
                      <a:cubicBezTo>
                        <a:pt x="8" y="142"/>
                        <a:pt x="49" y="184"/>
                        <a:pt x="100" y="184"/>
                      </a:cubicBezTo>
                      <a:cubicBezTo>
                        <a:pt x="151" y="184"/>
                        <a:pt x="192" y="142"/>
                        <a:pt x="192" y="92"/>
                      </a:cubicBezTo>
                      <a:cubicBezTo>
                        <a:pt x="192" y="41"/>
                        <a:pt x="151" y="0"/>
                        <a:pt x="100" y="0"/>
                      </a:cubicBezTo>
                      <a:close/>
                      <a:moveTo>
                        <a:pt x="100" y="176"/>
                      </a:moveTo>
                      <a:cubicBezTo>
                        <a:pt x="54" y="176"/>
                        <a:pt x="16" y="138"/>
                        <a:pt x="16" y="92"/>
                      </a:cubicBezTo>
                      <a:cubicBezTo>
                        <a:pt x="16" y="45"/>
                        <a:pt x="54" y="8"/>
                        <a:pt x="100" y="8"/>
                      </a:cubicBezTo>
                      <a:cubicBezTo>
                        <a:pt x="146" y="8"/>
                        <a:pt x="184" y="45"/>
                        <a:pt x="184" y="92"/>
                      </a:cubicBezTo>
                      <a:cubicBezTo>
                        <a:pt x="184" y="138"/>
                        <a:pt x="146" y="176"/>
                        <a:pt x="100" y="176"/>
                      </a:cubicBezTo>
                      <a:close/>
                      <a:moveTo>
                        <a:pt x="167" y="4"/>
                      </a:moveTo>
                      <a:cubicBezTo>
                        <a:pt x="163" y="4"/>
                        <a:pt x="160" y="4"/>
                        <a:pt x="156" y="6"/>
                      </a:cubicBezTo>
                      <a:cubicBezTo>
                        <a:pt x="162" y="12"/>
                        <a:pt x="162" y="12"/>
                        <a:pt x="162" y="12"/>
                      </a:cubicBezTo>
                      <a:cubicBezTo>
                        <a:pt x="164" y="12"/>
                        <a:pt x="166" y="11"/>
                        <a:pt x="167" y="11"/>
                      </a:cubicBezTo>
                      <a:cubicBezTo>
                        <a:pt x="181" y="11"/>
                        <a:pt x="192" y="22"/>
                        <a:pt x="192" y="35"/>
                      </a:cubicBezTo>
                      <a:cubicBezTo>
                        <a:pt x="192" y="37"/>
                        <a:pt x="192" y="39"/>
                        <a:pt x="191" y="42"/>
                      </a:cubicBezTo>
                      <a:cubicBezTo>
                        <a:pt x="197" y="48"/>
                        <a:pt x="197" y="48"/>
                        <a:pt x="197" y="48"/>
                      </a:cubicBezTo>
                      <a:cubicBezTo>
                        <a:pt x="199" y="44"/>
                        <a:pt x="200" y="39"/>
                        <a:pt x="200" y="35"/>
                      </a:cubicBezTo>
                      <a:cubicBezTo>
                        <a:pt x="200" y="18"/>
                        <a:pt x="185" y="4"/>
                        <a:pt x="167" y="4"/>
                      </a:cubicBezTo>
                      <a:close/>
                      <a:moveTo>
                        <a:pt x="100" y="92"/>
                      </a:moveTo>
                      <a:cubicBezTo>
                        <a:pt x="64" y="92"/>
                        <a:pt x="64" y="92"/>
                        <a:pt x="64" y="92"/>
                      </a:cubicBezTo>
                      <a:cubicBezTo>
                        <a:pt x="64" y="100"/>
                        <a:pt x="64" y="100"/>
                        <a:pt x="64" y="100"/>
                      </a:cubicBezTo>
                      <a:cubicBezTo>
                        <a:pt x="108" y="100"/>
                        <a:pt x="108" y="100"/>
                        <a:pt x="108" y="100"/>
                      </a:cubicBezTo>
                      <a:cubicBezTo>
                        <a:pt x="108" y="28"/>
                        <a:pt x="108" y="28"/>
                        <a:pt x="108" y="28"/>
                      </a:cubicBezTo>
                      <a:cubicBezTo>
                        <a:pt x="100" y="28"/>
                        <a:pt x="100" y="28"/>
                        <a:pt x="100" y="28"/>
                      </a:cubicBezTo>
                      <a:lnTo>
                        <a:pt x="100" y="9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endParaRPr>
                </a:p>
              </p:txBody>
            </p:sp>
            <p:sp>
              <p:nvSpPr>
                <p:cNvPr id="30" name="TextBox 22">
                  <a:extLst>
                    <a:ext uri="{FF2B5EF4-FFF2-40B4-BE49-F238E27FC236}">
                      <a16:creationId xmlns:a16="http://schemas.microsoft.com/office/drawing/2014/main" id="{FB5D168B-E1C8-4896-9BFF-4561031C7A49}"/>
                    </a:ext>
                  </a:extLst>
                </p:cNvPr>
                <p:cNvSpPr txBox="1"/>
                <p:nvPr/>
              </p:nvSpPr>
              <p:spPr>
                <a:xfrm>
                  <a:off x="3065529" y="4408180"/>
                  <a:ext cx="1444009" cy="387798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algn="just">
                    <a:lnSpc>
                      <a:spcPct val="120000"/>
                    </a:lnSpc>
                    <a:spcAft>
                      <a:spcPts val="1200"/>
                    </a:spcAft>
                  </a:pPr>
                  <a:r>
                    <a:rPr lang="en-US" sz="16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Segoe UI Light" panose="020B0502040204020203" pitchFamily="34" charset="0"/>
                      <a:sym typeface="微软雅黑" panose="020B0503020204020204" pitchFamily="34" charset="-122"/>
                    </a:rPr>
                    <a:t>8:00 PM</a:t>
                  </a:r>
                </a:p>
              </p:txBody>
            </p: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8FF0F0F1-06C3-4A32-A0A3-7F910D9C3BED}"/>
                  </a:ext>
                </a:extLst>
              </p:cNvPr>
              <p:cNvGrpSpPr/>
              <p:nvPr/>
            </p:nvGrpSpPr>
            <p:grpSpPr>
              <a:xfrm>
                <a:off x="4397587" y="4420684"/>
                <a:ext cx="1992087" cy="362792"/>
                <a:chOff x="4042043" y="4420684"/>
                <a:chExt cx="1992087" cy="362792"/>
              </a:xfrm>
            </p:grpSpPr>
            <p:sp>
              <p:nvSpPr>
                <p:cNvPr id="27" name="TextBox 14">
                  <a:extLst>
                    <a:ext uri="{FF2B5EF4-FFF2-40B4-BE49-F238E27FC236}">
                      <a16:creationId xmlns:a16="http://schemas.microsoft.com/office/drawing/2014/main" id="{55BFAE4A-872A-4E47-A8D8-01637ECD917A}"/>
                    </a:ext>
                  </a:extLst>
                </p:cNvPr>
                <p:cNvSpPr txBox="1"/>
                <p:nvPr/>
              </p:nvSpPr>
              <p:spPr>
                <a:xfrm>
                  <a:off x="4298153" y="4420684"/>
                  <a:ext cx="1735977" cy="362792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>
                    <a:lnSpc>
                      <a:spcPct val="120000"/>
                    </a:lnSpc>
                    <a:spcAft>
                      <a:spcPts val="1200"/>
                    </a:spcAft>
                  </a:pPr>
                  <a:r>
                    <a:rPr lang="en-US" sz="16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Segoe UI Light" panose="020B0502040204020203" pitchFamily="34" charset="0"/>
                      <a:sym typeface="微软雅黑" panose="020B0503020204020204" pitchFamily="34" charset="-122"/>
                    </a:rPr>
                    <a:t>SHANXI</a:t>
                  </a:r>
                  <a:r>
                    <a:rPr lang="zh-CN" altLang="en-US" sz="16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Segoe UI Light" panose="020B0502040204020203" pitchFamily="34" charset="0"/>
                      <a:sym typeface="微软雅黑" panose="020B0503020204020204" pitchFamily="34" charset="-122"/>
                    </a:rPr>
                    <a:t>　</a:t>
                  </a:r>
                  <a:endParaRPr lang="en-US" sz="16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 Light" panose="020B0502040204020203" pitchFamily="34" charset="0"/>
                    <a:sym typeface="微软雅黑" panose="020B0503020204020204" pitchFamily="34" charset="-122"/>
                  </a:endParaRPr>
                </a:p>
              </p:txBody>
            </p:sp>
            <p:sp>
              <p:nvSpPr>
                <p:cNvPr id="28" name="Freeform 51">
                  <a:extLst>
                    <a:ext uri="{FF2B5EF4-FFF2-40B4-BE49-F238E27FC236}">
                      <a16:creationId xmlns:a16="http://schemas.microsoft.com/office/drawing/2014/main" id="{F8F70270-9A69-417E-9930-C0D0EF53B6B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042043" y="4484802"/>
                  <a:ext cx="190795" cy="234554"/>
                </a:xfrm>
                <a:custGeom>
                  <a:avLst/>
                  <a:gdLst>
                    <a:gd name="T0" fmla="*/ 121 w 184"/>
                    <a:gd name="T1" fmla="*/ 69 h 225"/>
                    <a:gd name="T2" fmla="*/ 91 w 184"/>
                    <a:gd name="T3" fmla="*/ 40 h 225"/>
                    <a:gd name="T4" fmla="*/ 62 w 184"/>
                    <a:gd name="T5" fmla="*/ 69 h 225"/>
                    <a:gd name="T6" fmla="*/ 91 w 184"/>
                    <a:gd name="T7" fmla="*/ 99 h 225"/>
                    <a:gd name="T8" fmla="*/ 121 w 184"/>
                    <a:gd name="T9" fmla="*/ 69 h 225"/>
                    <a:gd name="T10" fmla="*/ 70 w 184"/>
                    <a:gd name="T11" fmla="*/ 69 h 225"/>
                    <a:gd name="T12" fmla="*/ 91 w 184"/>
                    <a:gd name="T13" fmla="*/ 48 h 225"/>
                    <a:gd name="T14" fmla="*/ 113 w 184"/>
                    <a:gd name="T15" fmla="*/ 69 h 225"/>
                    <a:gd name="T16" fmla="*/ 91 w 184"/>
                    <a:gd name="T17" fmla="*/ 91 h 225"/>
                    <a:gd name="T18" fmla="*/ 70 w 184"/>
                    <a:gd name="T19" fmla="*/ 69 h 225"/>
                    <a:gd name="T20" fmla="*/ 91 w 184"/>
                    <a:gd name="T21" fmla="*/ 202 h 225"/>
                    <a:gd name="T22" fmla="*/ 94 w 184"/>
                    <a:gd name="T23" fmla="*/ 198 h 225"/>
                    <a:gd name="T24" fmla="*/ 159 w 184"/>
                    <a:gd name="T25" fmla="*/ 71 h 225"/>
                    <a:gd name="T26" fmla="*/ 91 w 184"/>
                    <a:gd name="T27" fmla="*/ 0 h 225"/>
                    <a:gd name="T28" fmla="*/ 24 w 184"/>
                    <a:gd name="T29" fmla="*/ 71 h 225"/>
                    <a:gd name="T30" fmla="*/ 88 w 184"/>
                    <a:gd name="T31" fmla="*/ 198 h 225"/>
                    <a:gd name="T32" fmla="*/ 91 w 184"/>
                    <a:gd name="T33" fmla="*/ 202 h 225"/>
                    <a:gd name="T34" fmla="*/ 91 w 184"/>
                    <a:gd name="T35" fmla="*/ 9 h 225"/>
                    <a:gd name="T36" fmla="*/ 151 w 184"/>
                    <a:gd name="T37" fmla="*/ 72 h 225"/>
                    <a:gd name="T38" fmla="*/ 91 w 184"/>
                    <a:gd name="T39" fmla="*/ 189 h 225"/>
                    <a:gd name="T40" fmla="*/ 32 w 184"/>
                    <a:gd name="T41" fmla="*/ 71 h 225"/>
                    <a:gd name="T42" fmla="*/ 91 w 184"/>
                    <a:gd name="T43" fmla="*/ 9 h 225"/>
                    <a:gd name="T44" fmla="*/ 164 w 184"/>
                    <a:gd name="T45" fmla="*/ 149 h 225"/>
                    <a:gd name="T46" fmla="*/ 140 w 184"/>
                    <a:gd name="T47" fmla="*/ 149 h 225"/>
                    <a:gd name="T48" fmla="*/ 140 w 184"/>
                    <a:gd name="T49" fmla="*/ 157 h 225"/>
                    <a:gd name="T50" fmla="*/ 156 w 184"/>
                    <a:gd name="T51" fmla="*/ 157 h 225"/>
                    <a:gd name="T52" fmla="*/ 172 w 184"/>
                    <a:gd name="T53" fmla="*/ 217 h 225"/>
                    <a:gd name="T54" fmla="*/ 12 w 184"/>
                    <a:gd name="T55" fmla="*/ 217 h 225"/>
                    <a:gd name="T56" fmla="*/ 28 w 184"/>
                    <a:gd name="T57" fmla="*/ 157 h 225"/>
                    <a:gd name="T58" fmla="*/ 40 w 184"/>
                    <a:gd name="T59" fmla="*/ 157 h 225"/>
                    <a:gd name="T60" fmla="*/ 40 w 184"/>
                    <a:gd name="T61" fmla="*/ 149 h 225"/>
                    <a:gd name="T62" fmla="*/ 20 w 184"/>
                    <a:gd name="T63" fmla="*/ 149 h 225"/>
                    <a:gd name="T64" fmla="*/ 0 w 184"/>
                    <a:gd name="T65" fmla="*/ 225 h 225"/>
                    <a:gd name="T66" fmla="*/ 184 w 184"/>
                    <a:gd name="T67" fmla="*/ 225 h 225"/>
                    <a:gd name="T68" fmla="*/ 164 w 184"/>
                    <a:gd name="T69" fmla="*/ 149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84" h="225">
                      <a:moveTo>
                        <a:pt x="121" y="69"/>
                      </a:moveTo>
                      <a:cubicBezTo>
                        <a:pt x="121" y="53"/>
                        <a:pt x="107" y="40"/>
                        <a:pt x="91" y="40"/>
                      </a:cubicBezTo>
                      <a:cubicBezTo>
                        <a:pt x="75" y="40"/>
                        <a:pt x="62" y="53"/>
                        <a:pt x="62" y="69"/>
                      </a:cubicBezTo>
                      <a:cubicBezTo>
                        <a:pt x="62" y="85"/>
                        <a:pt x="75" y="99"/>
                        <a:pt x="91" y="99"/>
                      </a:cubicBezTo>
                      <a:cubicBezTo>
                        <a:pt x="107" y="99"/>
                        <a:pt x="121" y="85"/>
                        <a:pt x="121" y="69"/>
                      </a:cubicBezTo>
                      <a:close/>
                      <a:moveTo>
                        <a:pt x="70" y="69"/>
                      </a:moveTo>
                      <a:cubicBezTo>
                        <a:pt x="70" y="57"/>
                        <a:pt x="80" y="48"/>
                        <a:pt x="91" y="48"/>
                      </a:cubicBezTo>
                      <a:cubicBezTo>
                        <a:pt x="103" y="48"/>
                        <a:pt x="113" y="57"/>
                        <a:pt x="113" y="69"/>
                      </a:cubicBezTo>
                      <a:cubicBezTo>
                        <a:pt x="113" y="81"/>
                        <a:pt x="103" y="91"/>
                        <a:pt x="91" y="91"/>
                      </a:cubicBezTo>
                      <a:cubicBezTo>
                        <a:pt x="80" y="91"/>
                        <a:pt x="70" y="81"/>
                        <a:pt x="70" y="69"/>
                      </a:cubicBezTo>
                      <a:close/>
                      <a:moveTo>
                        <a:pt x="91" y="202"/>
                      </a:moveTo>
                      <a:cubicBezTo>
                        <a:pt x="94" y="198"/>
                        <a:pt x="94" y="198"/>
                        <a:pt x="94" y="198"/>
                      </a:cubicBezTo>
                      <a:cubicBezTo>
                        <a:pt x="97" y="195"/>
                        <a:pt x="160" y="120"/>
                        <a:pt x="159" y="71"/>
                      </a:cubicBezTo>
                      <a:cubicBezTo>
                        <a:pt x="159" y="32"/>
                        <a:pt x="129" y="0"/>
                        <a:pt x="91" y="0"/>
                      </a:cubicBezTo>
                      <a:cubicBezTo>
                        <a:pt x="54" y="0"/>
                        <a:pt x="24" y="32"/>
                        <a:pt x="24" y="71"/>
                      </a:cubicBezTo>
                      <a:cubicBezTo>
                        <a:pt x="24" y="120"/>
                        <a:pt x="86" y="195"/>
                        <a:pt x="88" y="198"/>
                      </a:cubicBezTo>
                      <a:lnTo>
                        <a:pt x="91" y="202"/>
                      </a:lnTo>
                      <a:close/>
                      <a:moveTo>
                        <a:pt x="91" y="9"/>
                      </a:moveTo>
                      <a:cubicBezTo>
                        <a:pt x="124" y="9"/>
                        <a:pt x="151" y="37"/>
                        <a:pt x="151" y="72"/>
                      </a:cubicBezTo>
                      <a:cubicBezTo>
                        <a:pt x="152" y="111"/>
                        <a:pt x="104" y="173"/>
                        <a:pt x="91" y="189"/>
                      </a:cubicBezTo>
                      <a:cubicBezTo>
                        <a:pt x="79" y="173"/>
                        <a:pt x="32" y="111"/>
                        <a:pt x="32" y="71"/>
                      </a:cubicBezTo>
                      <a:cubicBezTo>
                        <a:pt x="32" y="37"/>
                        <a:pt x="58" y="9"/>
                        <a:pt x="91" y="9"/>
                      </a:cubicBezTo>
                      <a:close/>
                      <a:moveTo>
                        <a:pt x="164" y="149"/>
                      </a:moveTo>
                      <a:cubicBezTo>
                        <a:pt x="140" y="149"/>
                        <a:pt x="140" y="149"/>
                        <a:pt x="140" y="149"/>
                      </a:cubicBezTo>
                      <a:cubicBezTo>
                        <a:pt x="140" y="157"/>
                        <a:pt x="140" y="157"/>
                        <a:pt x="140" y="157"/>
                      </a:cubicBezTo>
                      <a:cubicBezTo>
                        <a:pt x="156" y="157"/>
                        <a:pt x="156" y="157"/>
                        <a:pt x="156" y="157"/>
                      </a:cubicBezTo>
                      <a:cubicBezTo>
                        <a:pt x="172" y="217"/>
                        <a:pt x="172" y="217"/>
                        <a:pt x="172" y="217"/>
                      </a:cubicBezTo>
                      <a:cubicBezTo>
                        <a:pt x="12" y="217"/>
                        <a:pt x="12" y="217"/>
                        <a:pt x="12" y="217"/>
                      </a:cubicBezTo>
                      <a:cubicBezTo>
                        <a:pt x="28" y="157"/>
                        <a:pt x="28" y="157"/>
                        <a:pt x="28" y="157"/>
                      </a:cubicBezTo>
                      <a:cubicBezTo>
                        <a:pt x="40" y="157"/>
                        <a:pt x="40" y="157"/>
                        <a:pt x="40" y="157"/>
                      </a:cubicBezTo>
                      <a:cubicBezTo>
                        <a:pt x="40" y="149"/>
                        <a:pt x="40" y="149"/>
                        <a:pt x="40" y="149"/>
                      </a:cubicBezTo>
                      <a:cubicBezTo>
                        <a:pt x="20" y="149"/>
                        <a:pt x="20" y="149"/>
                        <a:pt x="20" y="149"/>
                      </a:cubicBezTo>
                      <a:cubicBezTo>
                        <a:pt x="0" y="225"/>
                        <a:pt x="0" y="225"/>
                        <a:pt x="0" y="225"/>
                      </a:cubicBezTo>
                      <a:cubicBezTo>
                        <a:pt x="184" y="225"/>
                        <a:pt x="184" y="225"/>
                        <a:pt x="184" y="225"/>
                      </a:cubicBezTo>
                      <a:lnTo>
                        <a:pt x="164" y="14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endParaRPr>
                </a:p>
              </p:txBody>
            </p:sp>
          </p:grpSp>
        </p:grpSp>
      </p:grpSp>
      <p:sp>
        <p:nvSpPr>
          <p:cNvPr id="31" name="TextBox 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9700590F-1A80-4078-80F5-7C610910232E}"/>
              </a:ext>
            </a:extLst>
          </p:cNvPr>
          <p:cNvSpPr txBox="1"/>
          <p:nvPr/>
        </p:nvSpPr>
        <p:spPr>
          <a:xfrm>
            <a:off x="981853" y="3693149"/>
            <a:ext cx="591625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</a:rPr>
              <a:t>Hey, hey, hey! It's Fat </a:t>
            </a:r>
            <a:r>
              <a:rPr lang="en-US" altLang="zh-CN" sz="1200" dirty="0">
                <a:solidFill>
                  <a:schemeClr val="bg1"/>
                </a:solidFill>
              </a:rPr>
              <a:t>Company</a:t>
            </a:r>
            <a:r>
              <a:rPr lang="zh-CN" altLang="en-US" sz="1200" dirty="0">
                <a:solidFill>
                  <a:schemeClr val="bg1"/>
                </a:solidFill>
              </a:rPr>
              <a:t>! Now I'm gonna sing a song for you, and this is gonna show you a thing or two. You'll have some fun now With me and the gang, learning from each other While we do our thing.</a:t>
            </a:r>
            <a:endParaRPr lang="en-US" altLang="zh-CN" sz="1200" dirty="0">
              <a:solidFill>
                <a:schemeClr val="bg1"/>
              </a:solidFill>
            </a:endParaRPr>
          </a:p>
          <a:p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23784307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图片占位符 1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00" b="43500"/>
          <a:stretch/>
        </p:blipFill>
        <p:spPr>
          <a:solidFill>
            <a:schemeClr val="bg1">
              <a:lumMod val="75000"/>
            </a:schemeClr>
          </a:solidFill>
        </p:spPr>
      </p:pic>
      <p:sp>
        <p:nvSpPr>
          <p:cNvPr id="39" name="Rectangle 3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2A20E8E8-72D5-F544-B2D9-49A017F36508}"/>
              </a:ext>
            </a:extLst>
          </p:cNvPr>
          <p:cNvSpPr/>
          <p:nvPr/>
        </p:nvSpPr>
        <p:spPr>
          <a:xfrm>
            <a:off x="18467" y="0"/>
            <a:ext cx="12192000" cy="6858000"/>
          </a:xfrm>
          <a:prstGeom prst="rect">
            <a:avLst/>
          </a:prstGeom>
          <a:solidFill>
            <a:schemeClr val="tx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cxnSp>
        <p:nvCxnSpPr>
          <p:cNvPr id="16" name="Straight Connector 1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45123D73-D491-3046-B7F9-C7006EE838DD}"/>
              </a:ext>
            </a:extLst>
          </p:cNvPr>
          <p:cNvCxnSpPr>
            <a:cxnSpLocks/>
          </p:cNvCxnSpPr>
          <p:nvPr/>
        </p:nvCxnSpPr>
        <p:spPr>
          <a:xfrm>
            <a:off x="8050696" y="1371600"/>
            <a:ext cx="4141304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CE410502-3B91-0E48-ABBD-D1864270BAE2}"/>
              </a:ext>
            </a:extLst>
          </p:cNvPr>
          <p:cNvCxnSpPr>
            <a:cxnSpLocks/>
          </p:cNvCxnSpPr>
          <p:nvPr/>
        </p:nvCxnSpPr>
        <p:spPr>
          <a:xfrm>
            <a:off x="8050696" y="2743200"/>
            <a:ext cx="4141304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6C6ACF78-B575-454A-A21F-3F4D2941866A}"/>
              </a:ext>
            </a:extLst>
          </p:cNvPr>
          <p:cNvCxnSpPr>
            <a:cxnSpLocks/>
          </p:cNvCxnSpPr>
          <p:nvPr/>
        </p:nvCxnSpPr>
        <p:spPr>
          <a:xfrm>
            <a:off x="8050696" y="4114800"/>
            <a:ext cx="4141304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74C5C1D3-24BA-1C49-9242-DA82BB6E2900}"/>
              </a:ext>
            </a:extLst>
          </p:cNvPr>
          <p:cNvCxnSpPr>
            <a:cxnSpLocks/>
          </p:cNvCxnSpPr>
          <p:nvPr/>
        </p:nvCxnSpPr>
        <p:spPr>
          <a:xfrm>
            <a:off x="8050696" y="5486400"/>
            <a:ext cx="4141304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BA4BB976-23C2-EF42-81BE-FEEC61001F74}"/>
              </a:ext>
            </a:extLst>
          </p:cNvPr>
          <p:cNvCxnSpPr/>
          <p:nvPr/>
        </p:nvCxnSpPr>
        <p:spPr>
          <a:xfrm>
            <a:off x="8050696" y="0"/>
            <a:ext cx="0" cy="6858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97A464C4-7210-7F4E-B320-69FD9D96DCDF}"/>
              </a:ext>
            </a:extLst>
          </p:cNvPr>
          <p:cNvSpPr/>
          <p:nvPr/>
        </p:nvSpPr>
        <p:spPr>
          <a:xfrm>
            <a:off x="7964557" y="4045227"/>
            <a:ext cx="4227443" cy="151074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24" name="TextBox 2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8206D0E1-6A40-3549-9F8A-264F3C9A247F}"/>
              </a:ext>
            </a:extLst>
          </p:cNvPr>
          <p:cNvSpPr txBox="1"/>
          <p:nvPr/>
        </p:nvSpPr>
        <p:spPr>
          <a:xfrm>
            <a:off x="8050695" y="568693"/>
            <a:ext cx="881652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6000" b="1" dirty="0">
                <a:solidFill>
                  <a:schemeClr val="bg1">
                    <a:alpha val="53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1</a:t>
            </a:r>
          </a:p>
        </p:txBody>
      </p:sp>
      <p:sp>
        <p:nvSpPr>
          <p:cNvPr id="25" name="TextBox 2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A8BE85F4-1B7B-4841-9C05-5F657A5B77D7}"/>
              </a:ext>
            </a:extLst>
          </p:cNvPr>
          <p:cNvSpPr txBox="1"/>
          <p:nvPr/>
        </p:nvSpPr>
        <p:spPr>
          <a:xfrm>
            <a:off x="9221110" y="403895"/>
            <a:ext cx="155190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b="1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Web Analytics</a:t>
            </a:r>
          </a:p>
        </p:txBody>
      </p:sp>
      <p:sp>
        <p:nvSpPr>
          <p:cNvPr id="26" name="TextBox 2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BBC0074-807A-FE40-9EC1-595809296395}"/>
              </a:ext>
            </a:extLst>
          </p:cNvPr>
          <p:cNvSpPr txBox="1"/>
          <p:nvPr/>
        </p:nvSpPr>
        <p:spPr>
          <a:xfrm flipH="1">
            <a:off x="9221110" y="754827"/>
            <a:ext cx="2772106" cy="2128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ct val="125000"/>
              </a:lnSpc>
            </a:pPr>
            <a:r>
              <a:rPr lang="en-US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 sit </a:t>
            </a:r>
            <a:r>
              <a:rPr lang="en-US" sz="12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US" sz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conse</a:t>
            </a:r>
            <a:endParaRPr lang="en-US" sz="12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TextBox 2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0F379FCA-F390-8046-9240-DB8185BE9821}"/>
              </a:ext>
            </a:extLst>
          </p:cNvPr>
          <p:cNvSpPr txBox="1"/>
          <p:nvPr/>
        </p:nvSpPr>
        <p:spPr>
          <a:xfrm>
            <a:off x="8050695" y="1932050"/>
            <a:ext cx="881652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6000" b="1" dirty="0">
                <a:solidFill>
                  <a:schemeClr val="bg1">
                    <a:alpha val="53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2</a:t>
            </a:r>
          </a:p>
        </p:txBody>
      </p:sp>
      <p:sp>
        <p:nvSpPr>
          <p:cNvPr id="28" name="TextBox 2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EC71469-D5BB-1444-88FF-1A8893FCC24E}"/>
              </a:ext>
            </a:extLst>
          </p:cNvPr>
          <p:cNvSpPr txBox="1"/>
          <p:nvPr/>
        </p:nvSpPr>
        <p:spPr>
          <a:xfrm>
            <a:off x="9221110" y="1767252"/>
            <a:ext cx="128875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b="1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Easy To Use</a:t>
            </a:r>
          </a:p>
        </p:txBody>
      </p:sp>
      <p:sp>
        <p:nvSpPr>
          <p:cNvPr id="29" name="TextBox 2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884372F-7415-234B-A989-E9DBAA5021E5}"/>
              </a:ext>
            </a:extLst>
          </p:cNvPr>
          <p:cNvSpPr txBox="1"/>
          <p:nvPr/>
        </p:nvSpPr>
        <p:spPr>
          <a:xfrm flipH="1">
            <a:off x="9221110" y="2118184"/>
            <a:ext cx="2772106" cy="2128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ct val="125000"/>
              </a:lnSpc>
            </a:pPr>
            <a:r>
              <a:rPr lang="en-US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 sit </a:t>
            </a:r>
            <a:r>
              <a:rPr lang="en-US" sz="12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US" sz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conse</a:t>
            </a:r>
            <a:endParaRPr lang="en-US" sz="12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TextBox 2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412C26A5-F53A-8F43-AE0E-8FE0F56F8373}"/>
              </a:ext>
            </a:extLst>
          </p:cNvPr>
          <p:cNvSpPr txBox="1"/>
          <p:nvPr/>
        </p:nvSpPr>
        <p:spPr>
          <a:xfrm>
            <a:off x="8050695" y="3242866"/>
            <a:ext cx="881652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6000" b="1" dirty="0">
                <a:solidFill>
                  <a:schemeClr val="bg1">
                    <a:alpha val="53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3</a:t>
            </a:r>
          </a:p>
        </p:txBody>
      </p:sp>
      <p:sp>
        <p:nvSpPr>
          <p:cNvPr id="31" name="TextBox 3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3699500-E749-514B-8B81-D1A1E44DF0D3}"/>
              </a:ext>
            </a:extLst>
          </p:cNvPr>
          <p:cNvSpPr txBox="1"/>
          <p:nvPr/>
        </p:nvSpPr>
        <p:spPr>
          <a:xfrm>
            <a:off x="9221110" y="3078068"/>
            <a:ext cx="244637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b="1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Free Update &amp; Suppot</a:t>
            </a:r>
          </a:p>
        </p:txBody>
      </p:sp>
      <p:sp>
        <p:nvSpPr>
          <p:cNvPr id="32" name="TextBox 3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F598C20-3D44-184E-B502-BB426BBC72E9}"/>
              </a:ext>
            </a:extLst>
          </p:cNvPr>
          <p:cNvSpPr txBox="1"/>
          <p:nvPr/>
        </p:nvSpPr>
        <p:spPr>
          <a:xfrm flipH="1">
            <a:off x="9221110" y="3429000"/>
            <a:ext cx="2772106" cy="2128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ct val="125000"/>
              </a:lnSpc>
            </a:pPr>
            <a:r>
              <a:rPr lang="en-US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 sit </a:t>
            </a:r>
            <a:r>
              <a:rPr lang="en-US" sz="12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US" sz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conse</a:t>
            </a:r>
            <a:endParaRPr lang="en-US" sz="12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TextBox 3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18967C7D-2A47-954E-AAD1-DD68FD49A89E}"/>
              </a:ext>
            </a:extLst>
          </p:cNvPr>
          <p:cNvSpPr txBox="1"/>
          <p:nvPr/>
        </p:nvSpPr>
        <p:spPr>
          <a:xfrm>
            <a:off x="8050695" y="4712115"/>
            <a:ext cx="881652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6000" b="1" dirty="0">
                <a:solidFill>
                  <a:schemeClr val="bg1">
                    <a:alpha val="53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4</a:t>
            </a:r>
          </a:p>
        </p:txBody>
      </p:sp>
      <p:sp>
        <p:nvSpPr>
          <p:cNvPr id="34" name="TextBox 3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1963B6C6-ADCF-3E49-BD0D-3D705FED6876}"/>
              </a:ext>
            </a:extLst>
          </p:cNvPr>
          <p:cNvSpPr txBox="1"/>
          <p:nvPr/>
        </p:nvSpPr>
        <p:spPr>
          <a:xfrm>
            <a:off x="9221110" y="4547317"/>
            <a:ext cx="194142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b="1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Email - Marketing</a:t>
            </a:r>
          </a:p>
        </p:txBody>
      </p:sp>
      <p:sp>
        <p:nvSpPr>
          <p:cNvPr id="35" name="TextBox 3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6FC04D43-5BEA-8841-AD19-B2CAF2756737}"/>
              </a:ext>
            </a:extLst>
          </p:cNvPr>
          <p:cNvSpPr txBox="1"/>
          <p:nvPr/>
        </p:nvSpPr>
        <p:spPr>
          <a:xfrm flipH="1">
            <a:off x="9221110" y="4898249"/>
            <a:ext cx="2772106" cy="2128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ct val="125000"/>
              </a:lnSpc>
            </a:pPr>
            <a:r>
              <a:rPr lang="en-US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 sit </a:t>
            </a:r>
            <a:r>
              <a:rPr lang="en-US" sz="12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US" sz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conse</a:t>
            </a:r>
            <a:endParaRPr lang="en-US" sz="12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TextBox 3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A01A1669-1AAA-D745-B08B-DF69CE52D96D}"/>
              </a:ext>
            </a:extLst>
          </p:cNvPr>
          <p:cNvSpPr txBox="1"/>
          <p:nvPr/>
        </p:nvSpPr>
        <p:spPr>
          <a:xfrm>
            <a:off x="8050695" y="6042604"/>
            <a:ext cx="881652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6000" b="1" dirty="0">
                <a:solidFill>
                  <a:schemeClr val="bg1">
                    <a:alpha val="53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5</a:t>
            </a:r>
          </a:p>
        </p:txBody>
      </p:sp>
      <p:sp>
        <p:nvSpPr>
          <p:cNvPr id="37" name="TextBox 3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2230DC0-81B9-0947-BF2B-FB3C170A0151}"/>
              </a:ext>
            </a:extLst>
          </p:cNvPr>
          <p:cNvSpPr txBox="1"/>
          <p:nvPr/>
        </p:nvSpPr>
        <p:spPr>
          <a:xfrm>
            <a:off x="9221110" y="5877806"/>
            <a:ext cx="155190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b="1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Web Analytics</a:t>
            </a:r>
          </a:p>
        </p:txBody>
      </p:sp>
      <p:sp>
        <p:nvSpPr>
          <p:cNvPr id="38" name="TextBox 3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C9F48C79-3051-1B41-A5D6-6D734B7D0D61}"/>
              </a:ext>
            </a:extLst>
          </p:cNvPr>
          <p:cNvSpPr txBox="1"/>
          <p:nvPr/>
        </p:nvSpPr>
        <p:spPr>
          <a:xfrm flipH="1">
            <a:off x="9221110" y="6228738"/>
            <a:ext cx="2772106" cy="2128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ct val="125000"/>
              </a:lnSpc>
            </a:pPr>
            <a:r>
              <a:rPr lang="en-US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 sit </a:t>
            </a:r>
            <a:r>
              <a:rPr lang="en-US" sz="12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US" sz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conse</a:t>
            </a:r>
            <a:endParaRPr lang="en-US" sz="12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TextBox 3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1CD5FF1-5A38-F449-B4C4-30D57B7B2CE5}"/>
              </a:ext>
            </a:extLst>
          </p:cNvPr>
          <p:cNvSpPr txBox="1"/>
          <p:nvPr/>
        </p:nvSpPr>
        <p:spPr>
          <a:xfrm>
            <a:off x="1031132" y="1928959"/>
            <a:ext cx="3660041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3600" b="1" spc="60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Less is more</a:t>
            </a:r>
          </a:p>
        </p:txBody>
      </p:sp>
      <p:sp>
        <p:nvSpPr>
          <p:cNvPr id="41" name="TextBox 4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8150690B-8A2C-2742-AB8A-0632A0D0BF22}"/>
              </a:ext>
            </a:extLst>
          </p:cNvPr>
          <p:cNvSpPr txBox="1"/>
          <p:nvPr/>
        </p:nvSpPr>
        <p:spPr>
          <a:xfrm>
            <a:off x="992222" y="2482957"/>
            <a:ext cx="4407232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altLang="zh-CN" sz="7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any</a:t>
            </a:r>
            <a:endParaRPr lang="vi-VN" sz="72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3" name="TextBox 4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8C3370EB-26B6-D240-825A-B32D817E0EAD}"/>
              </a:ext>
            </a:extLst>
          </p:cNvPr>
          <p:cNvSpPr txBox="1"/>
          <p:nvPr/>
        </p:nvSpPr>
        <p:spPr>
          <a:xfrm>
            <a:off x="2752972" y="3723267"/>
            <a:ext cx="93615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vi-VN" sz="3200" b="1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1990</a:t>
            </a:r>
          </a:p>
        </p:txBody>
      </p:sp>
      <p:sp>
        <p:nvSpPr>
          <p:cNvPr id="44" name="TextBox 4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6698DBA9-D058-8C41-AF12-07FF98EAA986}"/>
              </a:ext>
            </a:extLst>
          </p:cNvPr>
          <p:cNvSpPr txBox="1"/>
          <p:nvPr/>
        </p:nvSpPr>
        <p:spPr>
          <a:xfrm>
            <a:off x="5178313" y="3723267"/>
            <a:ext cx="942566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vi-VN" sz="3200" b="1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2</a:t>
            </a:r>
            <a:r>
              <a:rPr lang="en-US" altLang="zh-CN" sz="3200" b="1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020</a:t>
            </a:r>
            <a:endParaRPr lang="vi-VN" sz="3200" b="1" dirty="0">
              <a:solidFill>
                <a:schemeClr val="bg1"/>
              </a:solidFill>
              <a:latin typeface="Open Sans SemiBold" panose="020B0606030504020204" pitchFamily="34" charset="0"/>
              <a:ea typeface="Open Sans SemiBold" panose="020B0606030504020204" pitchFamily="34" charset="0"/>
              <a:cs typeface="Open Sans SemiBold" panose="020B0606030504020204" pitchFamily="34" charset="0"/>
            </a:endParaRPr>
          </a:p>
        </p:txBody>
      </p:sp>
      <p:cxnSp>
        <p:nvCxnSpPr>
          <p:cNvPr id="45" name="Straight Connector 4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4EEEB378-C95F-8F4F-B765-FA0A0C82C582}"/>
              </a:ext>
            </a:extLst>
          </p:cNvPr>
          <p:cNvCxnSpPr/>
          <p:nvPr/>
        </p:nvCxnSpPr>
        <p:spPr>
          <a:xfrm>
            <a:off x="3863730" y="3948706"/>
            <a:ext cx="113575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27364802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DB9FD24-2C1B-0C4D-93C1-8B66B919B908}"/>
              </a:ext>
            </a:extLst>
          </p:cNvPr>
          <p:cNvSpPr/>
          <p:nvPr/>
        </p:nvSpPr>
        <p:spPr>
          <a:xfrm>
            <a:off x="5304117" y="2312894"/>
            <a:ext cx="2904566" cy="3567954"/>
          </a:xfrm>
          <a:prstGeom prst="roundRect">
            <a:avLst>
              <a:gd name="adj" fmla="val 5473"/>
            </a:avLst>
          </a:prstGeom>
          <a:solidFill>
            <a:schemeClr val="bg1"/>
          </a:solidFill>
          <a:ln>
            <a:noFill/>
          </a:ln>
          <a:effectLst>
            <a:outerShdw blurRad="546100" dist="1651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6" name="Rounded Rectangle 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0C3C72B0-AFF5-6743-87D0-6C655FE071D7}"/>
              </a:ext>
            </a:extLst>
          </p:cNvPr>
          <p:cNvSpPr/>
          <p:nvPr/>
        </p:nvSpPr>
        <p:spPr>
          <a:xfrm>
            <a:off x="8603129" y="2312894"/>
            <a:ext cx="2904566" cy="3567954"/>
          </a:xfrm>
          <a:prstGeom prst="roundRect">
            <a:avLst>
              <a:gd name="adj" fmla="val 5473"/>
            </a:avLst>
          </a:prstGeom>
          <a:solidFill>
            <a:schemeClr val="bg1"/>
          </a:solidFill>
          <a:ln>
            <a:noFill/>
          </a:ln>
          <a:effectLst>
            <a:outerShdw blurRad="546100" dist="1651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7" name="Round Same Side Corner Rectangle 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0F29D83-DBB7-F446-B541-0F1771D53963}"/>
              </a:ext>
            </a:extLst>
          </p:cNvPr>
          <p:cNvSpPr/>
          <p:nvPr/>
        </p:nvSpPr>
        <p:spPr>
          <a:xfrm rot="10800000">
            <a:off x="5304117" y="4446493"/>
            <a:ext cx="2904566" cy="1434354"/>
          </a:xfrm>
          <a:prstGeom prst="round2SameRect">
            <a:avLst>
              <a:gd name="adj1" fmla="val 8772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cxnSp>
        <p:nvCxnSpPr>
          <p:cNvPr id="8" name="Straight Connector 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24CA98F1-702E-C045-8CD1-93BD49E81C79}"/>
              </a:ext>
            </a:extLst>
          </p:cNvPr>
          <p:cNvCxnSpPr/>
          <p:nvPr/>
        </p:nvCxnSpPr>
        <p:spPr>
          <a:xfrm>
            <a:off x="5304116" y="3429000"/>
            <a:ext cx="29045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AD551B38-45C3-6148-8804-A09FA7FA79D7}"/>
              </a:ext>
            </a:extLst>
          </p:cNvPr>
          <p:cNvCxnSpPr>
            <a:stCxn id="7" idx="1"/>
          </p:cNvCxnSpPr>
          <p:nvPr/>
        </p:nvCxnSpPr>
        <p:spPr>
          <a:xfrm flipV="1">
            <a:off x="6756400" y="3429000"/>
            <a:ext cx="0" cy="10174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 Same Side Corner Rectangle 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36C1E99-D5A9-6A45-962C-C63CFCE7A927}"/>
              </a:ext>
            </a:extLst>
          </p:cNvPr>
          <p:cNvSpPr/>
          <p:nvPr/>
        </p:nvSpPr>
        <p:spPr>
          <a:xfrm rot="10800000">
            <a:off x="8603129" y="4446493"/>
            <a:ext cx="2904566" cy="1434354"/>
          </a:xfrm>
          <a:prstGeom prst="round2SameRect">
            <a:avLst>
              <a:gd name="adj1" fmla="val 8772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cxnSp>
        <p:nvCxnSpPr>
          <p:cNvPr id="11" name="Straight Connector 1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F5129602-760C-DE45-A3A3-36ADFF7D4829}"/>
              </a:ext>
            </a:extLst>
          </p:cNvPr>
          <p:cNvCxnSpPr/>
          <p:nvPr/>
        </p:nvCxnSpPr>
        <p:spPr>
          <a:xfrm>
            <a:off x="8603128" y="3429000"/>
            <a:ext cx="29045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2DEF873-B595-3246-94FF-73B0D238A1A9}"/>
              </a:ext>
            </a:extLst>
          </p:cNvPr>
          <p:cNvCxnSpPr>
            <a:stCxn id="10" idx="1"/>
          </p:cNvCxnSpPr>
          <p:nvPr/>
        </p:nvCxnSpPr>
        <p:spPr>
          <a:xfrm flipV="1">
            <a:off x="10055412" y="3429000"/>
            <a:ext cx="0" cy="10174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F7A4DE63-4E50-084D-A393-5058FD4A76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6250" y="2374859"/>
            <a:ext cx="1090791" cy="1090791"/>
          </a:xfrm>
          <a:prstGeom prst="rect">
            <a:avLst/>
          </a:prstGeom>
        </p:spPr>
      </p:pic>
      <p:pic>
        <p:nvPicPr>
          <p:cNvPr id="14" name="Picture 1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1585CB57-1AFE-9B42-91B3-1CA2B78A4B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8194" y="2374859"/>
            <a:ext cx="1090791" cy="1090791"/>
          </a:xfrm>
          <a:prstGeom prst="rect">
            <a:avLst/>
          </a:prstGeom>
        </p:spPr>
      </p:pic>
      <p:sp>
        <p:nvSpPr>
          <p:cNvPr id="15" name="TextBox 1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922D42A5-DCA6-7840-BBB2-9A0FBD38C7BC}"/>
              </a:ext>
            </a:extLst>
          </p:cNvPr>
          <p:cNvSpPr txBox="1"/>
          <p:nvPr/>
        </p:nvSpPr>
        <p:spPr>
          <a:xfrm>
            <a:off x="6692246" y="2568242"/>
            <a:ext cx="13116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vi-VN" sz="2000" b="1">
                <a:ea typeface="Open Sans SemiBold" panose="020B0606030504020204" pitchFamily="34" charset="0"/>
                <a:cs typeface="Open Sans SemiBold" panose="020B0606030504020204" pitchFamily="34" charset="0"/>
              </a:rPr>
              <a:t>Company</a:t>
            </a:r>
          </a:p>
        </p:txBody>
      </p:sp>
      <p:sp>
        <p:nvSpPr>
          <p:cNvPr id="16" name="TextBox 1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165C5D96-DDD0-B04B-992A-4602828A7C35}"/>
              </a:ext>
            </a:extLst>
          </p:cNvPr>
          <p:cNvSpPr txBox="1"/>
          <p:nvPr/>
        </p:nvSpPr>
        <p:spPr>
          <a:xfrm>
            <a:off x="9997515" y="2568242"/>
            <a:ext cx="13116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vi-VN" sz="2000" b="1">
                <a:ea typeface="Open Sans SemiBold" panose="020B0606030504020204" pitchFamily="34" charset="0"/>
                <a:cs typeface="Open Sans SemiBold" panose="020B0606030504020204" pitchFamily="34" charset="0"/>
              </a:rPr>
              <a:t>Company</a:t>
            </a:r>
          </a:p>
        </p:txBody>
      </p:sp>
      <p:sp>
        <p:nvSpPr>
          <p:cNvPr id="17" name="TextBox 1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7BCF2249-1EEF-F74F-BC9E-0E30D2E521C7}"/>
              </a:ext>
            </a:extLst>
          </p:cNvPr>
          <p:cNvSpPr txBox="1"/>
          <p:nvPr/>
        </p:nvSpPr>
        <p:spPr>
          <a:xfrm>
            <a:off x="6690989" y="2961483"/>
            <a:ext cx="125136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vi-VN" sz="1200">
                <a:ea typeface="Open Sans" panose="020B0606030504020204" pitchFamily="34" charset="0"/>
                <a:cs typeface="Open Sans" panose="020B0606030504020204" pitchFamily="34" charset="0"/>
              </a:rPr>
              <a:t>Slogan Company</a:t>
            </a:r>
          </a:p>
        </p:txBody>
      </p:sp>
      <p:sp>
        <p:nvSpPr>
          <p:cNvPr id="18" name="TextBox 1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74096E53-1096-8E45-A8AD-248B8B33E671}"/>
              </a:ext>
            </a:extLst>
          </p:cNvPr>
          <p:cNvSpPr txBox="1"/>
          <p:nvPr/>
        </p:nvSpPr>
        <p:spPr>
          <a:xfrm>
            <a:off x="9997515" y="2961483"/>
            <a:ext cx="125136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vi-VN" sz="1200">
                <a:ea typeface="Open Sans" panose="020B0606030504020204" pitchFamily="34" charset="0"/>
                <a:cs typeface="Open Sans" panose="020B0606030504020204" pitchFamily="34" charset="0"/>
              </a:rPr>
              <a:t>Slogan Company</a:t>
            </a:r>
          </a:p>
        </p:txBody>
      </p:sp>
      <p:sp>
        <p:nvSpPr>
          <p:cNvPr id="19" name="TextBox 1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F9BE1098-10A4-EA41-855E-4129625C97F9}"/>
              </a:ext>
            </a:extLst>
          </p:cNvPr>
          <p:cNvSpPr txBox="1"/>
          <p:nvPr/>
        </p:nvSpPr>
        <p:spPr>
          <a:xfrm>
            <a:off x="5684637" y="4721458"/>
            <a:ext cx="187852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vi-VN" sz="1400">
                <a:ea typeface="Open Sans" panose="020B0606030504020204" pitchFamily="34" charset="0"/>
                <a:cs typeface="Open Sans" panose="020B0606030504020204" pitchFamily="34" charset="0"/>
              </a:rPr>
              <a:t>Keyword targeting</a:t>
            </a:r>
          </a:p>
        </p:txBody>
      </p:sp>
      <p:sp>
        <p:nvSpPr>
          <p:cNvPr id="20" name="TextBox 1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CE982090-8C3C-DD40-BF02-7D7F4B78666D}"/>
              </a:ext>
            </a:extLst>
          </p:cNvPr>
          <p:cNvSpPr txBox="1"/>
          <p:nvPr/>
        </p:nvSpPr>
        <p:spPr>
          <a:xfrm>
            <a:off x="5684637" y="5042223"/>
            <a:ext cx="176266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vi-VN" sz="1400">
                <a:ea typeface="Open Sans" panose="020B0606030504020204" pitchFamily="34" charset="0"/>
                <a:cs typeface="Open Sans" panose="020B0606030504020204" pitchFamily="34" charset="0"/>
              </a:rPr>
              <a:t>E-mail Marketing</a:t>
            </a:r>
          </a:p>
        </p:txBody>
      </p:sp>
      <p:sp>
        <p:nvSpPr>
          <p:cNvPr id="21" name="TextBox 2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87B0E2CD-2D0D-9649-BF3D-051B7EC130FE}"/>
              </a:ext>
            </a:extLst>
          </p:cNvPr>
          <p:cNvSpPr txBox="1"/>
          <p:nvPr/>
        </p:nvSpPr>
        <p:spPr>
          <a:xfrm>
            <a:off x="5684637" y="5356263"/>
            <a:ext cx="227305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vi-VN" sz="1400">
                <a:ea typeface="Open Sans" panose="020B0606030504020204" pitchFamily="34" charset="0"/>
                <a:cs typeface="Open Sans" panose="020B0606030504020204" pitchFamily="34" charset="0"/>
              </a:rPr>
              <a:t>Free Updates &amp; Suport</a:t>
            </a:r>
          </a:p>
        </p:txBody>
      </p:sp>
      <p:sp>
        <p:nvSpPr>
          <p:cNvPr id="22" name="TextBox 2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1C85B337-2FE6-2B4B-A6C6-363B6153DD22}"/>
              </a:ext>
            </a:extLst>
          </p:cNvPr>
          <p:cNvSpPr txBox="1"/>
          <p:nvPr/>
        </p:nvSpPr>
        <p:spPr>
          <a:xfrm>
            <a:off x="8977079" y="4721458"/>
            <a:ext cx="187852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vi-VN" sz="1400">
                <a:ea typeface="Open Sans" panose="020B0606030504020204" pitchFamily="34" charset="0"/>
                <a:cs typeface="Open Sans" panose="020B0606030504020204" pitchFamily="34" charset="0"/>
              </a:rPr>
              <a:t>Keyword targeting</a:t>
            </a:r>
          </a:p>
        </p:txBody>
      </p:sp>
      <p:sp>
        <p:nvSpPr>
          <p:cNvPr id="23" name="TextBox 2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B327328-BFE9-3645-AD08-2956A3907B54}"/>
              </a:ext>
            </a:extLst>
          </p:cNvPr>
          <p:cNvSpPr txBox="1"/>
          <p:nvPr/>
        </p:nvSpPr>
        <p:spPr>
          <a:xfrm>
            <a:off x="8977079" y="5042223"/>
            <a:ext cx="176266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vi-VN" sz="1400">
                <a:ea typeface="Open Sans" panose="020B0606030504020204" pitchFamily="34" charset="0"/>
                <a:cs typeface="Open Sans" panose="020B0606030504020204" pitchFamily="34" charset="0"/>
              </a:rPr>
              <a:t>E-mail Marketing</a:t>
            </a:r>
          </a:p>
        </p:txBody>
      </p:sp>
      <p:sp>
        <p:nvSpPr>
          <p:cNvPr id="24" name="TextBox 2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C2CBA05-94E7-9247-A16F-E57D8CA1DD82}"/>
              </a:ext>
            </a:extLst>
          </p:cNvPr>
          <p:cNvSpPr txBox="1"/>
          <p:nvPr/>
        </p:nvSpPr>
        <p:spPr>
          <a:xfrm>
            <a:off x="8977079" y="5356263"/>
            <a:ext cx="227305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vi-VN" sz="1400">
                <a:ea typeface="Open Sans" panose="020B0606030504020204" pitchFamily="34" charset="0"/>
                <a:cs typeface="Open Sans" panose="020B0606030504020204" pitchFamily="34" charset="0"/>
              </a:rPr>
              <a:t>Free Updates &amp; Suport</a:t>
            </a:r>
          </a:p>
        </p:txBody>
      </p:sp>
      <p:sp>
        <p:nvSpPr>
          <p:cNvPr id="25" name="TextBox 2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AC4D221F-DD47-2B41-8C27-5F32312A3661}"/>
              </a:ext>
            </a:extLst>
          </p:cNvPr>
          <p:cNvSpPr txBox="1"/>
          <p:nvPr/>
        </p:nvSpPr>
        <p:spPr>
          <a:xfrm>
            <a:off x="5467977" y="3614581"/>
            <a:ext cx="119545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1400">
                <a:ea typeface="Open Sans" panose="020B0606030504020204" pitchFamily="34" charset="0"/>
                <a:cs typeface="Open Sans" panose="020B0606030504020204" pitchFamily="34" charset="0"/>
              </a:rPr>
              <a:t>Lead Increase</a:t>
            </a:r>
          </a:p>
        </p:txBody>
      </p:sp>
      <p:sp>
        <p:nvSpPr>
          <p:cNvPr id="26" name="TextBox 2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6E0DAB4D-BBE0-944B-BC9A-05C747B1F167}"/>
              </a:ext>
            </a:extLst>
          </p:cNvPr>
          <p:cNvSpPr txBox="1"/>
          <p:nvPr/>
        </p:nvSpPr>
        <p:spPr>
          <a:xfrm>
            <a:off x="7346950" y="3614581"/>
            <a:ext cx="31386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1400">
                <a:ea typeface="Open Sans" panose="020B0606030504020204" pitchFamily="34" charset="0"/>
                <a:cs typeface="Open Sans" panose="020B0606030504020204" pitchFamily="34" charset="0"/>
              </a:rPr>
              <a:t>ROI</a:t>
            </a:r>
          </a:p>
        </p:txBody>
      </p:sp>
      <p:sp>
        <p:nvSpPr>
          <p:cNvPr id="27" name="TextBox 2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4A35477B-D011-FF4D-80B7-86B9052B2B1F}"/>
              </a:ext>
            </a:extLst>
          </p:cNvPr>
          <p:cNvSpPr txBox="1"/>
          <p:nvPr/>
        </p:nvSpPr>
        <p:spPr>
          <a:xfrm>
            <a:off x="5783603" y="3958371"/>
            <a:ext cx="5001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b="1">
                <a:ea typeface="Open Sans SemiBold" panose="020B0606030504020204" pitchFamily="34" charset="0"/>
                <a:cs typeface="Open Sans SemiBold" panose="020B0606030504020204" pitchFamily="34" charset="0"/>
              </a:rPr>
              <a:t>38%</a:t>
            </a:r>
          </a:p>
        </p:txBody>
      </p:sp>
      <p:sp>
        <p:nvSpPr>
          <p:cNvPr id="28" name="TextBox 2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B898CB6F-9F30-2941-98B2-326D6D791F7A}"/>
              </a:ext>
            </a:extLst>
          </p:cNvPr>
          <p:cNvSpPr txBox="1"/>
          <p:nvPr/>
        </p:nvSpPr>
        <p:spPr>
          <a:xfrm>
            <a:off x="7182482" y="3958371"/>
            <a:ext cx="64280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b="1">
                <a:ea typeface="Open Sans SemiBold" panose="020B0606030504020204" pitchFamily="34" charset="0"/>
                <a:cs typeface="Open Sans SemiBold" panose="020B0606030504020204" pitchFamily="34" charset="0"/>
              </a:rPr>
              <a:t>235%</a:t>
            </a:r>
          </a:p>
        </p:txBody>
      </p:sp>
      <p:sp>
        <p:nvSpPr>
          <p:cNvPr id="29" name="TextBox 2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2D6BF12-3332-0F40-80A1-35AE9B680781}"/>
              </a:ext>
            </a:extLst>
          </p:cNvPr>
          <p:cNvSpPr txBox="1"/>
          <p:nvPr/>
        </p:nvSpPr>
        <p:spPr>
          <a:xfrm>
            <a:off x="8761164" y="3614581"/>
            <a:ext cx="119545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1400">
                <a:ea typeface="Open Sans" panose="020B0606030504020204" pitchFamily="34" charset="0"/>
                <a:cs typeface="Open Sans" panose="020B0606030504020204" pitchFamily="34" charset="0"/>
              </a:rPr>
              <a:t>Lead Increase</a:t>
            </a:r>
          </a:p>
        </p:txBody>
      </p:sp>
      <p:sp>
        <p:nvSpPr>
          <p:cNvPr id="30" name="TextBox 2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4F81F228-C96A-9844-9D6F-1076428CD27E}"/>
              </a:ext>
            </a:extLst>
          </p:cNvPr>
          <p:cNvSpPr txBox="1"/>
          <p:nvPr/>
        </p:nvSpPr>
        <p:spPr>
          <a:xfrm>
            <a:off x="10640137" y="3614581"/>
            <a:ext cx="31386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1400">
                <a:ea typeface="Open Sans" panose="020B0606030504020204" pitchFamily="34" charset="0"/>
                <a:cs typeface="Open Sans" panose="020B0606030504020204" pitchFamily="34" charset="0"/>
              </a:rPr>
              <a:t>ROI</a:t>
            </a:r>
          </a:p>
        </p:txBody>
      </p:sp>
      <p:sp>
        <p:nvSpPr>
          <p:cNvPr id="31" name="TextBox 3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B3A8A333-B7A7-E44A-8BF1-599AF8CA6B6C}"/>
              </a:ext>
            </a:extLst>
          </p:cNvPr>
          <p:cNvSpPr txBox="1"/>
          <p:nvPr/>
        </p:nvSpPr>
        <p:spPr>
          <a:xfrm>
            <a:off x="9076790" y="3958371"/>
            <a:ext cx="5001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b="1">
                <a:ea typeface="Open Sans SemiBold" panose="020B0606030504020204" pitchFamily="34" charset="0"/>
                <a:cs typeface="Open Sans SemiBold" panose="020B0606030504020204" pitchFamily="34" charset="0"/>
              </a:rPr>
              <a:t>38%</a:t>
            </a:r>
          </a:p>
        </p:txBody>
      </p:sp>
      <p:sp>
        <p:nvSpPr>
          <p:cNvPr id="32" name="TextBox 3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4736421A-F793-C44C-899C-A562EF833C49}"/>
              </a:ext>
            </a:extLst>
          </p:cNvPr>
          <p:cNvSpPr txBox="1"/>
          <p:nvPr/>
        </p:nvSpPr>
        <p:spPr>
          <a:xfrm>
            <a:off x="10475669" y="3958371"/>
            <a:ext cx="64280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b="1">
                <a:ea typeface="Open Sans SemiBold" panose="020B0606030504020204" pitchFamily="34" charset="0"/>
                <a:cs typeface="Open Sans SemiBold" panose="020B0606030504020204" pitchFamily="34" charset="0"/>
              </a:rPr>
              <a:t>235%</a:t>
            </a:r>
          </a:p>
        </p:txBody>
      </p:sp>
      <p:sp>
        <p:nvSpPr>
          <p:cNvPr id="33" name="TextBox 3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2A43AE8F-13AA-0543-99E2-71B17E30F9FD}"/>
              </a:ext>
            </a:extLst>
          </p:cNvPr>
          <p:cNvSpPr txBox="1"/>
          <p:nvPr/>
        </p:nvSpPr>
        <p:spPr>
          <a:xfrm>
            <a:off x="5304116" y="638599"/>
            <a:ext cx="4438716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vi-VN" sz="44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Why </a:t>
            </a:r>
            <a:r>
              <a:rPr lang="vi-VN" sz="4400" b="1">
                <a:solidFill>
                  <a:schemeClr val="accent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Choose Us?</a:t>
            </a:r>
          </a:p>
        </p:txBody>
      </p:sp>
      <p:sp>
        <p:nvSpPr>
          <p:cNvPr id="34" name="TextBox 3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EB480E1-007C-2540-ABD5-3BD15272782E}"/>
              </a:ext>
            </a:extLst>
          </p:cNvPr>
          <p:cNvSpPr txBox="1"/>
          <p:nvPr/>
        </p:nvSpPr>
        <p:spPr>
          <a:xfrm>
            <a:off x="5298701" y="1406006"/>
            <a:ext cx="576395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2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eck your website’s SEO Score For Free</a:t>
            </a:r>
          </a:p>
        </p:txBody>
      </p:sp>
      <p:pic>
        <p:nvPicPr>
          <p:cNvPr id="2" name="图片占位符 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2" r="3142"/>
          <a:stretch>
            <a:fillRect/>
          </a:stretch>
        </p:blipFill>
        <p:spPr/>
      </p:pic>
      <p:sp>
        <p:nvSpPr>
          <p:cNvPr id="4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36307875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图片占位符 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73" b="30273"/>
          <a:stretch/>
        </p:blipFill>
        <p:spPr>
          <a:solidFill>
            <a:schemeClr val="bg1">
              <a:lumMod val="85000"/>
            </a:schemeClr>
          </a:solidFill>
        </p:spPr>
      </p:pic>
      <p:sp>
        <p:nvSpPr>
          <p:cNvPr id="37" name="Rectangle 3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98CECAA9-65E4-6E43-B6A3-11F609DD51E2}"/>
              </a:ext>
            </a:extLst>
          </p:cNvPr>
          <p:cNvSpPr/>
          <p:nvPr/>
        </p:nvSpPr>
        <p:spPr>
          <a:xfrm>
            <a:off x="0" y="30991"/>
            <a:ext cx="12192000" cy="4810539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cxnSp>
        <p:nvCxnSpPr>
          <p:cNvPr id="19" name="Straight Connector 1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3906E9DB-C400-8749-82DC-831EB34B90DE}"/>
              </a:ext>
            </a:extLst>
          </p:cNvPr>
          <p:cNvCxnSpPr/>
          <p:nvPr/>
        </p:nvCxnSpPr>
        <p:spPr>
          <a:xfrm>
            <a:off x="9845972" y="0"/>
            <a:ext cx="0" cy="4810539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FEB2A7CB-41F5-C84E-AE3F-82E9996FFEFA}"/>
              </a:ext>
            </a:extLst>
          </p:cNvPr>
          <p:cNvCxnSpPr/>
          <p:nvPr/>
        </p:nvCxnSpPr>
        <p:spPr>
          <a:xfrm>
            <a:off x="11018985" y="0"/>
            <a:ext cx="0" cy="4810539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3514950E-1002-B342-B2B0-9552070B80B7}"/>
              </a:ext>
            </a:extLst>
          </p:cNvPr>
          <p:cNvCxnSpPr/>
          <p:nvPr/>
        </p:nvCxnSpPr>
        <p:spPr>
          <a:xfrm>
            <a:off x="6326933" y="0"/>
            <a:ext cx="0" cy="4810539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FB1F1601-A362-B04B-8034-D0EC2BD52BA6}"/>
              </a:ext>
            </a:extLst>
          </p:cNvPr>
          <p:cNvSpPr txBox="1"/>
          <p:nvPr/>
        </p:nvSpPr>
        <p:spPr>
          <a:xfrm>
            <a:off x="6590481" y="431322"/>
            <a:ext cx="602730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4000" dirty="0">
                <a:solidFill>
                  <a:schemeClr val="bg1"/>
                </a:solidFill>
                <a:ea typeface="Open Sans SemiBold" panose="020B0706030804020204" pitchFamily="34" charset="0"/>
                <a:cs typeface="Open Sans SemiBold" panose="020B0706030804020204" pitchFamily="34" charset="0"/>
              </a:rPr>
              <a:t>01</a:t>
            </a:r>
          </a:p>
        </p:txBody>
      </p:sp>
      <p:sp>
        <p:nvSpPr>
          <p:cNvPr id="24" name="TextBox 2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9EEF7628-E688-9147-ABDD-688D5FAF9700}"/>
              </a:ext>
            </a:extLst>
          </p:cNvPr>
          <p:cNvSpPr txBox="1"/>
          <p:nvPr/>
        </p:nvSpPr>
        <p:spPr>
          <a:xfrm rot="16200000">
            <a:off x="5742910" y="3068077"/>
            <a:ext cx="229787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2000" b="1">
                <a:solidFill>
                  <a:schemeClr val="bg1"/>
                </a:solidFill>
                <a:ea typeface="Open Sans SemiBold" panose="020B0606030504020204" pitchFamily="34" charset="0"/>
                <a:cs typeface="Open Sans SemiBold" panose="020B0606030504020204" pitchFamily="34" charset="0"/>
              </a:rPr>
              <a:t>Email - Marketing</a:t>
            </a:r>
          </a:p>
        </p:txBody>
      </p:sp>
      <p:sp>
        <p:nvSpPr>
          <p:cNvPr id="27" name="TextBox 2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7F5B0F7C-F464-0F4D-940D-10D94D5250A4}"/>
              </a:ext>
            </a:extLst>
          </p:cNvPr>
          <p:cNvSpPr txBox="1"/>
          <p:nvPr/>
        </p:nvSpPr>
        <p:spPr>
          <a:xfrm>
            <a:off x="8936504" y="431322"/>
            <a:ext cx="602730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4000" dirty="0">
                <a:solidFill>
                  <a:schemeClr val="bg1"/>
                </a:solidFill>
                <a:ea typeface="Open Sans SemiBold" panose="020B0706030804020204" pitchFamily="34" charset="0"/>
                <a:cs typeface="Open Sans SemiBold" panose="020B0706030804020204" pitchFamily="34" charset="0"/>
              </a:rPr>
              <a:t>03</a:t>
            </a:r>
          </a:p>
        </p:txBody>
      </p:sp>
      <p:sp>
        <p:nvSpPr>
          <p:cNvPr id="28" name="TextBox 2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AD0BA350-109A-184A-85D4-58B4CA9199EA}"/>
              </a:ext>
            </a:extLst>
          </p:cNvPr>
          <p:cNvSpPr txBox="1"/>
          <p:nvPr/>
        </p:nvSpPr>
        <p:spPr>
          <a:xfrm rot="16200000">
            <a:off x="8018275" y="3001200"/>
            <a:ext cx="243919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2000" b="1">
                <a:solidFill>
                  <a:schemeClr val="bg1"/>
                </a:solidFill>
                <a:ea typeface="Open Sans SemiBold" panose="020B0606030504020204" pitchFamily="34" charset="0"/>
                <a:cs typeface="Open Sans SemiBold" panose="020B0606030504020204" pitchFamily="34" charset="0"/>
              </a:rPr>
              <a:t>Keyword Targeting</a:t>
            </a:r>
          </a:p>
        </p:txBody>
      </p:sp>
      <p:sp>
        <p:nvSpPr>
          <p:cNvPr id="29" name="TextBox 2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A6F1EE85-2739-C140-835F-7B9F390D481C}"/>
              </a:ext>
            </a:extLst>
          </p:cNvPr>
          <p:cNvSpPr txBox="1"/>
          <p:nvPr/>
        </p:nvSpPr>
        <p:spPr>
          <a:xfrm>
            <a:off x="10152708" y="431322"/>
            <a:ext cx="602730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4000" dirty="0">
                <a:solidFill>
                  <a:schemeClr val="bg1"/>
                </a:solidFill>
                <a:ea typeface="Open Sans SemiBold" panose="020B0706030804020204" pitchFamily="34" charset="0"/>
                <a:cs typeface="Open Sans SemiBold" panose="020B0706030804020204" pitchFamily="34" charset="0"/>
              </a:rPr>
              <a:t>04</a:t>
            </a:r>
          </a:p>
        </p:txBody>
      </p:sp>
      <p:sp>
        <p:nvSpPr>
          <p:cNvPr id="30" name="TextBox 2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FD592254-42EB-9B43-A4D6-C588F9E0B1AA}"/>
              </a:ext>
            </a:extLst>
          </p:cNvPr>
          <p:cNvSpPr txBox="1"/>
          <p:nvPr/>
        </p:nvSpPr>
        <p:spPr>
          <a:xfrm rot="16200000">
            <a:off x="9126337" y="2889182"/>
            <a:ext cx="265547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2000" b="1">
                <a:solidFill>
                  <a:schemeClr val="bg1"/>
                </a:solidFill>
                <a:ea typeface="Open Sans SemiBold" panose="020B0606030504020204" pitchFamily="34" charset="0"/>
                <a:cs typeface="Open Sans SemiBold" panose="020B0606030504020204" pitchFamily="34" charset="0"/>
              </a:rPr>
              <a:t>Responsive &amp; Retina</a:t>
            </a:r>
          </a:p>
        </p:txBody>
      </p:sp>
      <p:sp>
        <p:nvSpPr>
          <p:cNvPr id="31" name="TextBox 3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212C5C26-4F28-1341-9141-8197A3B6F27E}"/>
              </a:ext>
            </a:extLst>
          </p:cNvPr>
          <p:cNvSpPr txBox="1"/>
          <p:nvPr/>
        </p:nvSpPr>
        <p:spPr>
          <a:xfrm>
            <a:off x="11282534" y="431322"/>
            <a:ext cx="602730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4000" dirty="0">
                <a:solidFill>
                  <a:schemeClr val="bg1"/>
                </a:solidFill>
                <a:ea typeface="Open Sans SemiBold" panose="020B0706030804020204" pitchFamily="34" charset="0"/>
                <a:cs typeface="Open Sans SemiBold" panose="020B0706030804020204" pitchFamily="34" charset="0"/>
              </a:rPr>
              <a:t>05</a:t>
            </a:r>
          </a:p>
        </p:txBody>
      </p:sp>
      <p:sp>
        <p:nvSpPr>
          <p:cNvPr id="32" name="TextBox 3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85748441-B677-C046-979C-4B416D863684}"/>
              </a:ext>
            </a:extLst>
          </p:cNvPr>
          <p:cNvSpPr txBox="1"/>
          <p:nvPr/>
        </p:nvSpPr>
        <p:spPr>
          <a:xfrm rot="16200000">
            <a:off x="10434963" y="3068077"/>
            <a:ext cx="229787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2000" b="1">
                <a:solidFill>
                  <a:schemeClr val="bg1"/>
                </a:solidFill>
                <a:ea typeface="Open Sans SemiBold" panose="020B0606030504020204" pitchFamily="34" charset="0"/>
                <a:cs typeface="Open Sans SemiBold" panose="020B0606030504020204" pitchFamily="34" charset="0"/>
              </a:rPr>
              <a:t>Email - Marketing</a:t>
            </a:r>
          </a:p>
        </p:txBody>
      </p:sp>
      <p:cxnSp>
        <p:nvCxnSpPr>
          <p:cNvPr id="38" name="Straight Connector 3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5C50665-9F0D-014B-9CA9-C68AA3930574}"/>
              </a:ext>
            </a:extLst>
          </p:cNvPr>
          <p:cNvCxnSpPr/>
          <p:nvPr/>
        </p:nvCxnSpPr>
        <p:spPr>
          <a:xfrm>
            <a:off x="12192000" y="0"/>
            <a:ext cx="0" cy="4810539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DF11166-9258-D442-9F25-4C525B0A68C1}"/>
              </a:ext>
            </a:extLst>
          </p:cNvPr>
          <p:cNvSpPr txBox="1"/>
          <p:nvPr/>
        </p:nvSpPr>
        <p:spPr>
          <a:xfrm>
            <a:off x="763185" y="3152001"/>
            <a:ext cx="234243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b="1" spc="600">
                <a:solidFill>
                  <a:schemeClr val="bg1"/>
                </a:solidFill>
                <a:ea typeface="Open Sans SemiBold" panose="020B0606030504020204" pitchFamily="34" charset="0"/>
                <a:cs typeface="Open Sans SemiBold" panose="020B0606030504020204" pitchFamily="34" charset="0"/>
              </a:rPr>
              <a:t>Less is more</a:t>
            </a:r>
          </a:p>
        </p:txBody>
      </p:sp>
      <p:sp>
        <p:nvSpPr>
          <p:cNvPr id="40" name="TextBox 3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E001FFB-7E33-2B48-8A55-609E058EC784}"/>
              </a:ext>
            </a:extLst>
          </p:cNvPr>
          <p:cNvSpPr txBox="1"/>
          <p:nvPr/>
        </p:nvSpPr>
        <p:spPr>
          <a:xfrm>
            <a:off x="724275" y="3537780"/>
            <a:ext cx="323582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vi-VN" sz="2800" b="1">
                <a:solidFill>
                  <a:schemeClr val="bg1"/>
                </a:solidFill>
                <a:ea typeface="Open Sans SemiBold" panose="020B0606030504020204" pitchFamily="34" charset="0"/>
                <a:cs typeface="Open Sans SemiBold" panose="020B0606030504020204" pitchFamily="34" charset="0"/>
              </a:rPr>
              <a:t>WHAT WE HAVE ?</a:t>
            </a:r>
          </a:p>
        </p:txBody>
      </p:sp>
      <p:sp>
        <p:nvSpPr>
          <p:cNvPr id="41" name="TextBox 4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A35B0DA3-B107-7F47-97B8-67741CB994B0}"/>
              </a:ext>
            </a:extLst>
          </p:cNvPr>
          <p:cNvSpPr txBox="1"/>
          <p:nvPr/>
        </p:nvSpPr>
        <p:spPr>
          <a:xfrm>
            <a:off x="4994739" y="5106337"/>
            <a:ext cx="220252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3600" b="1">
                <a:ea typeface="Open Sans SemiBold" panose="020B0606030504020204" pitchFamily="34" charset="0"/>
                <a:cs typeface="Open Sans SemiBold" panose="020B0606030504020204" pitchFamily="34" charset="0"/>
              </a:rPr>
              <a:t>SERVICES</a:t>
            </a:r>
          </a:p>
        </p:txBody>
      </p:sp>
      <p:sp>
        <p:nvSpPr>
          <p:cNvPr id="42" name="TextBox 4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50BB244-3984-1748-ABA2-B1856937BA80}"/>
              </a:ext>
            </a:extLst>
          </p:cNvPr>
          <p:cNvSpPr txBox="1"/>
          <p:nvPr/>
        </p:nvSpPr>
        <p:spPr>
          <a:xfrm flipH="1">
            <a:off x="2778524" y="5722317"/>
            <a:ext cx="6634952" cy="671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5000"/>
              </a:lnSpc>
            </a:pP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Hey, hey, hey! It's Fat Company! Now I'm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gonna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sing a song for you, and this is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gonna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show you a thing or two. You'll have some fun now With me and the gang, learning from each other While we do our thing.</a:t>
            </a:r>
          </a:p>
        </p:txBody>
      </p:sp>
      <p:sp>
        <p:nvSpPr>
          <p:cNvPr id="43" name="Rectangle 4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BDFC5B33-2016-D841-A330-7519918CC35B}"/>
              </a:ext>
            </a:extLst>
          </p:cNvPr>
          <p:cNvSpPr/>
          <p:nvPr/>
        </p:nvSpPr>
        <p:spPr>
          <a:xfrm>
            <a:off x="7448187" y="0"/>
            <a:ext cx="1298997" cy="493430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>
            <a:outerShdw blurRad="609600" dist="127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25" name="TextBox 2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37998FDA-35B3-3845-8C12-BD07079520B7}"/>
              </a:ext>
            </a:extLst>
          </p:cNvPr>
          <p:cNvSpPr txBox="1"/>
          <p:nvPr/>
        </p:nvSpPr>
        <p:spPr>
          <a:xfrm>
            <a:off x="7806680" y="431323"/>
            <a:ext cx="602730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4000" dirty="0">
                <a:solidFill>
                  <a:schemeClr val="bg1"/>
                </a:solidFill>
                <a:ea typeface="Open Sans SemiBold" panose="020B0706030804020204" pitchFamily="34" charset="0"/>
                <a:cs typeface="Open Sans SemiBold" panose="020B0706030804020204" pitchFamily="34" charset="0"/>
              </a:rPr>
              <a:t>02</a:t>
            </a:r>
          </a:p>
        </p:txBody>
      </p:sp>
      <p:sp>
        <p:nvSpPr>
          <p:cNvPr id="26" name="TextBox 2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69080212-ED57-CC4E-8C2A-FC4290B35E1A}"/>
              </a:ext>
            </a:extLst>
          </p:cNvPr>
          <p:cNvSpPr txBox="1"/>
          <p:nvPr/>
        </p:nvSpPr>
        <p:spPr>
          <a:xfrm rot="16200000">
            <a:off x="7358483" y="3430324"/>
            <a:ext cx="14991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2000" b="1">
                <a:solidFill>
                  <a:schemeClr val="bg1"/>
                </a:solidFill>
                <a:ea typeface="Open Sans SemiBold" panose="020B0606030504020204" pitchFamily="34" charset="0"/>
                <a:cs typeface="Open Sans SemiBold" panose="020B0606030504020204" pitchFamily="34" charset="0"/>
              </a:rPr>
              <a:t>Easy To Use</a:t>
            </a: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16552486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AEEFEF2E-4D78-4A8E-9CC2-ED4C515946C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TextBox 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1A939C4B-792E-4A01-83F1-0C5FCCF04D70}"/>
              </a:ext>
            </a:extLst>
          </p:cNvPr>
          <p:cNvSpPr txBox="1"/>
          <p:nvPr/>
        </p:nvSpPr>
        <p:spPr>
          <a:xfrm>
            <a:off x="1391478" y="2497976"/>
            <a:ext cx="4477509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1500" b="1" spc="300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Rajdhani Bold" panose="02000000000000000000" pitchFamily="2" charset="0"/>
              </a:rPr>
              <a:t>PART </a:t>
            </a:r>
            <a:endParaRPr lang="en-US" sz="11500" b="1" spc="300" dirty="0">
              <a:ln w="50800">
                <a:solidFill>
                  <a:schemeClr val="bg1"/>
                </a:solidFill>
              </a:ln>
              <a:gradFill>
                <a:gsLst>
                  <a:gs pos="0">
                    <a:schemeClr val="accent1">
                      <a:alpha val="64000"/>
                    </a:schemeClr>
                  </a:gs>
                  <a:gs pos="100000">
                    <a:schemeClr val="accent2"/>
                  </a:gs>
                </a:gsLst>
                <a:lin ang="8100000" scaled="1"/>
              </a:gradFill>
              <a:latin typeface="+mj-lt"/>
              <a:ea typeface="Open Sans" panose="020B0606030504020204" pitchFamily="34" charset="0"/>
              <a:cs typeface="Rajdhani Bold" panose="02000000000000000000" pitchFamily="2" charset="0"/>
            </a:endParaRPr>
          </a:p>
        </p:txBody>
      </p:sp>
      <p:sp>
        <p:nvSpPr>
          <p:cNvPr id="8" name="文本框 7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C8C4918D-24D5-491E-BED3-675359299AC4}"/>
              </a:ext>
            </a:extLst>
          </p:cNvPr>
          <p:cNvSpPr txBox="1"/>
          <p:nvPr/>
        </p:nvSpPr>
        <p:spPr>
          <a:xfrm>
            <a:off x="1550504" y="4022802"/>
            <a:ext cx="96628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id-ID" altLang="zh-CN" sz="1600" b="1" dirty="0">
                <a:solidFill>
                  <a:schemeClr val="bg1"/>
                </a:solidFill>
                <a:latin typeface="+mj-lt"/>
                <a:cs typeface="Poppins" panose="00000500000000000000" pitchFamily="50" charset="0"/>
              </a:rPr>
              <a:t>Technology Presentation Template</a:t>
            </a:r>
          </a:p>
          <a:p>
            <a:pPr algn="dist"/>
            <a:endParaRPr lang="zh-CN" altLang="en-US" sz="1600" b="1" dirty="0">
              <a:latin typeface="+mj-lt"/>
            </a:endParaRPr>
          </a:p>
        </p:txBody>
      </p:sp>
      <p:sp>
        <p:nvSpPr>
          <p:cNvPr id="9" name="Freeform 6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FF77BAC-9529-4D2F-985F-7E3D289366DC}"/>
              </a:ext>
            </a:extLst>
          </p:cNvPr>
          <p:cNvSpPr>
            <a:spLocks noEditPoints="1"/>
          </p:cNvSpPr>
          <p:nvPr/>
        </p:nvSpPr>
        <p:spPr bwMode="auto">
          <a:xfrm>
            <a:off x="4921287" y="6468579"/>
            <a:ext cx="137450" cy="135137"/>
          </a:xfrm>
          <a:custGeom>
            <a:avLst/>
            <a:gdLst>
              <a:gd name="T0" fmla="*/ 92739 w 55"/>
              <a:gd name="T1" fmla="*/ 185737 h 54"/>
              <a:gd name="T2" fmla="*/ 0 w 55"/>
              <a:gd name="T3" fmla="*/ 92869 h 54"/>
              <a:gd name="T4" fmla="*/ 92739 w 55"/>
              <a:gd name="T5" fmla="*/ 0 h 54"/>
              <a:gd name="T6" fmla="*/ 188913 w 55"/>
              <a:gd name="T7" fmla="*/ 92869 h 54"/>
              <a:gd name="T8" fmla="*/ 92739 w 55"/>
              <a:gd name="T9" fmla="*/ 185737 h 54"/>
              <a:gd name="T10" fmla="*/ 13739 w 55"/>
              <a:gd name="T11" fmla="*/ 92869 h 54"/>
              <a:gd name="T12" fmla="*/ 92739 w 55"/>
              <a:gd name="T13" fmla="*/ 171979 h 54"/>
              <a:gd name="T14" fmla="*/ 171739 w 55"/>
              <a:gd name="T15" fmla="*/ 92869 h 54"/>
              <a:gd name="T16" fmla="*/ 92739 w 55"/>
              <a:gd name="T17" fmla="*/ 13758 h 54"/>
              <a:gd name="T18" fmla="*/ 13739 w 55"/>
              <a:gd name="T19" fmla="*/ 92869 h 54"/>
              <a:gd name="T20" fmla="*/ 140826 w 55"/>
              <a:gd name="T21" fmla="*/ 127264 h 54"/>
              <a:gd name="T22" fmla="*/ 96174 w 55"/>
              <a:gd name="T23" fmla="*/ 151341 h 54"/>
              <a:gd name="T24" fmla="*/ 37783 w 55"/>
              <a:gd name="T25" fmla="*/ 92869 h 54"/>
              <a:gd name="T26" fmla="*/ 96174 w 55"/>
              <a:gd name="T27" fmla="*/ 34396 h 54"/>
              <a:gd name="T28" fmla="*/ 137391 w 55"/>
              <a:gd name="T29" fmla="*/ 58473 h 54"/>
              <a:gd name="T30" fmla="*/ 137391 w 55"/>
              <a:gd name="T31" fmla="*/ 72231 h 54"/>
              <a:gd name="T32" fmla="*/ 137391 w 55"/>
              <a:gd name="T33" fmla="*/ 72231 h 54"/>
              <a:gd name="T34" fmla="*/ 123652 w 55"/>
              <a:gd name="T35" fmla="*/ 72231 h 54"/>
              <a:gd name="T36" fmla="*/ 120217 w 55"/>
              <a:gd name="T37" fmla="*/ 72231 h 54"/>
              <a:gd name="T38" fmla="*/ 120217 w 55"/>
              <a:gd name="T39" fmla="*/ 61912 h 54"/>
              <a:gd name="T40" fmla="*/ 96174 w 55"/>
              <a:gd name="T41" fmla="*/ 51594 h 54"/>
              <a:gd name="T42" fmla="*/ 54957 w 55"/>
              <a:gd name="T43" fmla="*/ 92869 h 54"/>
              <a:gd name="T44" fmla="*/ 96174 w 55"/>
              <a:gd name="T45" fmla="*/ 134143 h 54"/>
              <a:gd name="T46" fmla="*/ 120217 w 55"/>
              <a:gd name="T47" fmla="*/ 123825 h 54"/>
              <a:gd name="T48" fmla="*/ 120217 w 55"/>
              <a:gd name="T49" fmla="*/ 113506 h 54"/>
              <a:gd name="T50" fmla="*/ 123652 w 55"/>
              <a:gd name="T51" fmla="*/ 113506 h 54"/>
              <a:gd name="T52" fmla="*/ 137391 w 55"/>
              <a:gd name="T53" fmla="*/ 113506 h 54"/>
              <a:gd name="T54" fmla="*/ 140826 w 55"/>
              <a:gd name="T55" fmla="*/ 113506 h 54"/>
              <a:gd name="T56" fmla="*/ 140826 w 55"/>
              <a:gd name="T57" fmla="*/ 127264 h 5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55" h="54">
                <a:moveTo>
                  <a:pt x="27" y="54"/>
                </a:moveTo>
                <a:cubicBezTo>
                  <a:pt x="12" y="54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4"/>
                  <a:pt x="27" y="54"/>
                </a:cubicBezTo>
                <a:close/>
                <a:moveTo>
                  <a:pt x="4" y="27"/>
                </a:moveTo>
                <a:cubicBezTo>
                  <a:pt x="4" y="40"/>
                  <a:pt x="15" y="50"/>
                  <a:pt x="27" y="50"/>
                </a:cubicBezTo>
                <a:cubicBezTo>
                  <a:pt x="40" y="50"/>
                  <a:pt x="50" y="40"/>
                  <a:pt x="50" y="27"/>
                </a:cubicBezTo>
                <a:cubicBezTo>
                  <a:pt x="50" y="14"/>
                  <a:pt x="40" y="4"/>
                  <a:pt x="27" y="4"/>
                </a:cubicBezTo>
                <a:cubicBezTo>
                  <a:pt x="15" y="4"/>
                  <a:pt x="4" y="14"/>
                  <a:pt x="4" y="27"/>
                </a:cubicBezTo>
                <a:close/>
                <a:moveTo>
                  <a:pt x="41" y="37"/>
                </a:moveTo>
                <a:cubicBezTo>
                  <a:pt x="41" y="42"/>
                  <a:pt x="33" y="44"/>
                  <a:pt x="28" y="44"/>
                </a:cubicBezTo>
                <a:cubicBezTo>
                  <a:pt x="18" y="44"/>
                  <a:pt x="11" y="37"/>
                  <a:pt x="11" y="27"/>
                </a:cubicBezTo>
                <a:cubicBezTo>
                  <a:pt x="11" y="17"/>
                  <a:pt x="18" y="10"/>
                  <a:pt x="28" y="10"/>
                </a:cubicBezTo>
                <a:cubicBezTo>
                  <a:pt x="31" y="10"/>
                  <a:pt x="40" y="11"/>
                  <a:pt x="40" y="17"/>
                </a:cubicBezTo>
                <a:cubicBezTo>
                  <a:pt x="40" y="21"/>
                  <a:pt x="40" y="21"/>
                  <a:pt x="40" y="21"/>
                </a:cubicBezTo>
                <a:cubicBezTo>
                  <a:pt x="40" y="21"/>
                  <a:pt x="40" y="21"/>
                  <a:pt x="40" y="21"/>
                </a:cubicBezTo>
                <a:cubicBezTo>
                  <a:pt x="36" y="21"/>
                  <a:pt x="36" y="21"/>
                  <a:pt x="36" y="21"/>
                </a:cubicBezTo>
                <a:cubicBezTo>
                  <a:pt x="35" y="21"/>
                  <a:pt x="35" y="21"/>
                  <a:pt x="35" y="21"/>
                </a:cubicBezTo>
                <a:cubicBezTo>
                  <a:pt x="35" y="18"/>
                  <a:pt x="35" y="18"/>
                  <a:pt x="35" y="18"/>
                </a:cubicBezTo>
                <a:cubicBezTo>
                  <a:pt x="35" y="16"/>
                  <a:pt x="31" y="15"/>
                  <a:pt x="28" y="15"/>
                </a:cubicBezTo>
                <a:cubicBezTo>
                  <a:pt x="21" y="15"/>
                  <a:pt x="16" y="20"/>
                  <a:pt x="16" y="27"/>
                </a:cubicBezTo>
                <a:cubicBezTo>
                  <a:pt x="16" y="34"/>
                  <a:pt x="21" y="39"/>
                  <a:pt x="28" y="39"/>
                </a:cubicBezTo>
                <a:cubicBezTo>
                  <a:pt x="31" y="39"/>
                  <a:pt x="35" y="38"/>
                  <a:pt x="35" y="36"/>
                </a:cubicBezTo>
                <a:cubicBezTo>
                  <a:pt x="35" y="33"/>
                  <a:pt x="35" y="33"/>
                  <a:pt x="35" y="33"/>
                </a:cubicBezTo>
                <a:cubicBezTo>
                  <a:pt x="35" y="33"/>
                  <a:pt x="36" y="33"/>
                  <a:pt x="36" y="33"/>
                </a:cubicBezTo>
                <a:cubicBezTo>
                  <a:pt x="40" y="33"/>
                  <a:pt x="40" y="33"/>
                  <a:pt x="40" y="33"/>
                </a:cubicBezTo>
                <a:cubicBezTo>
                  <a:pt x="41" y="33"/>
                  <a:pt x="41" y="33"/>
                  <a:pt x="41" y="33"/>
                </a:cubicBezTo>
                <a:lnTo>
                  <a:pt x="41" y="3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>
            <a:ext uri="{91240B29-F687-4f45-9708-019B960494DF}">
              <a14:hiddenLine xmlns="" xmlns:a16="http://schemas.microsoft.com/office/drawing/2014/main" xmlns:p14="http://schemas.microsoft.com/office/powerpoint/2010/main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l"/>
            <a:endParaRPr lang="en-US" sz="1000" dirty="0">
              <a:solidFill>
                <a:schemeClr val="bg1">
                  <a:lumMod val="7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</a:endParaRPr>
          </a:p>
        </p:txBody>
      </p:sp>
      <p:sp>
        <p:nvSpPr>
          <p:cNvPr id="10" name="TextBox 4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7CD9F8F0-A850-47EA-9437-EDF50E46ABDD}"/>
              </a:ext>
            </a:extLst>
          </p:cNvPr>
          <p:cNvSpPr txBox="1"/>
          <p:nvPr/>
        </p:nvSpPr>
        <p:spPr>
          <a:xfrm>
            <a:off x="5096275" y="6409189"/>
            <a:ext cx="22028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spc="300" dirty="0" err="1">
                <a:solidFill>
                  <a:schemeClr val="bg1">
                    <a:lumMod val="75000"/>
                  </a:schemeClr>
                </a:solidFill>
                <a:latin typeface="Nexa Light" panose="02000000000000000000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Company.ALL</a:t>
            </a:r>
            <a:r>
              <a:rPr lang="en-US" sz="1000" spc="300" dirty="0">
                <a:solidFill>
                  <a:schemeClr val="bg1">
                    <a:lumMod val="75000"/>
                  </a:schemeClr>
                </a:solidFill>
                <a:latin typeface="Nexa Light" panose="02000000000000000000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 RIGHTS</a:t>
            </a:r>
            <a:endParaRPr lang="id-ID" sz="1000" spc="300" dirty="0">
              <a:solidFill>
                <a:schemeClr val="bg1">
                  <a:lumMod val="75000"/>
                </a:schemeClr>
              </a:solidFill>
              <a:latin typeface="Nexa Light" panose="02000000000000000000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11" name="TextBox 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E19DB4A2-0FF4-4791-B1DA-7EAF7680A804}"/>
              </a:ext>
            </a:extLst>
          </p:cNvPr>
          <p:cNvSpPr txBox="1"/>
          <p:nvPr/>
        </p:nvSpPr>
        <p:spPr>
          <a:xfrm>
            <a:off x="6551071" y="2517677"/>
            <a:ext cx="4799712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1500" b="1" spc="300" dirty="0">
                <a:ln w="50800">
                  <a:solidFill>
                    <a:schemeClr val="bg1"/>
                  </a:solidFill>
                </a:ln>
                <a:gradFill>
                  <a:gsLst>
                    <a:gs pos="0">
                      <a:schemeClr val="accent1">
                        <a:alpha val="64000"/>
                      </a:schemeClr>
                    </a:gs>
                    <a:gs pos="100000">
                      <a:schemeClr val="accent2"/>
                    </a:gs>
                  </a:gsLst>
                  <a:lin ang="8100000" scaled="1"/>
                </a:gradFill>
                <a:latin typeface="+mj-lt"/>
                <a:ea typeface="Open Sans" panose="020B0606030504020204" pitchFamily="34" charset="0"/>
                <a:cs typeface="Rajdhani Bold" panose="02000000000000000000" pitchFamily="2" charset="0"/>
              </a:rPr>
              <a:t>THREE</a:t>
            </a:r>
            <a:endParaRPr lang="en-US" sz="11500" b="1" spc="300" dirty="0">
              <a:ln w="50800">
                <a:solidFill>
                  <a:schemeClr val="bg1"/>
                </a:solidFill>
              </a:ln>
              <a:gradFill>
                <a:gsLst>
                  <a:gs pos="0">
                    <a:schemeClr val="accent1">
                      <a:alpha val="64000"/>
                    </a:schemeClr>
                  </a:gs>
                  <a:gs pos="100000">
                    <a:schemeClr val="accent2"/>
                  </a:gs>
                </a:gsLst>
                <a:lin ang="8100000" scaled="1"/>
              </a:gradFill>
              <a:latin typeface="+mj-lt"/>
              <a:ea typeface="Open Sans" panose="020B0606030504020204" pitchFamily="34" charset="0"/>
              <a:cs typeface="Rajdhani Bold" panose="02000000000000000000" pitchFamily="2" charset="0"/>
            </a:endParaRP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84BEA2B79408FB094EB53969616FE837C4DDA931FB4B50B287CB9E976CD8A286A6B09202195C1175A3DD2481D60CC400D4B189D647C2854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40249858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54496" y="-863178"/>
            <a:ext cx="3800864" cy="3718568"/>
          </a:xfrm>
          <a:prstGeom prst="rect">
            <a:avLst/>
          </a:prstGeom>
        </p:spPr>
      </p:pic>
      <p:pic>
        <p:nvPicPr>
          <p:cNvPr id="60" name="图片 5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9833" y="5408615"/>
            <a:ext cx="2131585" cy="2085432"/>
          </a:xfrm>
          <a:prstGeom prst="rect">
            <a:avLst/>
          </a:prstGeom>
        </p:spPr>
      </p:pic>
      <p:sp>
        <p:nvSpPr>
          <p:cNvPr id="7" name="矩形 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1649739" y="-1142747"/>
            <a:ext cx="8946086" cy="8946086"/>
          </a:xfrm>
          <a:prstGeom prst="rect">
            <a:avLst/>
          </a:prstGeom>
          <a:blipFill dpi="0" rotWithShape="1">
            <a:blip r:embed="rId5">
              <a:alphaModFix amt="1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Slide Number Placeholder 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F30FC14C-133B-49F7-861E-FB936A1D20D6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  <a:solidFill>
            <a:schemeClr val="accent1"/>
          </a:solidFill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070EDD3-BB7C-45FF-B951-8D07C9BC3D5C}" type="slidenum">
              <a:rPr lang="en-US" sz="1050" smtClean="0"/>
              <a:pPr algn="ctr"/>
              <a:t>19</a:t>
            </a:fld>
            <a:endParaRPr lang="en-US" sz="1050" dirty="0"/>
          </a:p>
        </p:txBody>
      </p:sp>
      <p:sp>
        <p:nvSpPr>
          <p:cNvPr id="42" name="Rounded Rectangle 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B4F19E8F-E80F-44CD-88BF-269210BA3BE4}"/>
              </a:ext>
            </a:extLst>
          </p:cNvPr>
          <p:cNvSpPr/>
          <p:nvPr/>
        </p:nvSpPr>
        <p:spPr>
          <a:xfrm>
            <a:off x="1300954" y="2273342"/>
            <a:ext cx="1726905" cy="27432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ea typeface="Roboto" panose="02000000000000000000" pitchFamily="2" charset="0"/>
                <a:cs typeface="Lato" panose="020F0502020204030203" pitchFamily="34" charset="0"/>
              </a:rPr>
              <a:t>DESIGNER</a:t>
            </a:r>
          </a:p>
        </p:txBody>
      </p:sp>
      <p:sp>
        <p:nvSpPr>
          <p:cNvPr id="43" name="Rectangle 4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29F449ED-9725-4E10-B120-8A3A7042C254}"/>
              </a:ext>
            </a:extLst>
          </p:cNvPr>
          <p:cNvSpPr/>
          <p:nvPr/>
        </p:nvSpPr>
        <p:spPr>
          <a:xfrm>
            <a:off x="1235492" y="4477198"/>
            <a:ext cx="1792368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ea typeface="Roboto" panose="02000000000000000000" pitchFamily="2" charset="0"/>
                <a:cs typeface="Lato" panose="020F0502020204030203" pitchFamily="34" charset="0"/>
              </a:rPr>
              <a:t>Kyler England</a:t>
            </a:r>
          </a:p>
          <a:p>
            <a:endParaRPr lang="en-US" sz="1050" dirty="0">
              <a:ea typeface="Roboto" panose="02000000000000000000" pitchFamily="2" charset="0"/>
              <a:cs typeface="Lato" panose="020F0502020204030203" pitchFamily="34" charset="0"/>
            </a:endParaRPr>
          </a:p>
          <a:p>
            <a:r>
              <a:rPr lang="en-US" sz="1050" dirty="0">
                <a:ea typeface="Roboto" panose="02000000000000000000" pitchFamily="2" charset="0"/>
                <a:cs typeface="Lato" panose="020F0502020204030203" pitchFamily="34" charset="0"/>
              </a:rPr>
              <a:t>Conveniently iterate top-line alignments for wireless metrics. </a:t>
            </a:r>
          </a:p>
        </p:txBody>
      </p:sp>
      <p:sp>
        <p:nvSpPr>
          <p:cNvPr id="44" name="Rounded Rectangle 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1F94CE3F-03F8-4400-893F-3532E57AC58C}"/>
              </a:ext>
            </a:extLst>
          </p:cNvPr>
          <p:cNvSpPr/>
          <p:nvPr/>
        </p:nvSpPr>
        <p:spPr>
          <a:xfrm>
            <a:off x="3384936" y="3330301"/>
            <a:ext cx="1726905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>
                <a:solidFill>
                  <a:schemeClr val="tx1"/>
                </a:solidFill>
                <a:ea typeface="Roboto" panose="02000000000000000000" pitchFamily="2" charset="0"/>
                <a:cs typeface="Lato" panose="020F0502020204030203" pitchFamily="34" charset="0"/>
              </a:rPr>
              <a:t>MARKETING</a:t>
            </a:r>
          </a:p>
        </p:txBody>
      </p:sp>
      <p:sp>
        <p:nvSpPr>
          <p:cNvPr id="45" name="Rectangle 4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7D73EF0F-021E-4ACE-9B0A-FFBB52DACE4F}"/>
              </a:ext>
            </a:extLst>
          </p:cNvPr>
          <p:cNvSpPr/>
          <p:nvPr/>
        </p:nvSpPr>
        <p:spPr>
          <a:xfrm>
            <a:off x="3319474" y="5551090"/>
            <a:ext cx="1792368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>
                <a:ea typeface="Roboto" panose="02000000000000000000" pitchFamily="2" charset="0"/>
                <a:cs typeface="Lato" panose="020F0502020204030203" pitchFamily="34" charset="0"/>
              </a:rPr>
              <a:t>Tiff Lacey</a:t>
            </a:r>
          </a:p>
          <a:p>
            <a:endParaRPr lang="en-US" sz="1050">
              <a:ea typeface="Roboto" panose="02000000000000000000" pitchFamily="2" charset="0"/>
              <a:cs typeface="Lato" panose="020F0502020204030203" pitchFamily="34" charset="0"/>
            </a:endParaRPr>
          </a:p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Conveniently iterate top-line alignments for wireless metrics. </a:t>
            </a:r>
          </a:p>
        </p:txBody>
      </p:sp>
      <p:sp>
        <p:nvSpPr>
          <p:cNvPr id="46" name="Rounded Rectangle 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A0D52229-D781-4E85-9100-1CFD60F81132}"/>
              </a:ext>
            </a:extLst>
          </p:cNvPr>
          <p:cNvSpPr/>
          <p:nvPr/>
        </p:nvSpPr>
        <p:spPr>
          <a:xfrm>
            <a:off x="5471783" y="2273342"/>
            <a:ext cx="1726905" cy="27432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>
                <a:solidFill>
                  <a:schemeClr val="tx1"/>
                </a:solidFill>
                <a:ea typeface="Roboto" panose="02000000000000000000" pitchFamily="2" charset="0"/>
                <a:cs typeface="Lato" panose="020F0502020204030203" pitchFamily="34" charset="0"/>
              </a:rPr>
              <a:t>DEVELOPER</a:t>
            </a:r>
          </a:p>
        </p:txBody>
      </p:sp>
      <p:sp>
        <p:nvSpPr>
          <p:cNvPr id="48" name="Rectangle 4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B8AF9888-9CA5-4B77-B3FE-448C1A6B5FE3}"/>
              </a:ext>
            </a:extLst>
          </p:cNvPr>
          <p:cNvSpPr/>
          <p:nvPr/>
        </p:nvSpPr>
        <p:spPr>
          <a:xfrm>
            <a:off x="5406321" y="4477198"/>
            <a:ext cx="1792368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>
                <a:ea typeface="Roboto" panose="02000000000000000000" pitchFamily="2" charset="0"/>
                <a:cs typeface="Lato" panose="020F0502020204030203" pitchFamily="34" charset="0"/>
              </a:rPr>
              <a:t>John Martin</a:t>
            </a:r>
          </a:p>
          <a:p>
            <a:endParaRPr lang="en-US" sz="1050">
              <a:ea typeface="Roboto" panose="02000000000000000000" pitchFamily="2" charset="0"/>
              <a:cs typeface="Lato" panose="020F0502020204030203" pitchFamily="34" charset="0"/>
            </a:endParaRPr>
          </a:p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Conveniently iterate top-line alignments for wireless metrics. </a:t>
            </a:r>
          </a:p>
        </p:txBody>
      </p:sp>
      <p:sp>
        <p:nvSpPr>
          <p:cNvPr id="49" name="Rounded Rectangle 1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BBA2CA22-8749-4F80-A349-9DB449816653}"/>
              </a:ext>
            </a:extLst>
          </p:cNvPr>
          <p:cNvSpPr/>
          <p:nvPr/>
        </p:nvSpPr>
        <p:spPr>
          <a:xfrm>
            <a:off x="7603696" y="3330296"/>
            <a:ext cx="1726905" cy="27432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>
                <a:solidFill>
                  <a:schemeClr val="tx1"/>
                </a:solidFill>
                <a:ea typeface="Roboto" panose="02000000000000000000" pitchFamily="2" charset="0"/>
                <a:cs typeface="Lato" panose="020F0502020204030203" pitchFamily="34" charset="0"/>
              </a:rPr>
              <a:t>CONSULTING</a:t>
            </a:r>
          </a:p>
        </p:txBody>
      </p:sp>
      <p:sp>
        <p:nvSpPr>
          <p:cNvPr id="50" name="Rectangle 4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5171034E-2919-4F9E-914A-88EA7A2A574D}"/>
              </a:ext>
            </a:extLst>
          </p:cNvPr>
          <p:cNvSpPr/>
          <p:nvPr/>
        </p:nvSpPr>
        <p:spPr>
          <a:xfrm>
            <a:off x="7487435" y="5551085"/>
            <a:ext cx="1792368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>
                <a:ea typeface="Roboto" panose="02000000000000000000" pitchFamily="2" charset="0"/>
                <a:cs typeface="Lato" panose="020F0502020204030203" pitchFamily="34" charset="0"/>
              </a:rPr>
              <a:t>Lynda May</a:t>
            </a:r>
          </a:p>
          <a:p>
            <a:endParaRPr lang="en-US" sz="1050">
              <a:ea typeface="Roboto" panose="02000000000000000000" pitchFamily="2" charset="0"/>
              <a:cs typeface="Lato" panose="020F0502020204030203" pitchFamily="34" charset="0"/>
            </a:endParaRPr>
          </a:p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Conveniently iterate top-line alignments for wireless metrics. </a:t>
            </a:r>
          </a:p>
        </p:txBody>
      </p:sp>
      <p:sp>
        <p:nvSpPr>
          <p:cNvPr id="51" name="Rounded Rectangle 1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1E641B58-903C-4C3E-9447-D132B777E34A}"/>
              </a:ext>
            </a:extLst>
          </p:cNvPr>
          <p:cNvSpPr/>
          <p:nvPr/>
        </p:nvSpPr>
        <p:spPr>
          <a:xfrm>
            <a:off x="9634008" y="2273342"/>
            <a:ext cx="1726905" cy="27432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>
                <a:solidFill>
                  <a:schemeClr val="tx1"/>
                </a:solidFill>
                <a:ea typeface="Roboto" panose="02000000000000000000" pitchFamily="2" charset="0"/>
                <a:cs typeface="Lato" panose="020F0502020204030203" pitchFamily="34" charset="0"/>
              </a:rPr>
              <a:t>MANAGER</a:t>
            </a:r>
          </a:p>
        </p:txBody>
      </p:sp>
      <p:sp>
        <p:nvSpPr>
          <p:cNvPr id="52" name="Rectangle 5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8560B83-5B44-47D6-9225-C6C59557CCCA}"/>
              </a:ext>
            </a:extLst>
          </p:cNvPr>
          <p:cNvSpPr/>
          <p:nvPr/>
        </p:nvSpPr>
        <p:spPr>
          <a:xfrm>
            <a:off x="9568546" y="4477198"/>
            <a:ext cx="1792368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>
                <a:ea typeface="Roboto" panose="02000000000000000000" pitchFamily="2" charset="0"/>
                <a:cs typeface="Lato" panose="020F0502020204030203" pitchFamily="34" charset="0"/>
              </a:rPr>
              <a:t>Tom Dave</a:t>
            </a:r>
          </a:p>
          <a:p>
            <a:endParaRPr lang="en-US" sz="1050">
              <a:ea typeface="Roboto" panose="02000000000000000000" pitchFamily="2" charset="0"/>
              <a:cs typeface="Lato" panose="020F0502020204030203" pitchFamily="34" charset="0"/>
            </a:endParaRPr>
          </a:p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Conveniently iterate top-line alignments for wireless metrics. </a:t>
            </a:r>
          </a:p>
        </p:txBody>
      </p:sp>
      <p:sp>
        <p:nvSpPr>
          <p:cNvPr id="54" name="Rounded Rectangle 1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7C306668-CF5A-45AA-9339-BAF2846F81E2}"/>
              </a:ext>
            </a:extLst>
          </p:cNvPr>
          <p:cNvSpPr/>
          <p:nvPr/>
        </p:nvSpPr>
        <p:spPr>
          <a:xfrm>
            <a:off x="1300954" y="5481935"/>
            <a:ext cx="274320" cy="18288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9" name="TextBox 5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71320DE7-8E32-4C73-A88A-2EBECFD944B6}"/>
              </a:ext>
            </a:extLst>
          </p:cNvPr>
          <p:cNvSpPr txBox="1"/>
          <p:nvPr/>
        </p:nvSpPr>
        <p:spPr>
          <a:xfrm>
            <a:off x="1620314" y="5455903"/>
            <a:ext cx="12747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158,850 Follower</a:t>
            </a:r>
          </a:p>
        </p:txBody>
      </p:sp>
      <p:sp>
        <p:nvSpPr>
          <p:cNvPr id="68" name="Rounded Rectangle 1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FA3CE661-468F-4A14-8378-BE2CD1EA148C}"/>
              </a:ext>
            </a:extLst>
          </p:cNvPr>
          <p:cNvSpPr/>
          <p:nvPr/>
        </p:nvSpPr>
        <p:spPr>
          <a:xfrm>
            <a:off x="3382068" y="2753712"/>
            <a:ext cx="274320" cy="18288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tx1"/>
              </a:solidFill>
              <a:cs typeface="Lato" panose="020F0502020204030203" pitchFamily="34" charset="0"/>
            </a:endParaRPr>
          </a:p>
        </p:txBody>
      </p:sp>
      <p:sp>
        <p:nvSpPr>
          <p:cNvPr id="69" name="TextBox 6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24680141-F757-4986-BF3A-B8EA3E73BB99}"/>
              </a:ext>
            </a:extLst>
          </p:cNvPr>
          <p:cNvSpPr txBox="1"/>
          <p:nvPr/>
        </p:nvSpPr>
        <p:spPr>
          <a:xfrm>
            <a:off x="3701428" y="2727680"/>
            <a:ext cx="12747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580,850 Follower</a:t>
            </a:r>
          </a:p>
        </p:txBody>
      </p:sp>
      <p:sp>
        <p:nvSpPr>
          <p:cNvPr id="70" name="Rounded Rectangle 2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6540BB39-EBAC-4B40-811C-48678554911B}"/>
              </a:ext>
            </a:extLst>
          </p:cNvPr>
          <p:cNvSpPr/>
          <p:nvPr/>
        </p:nvSpPr>
        <p:spPr>
          <a:xfrm>
            <a:off x="5467201" y="5481935"/>
            <a:ext cx="274320" cy="1828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71" name="TextBox 7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5675D53-1DDF-4976-B8A4-56EB0FBB9401}"/>
              </a:ext>
            </a:extLst>
          </p:cNvPr>
          <p:cNvSpPr txBox="1"/>
          <p:nvPr/>
        </p:nvSpPr>
        <p:spPr>
          <a:xfrm>
            <a:off x="5786561" y="5455903"/>
            <a:ext cx="12747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800,850 Follower</a:t>
            </a:r>
          </a:p>
        </p:txBody>
      </p:sp>
      <p:sp>
        <p:nvSpPr>
          <p:cNvPr id="81" name="Rounded Rectangle 2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BECA8D64-6984-4468-9571-903A0F7AD599}"/>
              </a:ext>
            </a:extLst>
          </p:cNvPr>
          <p:cNvSpPr/>
          <p:nvPr/>
        </p:nvSpPr>
        <p:spPr>
          <a:xfrm>
            <a:off x="7603696" y="2753712"/>
            <a:ext cx="274320" cy="18288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tx1"/>
              </a:solidFill>
              <a:cs typeface="Lato" panose="020F0502020204030203" pitchFamily="34" charset="0"/>
            </a:endParaRPr>
          </a:p>
        </p:txBody>
      </p:sp>
      <p:sp>
        <p:nvSpPr>
          <p:cNvPr id="82" name="TextBox 8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58B5CF68-7B3D-448D-AA2E-0081A51EC590}"/>
              </a:ext>
            </a:extLst>
          </p:cNvPr>
          <p:cNvSpPr txBox="1"/>
          <p:nvPr/>
        </p:nvSpPr>
        <p:spPr>
          <a:xfrm>
            <a:off x="7923056" y="2727680"/>
            <a:ext cx="12747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520,015 Follower</a:t>
            </a:r>
          </a:p>
        </p:txBody>
      </p:sp>
      <p:sp>
        <p:nvSpPr>
          <p:cNvPr id="83" name="Rounded Rectangle 2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FAA68224-FE79-4DF7-AF6C-BB0647BB39EC}"/>
              </a:ext>
            </a:extLst>
          </p:cNvPr>
          <p:cNvSpPr/>
          <p:nvPr/>
        </p:nvSpPr>
        <p:spPr>
          <a:xfrm>
            <a:off x="9633448" y="5481935"/>
            <a:ext cx="274320" cy="18288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84" name="TextBox 8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D0EB33A0-89EB-44D1-81B7-63452D084C44}"/>
              </a:ext>
            </a:extLst>
          </p:cNvPr>
          <p:cNvSpPr txBox="1"/>
          <p:nvPr/>
        </p:nvSpPr>
        <p:spPr>
          <a:xfrm>
            <a:off x="9952808" y="5455903"/>
            <a:ext cx="12747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580,850 Follower</a:t>
            </a:r>
          </a:p>
        </p:txBody>
      </p:sp>
      <p:sp>
        <p:nvSpPr>
          <p:cNvPr id="85" name="Shape 48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751759D0-3583-4487-8962-A099D3E47B58}"/>
              </a:ext>
            </a:extLst>
          </p:cNvPr>
          <p:cNvSpPr/>
          <p:nvPr/>
        </p:nvSpPr>
        <p:spPr>
          <a:xfrm>
            <a:off x="1378551" y="5509648"/>
            <a:ext cx="126400" cy="1264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5422" y="47044"/>
                </a:moveTo>
                <a:cubicBezTo>
                  <a:pt x="65422" y="44838"/>
                  <a:pt x="65650" y="43655"/>
                  <a:pt x="69044" y="43655"/>
                </a:cubicBezTo>
                <a:lnTo>
                  <a:pt x="73577" y="43655"/>
                </a:lnTo>
                <a:lnTo>
                  <a:pt x="73577" y="35450"/>
                </a:lnTo>
                <a:lnTo>
                  <a:pt x="66322" y="35450"/>
                </a:lnTo>
                <a:cubicBezTo>
                  <a:pt x="57605" y="35450"/>
                  <a:pt x="54533" y="39555"/>
                  <a:pt x="54533" y="46461"/>
                </a:cubicBezTo>
                <a:lnTo>
                  <a:pt x="54533" y="51788"/>
                </a:lnTo>
                <a:lnTo>
                  <a:pt x="49094" y="51788"/>
                </a:lnTo>
                <a:lnTo>
                  <a:pt x="49094" y="60000"/>
                </a:lnTo>
                <a:lnTo>
                  <a:pt x="54533" y="60000"/>
                </a:lnTo>
                <a:lnTo>
                  <a:pt x="54533" y="84550"/>
                </a:lnTo>
                <a:lnTo>
                  <a:pt x="65411" y="84550"/>
                </a:lnTo>
                <a:lnTo>
                  <a:pt x="65411" y="60000"/>
                </a:lnTo>
                <a:lnTo>
                  <a:pt x="72672" y="60000"/>
                </a:lnTo>
                <a:lnTo>
                  <a:pt x="73633" y="51788"/>
                </a:lnTo>
                <a:lnTo>
                  <a:pt x="65411" y="51788"/>
                </a:lnTo>
                <a:cubicBezTo>
                  <a:pt x="65411" y="51788"/>
                  <a:pt x="65422" y="47044"/>
                  <a:pt x="65422" y="47044"/>
                </a:cubicBezTo>
                <a:close/>
                <a:moveTo>
                  <a:pt x="60000" y="114544"/>
                </a:moveTo>
                <a:cubicBezTo>
                  <a:pt x="29872" y="114544"/>
                  <a:pt x="5455" y="90127"/>
                  <a:pt x="5455" y="60000"/>
                </a:cubicBezTo>
                <a:cubicBezTo>
                  <a:pt x="5455" y="29877"/>
                  <a:pt x="29872" y="5455"/>
                  <a:pt x="60000" y="5455"/>
                </a:cubicBezTo>
                <a:cubicBezTo>
                  <a:pt x="90127" y="5455"/>
                  <a:pt x="114544" y="29877"/>
                  <a:pt x="114544" y="60000"/>
                </a:cubicBezTo>
                <a:cubicBezTo>
                  <a:pt x="114544" y="90127"/>
                  <a:pt x="90127" y="114544"/>
                  <a:pt x="60000" y="114544"/>
                </a:cubicBezTo>
                <a:moveTo>
                  <a:pt x="60000" y="0"/>
                </a:moveTo>
                <a:cubicBezTo>
                  <a:pt x="26861" y="0"/>
                  <a:pt x="0" y="26861"/>
                  <a:pt x="0" y="60000"/>
                </a:cubicBezTo>
                <a:cubicBezTo>
                  <a:pt x="0" y="93138"/>
                  <a:pt x="26861" y="120000"/>
                  <a:pt x="60000" y="120000"/>
                </a:cubicBezTo>
                <a:cubicBezTo>
                  <a:pt x="93138" y="120000"/>
                  <a:pt x="120000" y="93138"/>
                  <a:pt x="120000" y="60000"/>
                </a:cubicBezTo>
                <a:cubicBezTo>
                  <a:pt x="120000" y="26861"/>
                  <a:pt x="93138" y="0"/>
                  <a:pt x="60000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9038" tIns="19038" rIns="19038" bIns="19038" anchor="ctr" anchorCtr="0">
            <a:noAutofit/>
          </a:bodyPr>
          <a:lstStyle/>
          <a:p>
            <a:endParaRPr>
              <a:ea typeface="Lato"/>
              <a:cs typeface="Lato"/>
              <a:sym typeface="Lato"/>
            </a:endParaRPr>
          </a:p>
        </p:txBody>
      </p:sp>
      <p:sp>
        <p:nvSpPr>
          <p:cNvPr id="86" name="Shape 48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66B6680A-5D9F-4BE6-B52F-D2F11A9D77B3}"/>
              </a:ext>
            </a:extLst>
          </p:cNvPr>
          <p:cNvSpPr/>
          <p:nvPr/>
        </p:nvSpPr>
        <p:spPr>
          <a:xfrm>
            <a:off x="3460380" y="2778031"/>
            <a:ext cx="126400" cy="1264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5422" y="47044"/>
                </a:moveTo>
                <a:cubicBezTo>
                  <a:pt x="65422" y="44838"/>
                  <a:pt x="65650" y="43655"/>
                  <a:pt x="69044" y="43655"/>
                </a:cubicBezTo>
                <a:lnTo>
                  <a:pt x="73577" y="43655"/>
                </a:lnTo>
                <a:lnTo>
                  <a:pt x="73577" y="35450"/>
                </a:lnTo>
                <a:lnTo>
                  <a:pt x="66322" y="35450"/>
                </a:lnTo>
                <a:cubicBezTo>
                  <a:pt x="57605" y="35450"/>
                  <a:pt x="54533" y="39555"/>
                  <a:pt x="54533" y="46461"/>
                </a:cubicBezTo>
                <a:lnTo>
                  <a:pt x="54533" y="51788"/>
                </a:lnTo>
                <a:lnTo>
                  <a:pt x="49094" y="51788"/>
                </a:lnTo>
                <a:lnTo>
                  <a:pt x="49094" y="60000"/>
                </a:lnTo>
                <a:lnTo>
                  <a:pt x="54533" y="60000"/>
                </a:lnTo>
                <a:lnTo>
                  <a:pt x="54533" y="84550"/>
                </a:lnTo>
                <a:lnTo>
                  <a:pt x="65411" y="84550"/>
                </a:lnTo>
                <a:lnTo>
                  <a:pt x="65411" y="60000"/>
                </a:lnTo>
                <a:lnTo>
                  <a:pt x="72672" y="60000"/>
                </a:lnTo>
                <a:lnTo>
                  <a:pt x="73633" y="51788"/>
                </a:lnTo>
                <a:lnTo>
                  <a:pt x="65411" y="51788"/>
                </a:lnTo>
                <a:cubicBezTo>
                  <a:pt x="65411" y="51788"/>
                  <a:pt x="65422" y="47044"/>
                  <a:pt x="65422" y="47044"/>
                </a:cubicBezTo>
                <a:close/>
                <a:moveTo>
                  <a:pt x="60000" y="114544"/>
                </a:moveTo>
                <a:cubicBezTo>
                  <a:pt x="29872" y="114544"/>
                  <a:pt x="5455" y="90127"/>
                  <a:pt x="5455" y="60000"/>
                </a:cubicBezTo>
                <a:cubicBezTo>
                  <a:pt x="5455" y="29877"/>
                  <a:pt x="29872" y="5455"/>
                  <a:pt x="60000" y="5455"/>
                </a:cubicBezTo>
                <a:cubicBezTo>
                  <a:pt x="90127" y="5455"/>
                  <a:pt x="114544" y="29877"/>
                  <a:pt x="114544" y="60000"/>
                </a:cubicBezTo>
                <a:cubicBezTo>
                  <a:pt x="114544" y="90127"/>
                  <a:pt x="90127" y="114544"/>
                  <a:pt x="60000" y="114544"/>
                </a:cubicBezTo>
                <a:moveTo>
                  <a:pt x="60000" y="0"/>
                </a:moveTo>
                <a:cubicBezTo>
                  <a:pt x="26861" y="0"/>
                  <a:pt x="0" y="26861"/>
                  <a:pt x="0" y="60000"/>
                </a:cubicBezTo>
                <a:cubicBezTo>
                  <a:pt x="0" y="93138"/>
                  <a:pt x="26861" y="120000"/>
                  <a:pt x="60000" y="120000"/>
                </a:cubicBezTo>
                <a:cubicBezTo>
                  <a:pt x="93138" y="120000"/>
                  <a:pt x="120000" y="93138"/>
                  <a:pt x="120000" y="60000"/>
                </a:cubicBezTo>
                <a:cubicBezTo>
                  <a:pt x="120000" y="26861"/>
                  <a:pt x="93138" y="0"/>
                  <a:pt x="60000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9038" tIns="19038" rIns="19038" bIns="19038" anchor="ctr" anchorCtr="0">
            <a:noAutofit/>
          </a:bodyPr>
          <a:lstStyle/>
          <a:p>
            <a:endParaRPr>
              <a:ea typeface="Lato"/>
              <a:cs typeface="Lato"/>
              <a:sym typeface="Lato"/>
            </a:endParaRPr>
          </a:p>
        </p:txBody>
      </p:sp>
      <p:sp>
        <p:nvSpPr>
          <p:cNvPr id="87" name="Shape 48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B30385F0-D03A-44AA-8106-A9AFB6E6DAF6}"/>
              </a:ext>
            </a:extLst>
          </p:cNvPr>
          <p:cNvSpPr/>
          <p:nvPr/>
        </p:nvSpPr>
        <p:spPr>
          <a:xfrm>
            <a:off x="5541161" y="5509648"/>
            <a:ext cx="126400" cy="1264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5422" y="47044"/>
                </a:moveTo>
                <a:cubicBezTo>
                  <a:pt x="65422" y="44838"/>
                  <a:pt x="65650" y="43655"/>
                  <a:pt x="69044" y="43655"/>
                </a:cubicBezTo>
                <a:lnTo>
                  <a:pt x="73577" y="43655"/>
                </a:lnTo>
                <a:lnTo>
                  <a:pt x="73577" y="35450"/>
                </a:lnTo>
                <a:lnTo>
                  <a:pt x="66322" y="35450"/>
                </a:lnTo>
                <a:cubicBezTo>
                  <a:pt x="57605" y="35450"/>
                  <a:pt x="54533" y="39555"/>
                  <a:pt x="54533" y="46461"/>
                </a:cubicBezTo>
                <a:lnTo>
                  <a:pt x="54533" y="51788"/>
                </a:lnTo>
                <a:lnTo>
                  <a:pt x="49094" y="51788"/>
                </a:lnTo>
                <a:lnTo>
                  <a:pt x="49094" y="60000"/>
                </a:lnTo>
                <a:lnTo>
                  <a:pt x="54533" y="60000"/>
                </a:lnTo>
                <a:lnTo>
                  <a:pt x="54533" y="84550"/>
                </a:lnTo>
                <a:lnTo>
                  <a:pt x="65411" y="84550"/>
                </a:lnTo>
                <a:lnTo>
                  <a:pt x="65411" y="60000"/>
                </a:lnTo>
                <a:lnTo>
                  <a:pt x="72672" y="60000"/>
                </a:lnTo>
                <a:lnTo>
                  <a:pt x="73633" y="51788"/>
                </a:lnTo>
                <a:lnTo>
                  <a:pt x="65411" y="51788"/>
                </a:lnTo>
                <a:cubicBezTo>
                  <a:pt x="65411" y="51788"/>
                  <a:pt x="65422" y="47044"/>
                  <a:pt x="65422" y="47044"/>
                </a:cubicBezTo>
                <a:close/>
                <a:moveTo>
                  <a:pt x="60000" y="114544"/>
                </a:moveTo>
                <a:cubicBezTo>
                  <a:pt x="29872" y="114544"/>
                  <a:pt x="5455" y="90127"/>
                  <a:pt x="5455" y="60000"/>
                </a:cubicBezTo>
                <a:cubicBezTo>
                  <a:pt x="5455" y="29877"/>
                  <a:pt x="29872" y="5455"/>
                  <a:pt x="60000" y="5455"/>
                </a:cubicBezTo>
                <a:cubicBezTo>
                  <a:pt x="90127" y="5455"/>
                  <a:pt x="114544" y="29877"/>
                  <a:pt x="114544" y="60000"/>
                </a:cubicBezTo>
                <a:cubicBezTo>
                  <a:pt x="114544" y="90127"/>
                  <a:pt x="90127" y="114544"/>
                  <a:pt x="60000" y="114544"/>
                </a:cubicBezTo>
                <a:moveTo>
                  <a:pt x="60000" y="0"/>
                </a:moveTo>
                <a:cubicBezTo>
                  <a:pt x="26861" y="0"/>
                  <a:pt x="0" y="26861"/>
                  <a:pt x="0" y="60000"/>
                </a:cubicBezTo>
                <a:cubicBezTo>
                  <a:pt x="0" y="93138"/>
                  <a:pt x="26861" y="120000"/>
                  <a:pt x="60000" y="120000"/>
                </a:cubicBezTo>
                <a:cubicBezTo>
                  <a:pt x="93138" y="120000"/>
                  <a:pt x="120000" y="93138"/>
                  <a:pt x="120000" y="60000"/>
                </a:cubicBezTo>
                <a:cubicBezTo>
                  <a:pt x="120000" y="26861"/>
                  <a:pt x="93138" y="0"/>
                  <a:pt x="60000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9038" tIns="19038" rIns="19038" bIns="19038" anchor="ctr" anchorCtr="0">
            <a:noAutofit/>
          </a:bodyPr>
          <a:lstStyle/>
          <a:p>
            <a:endParaRPr>
              <a:ea typeface="Lato"/>
              <a:cs typeface="Lato"/>
              <a:sym typeface="Lato"/>
            </a:endParaRPr>
          </a:p>
        </p:txBody>
      </p:sp>
      <p:sp>
        <p:nvSpPr>
          <p:cNvPr id="88" name="Shape 48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E4707EE6-785D-4EBD-B09C-F920826C248C}"/>
              </a:ext>
            </a:extLst>
          </p:cNvPr>
          <p:cNvSpPr/>
          <p:nvPr/>
        </p:nvSpPr>
        <p:spPr>
          <a:xfrm>
            <a:off x="7677656" y="2787341"/>
            <a:ext cx="126400" cy="1264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5422" y="47044"/>
                </a:moveTo>
                <a:cubicBezTo>
                  <a:pt x="65422" y="44838"/>
                  <a:pt x="65650" y="43655"/>
                  <a:pt x="69044" y="43655"/>
                </a:cubicBezTo>
                <a:lnTo>
                  <a:pt x="73577" y="43655"/>
                </a:lnTo>
                <a:lnTo>
                  <a:pt x="73577" y="35450"/>
                </a:lnTo>
                <a:lnTo>
                  <a:pt x="66322" y="35450"/>
                </a:lnTo>
                <a:cubicBezTo>
                  <a:pt x="57605" y="35450"/>
                  <a:pt x="54533" y="39555"/>
                  <a:pt x="54533" y="46461"/>
                </a:cubicBezTo>
                <a:lnTo>
                  <a:pt x="54533" y="51788"/>
                </a:lnTo>
                <a:lnTo>
                  <a:pt x="49094" y="51788"/>
                </a:lnTo>
                <a:lnTo>
                  <a:pt x="49094" y="60000"/>
                </a:lnTo>
                <a:lnTo>
                  <a:pt x="54533" y="60000"/>
                </a:lnTo>
                <a:lnTo>
                  <a:pt x="54533" y="84550"/>
                </a:lnTo>
                <a:lnTo>
                  <a:pt x="65411" y="84550"/>
                </a:lnTo>
                <a:lnTo>
                  <a:pt x="65411" y="60000"/>
                </a:lnTo>
                <a:lnTo>
                  <a:pt x="72672" y="60000"/>
                </a:lnTo>
                <a:lnTo>
                  <a:pt x="73633" y="51788"/>
                </a:lnTo>
                <a:lnTo>
                  <a:pt x="65411" y="51788"/>
                </a:lnTo>
                <a:cubicBezTo>
                  <a:pt x="65411" y="51788"/>
                  <a:pt x="65422" y="47044"/>
                  <a:pt x="65422" y="47044"/>
                </a:cubicBezTo>
                <a:close/>
                <a:moveTo>
                  <a:pt x="60000" y="114544"/>
                </a:moveTo>
                <a:cubicBezTo>
                  <a:pt x="29872" y="114544"/>
                  <a:pt x="5455" y="90127"/>
                  <a:pt x="5455" y="60000"/>
                </a:cubicBezTo>
                <a:cubicBezTo>
                  <a:pt x="5455" y="29877"/>
                  <a:pt x="29872" y="5455"/>
                  <a:pt x="60000" y="5455"/>
                </a:cubicBezTo>
                <a:cubicBezTo>
                  <a:pt x="90127" y="5455"/>
                  <a:pt x="114544" y="29877"/>
                  <a:pt x="114544" y="60000"/>
                </a:cubicBezTo>
                <a:cubicBezTo>
                  <a:pt x="114544" y="90127"/>
                  <a:pt x="90127" y="114544"/>
                  <a:pt x="60000" y="114544"/>
                </a:cubicBezTo>
                <a:moveTo>
                  <a:pt x="60000" y="0"/>
                </a:moveTo>
                <a:cubicBezTo>
                  <a:pt x="26861" y="0"/>
                  <a:pt x="0" y="26861"/>
                  <a:pt x="0" y="60000"/>
                </a:cubicBezTo>
                <a:cubicBezTo>
                  <a:pt x="0" y="93138"/>
                  <a:pt x="26861" y="120000"/>
                  <a:pt x="60000" y="120000"/>
                </a:cubicBezTo>
                <a:cubicBezTo>
                  <a:pt x="93138" y="120000"/>
                  <a:pt x="120000" y="93138"/>
                  <a:pt x="120000" y="60000"/>
                </a:cubicBezTo>
                <a:cubicBezTo>
                  <a:pt x="120000" y="26861"/>
                  <a:pt x="93138" y="0"/>
                  <a:pt x="60000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9038" tIns="19038" rIns="19038" bIns="19038" anchor="ctr" anchorCtr="0">
            <a:noAutofit/>
          </a:bodyPr>
          <a:lstStyle/>
          <a:p>
            <a:endParaRPr>
              <a:ea typeface="Lato"/>
              <a:cs typeface="Lato"/>
              <a:sym typeface="Lato"/>
            </a:endParaRPr>
          </a:p>
        </p:txBody>
      </p:sp>
      <p:sp>
        <p:nvSpPr>
          <p:cNvPr id="89" name="Shape 48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9DBD4B31-349B-4A9F-81D6-644C2619549A}"/>
              </a:ext>
            </a:extLst>
          </p:cNvPr>
          <p:cNvSpPr/>
          <p:nvPr/>
        </p:nvSpPr>
        <p:spPr>
          <a:xfrm>
            <a:off x="9740688" y="5505573"/>
            <a:ext cx="126400" cy="1264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5422" y="47044"/>
                </a:moveTo>
                <a:cubicBezTo>
                  <a:pt x="65422" y="44838"/>
                  <a:pt x="65650" y="43655"/>
                  <a:pt x="69044" y="43655"/>
                </a:cubicBezTo>
                <a:lnTo>
                  <a:pt x="73577" y="43655"/>
                </a:lnTo>
                <a:lnTo>
                  <a:pt x="73577" y="35450"/>
                </a:lnTo>
                <a:lnTo>
                  <a:pt x="66322" y="35450"/>
                </a:lnTo>
                <a:cubicBezTo>
                  <a:pt x="57605" y="35450"/>
                  <a:pt x="54533" y="39555"/>
                  <a:pt x="54533" y="46461"/>
                </a:cubicBezTo>
                <a:lnTo>
                  <a:pt x="54533" y="51788"/>
                </a:lnTo>
                <a:lnTo>
                  <a:pt x="49094" y="51788"/>
                </a:lnTo>
                <a:lnTo>
                  <a:pt x="49094" y="60000"/>
                </a:lnTo>
                <a:lnTo>
                  <a:pt x="54533" y="60000"/>
                </a:lnTo>
                <a:lnTo>
                  <a:pt x="54533" y="84550"/>
                </a:lnTo>
                <a:lnTo>
                  <a:pt x="65411" y="84550"/>
                </a:lnTo>
                <a:lnTo>
                  <a:pt x="65411" y="60000"/>
                </a:lnTo>
                <a:lnTo>
                  <a:pt x="72672" y="60000"/>
                </a:lnTo>
                <a:lnTo>
                  <a:pt x="73633" y="51788"/>
                </a:lnTo>
                <a:lnTo>
                  <a:pt x="65411" y="51788"/>
                </a:lnTo>
                <a:cubicBezTo>
                  <a:pt x="65411" y="51788"/>
                  <a:pt x="65422" y="47044"/>
                  <a:pt x="65422" y="47044"/>
                </a:cubicBezTo>
                <a:close/>
                <a:moveTo>
                  <a:pt x="60000" y="114544"/>
                </a:moveTo>
                <a:cubicBezTo>
                  <a:pt x="29872" y="114544"/>
                  <a:pt x="5455" y="90127"/>
                  <a:pt x="5455" y="60000"/>
                </a:cubicBezTo>
                <a:cubicBezTo>
                  <a:pt x="5455" y="29877"/>
                  <a:pt x="29872" y="5455"/>
                  <a:pt x="60000" y="5455"/>
                </a:cubicBezTo>
                <a:cubicBezTo>
                  <a:pt x="90127" y="5455"/>
                  <a:pt x="114544" y="29877"/>
                  <a:pt x="114544" y="60000"/>
                </a:cubicBezTo>
                <a:cubicBezTo>
                  <a:pt x="114544" y="90127"/>
                  <a:pt x="90127" y="114544"/>
                  <a:pt x="60000" y="114544"/>
                </a:cubicBezTo>
                <a:moveTo>
                  <a:pt x="60000" y="0"/>
                </a:moveTo>
                <a:cubicBezTo>
                  <a:pt x="26861" y="0"/>
                  <a:pt x="0" y="26861"/>
                  <a:pt x="0" y="60000"/>
                </a:cubicBezTo>
                <a:cubicBezTo>
                  <a:pt x="0" y="93138"/>
                  <a:pt x="26861" y="120000"/>
                  <a:pt x="60000" y="120000"/>
                </a:cubicBezTo>
                <a:cubicBezTo>
                  <a:pt x="93138" y="120000"/>
                  <a:pt x="120000" y="93138"/>
                  <a:pt x="120000" y="60000"/>
                </a:cubicBezTo>
                <a:cubicBezTo>
                  <a:pt x="120000" y="26861"/>
                  <a:pt x="93138" y="0"/>
                  <a:pt x="60000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9038" tIns="19038" rIns="19038" bIns="19038" anchor="ctr" anchorCtr="0">
            <a:noAutofit/>
          </a:bodyPr>
          <a:lstStyle/>
          <a:p>
            <a:endParaRPr>
              <a:ea typeface="Lato"/>
              <a:cs typeface="Lato"/>
              <a:sym typeface="Lato"/>
            </a:endParaRPr>
          </a:p>
        </p:txBody>
      </p:sp>
      <p:pic>
        <p:nvPicPr>
          <p:cNvPr id="10" name="图片占位符 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18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1" name="图片占位符 1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21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8" name="图片占位符 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9" name="图片占位符 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2" name="图片占位符 1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20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9" name="TextBox 5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04DAC2E2-F41D-42BB-BEF4-311E5ACF201A}"/>
              </a:ext>
            </a:extLst>
          </p:cNvPr>
          <p:cNvSpPr txBox="1"/>
          <p:nvPr/>
        </p:nvSpPr>
        <p:spPr>
          <a:xfrm>
            <a:off x="4170951" y="642163"/>
            <a:ext cx="38501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000" b="1" dirty="0">
                <a:latin typeface="+mj-lt"/>
                <a:cs typeface="Lato Heavy" panose="020F0902020204030203" pitchFamily="34" charset="0"/>
              </a:rPr>
              <a:t>OUR TEAM</a:t>
            </a:r>
            <a:endParaRPr lang="id-ID" sz="4000" b="1" dirty="0">
              <a:latin typeface="+mj-lt"/>
              <a:cs typeface="Lato Heavy" panose="020F0902020204030203" pitchFamily="34" charset="0"/>
            </a:endParaRPr>
          </a:p>
        </p:txBody>
      </p:sp>
      <p:cxnSp>
        <p:nvCxnSpPr>
          <p:cNvPr id="41" name="Straight Connector 5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5F631CA8-A403-4968-BFD9-4D01B9593E6E}"/>
              </a:ext>
            </a:extLst>
          </p:cNvPr>
          <p:cNvCxnSpPr>
            <a:cxnSpLocks/>
          </p:cNvCxnSpPr>
          <p:nvPr/>
        </p:nvCxnSpPr>
        <p:spPr>
          <a:xfrm>
            <a:off x="5791200" y="654563"/>
            <a:ext cx="609600" cy="0"/>
          </a:xfrm>
          <a:prstGeom prst="line">
            <a:avLst/>
          </a:prstGeom>
          <a:ln w="444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组合 4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GrpSpPr/>
          <p:nvPr/>
        </p:nvGrpSpPr>
        <p:grpSpPr>
          <a:xfrm>
            <a:off x="5343081" y="293340"/>
            <a:ext cx="1553021" cy="257189"/>
            <a:chOff x="698021" y="1374188"/>
            <a:chExt cx="1553021" cy="257189"/>
          </a:xfrm>
        </p:grpSpPr>
        <p:sp>
          <p:nvSpPr>
            <p:cNvPr id="53" name="TextBox 26">
              <a:extLst>
                <a:ext uri="{FF2B5EF4-FFF2-40B4-BE49-F238E27FC236}">
                  <a16:creationId xmlns:a16="http://schemas.microsoft.com/office/drawing/2014/main" id="{098457CE-85C6-4570-8CFA-D98ADA36B6C3}"/>
                </a:ext>
              </a:extLst>
            </p:cNvPr>
            <p:cNvSpPr txBox="1"/>
            <p:nvPr/>
          </p:nvSpPr>
          <p:spPr>
            <a:xfrm>
              <a:off x="698021" y="1374188"/>
              <a:ext cx="77136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000" i="1" dirty="0">
                  <a:ea typeface="Roboto Medium" charset="0"/>
                  <a:cs typeface="Roboto Medium" charset="0"/>
                </a:rPr>
                <a:t>Company</a:t>
              </a:r>
              <a:endParaRPr lang="en-US" sz="1000" i="1" dirty="0">
                <a:ea typeface="Roboto Medium" charset="0"/>
                <a:cs typeface="Roboto Medium" charset="0"/>
              </a:endParaRPr>
            </a:p>
          </p:txBody>
        </p:sp>
        <p:cxnSp>
          <p:nvCxnSpPr>
            <p:cNvPr id="55" name="Straight Connector 27">
              <a:extLst>
                <a:ext uri="{FF2B5EF4-FFF2-40B4-BE49-F238E27FC236}">
                  <a16:creationId xmlns:a16="http://schemas.microsoft.com/office/drawing/2014/main" id="{8C13FF99-F030-4D42-80A7-05C63E49AB9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04402" y="1625027"/>
              <a:ext cx="1546640" cy="4619"/>
            </a:xfrm>
            <a:prstGeom prst="line">
              <a:avLst/>
            </a:prstGeom>
            <a:ln>
              <a:solidFill>
                <a:schemeClr val="bg2">
                  <a:lumMod val="25000"/>
                  <a:lumOff val="75000"/>
                  <a:alpha val="2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28">
              <a:extLst>
                <a:ext uri="{FF2B5EF4-FFF2-40B4-BE49-F238E27FC236}">
                  <a16:creationId xmlns:a16="http://schemas.microsoft.com/office/drawing/2014/main" id="{A0C95351-4DD3-4D0C-9529-B072A66C46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4402" y="1631377"/>
              <a:ext cx="265907" cy="0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Cross 29">
              <a:extLst>
                <a:ext uri="{FF2B5EF4-FFF2-40B4-BE49-F238E27FC236}">
                  <a16:creationId xmlns:a16="http://schemas.microsoft.com/office/drawing/2014/main" id="{610F54E0-9FA4-4339-8AF7-00CC7C22B4D4}"/>
                </a:ext>
              </a:extLst>
            </p:cNvPr>
            <p:cNvSpPr/>
            <p:nvPr/>
          </p:nvSpPr>
          <p:spPr>
            <a:xfrm flipH="1">
              <a:off x="2145024" y="1446712"/>
              <a:ext cx="106018" cy="106018"/>
            </a:xfrm>
            <a:prstGeom prst="plus">
              <a:avLst>
                <a:gd name="adj" fmla="val 375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8" name="TextBox 1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311CE91-0287-4141-9227-A254657467EE}"/>
              </a:ext>
            </a:extLst>
          </p:cNvPr>
          <p:cNvSpPr txBox="1"/>
          <p:nvPr/>
        </p:nvSpPr>
        <p:spPr>
          <a:xfrm>
            <a:off x="4331859" y="1281040"/>
            <a:ext cx="35418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+mj-ea"/>
                <a:ea typeface="+mj-ea"/>
              </a:rPr>
              <a:t>welcome to our </a:t>
            </a:r>
            <a:r>
              <a:rPr lang="en-US" altLang="zh-CN" sz="1400" dirty="0">
                <a:solidFill>
                  <a:schemeClr val="accent1"/>
                </a:solidFill>
                <a:latin typeface="+mj-ea"/>
                <a:ea typeface="+mj-ea"/>
              </a:rPr>
              <a:t>Company </a:t>
            </a:r>
            <a:r>
              <a:rPr lang="en-US" altLang="zh-CN" sz="1400" dirty="0">
                <a:solidFill>
                  <a:schemeClr val="accent1"/>
                </a:solidFill>
                <a:latin typeface="+mj-ea"/>
              </a:rPr>
              <a:t>presentation</a:t>
            </a:r>
          </a:p>
          <a:p>
            <a:pPr algn="ctr"/>
            <a:r>
              <a:rPr lang="en-US" altLang="zh-CN" sz="1400" dirty="0">
                <a:solidFill>
                  <a:schemeClr val="accent1"/>
                </a:solidFill>
                <a:latin typeface="+mj-ea"/>
                <a:ea typeface="+mj-ea"/>
              </a:rPr>
              <a:t> </a:t>
            </a:r>
            <a:endParaRPr lang="en-US" sz="1400" dirty="0">
              <a:solidFill>
                <a:schemeClr val="accent1"/>
              </a:solidFill>
              <a:latin typeface="+mj-ea"/>
              <a:ea typeface="+mj-ea"/>
            </a:endParaRPr>
          </a:p>
        </p:txBody>
      </p:sp>
      <p:sp>
        <p:nvSpPr>
          <p:cNvPr id="14" name="e7d195523061f1c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 hidden="1"/>
          <p:cNvSpPr txBox="1"/>
          <p:nvPr/>
        </p:nvSpPr>
        <p:spPr>
          <a:xfrm>
            <a:off x="-355600" y="1803400"/>
            <a:ext cx="322909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21690989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7" name="图片 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157" y="898358"/>
            <a:ext cx="5061284" cy="5061284"/>
          </a:xfrm>
          <a:prstGeom prst="rect">
            <a:avLst/>
          </a:prstGeom>
        </p:spPr>
      </p:pic>
      <p:sp>
        <p:nvSpPr>
          <p:cNvPr id="8" name="椭圆 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2326105" y="2418347"/>
            <a:ext cx="2021305" cy="2021305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TextBox 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955769E8-99A2-9F49-A469-343CD50B759C}"/>
              </a:ext>
            </a:extLst>
          </p:cNvPr>
          <p:cNvSpPr txBox="1"/>
          <p:nvPr/>
        </p:nvSpPr>
        <p:spPr>
          <a:xfrm>
            <a:off x="5956517" y="721248"/>
            <a:ext cx="710184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0" b="1" spc="-300" dirty="0">
                <a:solidFill>
                  <a:schemeClr val="bg1"/>
                </a:solidFill>
                <a:effectLst>
                  <a:outerShdw dist="63500" dir="2700000" algn="tl" rotWithShape="0">
                    <a:srgbClr val="67B0B5">
                      <a:alpha val="40000"/>
                    </a:srgbClr>
                  </a:outerShdw>
                </a:effectLst>
                <a:ea typeface="华文细黑" panose="02010600040101010101" pitchFamily="2" charset="-122"/>
                <a:cs typeface="+mn-ea"/>
                <a:sym typeface="+mn-lt"/>
              </a:rPr>
              <a:t>CONTENTS</a:t>
            </a:r>
            <a:endParaRPr lang="en-US" sz="6600" b="1" spc="-300" dirty="0">
              <a:solidFill>
                <a:schemeClr val="bg1"/>
              </a:solidFill>
              <a:effectLst>
                <a:outerShdw dist="63500" dir="2700000" algn="tl" rotWithShape="0">
                  <a:srgbClr val="67B0B5">
                    <a:alpha val="40000"/>
                  </a:srgbClr>
                </a:outerShdw>
              </a:effectLst>
              <a:ea typeface="华文细黑" panose="02010600040101010101" pitchFamily="2" charset="-122"/>
              <a:cs typeface="+mn-ea"/>
              <a:sym typeface="+mn-lt"/>
            </a:endParaRPr>
          </a:p>
        </p:txBody>
      </p:sp>
      <p:sp>
        <p:nvSpPr>
          <p:cNvPr id="10" name="Text Placeholder 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7F1102D6-FF88-4BE2-A3D2-1A310C9A3F48}"/>
              </a:ext>
            </a:extLst>
          </p:cNvPr>
          <p:cNvSpPr txBox="1">
            <a:spLocks/>
          </p:cNvSpPr>
          <p:nvPr/>
        </p:nvSpPr>
        <p:spPr>
          <a:xfrm>
            <a:off x="6121373" y="4460071"/>
            <a:ext cx="1610909" cy="58388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400">
                <a:solidFill>
                  <a:schemeClr val="bg1"/>
                </a:solidFill>
                <a:effectLst>
                  <a:outerShdw dist="139700" dir="2700000" algn="tl" rotWithShape="0">
                    <a:srgbClr val="67B0B5">
                      <a:alpha val="40000"/>
                    </a:srgbClr>
                  </a:outerShdw>
                </a:effectLst>
                <a:ea typeface="+mj-ea"/>
              </a:rPr>
              <a:t>05</a:t>
            </a:r>
            <a:endParaRPr lang="en-ID" sz="4400" dirty="0">
              <a:solidFill>
                <a:schemeClr val="bg1"/>
              </a:solidFill>
              <a:effectLst>
                <a:outerShdw dist="139700" dir="2700000" algn="tl" rotWithShape="0">
                  <a:srgbClr val="67B0B5">
                    <a:alpha val="40000"/>
                  </a:srgbClr>
                </a:outerShdw>
              </a:effectLst>
              <a:ea typeface="+mj-ea"/>
            </a:endParaRPr>
          </a:p>
        </p:txBody>
      </p:sp>
      <p:sp>
        <p:nvSpPr>
          <p:cNvPr id="11" name="Text Placeholder 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DC6EBB2-A08C-4D15-9409-FA72D1136343}"/>
              </a:ext>
            </a:extLst>
          </p:cNvPr>
          <p:cNvSpPr txBox="1">
            <a:spLocks/>
          </p:cNvSpPr>
          <p:nvPr/>
        </p:nvSpPr>
        <p:spPr>
          <a:xfrm>
            <a:off x="8834420" y="4460071"/>
            <a:ext cx="1610909" cy="58388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400" dirty="0">
                <a:solidFill>
                  <a:schemeClr val="bg1"/>
                </a:solidFill>
                <a:effectLst>
                  <a:outerShdw dist="139700" dir="2700000" algn="tl" rotWithShape="0">
                    <a:srgbClr val="67B0B5">
                      <a:alpha val="40000"/>
                    </a:srgbClr>
                  </a:outerShdw>
                </a:effectLst>
                <a:ea typeface="+mj-ea"/>
              </a:rPr>
              <a:t>06</a:t>
            </a:r>
            <a:endParaRPr lang="en-ID" sz="4400" dirty="0">
              <a:solidFill>
                <a:schemeClr val="bg1"/>
              </a:solidFill>
              <a:effectLst>
                <a:outerShdw dist="139700" dir="2700000" algn="tl" rotWithShape="0">
                  <a:srgbClr val="67B0B5">
                    <a:alpha val="40000"/>
                  </a:srgbClr>
                </a:outerShdw>
              </a:effectLst>
              <a:ea typeface="+mj-ea"/>
            </a:endParaRPr>
          </a:p>
        </p:txBody>
      </p:sp>
      <p:sp>
        <p:nvSpPr>
          <p:cNvPr id="12" name="Text Placeholder 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6F02CA7-A428-4607-848D-2DCF692C5A3F}"/>
              </a:ext>
            </a:extLst>
          </p:cNvPr>
          <p:cNvSpPr txBox="1">
            <a:spLocks/>
          </p:cNvSpPr>
          <p:nvPr/>
        </p:nvSpPr>
        <p:spPr>
          <a:xfrm>
            <a:off x="6121373" y="3261107"/>
            <a:ext cx="1610909" cy="58388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400">
                <a:solidFill>
                  <a:schemeClr val="bg1"/>
                </a:solidFill>
                <a:effectLst>
                  <a:outerShdw dist="139700" dir="2700000" algn="tl" rotWithShape="0">
                    <a:srgbClr val="67B0B5">
                      <a:alpha val="40000"/>
                    </a:srgbClr>
                  </a:outerShdw>
                </a:effectLst>
                <a:ea typeface="+mj-ea"/>
              </a:rPr>
              <a:t>03</a:t>
            </a:r>
            <a:endParaRPr lang="en-ID" sz="4400" dirty="0">
              <a:solidFill>
                <a:schemeClr val="bg1"/>
              </a:solidFill>
              <a:effectLst>
                <a:outerShdw dist="139700" dir="2700000" algn="tl" rotWithShape="0">
                  <a:srgbClr val="67B0B5">
                    <a:alpha val="40000"/>
                  </a:srgbClr>
                </a:outerShdw>
              </a:effectLst>
              <a:ea typeface="+mj-ea"/>
            </a:endParaRPr>
          </a:p>
        </p:txBody>
      </p:sp>
      <p:sp>
        <p:nvSpPr>
          <p:cNvPr id="13" name="Text Placeholder 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994237E-F7FF-46FE-BE47-F31105544806}"/>
              </a:ext>
            </a:extLst>
          </p:cNvPr>
          <p:cNvSpPr txBox="1">
            <a:spLocks/>
          </p:cNvSpPr>
          <p:nvPr/>
        </p:nvSpPr>
        <p:spPr>
          <a:xfrm>
            <a:off x="8834420" y="2057424"/>
            <a:ext cx="1610909" cy="58388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400">
                <a:solidFill>
                  <a:schemeClr val="bg1"/>
                </a:solidFill>
                <a:effectLst>
                  <a:outerShdw dist="139700" dir="2700000" algn="tl" rotWithShape="0">
                    <a:srgbClr val="67B0B5">
                      <a:alpha val="40000"/>
                    </a:srgbClr>
                  </a:outerShdw>
                </a:effectLst>
                <a:ea typeface="+mj-ea"/>
              </a:rPr>
              <a:t>02</a:t>
            </a:r>
            <a:endParaRPr lang="en-ID" sz="4400" dirty="0">
              <a:solidFill>
                <a:schemeClr val="bg1"/>
              </a:solidFill>
              <a:effectLst>
                <a:outerShdw dist="139700" dir="2700000" algn="tl" rotWithShape="0">
                  <a:srgbClr val="67B0B5">
                    <a:alpha val="40000"/>
                  </a:srgbClr>
                </a:outerShdw>
              </a:effectLst>
              <a:ea typeface="+mj-ea"/>
            </a:endParaRPr>
          </a:p>
        </p:txBody>
      </p:sp>
      <p:sp>
        <p:nvSpPr>
          <p:cNvPr id="14" name="Text Placeholder 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6BA968F-F49D-4903-BA19-B002A2C672A0}"/>
              </a:ext>
            </a:extLst>
          </p:cNvPr>
          <p:cNvSpPr txBox="1">
            <a:spLocks/>
          </p:cNvSpPr>
          <p:nvPr/>
        </p:nvSpPr>
        <p:spPr>
          <a:xfrm>
            <a:off x="8834420" y="3261107"/>
            <a:ext cx="1610909" cy="58388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400">
                <a:solidFill>
                  <a:schemeClr val="bg1"/>
                </a:solidFill>
                <a:effectLst>
                  <a:outerShdw dist="139700" dir="2700000" algn="tl" rotWithShape="0">
                    <a:srgbClr val="67B0B5">
                      <a:alpha val="40000"/>
                    </a:srgbClr>
                  </a:outerShdw>
                </a:effectLst>
                <a:ea typeface="+mj-ea"/>
              </a:rPr>
              <a:t>04</a:t>
            </a:r>
            <a:endParaRPr lang="en-ID" sz="4400" dirty="0">
              <a:solidFill>
                <a:schemeClr val="bg1"/>
              </a:solidFill>
              <a:effectLst>
                <a:outerShdw dist="139700" dir="2700000" algn="tl" rotWithShape="0">
                  <a:srgbClr val="67B0B5">
                    <a:alpha val="40000"/>
                  </a:srgbClr>
                </a:outerShdw>
              </a:effectLst>
              <a:ea typeface="+mj-ea"/>
            </a:endParaRPr>
          </a:p>
        </p:txBody>
      </p:sp>
      <p:sp>
        <p:nvSpPr>
          <p:cNvPr id="15" name="Text Placeholder 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038DFE16-177A-4A31-87B0-2B416D712CE1}"/>
              </a:ext>
            </a:extLst>
          </p:cNvPr>
          <p:cNvSpPr txBox="1">
            <a:spLocks/>
          </p:cNvSpPr>
          <p:nvPr/>
        </p:nvSpPr>
        <p:spPr>
          <a:xfrm>
            <a:off x="6121373" y="2057424"/>
            <a:ext cx="1610909" cy="58388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400" dirty="0">
                <a:solidFill>
                  <a:schemeClr val="bg1"/>
                </a:solidFill>
                <a:effectLst>
                  <a:outerShdw dist="139700" dir="2700000" algn="tl" rotWithShape="0">
                    <a:srgbClr val="67B0B5">
                      <a:alpha val="40000"/>
                    </a:srgbClr>
                  </a:outerShdw>
                </a:effectLst>
                <a:ea typeface="+mj-ea"/>
              </a:rPr>
              <a:t>01</a:t>
            </a:r>
            <a:endParaRPr lang="en-ID" sz="4400" dirty="0">
              <a:solidFill>
                <a:schemeClr val="bg1"/>
              </a:solidFill>
              <a:effectLst>
                <a:outerShdw dist="139700" dir="2700000" algn="tl" rotWithShape="0">
                  <a:srgbClr val="67B0B5">
                    <a:alpha val="40000"/>
                  </a:srgbClr>
                </a:outerShdw>
              </a:effectLst>
              <a:ea typeface="+mj-ea"/>
            </a:endParaRPr>
          </a:p>
        </p:txBody>
      </p:sp>
      <p:sp>
        <p:nvSpPr>
          <p:cNvPr id="16" name="Text Placeholder 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92FAC7F9-DC3D-4005-ABAE-7919912DC97F}"/>
              </a:ext>
            </a:extLst>
          </p:cNvPr>
          <p:cNvSpPr txBox="1">
            <a:spLocks/>
          </p:cNvSpPr>
          <p:nvPr/>
        </p:nvSpPr>
        <p:spPr>
          <a:xfrm>
            <a:off x="6859442" y="2686152"/>
            <a:ext cx="1863806" cy="57817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>
                <a:solidFill>
                  <a:schemeClr val="bg1"/>
                </a:solidFill>
                <a:ea typeface="+mj-ea"/>
              </a:rPr>
              <a:t>Here you could describe the topic of the section</a:t>
            </a:r>
            <a:endParaRPr lang="en-US" sz="1100" dirty="0">
              <a:solidFill>
                <a:schemeClr val="bg1"/>
              </a:solidFill>
              <a:ea typeface="+mj-ea"/>
            </a:endParaRPr>
          </a:p>
        </p:txBody>
      </p:sp>
      <p:sp>
        <p:nvSpPr>
          <p:cNvPr id="17" name="Text Placeholder 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B658449-4A8B-4812-A70E-DE21B4628830}"/>
              </a:ext>
            </a:extLst>
          </p:cNvPr>
          <p:cNvSpPr txBox="1">
            <a:spLocks/>
          </p:cNvSpPr>
          <p:nvPr/>
        </p:nvSpPr>
        <p:spPr>
          <a:xfrm>
            <a:off x="9642865" y="2686152"/>
            <a:ext cx="1863806" cy="57817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>
                <a:solidFill>
                  <a:schemeClr val="bg1"/>
                </a:solidFill>
                <a:ea typeface="+mj-ea"/>
              </a:rPr>
              <a:t>Here you could describe the topic of the section</a:t>
            </a:r>
            <a:endParaRPr lang="en-US" sz="1100" dirty="0">
              <a:solidFill>
                <a:schemeClr val="bg1"/>
              </a:solidFill>
              <a:ea typeface="+mj-ea"/>
            </a:endParaRPr>
          </a:p>
        </p:txBody>
      </p:sp>
      <p:sp>
        <p:nvSpPr>
          <p:cNvPr id="18" name="Text Placeholder 1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20497A28-B802-4312-9CC9-CB2BB7826B24}"/>
              </a:ext>
            </a:extLst>
          </p:cNvPr>
          <p:cNvSpPr txBox="1">
            <a:spLocks/>
          </p:cNvSpPr>
          <p:nvPr/>
        </p:nvSpPr>
        <p:spPr>
          <a:xfrm>
            <a:off x="6859442" y="3897884"/>
            <a:ext cx="1863806" cy="57817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>
                <a:solidFill>
                  <a:schemeClr val="bg1"/>
                </a:solidFill>
                <a:ea typeface="+mj-ea"/>
              </a:rPr>
              <a:t>Here you could describe the topic of the section</a:t>
            </a:r>
            <a:endParaRPr lang="en-US" sz="1100" dirty="0">
              <a:solidFill>
                <a:schemeClr val="bg1"/>
              </a:solidFill>
              <a:ea typeface="+mj-ea"/>
            </a:endParaRPr>
          </a:p>
        </p:txBody>
      </p:sp>
      <p:sp>
        <p:nvSpPr>
          <p:cNvPr id="19" name="Text Placeholder 1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C1820DD-CE7A-44F7-8233-2A632348C396}"/>
              </a:ext>
            </a:extLst>
          </p:cNvPr>
          <p:cNvSpPr txBox="1">
            <a:spLocks/>
          </p:cNvSpPr>
          <p:nvPr/>
        </p:nvSpPr>
        <p:spPr>
          <a:xfrm>
            <a:off x="9642865" y="3897884"/>
            <a:ext cx="1863806" cy="57817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  <a:ea typeface="+mj-ea"/>
              </a:rPr>
              <a:t>Here you could describe the topic of the section</a:t>
            </a:r>
          </a:p>
        </p:txBody>
      </p:sp>
      <p:sp>
        <p:nvSpPr>
          <p:cNvPr id="20" name="Text Placeholder 1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633E259-2C08-4BF7-97AD-2E2318941967}"/>
              </a:ext>
            </a:extLst>
          </p:cNvPr>
          <p:cNvSpPr txBox="1">
            <a:spLocks/>
          </p:cNvSpPr>
          <p:nvPr/>
        </p:nvSpPr>
        <p:spPr>
          <a:xfrm>
            <a:off x="6859442" y="5091147"/>
            <a:ext cx="1863806" cy="57817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>
                <a:solidFill>
                  <a:schemeClr val="bg1"/>
                </a:solidFill>
                <a:ea typeface="+mj-ea"/>
              </a:rPr>
              <a:t>Here you could describe the topic of the section</a:t>
            </a:r>
            <a:endParaRPr lang="en-US" sz="1100" dirty="0">
              <a:solidFill>
                <a:schemeClr val="bg1"/>
              </a:solidFill>
              <a:ea typeface="+mj-ea"/>
            </a:endParaRPr>
          </a:p>
        </p:txBody>
      </p:sp>
      <p:sp>
        <p:nvSpPr>
          <p:cNvPr id="21" name="Text Placeholder 1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746B9DF1-795E-40B4-9391-E53D35F85900}"/>
              </a:ext>
            </a:extLst>
          </p:cNvPr>
          <p:cNvSpPr txBox="1">
            <a:spLocks/>
          </p:cNvSpPr>
          <p:nvPr/>
        </p:nvSpPr>
        <p:spPr>
          <a:xfrm>
            <a:off x="9642865" y="5091147"/>
            <a:ext cx="1863806" cy="57817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>
                <a:solidFill>
                  <a:schemeClr val="bg1"/>
                </a:solidFill>
                <a:ea typeface="+mj-ea"/>
              </a:rPr>
              <a:t>Here you could describe the topic of the section</a:t>
            </a:r>
            <a:endParaRPr lang="en-US" sz="1100" dirty="0">
              <a:solidFill>
                <a:schemeClr val="bg1"/>
              </a:solidFill>
              <a:ea typeface="+mj-ea"/>
            </a:endParaRPr>
          </a:p>
        </p:txBody>
      </p:sp>
      <p:sp>
        <p:nvSpPr>
          <p:cNvPr id="22" name="Text Placeholder 1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7B1501A-F61B-446E-88F0-AB926E412DF1}"/>
              </a:ext>
            </a:extLst>
          </p:cNvPr>
          <p:cNvSpPr txBox="1">
            <a:spLocks/>
          </p:cNvSpPr>
          <p:nvPr/>
        </p:nvSpPr>
        <p:spPr>
          <a:xfrm>
            <a:off x="6847031" y="2399007"/>
            <a:ext cx="1863806" cy="25820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>
                <a:solidFill>
                  <a:schemeClr val="bg1"/>
                </a:solidFill>
                <a:ea typeface="+mj-ea"/>
              </a:rPr>
              <a:t>About Us</a:t>
            </a:r>
            <a:endParaRPr lang="en-ID" sz="1400" b="1" dirty="0">
              <a:solidFill>
                <a:schemeClr val="bg1"/>
              </a:solidFill>
              <a:ea typeface="+mj-ea"/>
            </a:endParaRPr>
          </a:p>
        </p:txBody>
      </p:sp>
      <p:sp>
        <p:nvSpPr>
          <p:cNvPr id="23" name="Text Placeholder 1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1DF1805D-1190-40DA-9E9C-DF95C0A903E8}"/>
              </a:ext>
            </a:extLst>
          </p:cNvPr>
          <p:cNvSpPr txBox="1">
            <a:spLocks/>
          </p:cNvSpPr>
          <p:nvPr/>
        </p:nvSpPr>
        <p:spPr>
          <a:xfrm>
            <a:off x="9630454" y="2399007"/>
            <a:ext cx="1863806" cy="25820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>
                <a:solidFill>
                  <a:schemeClr val="bg1"/>
                </a:solidFill>
                <a:ea typeface="+mj-ea"/>
              </a:rPr>
              <a:t>Company History</a:t>
            </a:r>
            <a:endParaRPr lang="en-ID" sz="1400" b="1" dirty="0">
              <a:solidFill>
                <a:schemeClr val="bg1"/>
              </a:solidFill>
              <a:ea typeface="+mj-ea"/>
            </a:endParaRPr>
          </a:p>
        </p:txBody>
      </p:sp>
      <p:sp>
        <p:nvSpPr>
          <p:cNvPr id="24" name="Text Placeholder 1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6642373-222A-4B0D-8771-E6FBEC82FA9C}"/>
              </a:ext>
            </a:extLst>
          </p:cNvPr>
          <p:cNvSpPr txBox="1">
            <a:spLocks/>
          </p:cNvSpPr>
          <p:nvPr/>
        </p:nvSpPr>
        <p:spPr>
          <a:xfrm>
            <a:off x="6847031" y="3610739"/>
            <a:ext cx="1863806" cy="25820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>
                <a:solidFill>
                  <a:schemeClr val="bg1"/>
                </a:solidFill>
                <a:ea typeface="+mj-ea"/>
              </a:rPr>
              <a:t>About Us</a:t>
            </a:r>
            <a:endParaRPr lang="en-ID" sz="1400" b="1" dirty="0">
              <a:solidFill>
                <a:schemeClr val="bg1"/>
              </a:solidFill>
              <a:ea typeface="+mj-ea"/>
            </a:endParaRPr>
          </a:p>
        </p:txBody>
      </p:sp>
      <p:sp>
        <p:nvSpPr>
          <p:cNvPr id="25" name="Text Placeholder 1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99E0534-D236-4DA6-A2A6-B5CBEEF18792}"/>
              </a:ext>
            </a:extLst>
          </p:cNvPr>
          <p:cNvSpPr txBox="1">
            <a:spLocks/>
          </p:cNvSpPr>
          <p:nvPr/>
        </p:nvSpPr>
        <p:spPr>
          <a:xfrm>
            <a:off x="9630454" y="3610739"/>
            <a:ext cx="1863806" cy="25820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>
                <a:solidFill>
                  <a:schemeClr val="bg1"/>
                </a:solidFill>
                <a:ea typeface="+mj-ea"/>
              </a:rPr>
              <a:t>What We Do</a:t>
            </a:r>
            <a:endParaRPr lang="en-ID" sz="1400" b="1" dirty="0">
              <a:solidFill>
                <a:schemeClr val="bg1"/>
              </a:solidFill>
              <a:ea typeface="+mj-ea"/>
            </a:endParaRPr>
          </a:p>
        </p:txBody>
      </p:sp>
      <p:sp>
        <p:nvSpPr>
          <p:cNvPr id="26" name="Text Placeholder 1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FE75534A-786B-4471-87C3-4CD0F1F8F771}"/>
              </a:ext>
            </a:extLst>
          </p:cNvPr>
          <p:cNvSpPr txBox="1">
            <a:spLocks/>
          </p:cNvSpPr>
          <p:nvPr/>
        </p:nvSpPr>
        <p:spPr>
          <a:xfrm>
            <a:off x="6859442" y="4843105"/>
            <a:ext cx="1863806" cy="25820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>
                <a:solidFill>
                  <a:schemeClr val="bg1"/>
                </a:solidFill>
                <a:ea typeface="+mj-ea"/>
              </a:rPr>
              <a:t>Company Services</a:t>
            </a:r>
            <a:endParaRPr lang="en-ID" sz="1400" b="1" dirty="0">
              <a:solidFill>
                <a:schemeClr val="bg1"/>
              </a:solidFill>
              <a:ea typeface="+mj-ea"/>
            </a:endParaRPr>
          </a:p>
        </p:txBody>
      </p:sp>
      <p:sp>
        <p:nvSpPr>
          <p:cNvPr id="27" name="Text Placeholder 1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1160C7DD-DACD-45C9-A969-E5034CC5CA8C}"/>
              </a:ext>
            </a:extLst>
          </p:cNvPr>
          <p:cNvSpPr txBox="1">
            <a:spLocks/>
          </p:cNvSpPr>
          <p:nvPr/>
        </p:nvSpPr>
        <p:spPr>
          <a:xfrm>
            <a:off x="9642865" y="4843105"/>
            <a:ext cx="1863806" cy="25820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>
                <a:solidFill>
                  <a:schemeClr val="bg1"/>
                </a:solidFill>
                <a:ea typeface="+mj-ea"/>
              </a:rPr>
              <a:t>Recent Project</a:t>
            </a:r>
            <a:endParaRPr lang="en-ID" sz="1400" b="1" dirty="0">
              <a:solidFill>
                <a:schemeClr val="bg1"/>
              </a:solidFill>
              <a:ea typeface="+mj-ea"/>
            </a:endParaRPr>
          </a:p>
        </p:txBody>
      </p:sp>
      <p:grpSp>
        <p:nvGrpSpPr>
          <p:cNvPr id="32" name="组合 3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GrpSpPr/>
          <p:nvPr/>
        </p:nvGrpSpPr>
        <p:grpSpPr>
          <a:xfrm>
            <a:off x="2414337" y="2418749"/>
            <a:ext cx="1836821" cy="2020502"/>
            <a:chOff x="2654968" y="2662990"/>
            <a:chExt cx="1363579" cy="1499936"/>
          </a:xfrm>
        </p:grpSpPr>
        <p:sp>
          <p:nvSpPr>
            <p:cNvPr id="29" name="椭圆 28"/>
            <p:cNvSpPr/>
            <p:nvPr/>
          </p:nvSpPr>
          <p:spPr>
            <a:xfrm>
              <a:off x="3248526" y="2662990"/>
              <a:ext cx="145588" cy="1455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椭圆 29"/>
            <p:cNvSpPr/>
            <p:nvPr/>
          </p:nvSpPr>
          <p:spPr>
            <a:xfrm>
              <a:off x="3248526" y="4023294"/>
              <a:ext cx="139632" cy="1396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椭圆 30"/>
            <p:cNvSpPr/>
            <p:nvPr/>
          </p:nvSpPr>
          <p:spPr>
            <a:xfrm>
              <a:off x="2654968" y="2727158"/>
              <a:ext cx="1363579" cy="136357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8" name="文本框 2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2480754" y="3198167"/>
            <a:ext cx="1321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dirty="0">
                <a:solidFill>
                  <a:schemeClr val="bg1"/>
                </a:solidFill>
                <a:latin typeface="Chaparral Pro Light" panose="02060403030505090203" pitchFamily="18" charset="0"/>
              </a:rPr>
              <a:t>Company</a:t>
            </a:r>
            <a:endParaRPr lang="zh-CN" altLang="en-US" sz="2400" b="1" dirty="0">
              <a:solidFill>
                <a:schemeClr val="bg1"/>
              </a:solidFill>
              <a:latin typeface="Chaparral Pro Light" panose="02060403030505090203" pitchFamily="18" charset="0"/>
            </a:endParaRPr>
          </a:p>
        </p:txBody>
      </p:sp>
      <p:sp>
        <p:nvSpPr>
          <p:cNvPr id="33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23094818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占位符 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528" b="26528"/>
          <a:stretch>
            <a:fillRect/>
          </a:stretch>
        </p:blipFill>
        <p:spPr/>
      </p:pic>
      <p:sp>
        <p:nvSpPr>
          <p:cNvPr id="12" name="Freeform 1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0" y="3212976"/>
            <a:ext cx="6096001" cy="3645024"/>
          </a:xfrm>
          <a:custGeom>
            <a:avLst/>
            <a:gdLst>
              <a:gd name="connsiteX0" fmla="*/ 2207568 w 6096001"/>
              <a:gd name="connsiteY0" fmla="*/ 0 h 3645024"/>
              <a:gd name="connsiteX1" fmla="*/ 4367808 w 6096001"/>
              <a:gd name="connsiteY1" fmla="*/ 0 h 3645024"/>
              <a:gd name="connsiteX2" fmla="*/ 4367808 w 6096001"/>
              <a:gd name="connsiteY2" fmla="*/ 432048 h 3645024"/>
              <a:gd name="connsiteX3" fmla="*/ 6096001 w 6096001"/>
              <a:gd name="connsiteY3" fmla="*/ 432048 h 3645024"/>
              <a:gd name="connsiteX4" fmla="*/ 6096001 w 6096001"/>
              <a:gd name="connsiteY4" fmla="*/ 3645024 h 3645024"/>
              <a:gd name="connsiteX5" fmla="*/ 0 w 6096001"/>
              <a:gd name="connsiteY5" fmla="*/ 3645024 h 3645024"/>
              <a:gd name="connsiteX6" fmla="*/ 0 w 6096001"/>
              <a:gd name="connsiteY6" fmla="*/ 432048 h 3645024"/>
              <a:gd name="connsiteX7" fmla="*/ 2207568 w 6096001"/>
              <a:gd name="connsiteY7" fmla="*/ 432048 h 3645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1" h="3645024">
                <a:moveTo>
                  <a:pt x="2207568" y="0"/>
                </a:moveTo>
                <a:lnTo>
                  <a:pt x="4367808" y="0"/>
                </a:lnTo>
                <a:lnTo>
                  <a:pt x="4367808" y="432048"/>
                </a:lnTo>
                <a:lnTo>
                  <a:pt x="6096001" y="432048"/>
                </a:lnTo>
                <a:lnTo>
                  <a:pt x="6096001" y="3645024"/>
                </a:lnTo>
                <a:lnTo>
                  <a:pt x="0" y="3645024"/>
                </a:lnTo>
                <a:lnTo>
                  <a:pt x="0" y="432048"/>
                </a:lnTo>
                <a:lnTo>
                  <a:pt x="2207568" y="43204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Freeform 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 rot="9900000" flipV="1">
            <a:off x="2919543" y="2711753"/>
            <a:ext cx="1662733" cy="442022"/>
          </a:xfrm>
          <a:custGeom>
            <a:avLst/>
            <a:gdLst>
              <a:gd name="connsiteX0" fmla="*/ 6261 w 1662733"/>
              <a:gd name="connsiteY0" fmla="*/ 98598 h 442022"/>
              <a:gd name="connsiteX1" fmla="*/ 0 w 1662733"/>
              <a:gd name="connsiteY1" fmla="*/ 104859 h 442022"/>
              <a:gd name="connsiteX2" fmla="*/ 1662733 w 1662733"/>
              <a:gd name="connsiteY2" fmla="*/ 442022 h 442022"/>
              <a:gd name="connsiteX3" fmla="*/ 1220712 w 1662733"/>
              <a:gd name="connsiteY3" fmla="*/ 0 h 442022"/>
              <a:gd name="connsiteX4" fmla="*/ 6261 w 1662733"/>
              <a:gd name="connsiteY4" fmla="*/ 98598 h 442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62733" h="442022">
                <a:moveTo>
                  <a:pt x="6261" y="98598"/>
                </a:moveTo>
                <a:lnTo>
                  <a:pt x="0" y="104859"/>
                </a:lnTo>
                <a:lnTo>
                  <a:pt x="1662733" y="442022"/>
                </a:lnTo>
                <a:lnTo>
                  <a:pt x="1220712" y="0"/>
                </a:lnTo>
                <a:lnTo>
                  <a:pt x="6261" y="98598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ffectLst>
            <a:outerShdw blurRad="215900" dist="76200" dir="2700000" algn="tl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 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 rot="9900000" flipV="1">
            <a:off x="7045572" y="4194671"/>
            <a:ext cx="798471" cy="465837"/>
          </a:xfrm>
          <a:custGeom>
            <a:avLst/>
            <a:gdLst>
              <a:gd name="connsiteX0" fmla="*/ 465837 w 798471"/>
              <a:gd name="connsiteY0" fmla="*/ 0 h 465837"/>
              <a:gd name="connsiteX1" fmla="*/ 0 w 798471"/>
              <a:gd name="connsiteY1" fmla="*/ 465836 h 465837"/>
              <a:gd name="connsiteX2" fmla="*/ 63451 w 798471"/>
              <a:gd name="connsiteY2" fmla="*/ 465837 h 465837"/>
              <a:gd name="connsiteX3" fmla="*/ 798471 w 798471"/>
              <a:gd name="connsiteY3" fmla="*/ 60155 h 465837"/>
              <a:gd name="connsiteX4" fmla="*/ 465837 w 798471"/>
              <a:gd name="connsiteY4" fmla="*/ 0 h 465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8471" h="465837">
                <a:moveTo>
                  <a:pt x="465837" y="0"/>
                </a:moveTo>
                <a:lnTo>
                  <a:pt x="0" y="465836"/>
                </a:lnTo>
                <a:lnTo>
                  <a:pt x="63451" y="465837"/>
                </a:lnTo>
                <a:lnTo>
                  <a:pt x="798471" y="60155"/>
                </a:lnTo>
                <a:lnTo>
                  <a:pt x="465837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ffectLst>
            <a:outerShdw blurRad="215900" dist="76200" dir="2700000" algn="tl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Freeform 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 rot="9900000" flipV="1">
            <a:off x="7165995" y="2582774"/>
            <a:ext cx="5303625" cy="1424972"/>
          </a:xfrm>
          <a:custGeom>
            <a:avLst/>
            <a:gdLst>
              <a:gd name="connsiteX0" fmla="*/ 0 w 5303625"/>
              <a:gd name="connsiteY0" fmla="*/ 0 h 1424972"/>
              <a:gd name="connsiteX1" fmla="*/ 0 w 5303625"/>
              <a:gd name="connsiteY1" fmla="*/ 1424972 h 1424972"/>
              <a:gd name="connsiteX2" fmla="*/ 4837788 w 5303625"/>
              <a:gd name="connsiteY2" fmla="*/ 1424972 h 1424972"/>
              <a:gd name="connsiteX3" fmla="*/ 5303625 w 5303625"/>
              <a:gd name="connsiteY3" fmla="*/ 959136 h 1424972"/>
              <a:gd name="connsiteX4" fmla="*/ 0 w 5303625"/>
              <a:gd name="connsiteY4" fmla="*/ 0 h 1424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3625" h="1424972">
                <a:moveTo>
                  <a:pt x="0" y="0"/>
                </a:moveTo>
                <a:lnTo>
                  <a:pt x="0" y="1424972"/>
                </a:lnTo>
                <a:lnTo>
                  <a:pt x="4837788" y="1424972"/>
                </a:lnTo>
                <a:lnTo>
                  <a:pt x="5303625" y="95913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215900" dist="76200" dir="2700000" algn="tl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" name="Freeform 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 rot="9900000" flipV="1">
            <a:off x="4516575" y="2597430"/>
            <a:ext cx="26520" cy="6261"/>
          </a:xfrm>
          <a:custGeom>
            <a:avLst/>
            <a:gdLst>
              <a:gd name="connsiteX0" fmla="*/ 0 w 26520"/>
              <a:gd name="connsiteY0" fmla="*/ 2153 h 6261"/>
              <a:gd name="connsiteX1" fmla="*/ 20259 w 26520"/>
              <a:gd name="connsiteY1" fmla="*/ 6261 h 6261"/>
              <a:gd name="connsiteX2" fmla="*/ 26520 w 26520"/>
              <a:gd name="connsiteY2" fmla="*/ 0 h 6261"/>
              <a:gd name="connsiteX3" fmla="*/ 0 w 26520"/>
              <a:gd name="connsiteY3" fmla="*/ 2153 h 6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520" h="6261">
                <a:moveTo>
                  <a:pt x="0" y="2153"/>
                </a:moveTo>
                <a:lnTo>
                  <a:pt x="20259" y="6261"/>
                </a:lnTo>
                <a:lnTo>
                  <a:pt x="26520" y="0"/>
                </a:lnTo>
                <a:lnTo>
                  <a:pt x="0" y="2153"/>
                </a:lnTo>
                <a:close/>
              </a:path>
            </a:pathLst>
          </a:custGeom>
          <a:gradFill>
            <a:gsLst>
              <a:gs pos="0">
                <a:schemeClr val="accent4">
                  <a:alpha val="60000"/>
                </a:schemeClr>
              </a:gs>
              <a:gs pos="100000">
                <a:schemeClr val="accent2">
                  <a:alpha val="60000"/>
                </a:schemeClr>
              </a:gs>
            </a:gsLst>
            <a:lin ang="2700000" scaled="0"/>
          </a:gradFill>
          <a:ln>
            <a:noFill/>
          </a:ln>
          <a:effectLst>
            <a:outerShdw blurRad="215900" dist="76200" dir="2700000" algn="tl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Freeform 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 rot="9900000" flipV="1">
            <a:off x="3146303" y="2486172"/>
            <a:ext cx="3953566" cy="2343330"/>
          </a:xfrm>
          <a:custGeom>
            <a:avLst/>
            <a:gdLst>
              <a:gd name="connsiteX0" fmla="*/ 2283174 w 3953566"/>
              <a:gd name="connsiteY0" fmla="*/ 0 h 2343330"/>
              <a:gd name="connsiteX1" fmla="*/ 0 w 3953566"/>
              <a:gd name="connsiteY1" fmla="*/ 2283175 h 2343330"/>
              <a:gd name="connsiteX2" fmla="*/ 332634 w 3953566"/>
              <a:gd name="connsiteY2" fmla="*/ 2343330 h 2343330"/>
              <a:gd name="connsiteX3" fmla="*/ 3953566 w 3953566"/>
              <a:gd name="connsiteY3" fmla="*/ 344822 h 2343330"/>
              <a:gd name="connsiteX4" fmla="*/ 3945907 w 3953566"/>
              <a:gd name="connsiteY4" fmla="*/ 337163 h 2343330"/>
              <a:gd name="connsiteX5" fmla="*/ 2283174 w 3953566"/>
              <a:gd name="connsiteY5" fmla="*/ 0 h 2343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3566" h="2343330">
                <a:moveTo>
                  <a:pt x="2283174" y="0"/>
                </a:moveTo>
                <a:lnTo>
                  <a:pt x="0" y="2283175"/>
                </a:lnTo>
                <a:lnTo>
                  <a:pt x="332634" y="2343330"/>
                </a:lnTo>
                <a:lnTo>
                  <a:pt x="3953566" y="344822"/>
                </a:lnTo>
                <a:lnTo>
                  <a:pt x="3945907" y="337163"/>
                </a:lnTo>
                <a:lnTo>
                  <a:pt x="2283174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215900" dist="76200" dir="2700000" algn="tl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Freeform 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 rot="9900000" flipV="1">
            <a:off x="-304925" y="2998335"/>
            <a:ext cx="3793694" cy="1420299"/>
          </a:xfrm>
          <a:custGeom>
            <a:avLst/>
            <a:gdLst>
              <a:gd name="connsiteX0" fmla="*/ 0 w 3793694"/>
              <a:gd name="connsiteY0" fmla="*/ 298637 h 1420299"/>
              <a:gd name="connsiteX1" fmla="*/ 442021 w 3793694"/>
              <a:gd name="connsiteY1" fmla="*/ 740659 h 1420299"/>
              <a:gd name="connsiteX2" fmla="*/ 3793694 w 3793694"/>
              <a:gd name="connsiteY2" fmla="*/ 1420299 h 1420299"/>
              <a:gd name="connsiteX3" fmla="*/ 3678385 w 3793694"/>
              <a:gd name="connsiteY3" fmla="*/ 0 h 1420299"/>
              <a:gd name="connsiteX4" fmla="*/ 0 w 3793694"/>
              <a:gd name="connsiteY4" fmla="*/ 298637 h 1420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3694" h="1420299">
                <a:moveTo>
                  <a:pt x="0" y="298637"/>
                </a:moveTo>
                <a:lnTo>
                  <a:pt x="442021" y="740659"/>
                </a:lnTo>
                <a:lnTo>
                  <a:pt x="3793694" y="1420299"/>
                </a:lnTo>
                <a:lnTo>
                  <a:pt x="3678385" y="0"/>
                </a:lnTo>
                <a:lnTo>
                  <a:pt x="0" y="29863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215900" dist="76200" dir="2700000" algn="tl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TextBox 1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799628" y="818870"/>
            <a:ext cx="449674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3200" b="1">
                <a:gradFill>
                  <a:gsLst>
                    <a:gs pos="0">
                      <a:schemeClr val="accent1"/>
                    </a:gs>
                    <a:gs pos="100000">
                      <a:schemeClr val="accent4"/>
                    </a:gs>
                  </a:gsLst>
                  <a:lin ang="2700000" scaled="0"/>
                </a:gradFill>
                <a:latin typeface="Open Sans SemiBold" charset="0"/>
                <a:ea typeface="Open Sans SemiBold" charset="0"/>
                <a:cs typeface="Open Sans SemiBold" charset="0"/>
              </a:rPr>
              <a:t>ABOUT COOPERATION</a:t>
            </a:r>
            <a:endParaRPr lang="en-US" sz="3200" b="1" dirty="0">
              <a:gradFill>
                <a:gsLst>
                  <a:gs pos="0">
                    <a:schemeClr val="accent1"/>
                  </a:gs>
                  <a:gs pos="100000">
                    <a:schemeClr val="accent4"/>
                  </a:gs>
                </a:gsLst>
                <a:lin ang="2700000" scaled="0"/>
              </a:gradFill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15" name="TextBox 1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716857" y="1401307"/>
            <a:ext cx="466228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You can use with or without spacing and pick up </a:t>
            </a:r>
          </a:p>
        </p:txBody>
      </p:sp>
      <p:sp>
        <p:nvSpPr>
          <p:cNvPr id="19" name="TextBox 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C79709B-AAAA-4F31-B2E2-1DE082F6F32C}"/>
              </a:ext>
            </a:extLst>
          </p:cNvPr>
          <p:cNvSpPr txBox="1"/>
          <p:nvPr/>
        </p:nvSpPr>
        <p:spPr>
          <a:xfrm>
            <a:off x="6665073" y="4695092"/>
            <a:ext cx="40398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spc="3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YOUR TEXT HERE</a:t>
            </a:r>
          </a:p>
        </p:txBody>
      </p:sp>
      <p:sp>
        <p:nvSpPr>
          <p:cNvPr id="22" name="TextBox 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9700590F-1A80-4078-80F5-7C610910232E}"/>
              </a:ext>
            </a:extLst>
          </p:cNvPr>
          <p:cNvSpPr txBox="1"/>
          <p:nvPr/>
        </p:nvSpPr>
        <p:spPr>
          <a:xfrm>
            <a:off x="6689669" y="4911803"/>
            <a:ext cx="3724442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/>
              <a:t>Hey, hey, hey! It's Fat </a:t>
            </a:r>
            <a:r>
              <a:rPr lang="en-US" altLang="zh-CN" sz="1200" dirty="0"/>
              <a:t>Company</a:t>
            </a:r>
            <a:r>
              <a:rPr lang="zh-CN" altLang="en-US" sz="1200" dirty="0"/>
              <a:t>! Now I'm gonna sing a song for you, and this is gonna show you a thing or two. You'll have some fun now With me and the gang, learning from each other While we do our thing.</a:t>
            </a:r>
            <a:endParaRPr lang="en-US" altLang="zh-CN" sz="1200" dirty="0"/>
          </a:p>
          <a:p>
            <a:endParaRPr lang="zh-CN" altLang="en-US" sz="1200" dirty="0"/>
          </a:p>
        </p:txBody>
      </p:sp>
      <p:sp>
        <p:nvSpPr>
          <p:cNvPr id="23" name="TextBox 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8382ABC6-3F54-41A9-91DD-4D18D56DE277}"/>
              </a:ext>
            </a:extLst>
          </p:cNvPr>
          <p:cNvSpPr txBox="1"/>
          <p:nvPr/>
        </p:nvSpPr>
        <p:spPr>
          <a:xfrm>
            <a:off x="948940" y="4592804"/>
            <a:ext cx="1134837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3200" dirty="0">
                <a:latin typeface="+mj-lt"/>
              </a:rPr>
              <a:t>01</a:t>
            </a:r>
          </a:p>
        </p:txBody>
      </p:sp>
      <p:sp>
        <p:nvSpPr>
          <p:cNvPr id="24" name="TextBox 1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40FEC9E3-0988-4A23-921B-D88D5D560111}"/>
              </a:ext>
            </a:extLst>
          </p:cNvPr>
          <p:cNvSpPr txBox="1"/>
          <p:nvPr/>
        </p:nvSpPr>
        <p:spPr>
          <a:xfrm>
            <a:off x="3394274" y="4573754"/>
            <a:ext cx="1134837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3200" dirty="0">
                <a:latin typeface="+mj-lt"/>
              </a:rPr>
              <a:t>02</a:t>
            </a:r>
          </a:p>
        </p:txBody>
      </p:sp>
      <p:sp>
        <p:nvSpPr>
          <p:cNvPr id="25" name="Rectangle 3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876AF670-F095-45B0-96F5-C93D335C7DC7}"/>
              </a:ext>
            </a:extLst>
          </p:cNvPr>
          <p:cNvSpPr/>
          <p:nvPr/>
        </p:nvSpPr>
        <p:spPr>
          <a:xfrm>
            <a:off x="1026926" y="5245513"/>
            <a:ext cx="204802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000" i="1" dirty="0">
                <a:cs typeface="Segoe UI Light" panose="020B0502040204020203" pitchFamily="34" charset="0"/>
              </a:rPr>
              <a:t>Hey, hey, hey! It's Fat Company! Now I'm </a:t>
            </a:r>
            <a:r>
              <a:rPr lang="en-US" sz="1000" i="1" dirty="0" err="1">
                <a:cs typeface="Segoe UI Light" panose="020B0502040204020203" pitchFamily="34" charset="0"/>
              </a:rPr>
              <a:t>gonna</a:t>
            </a:r>
            <a:r>
              <a:rPr lang="en-US" sz="1000" i="1" dirty="0">
                <a:cs typeface="Segoe UI Light" panose="020B0502040204020203" pitchFamily="34" charset="0"/>
              </a:rPr>
              <a:t> sing a song for you, and this is </a:t>
            </a:r>
            <a:r>
              <a:rPr lang="en-US" sz="1000" i="1" dirty="0" err="1">
                <a:cs typeface="Segoe UI Light" panose="020B0502040204020203" pitchFamily="34" charset="0"/>
              </a:rPr>
              <a:t>gonna</a:t>
            </a:r>
            <a:r>
              <a:rPr lang="en-US" sz="1000" i="1" dirty="0">
                <a:cs typeface="Segoe UI Light" panose="020B0502040204020203" pitchFamily="34" charset="0"/>
              </a:rPr>
              <a:t> show you</a:t>
            </a:r>
          </a:p>
        </p:txBody>
      </p:sp>
      <p:grpSp>
        <p:nvGrpSpPr>
          <p:cNvPr id="26" name="Group 3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0D8F265-BF78-442B-A850-24F8D30623FE}"/>
              </a:ext>
            </a:extLst>
          </p:cNvPr>
          <p:cNvGrpSpPr/>
          <p:nvPr/>
        </p:nvGrpSpPr>
        <p:grpSpPr>
          <a:xfrm>
            <a:off x="1094384" y="6090340"/>
            <a:ext cx="1016028" cy="166655"/>
            <a:chOff x="9395730" y="4795397"/>
            <a:chExt cx="869563" cy="142630"/>
          </a:xfrm>
        </p:grpSpPr>
        <p:sp>
          <p:nvSpPr>
            <p:cNvPr id="27" name="Star: 5 Points 34">
              <a:extLst>
                <a:ext uri="{FF2B5EF4-FFF2-40B4-BE49-F238E27FC236}">
                  <a16:creationId xmlns:a16="http://schemas.microsoft.com/office/drawing/2014/main" id="{141DA1D8-6FA2-43A0-BD81-AD8895027585}"/>
                </a:ext>
              </a:extLst>
            </p:cNvPr>
            <p:cNvSpPr/>
            <p:nvPr/>
          </p:nvSpPr>
          <p:spPr>
            <a:xfrm>
              <a:off x="9395730" y="4799232"/>
              <a:ext cx="138795" cy="138795"/>
            </a:xfrm>
            <a:prstGeom prst="star5">
              <a:avLst>
                <a:gd name="adj" fmla="val 28981"/>
                <a:gd name="hf" fmla="val 105146"/>
                <a:gd name="vf" fmla="val 11055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125">
                <a:solidFill>
                  <a:schemeClr val="bg1"/>
                </a:solidFill>
              </a:endParaRPr>
            </a:p>
          </p:txBody>
        </p:sp>
        <p:sp>
          <p:nvSpPr>
            <p:cNvPr id="28" name="Star: 5 Points 35">
              <a:extLst>
                <a:ext uri="{FF2B5EF4-FFF2-40B4-BE49-F238E27FC236}">
                  <a16:creationId xmlns:a16="http://schemas.microsoft.com/office/drawing/2014/main" id="{D6F6DF4E-55CF-42AA-AD1A-C5DA662BBD78}"/>
                </a:ext>
              </a:extLst>
            </p:cNvPr>
            <p:cNvSpPr/>
            <p:nvPr/>
          </p:nvSpPr>
          <p:spPr>
            <a:xfrm>
              <a:off x="9579295" y="4797315"/>
              <a:ext cx="138795" cy="138795"/>
            </a:xfrm>
            <a:prstGeom prst="star5">
              <a:avLst>
                <a:gd name="adj" fmla="val 28981"/>
                <a:gd name="hf" fmla="val 105146"/>
                <a:gd name="vf" fmla="val 11055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125">
                <a:solidFill>
                  <a:schemeClr val="bg1"/>
                </a:solidFill>
              </a:endParaRPr>
            </a:p>
          </p:txBody>
        </p:sp>
        <p:sp>
          <p:nvSpPr>
            <p:cNvPr id="29" name="Star: 5 Points 36">
              <a:extLst>
                <a:ext uri="{FF2B5EF4-FFF2-40B4-BE49-F238E27FC236}">
                  <a16:creationId xmlns:a16="http://schemas.microsoft.com/office/drawing/2014/main" id="{9772DCDC-6140-41DA-91C3-5958BB66AEA0}"/>
                </a:ext>
              </a:extLst>
            </p:cNvPr>
            <p:cNvSpPr/>
            <p:nvPr/>
          </p:nvSpPr>
          <p:spPr>
            <a:xfrm>
              <a:off x="9762860" y="4797315"/>
              <a:ext cx="138795" cy="138795"/>
            </a:xfrm>
            <a:prstGeom prst="star5">
              <a:avLst>
                <a:gd name="adj" fmla="val 28981"/>
                <a:gd name="hf" fmla="val 105146"/>
                <a:gd name="vf" fmla="val 11055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125">
                <a:solidFill>
                  <a:schemeClr val="bg1"/>
                </a:solidFill>
              </a:endParaRPr>
            </a:p>
          </p:txBody>
        </p:sp>
        <p:sp>
          <p:nvSpPr>
            <p:cNvPr id="30" name="Star: 5 Points 37">
              <a:extLst>
                <a:ext uri="{FF2B5EF4-FFF2-40B4-BE49-F238E27FC236}">
                  <a16:creationId xmlns:a16="http://schemas.microsoft.com/office/drawing/2014/main" id="{39B1CCE1-1AE5-41FC-939E-123C90A206FC}"/>
                </a:ext>
              </a:extLst>
            </p:cNvPr>
            <p:cNvSpPr/>
            <p:nvPr/>
          </p:nvSpPr>
          <p:spPr>
            <a:xfrm>
              <a:off x="9946425" y="4795398"/>
              <a:ext cx="138795" cy="138795"/>
            </a:xfrm>
            <a:prstGeom prst="star5">
              <a:avLst>
                <a:gd name="adj" fmla="val 28981"/>
                <a:gd name="hf" fmla="val 105146"/>
                <a:gd name="vf" fmla="val 11055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125">
                <a:solidFill>
                  <a:schemeClr val="bg1"/>
                </a:solidFill>
              </a:endParaRPr>
            </a:p>
          </p:txBody>
        </p:sp>
        <p:sp>
          <p:nvSpPr>
            <p:cNvPr id="31" name="Star: 5 Points 38">
              <a:extLst>
                <a:ext uri="{FF2B5EF4-FFF2-40B4-BE49-F238E27FC236}">
                  <a16:creationId xmlns:a16="http://schemas.microsoft.com/office/drawing/2014/main" id="{4D74E044-5CF1-4D02-8881-1F7452F26AB4}"/>
                </a:ext>
              </a:extLst>
            </p:cNvPr>
            <p:cNvSpPr/>
            <p:nvPr/>
          </p:nvSpPr>
          <p:spPr>
            <a:xfrm>
              <a:off x="10126498" y="4795397"/>
              <a:ext cx="138795" cy="138795"/>
            </a:xfrm>
            <a:prstGeom prst="star5">
              <a:avLst>
                <a:gd name="adj" fmla="val 28981"/>
                <a:gd name="hf" fmla="val 105146"/>
                <a:gd name="vf" fmla="val 11055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125">
                <a:solidFill>
                  <a:schemeClr val="bg1"/>
                </a:solidFill>
              </a:endParaRPr>
            </a:p>
          </p:txBody>
        </p:sp>
      </p:grpSp>
      <p:sp>
        <p:nvSpPr>
          <p:cNvPr id="32" name="Rectangle 4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BC4AA373-463F-46EB-B2DE-D004627969EF}"/>
              </a:ext>
            </a:extLst>
          </p:cNvPr>
          <p:cNvSpPr/>
          <p:nvPr/>
        </p:nvSpPr>
        <p:spPr>
          <a:xfrm>
            <a:off x="3352186" y="5212609"/>
            <a:ext cx="204802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000" i="1" dirty="0">
                <a:cs typeface="Segoe UI Light" panose="020B0502040204020203" pitchFamily="34" charset="0"/>
              </a:rPr>
              <a:t>Hey, hey, hey! It's Fat Company! Now I'm </a:t>
            </a:r>
            <a:r>
              <a:rPr lang="en-US" altLang="zh-CN" sz="1000" i="1" dirty="0" err="1">
                <a:cs typeface="Segoe UI Light" panose="020B0502040204020203" pitchFamily="34" charset="0"/>
              </a:rPr>
              <a:t>gonna</a:t>
            </a:r>
            <a:r>
              <a:rPr lang="en-US" altLang="zh-CN" sz="1000" i="1" dirty="0">
                <a:cs typeface="Segoe UI Light" panose="020B0502040204020203" pitchFamily="34" charset="0"/>
              </a:rPr>
              <a:t> sing a song for you, and this is </a:t>
            </a:r>
            <a:r>
              <a:rPr lang="en-US" altLang="zh-CN" sz="1000" i="1" dirty="0" err="1">
                <a:cs typeface="Segoe UI Light" panose="020B0502040204020203" pitchFamily="34" charset="0"/>
              </a:rPr>
              <a:t>gonna</a:t>
            </a:r>
            <a:r>
              <a:rPr lang="en-US" altLang="zh-CN" sz="1000" i="1" dirty="0">
                <a:cs typeface="Segoe UI Light" panose="020B0502040204020203" pitchFamily="34" charset="0"/>
              </a:rPr>
              <a:t> show you</a:t>
            </a:r>
          </a:p>
        </p:txBody>
      </p:sp>
      <p:grpSp>
        <p:nvGrpSpPr>
          <p:cNvPr id="33" name="Group 4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1C3C763-3D0A-4825-9347-5ECE6EB5B780}"/>
              </a:ext>
            </a:extLst>
          </p:cNvPr>
          <p:cNvGrpSpPr/>
          <p:nvPr/>
        </p:nvGrpSpPr>
        <p:grpSpPr>
          <a:xfrm>
            <a:off x="3419644" y="6057436"/>
            <a:ext cx="1016028" cy="166655"/>
            <a:chOff x="9395730" y="4795397"/>
            <a:chExt cx="869563" cy="142630"/>
          </a:xfrm>
        </p:grpSpPr>
        <p:sp>
          <p:nvSpPr>
            <p:cNvPr id="34" name="Star: 5 Points 43">
              <a:extLst>
                <a:ext uri="{FF2B5EF4-FFF2-40B4-BE49-F238E27FC236}">
                  <a16:creationId xmlns:a16="http://schemas.microsoft.com/office/drawing/2014/main" id="{3AEC07DB-0157-4F6B-9816-6BF4423B7C81}"/>
                </a:ext>
              </a:extLst>
            </p:cNvPr>
            <p:cNvSpPr/>
            <p:nvPr/>
          </p:nvSpPr>
          <p:spPr>
            <a:xfrm>
              <a:off x="9395730" y="4799232"/>
              <a:ext cx="138795" cy="138795"/>
            </a:xfrm>
            <a:prstGeom prst="star5">
              <a:avLst>
                <a:gd name="adj" fmla="val 28981"/>
                <a:gd name="hf" fmla="val 105146"/>
                <a:gd name="vf" fmla="val 11055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125">
                <a:solidFill>
                  <a:schemeClr val="bg1"/>
                </a:solidFill>
              </a:endParaRPr>
            </a:p>
          </p:txBody>
        </p:sp>
        <p:sp>
          <p:nvSpPr>
            <p:cNvPr id="35" name="Star: 5 Points 44">
              <a:extLst>
                <a:ext uri="{FF2B5EF4-FFF2-40B4-BE49-F238E27FC236}">
                  <a16:creationId xmlns:a16="http://schemas.microsoft.com/office/drawing/2014/main" id="{7EFD0394-6F3F-4124-87B5-4C458E0BB077}"/>
                </a:ext>
              </a:extLst>
            </p:cNvPr>
            <p:cNvSpPr/>
            <p:nvPr/>
          </p:nvSpPr>
          <p:spPr>
            <a:xfrm>
              <a:off x="9579295" y="4797315"/>
              <a:ext cx="138795" cy="138795"/>
            </a:xfrm>
            <a:prstGeom prst="star5">
              <a:avLst>
                <a:gd name="adj" fmla="val 28981"/>
                <a:gd name="hf" fmla="val 105146"/>
                <a:gd name="vf" fmla="val 11055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125">
                <a:solidFill>
                  <a:schemeClr val="bg1"/>
                </a:solidFill>
              </a:endParaRPr>
            </a:p>
          </p:txBody>
        </p:sp>
        <p:sp>
          <p:nvSpPr>
            <p:cNvPr id="36" name="Star: 5 Points 45">
              <a:extLst>
                <a:ext uri="{FF2B5EF4-FFF2-40B4-BE49-F238E27FC236}">
                  <a16:creationId xmlns:a16="http://schemas.microsoft.com/office/drawing/2014/main" id="{D70091D2-5DBC-4EAF-9266-291A7F5A350D}"/>
                </a:ext>
              </a:extLst>
            </p:cNvPr>
            <p:cNvSpPr/>
            <p:nvPr/>
          </p:nvSpPr>
          <p:spPr>
            <a:xfrm>
              <a:off x="9762860" y="4797315"/>
              <a:ext cx="138795" cy="138795"/>
            </a:xfrm>
            <a:prstGeom prst="star5">
              <a:avLst>
                <a:gd name="adj" fmla="val 28981"/>
                <a:gd name="hf" fmla="val 105146"/>
                <a:gd name="vf" fmla="val 11055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125">
                <a:solidFill>
                  <a:schemeClr val="bg1"/>
                </a:solidFill>
              </a:endParaRPr>
            </a:p>
          </p:txBody>
        </p:sp>
        <p:sp>
          <p:nvSpPr>
            <p:cNvPr id="37" name="Star: 5 Points 46">
              <a:extLst>
                <a:ext uri="{FF2B5EF4-FFF2-40B4-BE49-F238E27FC236}">
                  <a16:creationId xmlns:a16="http://schemas.microsoft.com/office/drawing/2014/main" id="{D375A5D9-5139-4C8A-97CC-4279EFE68E4A}"/>
                </a:ext>
              </a:extLst>
            </p:cNvPr>
            <p:cNvSpPr/>
            <p:nvPr/>
          </p:nvSpPr>
          <p:spPr>
            <a:xfrm>
              <a:off x="9946425" y="4795398"/>
              <a:ext cx="138795" cy="138795"/>
            </a:xfrm>
            <a:prstGeom prst="star5">
              <a:avLst>
                <a:gd name="adj" fmla="val 28981"/>
                <a:gd name="hf" fmla="val 105146"/>
                <a:gd name="vf" fmla="val 11055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125">
                <a:solidFill>
                  <a:schemeClr val="bg1"/>
                </a:solidFill>
              </a:endParaRPr>
            </a:p>
          </p:txBody>
        </p:sp>
        <p:sp>
          <p:nvSpPr>
            <p:cNvPr id="38" name="Star: 5 Points 47">
              <a:extLst>
                <a:ext uri="{FF2B5EF4-FFF2-40B4-BE49-F238E27FC236}">
                  <a16:creationId xmlns:a16="http://schemas.microsoft.com/office/drawing/2014/main" id="{C79DE3FC-11FA-4003-AA2A-A1B5941BC44E}"/>
                </a:ext>
              </a:extLst>
            </p:cNvPr>
            <p:cNvSpPr/>
            <p:nvPr/>
          </p:nvSpPr>
          <p:spPr>
            <a:xfrm>
              <a:off x="10126498" y="4795397"/>
              <a:ext cx="138795" cy="138795"/>
            </a:xfrm>
            <a:prstGeom prst="star5">
              <a:avLst>
                <a:gd name="adj" fmla="val 28981"/>
                <a:gd name="hf" fmla="val 105146"/>
                <a:gd name="vf" fmla="val 110557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125">
                <a:solidFill>
                  <a:schemeClr val="bg1"/>
                </a:solidFill>
              </a:endParaRPr>
            </a:p>
          </p:txBody>
        </p:sp>
      </p:grpSp>
      <p:sp>
        <p:nvSpPr>
          <p:cNvPr id="2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3209493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0" y="0"/>
            <a:ext cx="12192000" cy="11684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1"/>
              </a:gs>
            </a:gsLst>
            <a:lin ang="2700000" scaled="0"/>
          </a:gradFill>
          <a:ln>
            <a:noFill/>
          </a:ln>
          <a:effectLst>
            <a:outerShdw blurRad="406400" dist="76200" dir="2700000" algn="tl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610299" y="614361"/>
            <a:ext cx="2531533" cy="31712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665162" y="4206988"/>
            <a:ext cx="10934171" cy="1076604"/>
          </a:xfrm>
          <a:prstGeom prst="rect">
            <a:avLst/>
          </a:prstGeom>
          <a:noFill/>
          <a:ln>
            <a:solidFill>
              <a:schemeClr val="accent1">
                <a:shade val="50000"/>
                <a:alpha val="49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12" name="Straight Connector 1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CxnSpPr/>
          <p:nvPr/>
        </p:nvCxnSpPr>
        <p:spPr>
          <a:xfrm>
            <a:off x="4309886" y="4233724"/>
            <a:ext cx="0" cy="10498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CxnSpPr/>
          <p:nvPr/>
        </p:nvCxnSpPr>
        <p:spPr>
          <a:xfrm>
            <a:off x="7954610" y="4233724"/>
            <a:ext cx="0" cy="10498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GrpSpPr/>
          <p:nvPr/>
        </p:nvGrpSpPr>
        <p:grpSpPr>
          <a:xfrm>
            <a:off x="9336702" y="1575329"/>
            <a:ext cx="982134" cy="982134"/>
            <a:chOff x="9309270" y="1575329"/>
            <a:chExt cx="982134" cy="982134"/>
          </a:xfrm>
        </p:grpSpPr>
        <p:sp>
          <p:nvSpPr>
            <p:cNvPr id="8" name="Freeform 7"/>
            <p:cNvSpPr/>
            <p:nvPr/>
          </p:nvSpPr>
          <p:spPr>
            <a:xfrm>
              <a:off x="9309270" y="1575329"/>
              <a:ext cx="982134" cy="982134"/>
            </a:xfrm>
            <a:custGeom>
              <a:avLst/>
              <a:gdLst>
                <a:gd name="connsiteX0" fmla="*/ 127746 w 982134"/>
                <a:gd name="connsiteY0" fmla="*/ 0 h 982134"/>
                <a:gd name="connsiteX1" fmla="*/ 854388 w 982134"/>
                <a:gd name="connsiteY1" fmla="*/ 0 h 982134"/>
                <a:gd name="connsiteX2" fmla="*/ 982134 w 982134"/>
                <a:gd name="connsiteY2" fmla="*/ 127746 h 982134"/>
                <a:gd name="connsiteX3" fmla="*/ 982134 w 982134"/>
                <a:gd name="connsiteY3" fmla="*/ 854388 h 982134"/>
                <a:gd name="connsiteX4" fmla="*/ 854388 w 982134"/>
                <a:gd name="connsiteY4" fmla="*/ 982134 h 982134"/>
                <a:gd name="connsiteX5" fmla="*/ 127746 w 982134"/>
                <a:gd name="connsiteY5" fmla="*/ 982134 h 982134"/>
                <a:gd name="connsiteX6" fmla="*/ 0 w 982134"/>
                <a:gd name="connsiteY6" fmla="*/ 854388 h 982134"/>
                <a:gd name="connsiteX7" fmla="*/ 0 w 982134"/>
                <a:gd name="connsiteY7" fmla="*/ 127746 h 982134"/>
                <a:gd name="connsiteX8" fmla="*/ 127746 w 982134"/>
                <a:gd name="connsiteY8" fmla="*/ 0 h 982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2134" h="982134">
                  <a:moveTo>
                    <a:pt x="127746" y="0"/>
                  </a:moveTo>
                  <a:lnTo>
                    <a:pt x="854388" y="0"/>
                  </a:lnTo>
                  <a:cubicBezTo>
                    <a:pt x="924940" y="0"/>
                    <a:pt x="982134" y="57194"/>
                    <a:pt x="982134" y="127746"/>
                  </a:cubicBezTo>
                  <a:lnTo>
                    <a:pt x="982134" y="854388"/>
                  </a:lnTo>
                  <a:cubicBezTo>
                    <a:pt x="982134" y="924940"/>
                    <a:pt x="924940" y="982134"/>
                    <a:pt x="854388" y="982134"/>
                  </a:cubicBezTo>
                  <a:lnTo>
                    <a:pt x="127746" y="982134"/>
                  </a:lnTo>
                  <a:cubicBezTo>
                    <a:pt x="57194" y="982134"/>
                    <a:pt x="0" y="924940"/>
                    <a:pt x="0" y="854388"/>
                  </a:cubicBezTo>
                  <a:lnTo>
                    <a:pt x="0" y="127746"/>
                  </a:lnTo>
                  <a:cubicBezTo>
                    <a:pt x="0" y="57194"/>
                    <a:pt x="57194" y="0"/>
                    <a:pt x="12774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9527826" y="1898224"/>
              <a:ext cx="642805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3200" b="1" spc="300">
                  <a:solidFill>
                    <a:schemeClr val="bg1"/>
                  </a:solidFill>
                  <a:ea typeface="Open Sans SemiBold" charset="0"/>
                  <a:cs typeface="Open Sans SemiBold" charset="0"/>
                </a:rPr>
                <a:t>+8</a:t>
              </a:r>
            </a:p>
          </p:txBody>
        </p:sp>
      </p:grpSp>
      <p:sp>
        <p:nvSpPr>
          <p:cNvPr id="23" name="TextBox 2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10507134" y="2126576"/>
            <a:ext cx="108373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ea typeface="Open Sans" charset="0"/>
                <a:cs typeface="Open Sans" charset="0"/>
              </a:rPr>
              <a:t>more people in team</a:t>
            </a:r>
          </a:p>
        </p:txBody>
      </p:sp>
      <p:sp>
        <p:nvSpPr>
          <p:cNvPr id="25" name="TextBox 2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1264424" y="3049054"/>
            <a:ext cx="122328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b="1" dirty="0">
                <a:ea typeface="Open Sans SemiBold" charset="0"/>
                <a:cs typeface="Open Sans SemiBold" charset="0"/>
              </a:rPr>
              <a:t>Company</a:t>
            </a:r>
          </a:p>
        </p:txBody>
      </p:sp>
      <p:sp>
        <p:nvSpPr>
          <p:cNvPr id="26" name="TextBox 2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1414399" y="3366185"/>
            <a:ext cx="92333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i="1">
                <a:ea typeface="Open Sans Light" charset="0"/>
                <a:cs typeface="Open Sans Light" charset="0"/>
              </a:rPr>
              <a:t>Founder</a:t>
            </a:r>
          </a:p>
        </p:txBody>
      </p:sp>
      <p:sp>
        <p:nvSpPr>
          <p:cNvPr id="28" name="TextBox 2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5667997" y="4309418"/>
            <a:ext cx="85600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3600" b="1">
                <a:ea typeface="Open Sans SemiBold" charset="0"/>
                <a:cs typeface="Open Sans SemiBold" charset="0"/>
              </a:rPr>
              <a:t>890</a:t>
            </a:r>
          </a:p>
        </p:txBody>
      </p:sp>
      <p:sp>
        <p:nvSpPr>
          <p:cNvPr id="29" name="TextBox 2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5149874" y="4863416"/>
            <a:ext cx="189224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>
                <a:ea typeface="Open Sans" charset="0"/>
                <a:cs typeface="Open Sans" charset="0"/>
              </a:rPr>
              <a:t>Award Winning</a:t>
            </a:r>
          </a:p>
        </p:txBody>
      </p:sp>
      <p:sp>
        <p:nvSpPr>
          <p:cNvPr id="30" name="TextBox 2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9134169" y="4309418"/>
            <a:ext cx="128560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3600" b="1">
                <a:ea typeface="Open Sans SemiBold" charset="0"/>
                <a:cs typeface="Open Sans SemiBold" charset="0"/>
              </a:rPr>
              <a:t>100%</a:t>
            </a:r>
          </a:p>
        </p:txBody>
      </p:sp>
      <p:sp>
        <p:nvSpPr>
          <p:cNvPr id="31" name="TextBox 3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8682250" y="4863416"/>
            <a:ext cx="218944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>
                <a:ea typeface="Open Sans" charset="0"/>
                <a:cs typeface="Open Sans" charset="0"/>
              </a:rPr>
              <a:t>Happy Customers</a:t>
            </a:r>
          </a:p>
        </p:txBody>
      </p:sp>
      <p:sp>
        <p:nvSpPr>
          <p:cNvPr id="32" name="TextBox 3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1862974" y="4309418"/>
            <a:ext cx="1176604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3600" b="1">
                <a:ea typeface="Open Sans SemiBold" charset="0"/>
                <a:cs typeface="Open Sans SemiBold" charset="0"/>
              </a:rPr>
              <a:t>100K</a:t>
            </a:r>
          </a:p>
        </p:txBody>
      </p:sp>
      <p:sp>
        <p:nvSpPr>
          <p:cNvPr id="33" name="TextBox 3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1308016" y="4863416"/>
            <a:ext cx="228652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>
                <a:ea typeface="Open Sans" charset="0"/>
                <a:cs typeface="Open Sans" charset="0"/>
              </a:rPr>
              <a:t>Project Completed</a:t>
            </a:r>
          </a:p>
        </p:txBody>
      </p:sp>
      <p:sp>
        <p:nvSpPr>
          <p:cNvPr id="34" name="TextBox 3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 flipH="1">
            <a:off x="1142999" y="5579436"/>
            <a:ext cx="9906001" cy="5213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200" dirty="0"/>
              <a:t>Hey, hey, hey! It's Fat </a:t>
            </a:r>
            <a:r>
              <a:rPr lang="en-US" altLang="zh-CN" sz="1200" dirty="0"/>
              <a:t>Company</a:t>
            </a:r>
            <a:r>
              <a:rPr lang="zh-CN" altLang="en-US" sz="1200" dirty="0"/>
              <a:t>! Now I'm gonna sing a song for you, and this is gonna show you a thing or two. You'll have some fun now With me and the gang, learning from each other While we do our thing.</a:t>
            </a:r>
            <a:endParaRPr lang="en-US" altLang="zh-CN" sz="1200" dirty="0"/>
          </a:p>
        </p:txBody>
      </p:sp>
      <p:sp>
        <p:nvSpPr>
          <p:cNvPr id="35" name="TextBox 3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3551935" y="2825892"/>
            <a:ext cx="112210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>
                <a:ea typeface="Open Sans SemiBold" charset="0"/>
                <a:cs typeface="Open Sans SemiBold" charset="0"/>
              </a:rPr>
              <a:t>About us:</a:t>
            </a:r>
          </a:p>
        </p:txBody>
      </p:sp>
      <p:sp>
        <p:nvSpPr>
          <p:cNvPr id="36" name="TextBox 3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 flipH="1">
            <a:off x="3551935" y="3199473"/>
            <a:ext cx="3285068" cy="798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/>
              <a:t>Hey, hey, hey! It's Fat </a:t>
            </a:r>
            <a:r>
              <a:rPr lang="en-US" altLang="zh-CN" sz="1200" dirty="0"/>
              <a:t>Company</a:t>
            </a:r>
            <a:r>
              <a:rPr lang="zh-CN" altLang="en-US" sz="1200" dirty="0"/>
              <a:t>! Now I'm gonna sing a song for you, and this is gonna show you a thing or two. </a:t>
            </a:r>
            <a:endParaRPr lang="en-US" altLang="zh-CN" sz="1200" dirty="0"/>
          </a:p>
        </p:txBody>
      </p:sp>
      <p:grpSp>
        <p:nvGrpSpPr>
          <p:cNvPr id="45" name="Group 4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GrpSpPr/>
          <p:nvPr/>
        </p:nvGrpSpPr>
        <p:grpSpPr>
          <a:xfrm>
            <a:off x="7610052" y="3130709"/>
            <a:ext cx="358626" cy="358626"/>
            <a:chOff x="7793811" y="2801237"/>
            <a:chExt cx="1061357" cy="1061357"/>
          </a:xfrm>
        </p:grpSpPr>
        <p:sp>
          <p:nvSpPr>
            <p:cNvPr id="43" name="Oval 42"/>
            <p:cNvSpPr/>
            <p:nvPr/>
          </p:nvSpPr>
          <p:spPr>
            <a:xfrm>
              <a:off x="7793811" y="2801237"/>
              <a:ext cx="1061357" cy="1061357"/>
            </a:xfrm>
            <a:prstGeom prst="ellipse">
              <a:avLst/>
            </a:prstGeom>
            <a:solidFill>
              <a:srgbClr val="4267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9" name="Freeform 5"/>
            <p:cNvSpPr>
              <a:spLocks/>
            </p:cNvSpPr>
            <p:nvPr/>
          </p:nvSpPr>
          <p:spPr bwMode="auto">
            <a:xfrm>
              <a:off x="8157803" y="3000790"/>
              <a:ext cx="333375" cy="642938"/>
            </a:xfrm>
            <a:custGeom>
              <a:avLst/>
              <a:gdLst>
                <a:gd name="T0" fmla="*/ 112 w 112"/>
                <a:gd name="T1" fmla="*/ 36 h 216"/>
                <a:gd name="T2" fmla="*/ 92 w 112"/>
                <a:gd name="T3" fmla="*/ 36 h 216"/>
                <a:gd name="T4" fmla="*/ 73 w 112"/>
                <a:gd name="T5" fmla="*/ 55 h 216"/>
                <a:gd name="T6" fmla="*/ 73 w 112"/>
                <a:gd name="T7" fmla="*/ 79 h 216"/>
                <a:gd name="T8" fmla="*/ 111 w 112"/>
                <a:gd name="T9" fmla="*/ 79 h 216"/>
                <a:gd name="T10" fmla="*/ 111 w 112"/>
                <a:gd name="T11" fmla="*/ 118 h 216"/>
                <a:gd name="T12" fmla="*/ 73 w 112"/>
                <a:gd name="T13" fmla="*/ 118 h 216"/>
                <a:gd name="T14" fmla="*/ 73 w 112"/>
                <a:gd name="T15" fmla="*/ 216 h 216"/>
                <a:gd name="T16" fmla="*/ 33 w 112"/>
                <a:gd name="T17" fmla="*/ 216 h 216"/>
                <a:gd name="T18" fmla="*/ 33 w 112"/>
                <a:gd name="T19" fmla="*/ 118 h 216"/>
                <a:gd name="T20" fmla="*/ 0 w 112"/>
                <a:gd name="T21" fmla="*/ 118 h 216"/>
                <a:gd name="T22" fmla="*/ 0 w 112"/>
                <a:gd name="T23" fmla="*/ 79 h 216"/>
                <a:gd name="T24" fmla="*/ 33 w 112"/>
                <a:gd name="T25" fmla="*/ 79 h 216"/>
                <a:gd name="T26" fmla="*/ 33 w 112"/>
                <a:gd name="T27" fmla="*/ 51 h 216"/>
                <a:gd name="T28" fmla="*/ 82 w 112"/>
                <a:gd name="T29" fmla="*/ 0 h 216"/>
                <a:gd name="T30" fmla="*/ 112 w 112"/>
                <a:gd name="T31" fmla="*/ 0 h 216"/>
                <a:gd name="T32" fmla="*/ 112 w 112"/>
                <a:gd name="T33" fmla="*/ 3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216">
                  <a:moveTo>
                    <a:pt x="112" y="36"/>
                  </a:moveTo>
                  <a:cubicBezTo>
                    <a:pt x="92" y="36"/>
                    <a:pt x="92" y="36"/>
                    <a:pt x="92" y="36"/>
                  </a:cubicBezTo>
                  <a:cubicBezTo>
                    <a:pt x="76" y="36"/>
                    <a:pt x="73" y="44"/>
                    <a:pt x="73" y="55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1" y="118"/>
                    <a:pt x="111" y="118"/>
                    <a:pt x="111" y="118"/>
                  </a:cubicBezTo>
                  <a:cubicBezTo>
                    <a:pt x="73" y="118"/>
                    <a:pt x="73" y="118"/>
                    <a:pt x="73" y="118"/>
                  </a:cubicBezTo>
                  <a:cubicBezTo>
                    <a:pt x="73" y="216"/>
                    <a:pt x="73" y="216"/>
                    <a:pt x="73" y="216"/>
                  </a:cubicBezTo>
                  <a:cubicBezTo>
                    <a:pt x="33" y="216"/>
                    <a:pt x="33" y="216"/>
                    <a:pt x="33" y="216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18"/>
                    <a:pt x="53" y="0"/>
                    <a:pt x="82" y="0"/>
                  </a:cubicBezTo>
                  <a:cubicBezTo>
                    <a:pt x="112" y="0"/>
                    <a:pt x="112" y="0"/>
                    <a:pt x="112" y="0"/>
                  </a:cubicBezTo>
                  <a:lnTo>
                    <a:pt x="112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46" name="Group 4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GrpSpPr/>
          <p:nvPr/>
        </p:nvGrpSpPr>
        <p:grpSpPr>
          <a:xfrm>
            <a:off x="7610052" y="3578428"/>
            <a:ext cx="358626" cy="358626"/>
            <a:chOff x="8945934" y="2801237"/>
            <a:chExt cx="1061357" cy="1061357"/>
          </a:xfrm>
        </p:grpSpPr>
        <p:sp>
          <p:nvSpPr>
            <p:cNvPr id="44" name="Oval 43"/>
            <p:cNvSpPr/>
            <p:nvPr/>
          </p:nvSpPr>
          <p:spPr>
            <a:xfrm>
              <a:off x="8945934" y="2801237"/>
              <a:ext cx="1061357" cy="1061357"/>
            </a:xfrm>
            <a:prstGeom prst="ellipse">
              <a:avLst/>
            </a:prstGeom>
            <a:solidFill>
              <a:srgbClr val="D248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9199117" y="3002889"/>
              <a:ext cx="628651" cy="646113"/>
              <a:chOff x="3994150" y="17463"/>
              <a:chExt cx="628651" cy="646113"/>
            </a:xfrm>
            <a:solidFill>
              <a:schemeClr val="bg1"/>
            </a:solidFill>
          </p:grpSpPr>
          <p:sp>
            <p:nvSpPr>
              <p:cNvPr id="41" name="Freeform 7"/>
              <p:cNvSpPr>
                <a:spLocks noEditPoints="1"/>
              </p:cNvSpPr>
              <p:nvPr/>
            </p:nvSpPr>
            <p:spPr bwMode="auto">
              <a:xfrm>
                <a:off x="3994150" y="17463"/>
                <a:ext cx="420688" cy="646113"/>
              </a:xfrm>
              <a:custGeom>
                <a:avLst/>
                <a:gdLst>
                  <a:gd name="T0" fmla="*/ 111 w 141"/>
                  <a:gd name="T1" fmla="*/ 124 h 217"/>
                  <a:gd name="T2" fmla="*/ 101 w 141"/>
                  <a:gd name="T3" fmla="*/ 116 h 217"/>
                  <a:gd name="T4" fmla="*/ 94 w 141"/>
                  <a:gd name="T5" fmla="*/ 104 h 217"/>
                  <a:gd name="T6" fmla="*/ 102 w 141"/>
                  <a:gd name="T7" fmla="*/ 90 h 217"/>
                  <a:gd name="T8" fmla="*/ 125 w 141"/>
                  <a:gd name="T9" fmla="*/ 50 h 217"/>
                  <a:gd name="T10" fmla="*/ 105 w 141"/>
                  <a:gd name="T11" fmla="*/ 11 h 217"/>
                  <a:gd name="T12" fmla="*/ 123 w 141"/>
                  <a:gd name="T13" fmla="*/ 11 h 217"/>
                  <a:gd name="T14" fmla="*/ 141 w 141"/>
                  <a:gd name="T15" fmla="*/ 0 h 217"/>
                  <a:gd name="T16" fmla="*/ 85 w 141"/>
                  <a:gd name="T17" fmla="*/ 0 h 217"/>
                  <a:gd name="T18" fmla="*/ 32 w 141"/>
                  <a:gd name="T19" fmla="*/ 17 h 217"/>
                  <a:gd name="T20" fmla="*/ 14 w 141"/>
                  <a:gd name="T21" fmla="*/ 55 h 217"/>
                  <a:gd name="T22" fmla="*/ 61 w 141"/>
                  <a:gd name="T23" fmla="*/ 99 h 217"/>
                  <a:gd name="T24" fmla="*/ 70 w 141"/>
                  <a:gd name="T25" fmla="*/ 98 h 217"/>
                  <a:gd name="T26" fmla="*/ 67 w 141"/>
                  <a:gd name="T27" fmla="*/ 109 h 217"/>
                  <a:gd name="T28" fmla="*/ 76 w 141"/>
                  <a:gd name="T29" fmla="*/ 129 h 217"/>
                  <a:gd name="T30" fmla="*/ 22 w 141"/>
                  <a:gd name="T31" fmla="*/ 142 h 217"/>
                  <a:gd name="T32" fmla="*/ 0 w 141"/>
                  <a:gd name="T33" fmla="*/ 176 h 217"/>
                  <a:gd name="T34" fmla="*/ 61 w 141"/>
                  <a:gd name="T35" fmla="*/ 217 h 217"/>
                  <a:gd name="T36" fmla="*/ 135 w 141"/>
                  <a:gd name="T37" fmla="*/ 163 h 217"/>
                  <a:gd name="T38" fmla="*/ 111 w 141"/>
                  <a:gd name="T39" fmla="*/ 124 h 217"/>
                  <a:gd name="T40" fmla="*/ 74 w 141"/>
                  <a:gd name="T41" fmla="*/ 91 h 217"/>
                  <a:gd name="T42" fmla="*/ 39 w 141"/>
                  <a:gd name="T43" fmla="*/ 41 h 217"/>
                  <a:gd name="T44" fmla="*/ 45 w 141"/>
                  <a:gd name="T45" fmla="*/ 20 h 217"/>
                  <a:gd name="T46" fmla="*/ 65 w 141"/>
                  <a:gd name="T47" fmla="*/ 11 h 217"/>
                  <a:gd name="T48" fmla="*/ 100 w 141"/>
                  <a:gd name="T49" fmla="*/ 63 h 217"/>
                  <a:gd name="T50" fmla="*/ 93 w 141"/>
                  <a:gd name="T51" fmla="*/ 83 h 217"/>
                  <a:gd name="T52" fmla="*/ 74 w 141"/>
                  <a:gd name="T53" fmla="*/ 91 h 217"/>
                  <a:gd name="T54" fmla="*/ 74 w 141"/>
                  <a:gd name="T55" fmla="*/ 205 h 217"/>
                  <a:gd name="T56" fmla="*/ 25 w 141"/>
                  <a:gd name="T57" fmla="*/ 170 h 217"/>
                  <a:gd name="T58" fmla="*/ 49 w 141"/>
                  <a:gd name="T59" fmla="*/ 141 h 217"/>
                  <a:gd name="T60" fmla="*/ 79 w 141"/>
                  <a:gd name="T61" fmla="*/ 137 h 217"/>
                  <a:gd name="T62" fmla="*/ 85 w 141"/>
                  <a:gd name="T63" fmla="*/ 137 h 217"/>
                  <a:gd name="T64" fmla="*/ 116 w 141"/>
                  <a:gd name="T65" fmla="*/ 174 h 217"/>
                  <a:gd name="T66" fmla="*/ 74 w 141"/>
                  <a:gd name="T67" fmla="*/ 205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1" h="217">
                    <a:moveTo>
                      <a:pt x="111" y="124"/>
                    </a:moveTo>
                    <a:cubicBezTo>
                      <a:pt x="101" y="116"/>
                      <a:pt x="101" y="116"/>
                      <a:pt x="101" y="116"/>
                    </a:cubicBezTo>
                    <a:cubicBezTo>
                      <a:pt x="98" y="113"/>
                      <a:pt x="94" y="110"/>
                      <a:pt x="94" y="104"/>
                    </a:cubicBezTo>
                    <a:cubicBezTo>
                      <a:pt x="94" y="97"/>
                      <a:pt x="98" y="93"/>
                      <a:pt x="102" y="90"/>
                    </a:cubicBezTo>
                    <a:cubicBezTo>
                      <a:pt x="113" y="80"/>
                      <a:pt x="125" y="70"/>
                      <a:pt x="125" y="50"/>
                    </a:cubicBezTo>
                    <a:cubicBezTo>
                      <a:pt x="125" y="28"/>
                      <a:pt x="112" y="17"/>
                      <a:pt x="105" y="11"/>
                    </a:cubicBezTo>
                    <a:cubicBezTo>
                      <a:pt x="123" y="11"/>
                      <a:pt x="123" y="11"/>
                      <a:pt x="123" y="11"/>
                    </a:cubicBezTo>
                    <a:cubicBezTo>
                      <a:pt x="141" y="0"/>
                      <a:pt x="141" y="0"/>
                      <a:pt x="141" y="0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70" y="0"/>
                      <a:pt x="48" y="3"/>
                      <a:pt x="32" y="17"/>
                    </a:cubicBezTo>
                    <a:cubicBezTo>
                      <a:pt x="20" y="27"/>
                      <a:pt x="14" y="42"/>
                      <a:pt x="14" y="55"/>
                    </a:cubicBezTo>
                    <a:cubicBezTo>
                      <a:pt x="14" y="77"/>
                      <a:pt x="31" y="99"/>
                      <a:pt x="61" y="99"/>
                    </a:cubicBezTo>
                    <a:cubicBezTo>
                      <a:pt x="64" y="99"/>
                      <a:pt x="67" y="99"/>
                      <a:pt x="70" y="98"/>
                    </a:cubicBezTo>
                    <a:cubicBezTo>
                      <a:pt x="69" y="102"/>
                      <a:pt x="67" y="105"/>
                      <a:pt x="67" y="109"/>
                    </a:cubicBezTo>
                    <a:cubicBezTo>
                      <a:pt x="67" y="118"/>
                      <a:pt x="72" y="124"/>
                      <a:pt x="76" y="129"/>
                    </a:cubicBezTo>
                    <a:cubicBezTo>
                      <a:pt x="63" y="130"/>
                      <a:pt x="39" y="131"/>
                      <a:pt x="22" y="142"/>
                    </a:cubicBezTo>
                    <a:cubicBezTo>
                      <a:pt x="5" y="152"/>
                      <a:pt x="0" y="166"/>
                      <a:pt x="0" y="176"/>
                    </a:cubicBezTo>
                    <a:cubicBezTo>
                      <a:pt x="0" y="197"/>
                      <a:pt x="20" y="217"/>
                      <a:pt x="61" y="217"/>
                    </a:cubicBezTo>
                    <a:cubicBezTo>
                      <a:pt x="109" y="217"/>
                      <a:pt x="135" y="190"/>
                      <a:pt x="135" y="163"/>
                    </a:cubicBezTo>
                    <a:cubicBezTo>
                      <a:pt x="135" y="144"/>
                      <a:pt x="124" y="134"/>
                      <a:pt x="111" y="124"/>
                    </a:cubicBezTo>
                    <a:close/>
                    <a:moveTo>
                      <a:pt x="74" y="91"/>
                    </a:moveTo>
                    <a:cubicBezTo>
                      <a:pt x="50" y="91"/>
                      <a:pt x="39" y="60"/>
                      <a:pt x="39" y="41"/>
                    </a:cubicBezTo>
                    <a:cubicBezTo>
                      <a:pt x="39" y="33"/>
                      <a:pt x="40" y="26"/>
                      <a:pt x="45" y="20"/>
                    </a:cubicBezTo>
                    <a:cubicBezTo>
                      <a:pt x="50" y="14"/>
                      <a:pt x="58" y="11"/>
                      <a:pt x="65" y="11"/>
                    </a:cubicBezTo>
                    <a:cubicBezTo>
                      <a:pt x="88" y="11"/>
                      <a:pt x="100" y="42"/>
                      <a:pt x="100" y="63"/>
                    </a:cubicBezTo>
                    <a:cubicBezTo>
                      <a:pt x="100" y="68"/>
                      <a:pt x="100" y="77"/>
                      <a:pt x="93" y="83"/>
                    </a:cubicBezTo>
                    <a:cubicBezTo>
                      <a:pt x="89" y="88"/>
                      <a:pt x="81" y="91"/>
                      <a:pt x="74" y="91"/>
                    </a:cubicBezTo>
                    <a:close/>
                    <a:moveTo>
                      <a:pt x="74" y="205"/>
                    </a:moveTo>
                    <a:cubicBezTo>
                      <a:pt x="44" y="205"/>
                      <a:pt x="25" y="190"/>
                      <a:pt x="25" y="170"/>
                    </a:cubicBezTo>
                    <a:cubicBezTo>
                      <a:pt x="25" y="150"/>
                      <a:pt x="43" y="143"/>
                      <a:pt x="49" y="141"/>
                    </a:cubicBezTo>
                    <a:cubicBezTo>
                      <a:pt x="61" y="137"/>
                      <a:pt x="76" y="137"/>
                      <a:pt x="79" y="137"/>
                    </a:cubicBezTo>
                    <a:cubicBezTo>
                      <a:pt x="82" y="137"/>
                      <a:pt x="83" y="137"/>
                      <a:pt x="85" y="137"/>
                    </a:cubicBezTo>
                    <a:cubicBezTo>
                      <a:pt x="107" y="152"/>
                      <a:pt x="116" y="160"/>
                      <a:pt x="116" y="174"/>
                    </a:cubicBezTo>
                    <a:cubicBezTo>
                      <a:pt x="116" y="192"/>
                      <a:pt x="102" y="205"/>
                      <a:pt x="74" y="2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" name="Freeform 8"/>
              <p:cNvSpPr>
                <a:spLocks/>
              </p:cNvSpPr>
              <p:nvPr/>
            </p:nvSpPr>
            <p:spPr bwMode="auto">
              <a:xfrm>
                <a:off x="4411663" y="203200"/>
                <a:ext cx="211138" cy="211138"/>
              </a:xfrm>
              <a:custGeom>
                <a:avLst/>
                <a:gdLst>
                  <a:gd name="T0" fmla="*/ 79 w 133"/>
                  <a:gd name="T1" fmla="*/ 54 h 133"/>
                  <a:gd name="T2" fmla="*/ 79 w 133"/>
                  <a:gd name="T3" fmla="*/ 0 h 133"/>
                  <a:gd name="T4" fmla="*/ 52 w 133"/>
                  <a:gd name="T5" fmla="*/ 0 h 133"/>
                  <a:gd name="T6" fmla="*/ 52 w 133"/>
                  <a:gd name="T7" fmla="*/ 54 h 133"/>
                  <a:gd name="T8" fmla="*/ 0 w 133"/>
                  <a:gd name="T9" fmla="*/ 54 h 133"/>
                  <a:gd name="T10" fmla="*/ 0 w 133"/>
                  <a:gd name="T11" fmla="*/ 80 h 133"/>
                  <a:gd name="T12" fmla="*/ 52 w 133"/>
                  <a:gd name="T13" fmla="*/ 80 h 133"/>
                  <a:gd name="T14" fmla="*/ 52 w 133"/>
                  <a:gd name="T15" fmla="*/ 133 h 133"/>
                  <a:gd name="T16" fmla="*/ 79 w 133"/>
                  <a:gd name="T17" fmla="*/ 133 h 133"/>
                  <a:gd name="T18" fmla="*/ 79 w 133"/>
                  <a:gd name="T19" fmla="*/ 80 h 133"/>
                  <a:gd name="T20" fmla="*/ 133 w 133"/>
                  <a:gd name="T21" fmla="*/ 80 h 133"/>
                  <a:gd name="T22" fmla="*/ 133 w 133"/>
                  <a:gd name="T23" fmla="*/ 54 h 133"/>
                  <a:gd name="T24" fmla="*/ 79 w 133"/>
                  <a:gd name="T25" fmla="*/ 54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3" h="133">
                    <a:moveTo>
                      <a:pt x="79" y="54"/>
                    </a:moveTo>
                    <a:lnTo>
                      <a:pt x="79" y="0"/>
                    </a:lnTo>
                    <a:lnTo>
                      <a:pt x="52" y="0"/>
                    </a:lnTo>
                    <a:lnTo>
                      <a:pt x="52" y="54"/>
                    </a:lnTo>
                    <a:lnTo>
                      <a:pt x="0" y="54"/>
                    </a:lnTo>
                    <a:lnTo>
                      <a:pt x="0" y="80"/>
                    </a:lnTo>
                    <a:lnTo>
                      <a:pt x="52" y="80"/>
                    </a:lnTo>
                    <a:lnTo>
                      <a:pt x="52" y="133"/>
                    </a:lnTo>
                    <a:lnTo>
                      <a:pt x="79" y="133"/>
                    </a:lnTo>
                    <a:lnTo>
                      <a:pt x="79" y="80"/>
                    </a:lnTo>
                    <a:lnTo>
                      <a:pt x="133" y="80"/>
                    </a:lnTo>
                    <a:lnTo>
                      <a:pt x="133" y="54"/>
                    </a:lnTo>
                    <a:lnTo>
                      <a:pt x="79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47" name="TextBox 4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8145154" y="3182779"/>
            <a:ext cx="29370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>
                <a:ea typeface="Open Sans" charset="0"/>
                <a:cs typeface="Open Sans" charset="0"/>
              </a:rPr>
              <a:t>www.facebook.com/yourpage</a:t>
            </a:r>
          </a:p>
        </p:txBody>
      </p:sp>
      <p:sp>
        <p:nvSpPr>
          <p:cNvPr id="48" name="TextBox 4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8145154" y="3632613"/>
            <a:ext cx="310777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>
                <a:ea typeface="Open Sans" charset="0"/>
                <a:cs typeface="Open Sans" charset="0"/>
              </a:rPr>
              <a:t>youremailcompany@gmail.com</a:t>
            </a:r>
          </a:p>
        </p:txBody>
      </p:sp>
      <p:pic>
        <p:nvPicPr>
          <p:cNvPr id="2" name="图片占位符 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7" b="16667"/>
          <a:stretch>
            <a:fillRect/>
          </a:stretch>
        </p:blipFill>
        <p:spPr/>
      </p:pic>
      <p:pic>
        <p:nvPicPr>
          <p:cNvPr id="50" name="图片占位符 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50" r="15450"/>
          <a:stretch>
            <a:fillRect/>
          </a:stretch>
        </p:blipFill>
        <p:spPr/>
      </p:pic>
      <p:pic>
        <p:nvPicPr>
          <p:cNvPr id="51" name="图片占位符 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39" b="12439"/>
          <a:stretch>
            <a:fillRect/>
          </a:stretch>
        </p:blipFill>
        <p:spPr/>
      </p:pic>
      <p:pic>
        <p:nvPicPr>
          <p:cNvPr id="52" name="图片占位符 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3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91" b="16591"/>
          <a:stretch>
            <a:fillRect/>
          </a:stretch>
        </p:blipFill>
        <p:spPr/>
      </p:pic>
      <p:pic>
        <p:nvPicPr>
          <p:cNvPr id="53" name="图片占位符 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4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28" r="18828"/>
          <a:stretch>
            <a:fillRect/>
          </a:stretch>
        </p:blipFill>
        <p:spPr/>
      </p:pic>
      <p:pic>
        <p:nvPicPr>
          <p:cNvPr id="55" name="图片占位符 1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5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04" r="16704"/>
          <a:stretch>
            <a:fillRect/>
          </a:stretch>
        </p:blipFill>
        <p:spPr/>
      </p:pic>
      <p:sp>
        <p:nvSpPr>
          <p:cNvPr id="14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25535863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22" name="Circle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-2217863" y="-604689"/>
            <a:ext cx="8067378" cy="8067378"/>
          </a:xfrm>
          <a:prstGeom prst="ellipse">
            <a:avLst/>
          </a:prstGeom>
          <a:ln w="25400">
            <a:solidFill>
              <a:srgbClr val="E4E4E4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8123" name="Circle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-1827968" y="-214794"/>
            <a:ext cx="7287589" cy="7287588"/>
          </a:xfrm>
          <a:prstGeom prst="ellipse">
            <a:avLst/>
          </a:prstGeom>
          <a:ln w="25400">
            <a:solidFill>
              <a:srgbClr val="E4E4E4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8124" name="Circle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-1413258" y="199916"/>
            <a:ext cx="6458169" cy="6458169"/>
          </a:xfrm>
          <a:prstGeom prst="ellipse">
            <a:avLst/>
          </a:prstGeom>
          <a:ln w="25400">
            <a:solidFill>
              <a:srgbClr val="E4E4E4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8125" name="Circle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321300" y="1866900"/>
            <a:ext cx="635000" cy="635000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8126" name="Circle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613474" y="2996718"/>
            <a:ext cx="431652" cy="431652"/>
          </a:xfrm>
          <a:prstGeom prst="ellipse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8127" name="Circle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643364" y="3914583"/>
            <a:ext cx="321072" cy="321073"/>
          </a:xfrm>
          <a:prstGeom prst="ellipse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8128" name="Circle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452864" y="4715204"/>
            <a:ext cx="257052" cy="257052"/>
          </a:xfrm>
          <a:prstGeom prst="ellipse">
            <a:avLst/>
          </a:prstGeom>
          <a:solidFill>
            <a:schemeClr val="accent5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8129" name="Circle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200402" y="5403708"/>
            <a:ext cx="163910" cy="163910"/>
          </a:xfrm>
          <a:prstGeom prst="ellipse">
            <a:avLst/>
          </a:prstGeom>
          <a:solidFill>
            <a:srgbClr val="E4E4E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8130" name="Circle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4762500" y="738915"/>
            <a:ext cx="772518" cy="772518"/>
          </a:xfrm>
          <a:prstGeom prst="ellipse">
            <a:avLst/>
          </a:prstGeom>
          <a:solidFill>
            <a:srgbClr val="E4E4E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8131" name="Graphic 20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535920" y="2046371"/>
            <a:ext cx="231295" cy="2315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8" h="21563" extrusionOk="0">
                <a:moveTo>
                  <a:pt x="20894" y="20217"/>
                </a:moveTo>
                <a:lnTo>
                  <a:pt x="20220" y="20217"/>
                </a:lnTo>
                <a:lnTo>
                  <a:pt x="20220" y="7784"/>
                </a:lnTo>
                <a:lnTo>
                  <a:pt x="20523" y="7986"/>
                </a:lnTo>
                <a:cubicBezTo>
                  <a:pt x="20633" y="8060"/>
                  <a:pt x="20762" y="8100"/>
                  <a:pt x="20894" y="8101"/>
                </a:cubicBezTo>
                <a:cubicBezTo>
                  <a:pt x="21266" y="8098"/>
                  <a:pt x="21566" y="7794"/>
                  <a:pt x="21563" y="7422"/>
                </a:cubicBezTo>
                <a:cubicBezTo>
                  <a:pt x="21561" y="7200"/>
                  <a:pt x="21449" y="6993"/>
                  <a:pt x="21265" y="6869"/>
                </a:cubicBezTo>
                <a:lnTo>
                  <a:pt x="18198" y="4823"/>
                </a:lnTo>
                <a:lnTo>
                  <a:pt x="18198" y="1370"/>
                </a:lnTo>
                <a:cubicBezTo>
                  <a:pt x="18198" y="998"/>
                  <a:pt x="17896" y="697"/>
                  <a:pt x="17524" y="697"/>
                </a:cubicBezTo>
                <a:lnTo>
                  <a:pt x="14828" y="697"/>
                </a:lnTo>
                <a:cubicBezTo>
                  <a:pt x="14456" y="697"/>
                  <a:pt x="14154" y="998"/>
                  <a:pt x="14154" y="1370"/>
                </a:cubicBezTo>
                <a:lnTo>
                  <a:pt x="14154" y="2130"/>
                </a:lnTo>
                <a:lnTo>
                  <a:pt x="11155" y="111"/>
                </a:lnTo>
                <a:cubicBezTo>
                  <a:pt x="10930" y="-37"/>
                  <a:pt x="10638" y="-37"/>
                  <a:pt x="10413" y="111"/>
                </a:cubicBezTo>
                <a:lnTo>
                  <a:pt x="304" y="6842"/>
                </a:lnTo>
                <a:cubicBezTo>
                  <a:pt x="14" y="7075"/>
                  <a:pt x="-32" y="7499"/>
                  <a:pt x="201" y="7788"/>
                </a:cubicBezTo>
                <a:cubicBezTo>
                  <a:pt x="405" y="8041"/>
                  <a:pt x="759" y="8112"/>
                  <a:pt x="1045" y="7959"/>
                </a:cubicBezTo>
                <a:lnTo>
                  <a:pt x="1348" y="7757"/>
                </a:lnTo>
                <a:lnTo>
                  <a:pt x="1348" y="20217"/>
                </a:lnTo>
                <a:lnTo>
                  <a:pt x="674" y="20217"/>
                </a:lnTo>
                <a:cubicBezTo>
                  <a:pt x="302" y="20217"/>
                  <a:pt x="0" y="20518"/>
                  <a:pt x="0" y="20890"/>
                </a:cubicBezTo>
                <a:cubicBezTo>
                  <a:pt x="0" y="21262"/>
                  <a:pt x="302" y="21563"/>
                  <a:pt x="674" y="21563"/>
                </a:cubicBezTo>
                <a:lnTo>
                  <a:pt x="20894" y="21563"/>
                </a:lnTo>
                <a:cubicBezTo>
                  <a:pt x="21266" y="21563"/>
                  <a:pt x="21568" y="21262"/>
                  <a:pt x="21568" y="20890"/>
                </a:cubicBezTo>
                <a:cubicBezTo>
                  <a:pt x="21568" y="20518"/>
                  <a:pt x="21266" y="20217"/>
                  <a:pt x="20894" y="20217"/>
                </a:cubicBezTo>
                <a:close/>
                <a:moveTo>
                  <a:pt x="9146" y="8841"/>
                </a:moveTo>
                <a:lnTo>
                  <a:pt x="10211" y="8309"/>
                </a:lnTo>
                <a:cubicBezTo>
                  <a:pt x="9537" y="7993"/>
                  <a:pt x="9248" y="7192"/>
                  <a:pt x="9564" y="6519"/>
                </a:cubicBezTo>
                <a:cubicBezTo>
                  <a:pt x="9880" y="5846"/>
                  <a:pt x="10683" y="5556"/>
                  <a:pt x="11357" y="5872"/>
                </a:cubicBezTo>
                <a:cubicBezTo>
                  <a:pt x="12031" y="6188"/>
                  <a:pt x="12321" y="6990"/>
                  <a:pt x="12004" y="7663"/>
                </a:cubicBezTo>
                <a:cubicBezTo>
                  <a:pt x="11871" y="7947"/>
                  <a:pt x="11642" y="8176"/>
                  <a:pt x="11357" y="8309"/>
                </a:cubicBezTo>
                <a:lnTo>
                  <a:pt x="12435" y="8848"/>
                </a:lnTo>
                <a:lnTo>
                  <a:pt x="12530" y="8902"/>
                </a:lnTo>
                <a:cubicBezTo>
                  <a:pt x="14089" y="10077"/>
                  <a:pt x="15150" y="11795"/>
                  <a:pt x="15502" y="13714"/>
                </a:cubicBezTo>
                <a:cubicBezTo>
                  <a:pt x="15576" y="14079"/>
                  <a:pt x="15340" y="14434"/>
                  <a:pt x="14975" y="14508"/>
                </a:cubicBezTo>
                <a:cubicBezTo>
                  <a:pt x="14973" y="14508"/>
                  <a:pt x="14971" y="14508"/>
                  <a:pt x="14970" y="14509"/>
                </a:cubicBezTo>
                <a:lnTo>
                  <a:pt x="14835" y="14509"/>
                </a:lnTo>
                <a:cubicBezTo>
                  <a:pt x="14507" y="14515"/>
                  <a:pt x="14223" y="14285"/>
                  <a:pt x="14161" y="13964"/>
                </a:cubicBezTo>
                <a:cubicBezTo>
                  <a:pt x="13957" y="12884"/>
                  <a:pt x="13494" y="11871"/>
                  <a:pt x="12813" y="11009"/>
                </a:cubicBezTo>
                <a:lnTo>
                  <a:pt x="12813" y="19544"/>
                </a:lnTo>
                <a:cubicBezTo>
                  <a:pt x="12813" y="19915"/>
                  <a:pt x="12511" y="20217"/>
                  <a:pt x="12139" y="20217"/>
                </a:cubicBezTo>
                <a:cubicBezTo>
                  <a:pt x="11767" y="20217"/>
                  <a:pt x="11465" y="19915"/>
                  <a:pt x="11465" y="19544"/>
                </a:cubicBezTo>
                <a:lnTo>
                  <a:pt x="11465" y="15505"/>
                </a:lnTo>
                <a:lnTo>
                  <a:pt x="10110" y="15505"/>
                </a:lnTo>
                <a:lnTo>
                  <a:pt x="10110" y="19544"/>
                </a:lnTo>
                <a:cubicBezTo>
                  <a:pt x="10110" y="19915"/>
                  <a:pt x="9808" y="20217"/>
                  <a:pt x="9436" y="20217"/>
                </a:cubicBezTo>
                <a:cubicBezTo>
                  <a:pt x="9064" y="20217"/>
                  <a:pt x="8762" y="19915"/>
                  <a:pt x="8762" y="19544"/>
                </a:cubicBezTo>
                <a:lnTo>
                  <a:pt x="8762" y="12240"/>
                </a:lnTo>
                <a:cubicBezTo>
                  <a:pt x="8494" y="12657"/>
                  <a:pt x="8202" y="13057"/>
                  <a:pt x="7886" y="13439"/>
                </a:cubicBezTo>
                <a:cubicBezTo>
                  <a:pt x="7666" y="13712"/>
                  <a:pt x="7410" y="13954"/>
                  <a:pt x="7124" y="14159"/>
                </a:cubicBezTo>
                <a:cubicBezTo>
                  <a:pt x="7014" y="14236"/>
                  <a:pt x="6882" y="14278"/>
                  <a:pt x="6747" y="14280"/>
                </a:cubicBezTo>
                <a:cubicBezTo>
                  <a:pt x="6375" y="14279"/>
                  <a:pt x="6074" y="13977"/>
                  <a:pt x="6075" y="13605"/>
                </a:cubicBezTo>
                <a:cubicBezTo>
                  <a:pt x="6075" y="13386"/>
                  <a:pt x="6183" y="13180"/>
                  <a:pt x="6363" y="13055"/>
                </a:cubicBezTo>
                <a:cubicBezTo>
                  <a:pt x="6548" y="12916"/>
                  <a:pt x="6714" y="12753"/>
                  <a:pt x="6855" y="12570"/>
                </a:cubicBezTo>
                <a:cubicBezTo>
                  <a:pt x="7691" y="11567"/>
                  <a:pt x="8350" y="10429"/>
                  <a:pt x="8803" y="9205"/>
                </a:cubicBezTo>
                <a:cubicBezTo>
                  <a:pt x="8866" y="9044"/>
                  <a:pt x="8989" y="8914"/>
                  <a:pt x="9146" y="8841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22860" rIns="2286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8132" name="Graphic 25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779670" y="3109461"/>
            <a:ext cx="118398" cy="189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40" y="11475"/>
                </a:moveTo>
                <a:lnTo>
                  <a:pt x="19440" y="19238"/>
                </a:lnTo>
                <a:cubicBezTo>
                  <a:pt x="19440" y="20542"/>
                  <a:pt x="17748" y="21600"/>
                  <a:pt x="15660" y="21600"/>
                </a:cubicBezTo>
                <a:lnTo>
                  <a:pt x="3780" y="21600"/>
                </a:lnTo>
                <a:cubicBezTo>
                  <a:pt x="1692" y="21600"/>
                  <a:pt x="0" y="20542"/>
                  <a:pt x="0" y="19238"/>
                </a:cubicBezTo>
                <a:lnTo>
                  <a:pt x="0" y="11475"/>
                </a:lnTo>
                <a:cubicBezTo>
                  <a:pt x="0" y="9611"/>
                  <a:pt x="2418" y="8100"/>
                  <a:pt x="5400" y="8100"/>
                </a:cubicBezTo>
                <a:lnTo>
                  <a:pt x="14040" y="8100"/>
                </a:lnTo>
                <a:cubicBezTo>
                  <a:pt x="17022" y="8100"/>
                  <a:pt x="19440" y="9611"/>
                  <a:pt x="19440" y="11475"/>
                </a:cubicBezTo>
                <a:close/>
                <a:moveTo>
                  <a:pt x="14040" y="14175"/>
                </a:moveTo>
                <a:lnTo>
                  <a:pt x="10800" y="14175"/>
                </a:lnTo>
                <a:lnTo>
                  <a:pt x="10800" y="12150"/>
                </a:lnTo>
                <a:cubicBezTo>
                  <a:pt x="10800" y="11777"/>
                  <a:pt x="10317" y="11475"/>
                  <a:pt x="9720" y="11475"/>
                </a:cubicBezTo>
                <a:cubicBezTo>
                  <a:pt x="9123" y="11475"/>
                  <a:pt x="8640" y="11777"/>
                  <a:pt x="8640" y="12150"/>
                </a:cubicBezTo>
                <a:lnTo>
                  <a:pt x="8640" y="14175"/>
                </a:lnTo>
                <a:lnTo>
                  <a:pt x="5400" y="14175"/>
                </a:lnTo>
                <a:cubicBezTo>
                  <a:pt x="4803" y="14175"/>
                  <a:pt x="4320" y="14477"/>
                  <a:pt x="4320" y="14850"/>
                </a:cubicBezTo>
                <a:cubicBezTo>
                  <a:pt x="4320" y="15223"/>
                  <a:pt x="4803" y="15525"/>
                  <a:pt x="5400" y="15525"/>
                </a:cubicBezTo>
                <a:lnTo>
                  <a:pt x="8640" y="15525"/>
                </a:lnTo>
                <a:lnTo>
                  <a:pt x="8640" y="17550"/>
                </a:lnTo>
                <a:cubicBezTo>
                  <a:pt x="8640" y="17923"/>
                  <a:pt x="9123" y="18225"/>
                  <a:pt x="9720" y="18225"/>
                </a:cubicBezTo>
                <a:cubicBezTo>
                  <a:pt x="10317" y="18225"/>
                  <a:pt x="10800" y="17923"/>
                  <a:pt x="10800" y="17550"/>
                </a:cubicBezTo>
                <a:lnTo>
                  <a:pt x="10800" y="15525"/>
                </a:lnTo>
                <a:lnTo>
                  <a:pt x="14040" y="15525"/>
                </a:lnTo>
                <a:cubicBezTo>
                  <a:pt x="14637" y="15525"/>
                  <a:pt x="15120" y="15223"/>
                  <a:pt x="15120" y="14850"/>
                </a:cubicBezTo>
                <a:cubicBezTo>
                  <a:pt x="15120" y="14477"/>
                  <a:pt x="14637" y="14175"/>
                  <a:pt x="14040" y="14175"/>
                </a:cubicBezTo>
                <a:close/>
                <a:moveTo>
                  <a:pt x="3240" y="1350"/>
                </a:moveTo>
                <a:lnTo>
                  <a:pt x="6480" y="1350"/>
                </a:lnTo>
                <a:lnTo>
                  <a:pt x="6480" y="2700"/>
                </a:lnTo>
                <a:lnTo>
                  <a:pt x="5400" y="2700"/>
                </a:lnTo>
                <a:cubicBezTo>
                  <a:pt x="4803" y="2700"/>
                  <a:pt x="4320" y="3002"/>
                  <a:pt x="4320" y="3375"/>
                </a:cubicBezTo>
                <a:lnTo>
                  <a:pt x="4320" y="6804"/>
                </a:lnTo>
                <a:cubicBezTo>
                  <a:pt x="4677" y="6769"/>
                  <a:pt x="5038" y="6751"/>
                  <a:pt x="5400" y="6750"/>
                </a:cubicBezTo>
                <a:lnTo>
                  <a:pt x="14040" y="6750"/>
                </a:lnTo>
                <a:cubicBezTo>
                  <a:pt x="14402" y="6751"/>
                  <a:pt x="14763" y="6769"/>
                  <a:pt x="15120" y="6804"/>
                </a:cubicBezTo>
                <a:lnTo>
                  <a:pt x="15120" y="3375"/>
                </a:lnTo>
                <a:cubicBezTo>
                  <a:pt x="15120" y="3002"/>
                  <a:pt x="14637" y="2700"/>
                  <a:pt x="14040" y="2700"/>
                </a:cubicBezTo>
                <a:lnTo>
                  <a:pt x="12960" y="2700"/>
                </a:lnTo>
                <a:lnTo>
                  <a:pt x="12960" y="1350"/>
                </a:lnTo>
                <a:lnTo>
                  <a:pt x="17280" y="1350"/>
                </a:lnTo>
                <a:cubicBezTo>
                  <a:pt x="18473" y="1350"/>
                  <a:pt x="19440" y="1954"/>
                  <a:pt x="19440" y="2700"/>
                </a:cubicBezTo>
                <a:cubicBezTo>
                  <a:pt x="19440" y="3073"/>
                  <a:pt x="19924" y="3375"/>
                  <a:pt x="20520" y="3375"/>
                </a:cubicBezTo>
                <a:cubicBezTo>
                  <a:pt x="21117" y="3375"/>
                  <a:pt x="21600" y="3073"/>
                  <a:pt x="21600" y="2700"/>
                </a:cubicBezTo>
                <a:cubicBezTo>
                  <a:pt x="21600" y="1209"/>
                  <a:pt x="19666" y="0"/>
                  <a:pt x="17280" y="0"/>
                </a:cubicBezTo>
                <a:lnTo>
                  <a:pt x="3240" y="0"/>
                </a:lnTo>
                <a:cubicBezTo>
                  <a:pt x="2643" y="0"/>
                  <a:pt x="2160" y="302"/>
                  <a:pt x="2160" y="675"/>
                </a:cubicBezTo>
                <a:cubicBezTo>
                  <a:pt x="2160" y="1048"/>
                  <a:pt x="2643" y="1350"/>
                  <a:pt x="3240" y="1350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22860" rIns="2286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8133" name="Graphic 14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516395" y="4767164"/>
            <a:ext cx="142163" cy="1421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68" h="21462" extrusionOk="0">
                <a:moveTo>
                  <a:pt x="17669" y="7490"/>
                </a:moveTo>
                <a:lnTo>
                  <a:pt x="19434" y="5726"/>
                </a:lnTo>
                <a:lnTo>
                  <a:pt x="20331" y="6624"/>
                </a:lnTo>
                <a:cubicBezTo>
                  <a:pt x="20598" y="6881"/>
                  <a:pt x="21023" y="6874"/>
                  <a:pt x="21280" y="6607"/>
                </a:cubicBezTo>
                <a:cubicBezTo>
                  <a:pt x="21531" y="6347"/>
                  <a:pt x="21531" y="5935"/>
                  <a:pt x="21280" y="5675"/>
                </a:cubicBezTo>
                <a:lnTo>
                  <a:pt x="15791" y="188"/>
                </a:lnTo>
                <a:cubicBezTo>
                  <a:pt x="15524" y="-69"/>
                  <a:pt x="15100" y="-62"/>
                  <a:pt x="14842" y="205"/>
                </a:cubicBezTo>
                <a:cubicBezTo>
                  <a:pt x="14591" y="465"/>
                  <a:pt x="14591" y="877"/>
                  <a:pt x="14842" y="1137"/>
                </a:cubicBezTo>
                <a:lnTo>
                  <a:pt x="15740" y="2034"/>
                </a:lnTo>
                <a:lnTo>
                  <a:pt x="13976" y="3798"/>
                </a:lnTo>
                <a:close/>
                <a:moveTo>
                  <a:pt x="11674" y="3390"/>
                </a:moveTo>
                <a:cubicBezTo>
                  <a:pt x="11408" y="3132"/>
                  <a:pt x="10983" y="3140"/>
                  <a:pt x="10726" y="3406"/>
                </a:cubicBezTo>
                <a:cubicBezTo>
                  <a:pt x="10475" y="3666"/>
                  <a:pt x="10475" y="4078"/>
                  <a:pt x="10726" y="4338"/>
                </a:cubicBezTo>
                <a:lnTo>
                  <a:pt x="11166" y="4778"/>
                </a:lnTo>
                <a:lnTo>
                  <a:pt x="3369" y="12573"/>
                </a:lnTo>
                <a:cubicBezTo>
                  <a:pt x="3200" y="12742"/>
                  <a:pt x="3134" y="12988"/>
                  <a:pt x="3194" y="13218"/>
                </a:cubicBezTo>
                <a:lnTo>
                  <a:pt x="4049" y="16466"/>
                </a:lnTo>
                <a:lnTo>
                  <a:pt x="205" y="20309"/>
                </a:lnTo>
                <a:cubicBezTo>
                  <a:pt x="-62" y="20566"/>
                  <a:pt x="-69" y="20991"/>
                  <a:pt x="188" y="21257"/>
                </a:cubicBezTo>
                <a:cubicBezTo>
                  <a:pt x="446" y="21524"/>
                  <a:pt x="871" y="21531"/>
                  <a:pt x="1137" y="21274"/>
                </a:cubicBezTo>
                <a:cubicBezTo>
                  <a:pt x="1143" y="21268"/>
                  <a:pt x="1148" y="21263"/>
                  <a:pt x="1154" y="21257"/>
                </a:cubicBezTo>
                <a:lnTo>
                  <a:pt x="4998" y="17413"/>
                </a:lnTo>
                <a:lnTo>
                  <a:pt x="8246" y="18269"/>
                </a:lnTo>
                <a:cubicBezTo>
                  <a:pt x="8302" y="18283"/>
                  <a:pt x="8359" y="18291"/>
                  <a:pt x="8416" y="18291"/>
                </a:cubicBezTo>
                <a:cubicBezTo>
                  <a:pt x="8594" y="18291"/>
                  <a:pt x="8765" y="18220"/>
                  <a:pt x="8891" y="18094"/>
                </a:cubicBezTo>
                <a:lnTo>
                  <a:pt x="16689" y="10300"/>
                </a:lnTo>
                <a:lnTo>
                  <a:pt x="17129" y="10740"/>
                </a:lnTo>
                <a:cubicBezTo>
                  <a:pt x="17396" y="10997"/>
                  <a:pt x="17820" y="10989"/>
                  <a:pt x="18078" y="10723"/>
                </a:cubicBezTo>
                <a:cubicBezTo>
                  <a:pt x="18329" y="10463"/>
                  <a:pt x="18329" y="10051"/>
                  <a:pt x="18078" y="9791"/>
                </a:cubicBezTo>
                <a:close/>
                <a:moveTo>
                  <a:pt x="12115" y="12976"/>
                </a:moveTo>
                <a:lnTo>
                  <a:pt x="8492" y="9354"/>
                </a:lnTo>
                <a:lnTo>
                  <a:pt x="9834" y="8012"/>
                </a:lnTo>
                <a:lnTo>
                  <a:pt x="10726" y="8912"/>
                </a:lnTo>
                <a:cubicBezTo>
                  <a:pt x="10992" y="9169"/>
                  <a:pt x="11417" y="9162"/>
                  <a:pt x="11674" y="8895"/>
                </a:cubicBezTo>
                <a:cubicBezTo>
                  <a:pt x="11925" y="8636"/>
                  <a:pt x="11925" y="8223"/>
                  <a:pt x="11674" y="7964"/>
                </a:cubicBezTo>
                <a:lnTo>
                  <a:pt x="10776" y="7064"/>
                </a:lnTo>
                <a:lnTo>
                  <a:pt x="12114" y="5726"/>
                </a:lnTo>
                <a:lnTo>
                  <a:pt x="15737" y="9348"/>
                </a:lnTo>
                <a:close/>
                <a:moveTo>
                  <a:pt x="6626" y="13680"/>
                </a:moveTo>
                <a:cubicBezTo>
                  <a:pt x="6448" y="13680"/>
                  <a:pt x="6277" y="13609"/>
                  <a:pt x="6152" y="13483"/>
                </a:cubicBezTo>
                <a:lnTo>
                  <a:pt x="5711" y="13043"/>
                </a:lnTo>
                <a:cubicBezTo>
                  <a:pt x="5453" y="12776"/>
                  <a:pt x="5461" y="12352"/>
                  <a:pt x="5727" y="12094"/>
                </a:cubicBezTo>
                <a:cubicBezTo>
                  <a:pt x="5987" y="11843"/>
                  <a:pt x="6399" y="11843"/>
                  <a:pt x="6659" y="12094"/>
                </a:cubicBezTo>
                <a:lnTo>
                  <a:pt x="7100" y="12535"/>
                </a:lnTo>
                <a:cubicBezTo>
                  <a:pt x="7362" y="12797"/>
                  <a:pt x="7362" y="13222"/>
                  <a:pt x="7100" y="13483"/>
                </a:cubicBezTo>
                <a:cubicBezTo>
                  <a:pt x="6974" y="13609"/>
                  <a:pt x="6804" y="13680"/>
                  <a:pt x="6626" y="13680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22860" rIns="2286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8134" name="Graphic 16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719275" y="3990494"/>
            <a:ext cx="169250" cy="169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949" y="13568"/>
                </a:moveTo>
                <a:lnTo>
                  <a:pt x="18299" y="14357"/>
                </a:lnTo>
                <a:cubicBezTo>
                  <a:pt x="18945" y="13984"/>
                  <a:pt x="19771" y="14206"/>
                  <a:pt x="20143" y="14851"/>
                </a:cubicBezTo>
                <a:cubicBezTo>
                  <a:pt x="20516" y="15497"/>
                  <a:pt x="20295" y="16323"/>
                  <a:pt x="19649" y="16695"/>
                </a:cubicBezTo>
                <a:cubicBezTo>
                  <a:pt x="19004" y="17068"/>
                  <a:pt x="18178" y="16847"/>
                  <a:pt x="17805" y="16201"/>
                </a:cubicBezTo>
                <a:cubicBezTo>
                  <a:pt x="17686" y="15996"/>
                  <a:pt x="17624" y="15762"/>
                  <a:pt x="17624" y="15525"/>
                </a:cubicBezTo>
                <a:lnTo>
                  <a:pt x="16274" y="14735"/>
                </a:lnTo>
                <a:cubicBezTo>
                  <a:pt x="15851" y="15327"/>
                  <a:pt x="15334" y="15845"/>
                  <a:pt x="14742" y="16268"/>
                </a:cubicBezTo>
                <a:lnTo>
                  <a:pt x="15539" y="17618"/>
                </a:lnTo>
                <a:cubicBezTo>
                  <a:pt x="16284" y="17619"/>
                  <a:pt x="16887" y="18224"/>
                  <a:pt x="16886" y="18970"/>
                </a:cubicBezTo>
                <a:cubicBezTo>
                  <a:pt x="16885" y="19450"/>
                  <a:pt x="16629" y="19894"/>
                  <a:pt x="16214" y="20135"/>
                </a:cubicBezTo>
                <a:cubicBezTo>
                  <a:pt x="15567" y="20506"/>
                  <a:pt x="14742" y="20283"/>
                  <a:pt x="14371" y="19636"/>
                </a:cubicBezTo>
                <a:cubicBezTo>
                  <a:pt x="14132" y="19220"/>
                  <a:pt x="14132" y="18709"/>
                  <a:pt x="14371" y="18293"/>
                </a:cubicBezTo>
                <a:lnTo>
                  <a:pt x="13581" y="16943"/>
                </a:lnTo>
                <a:cubicBezTo>
                  <a:pt x="12918" y="17261"/>
                  <a:pt x="12206" y="17467"/>
                  <a:pt x="11475" y="17550"/>
                </a:cubicBezTo>
                <a:lnTo>
                  <a:pt x="11475" y="19123"/>
                </a:lnTo>
                <a:cubicBezTo>
                  <a:pt x="11880" y="19356"/>
                  <a:pt x="12135" y="19783"/>
                  <a:pt x="12150" y="20250"/>
                </a:cubicBezTo>
                <a:cubicBezTo>
                  <a:pt x="12150" y="20996"/>
                  <a:pt x="11546" y="21600"/>
                  <a:pt x="10800" y="21600"/>
                </a:cubicBezTo>
                <a:cubicBezTo>
                  <a:pt x="10054" y="21600"/>
                  <a:pt x="9450" y="20996"/>
                  <a:pt x="9450" y="20250"/>
                </a:cubicBezTo>
                <a:cubicBezTo>
                  <a:pt x="9453" y="19771"/>
                  <a:pt x="9710" y="19329"/>
                  <a:pt x="10125" y="19089"/>
                </a:cubicBezTo>
                <a:lnTo>
                  <a:pt x="10125" y="17550"/>
                </a:lnTo>
                <a:cubicBezTo>
                  <a:pt x="9401" y="17478"/>
                  <a:pt x="8694" y="17286"/>
                  <a:pt x="8033" y="16983"/>
                </a:cubicBezTo>
                <a:lnTo>
                  <a:pt x="7243" y="18333"/>
                </a:lnTo>
                <a:cubicBezTo>
                  <a:pt x="7617" y="18978"/>
                  <a:pt x="7397" y="19804"/>
                  <a:pt x="6752" y="20178"/>
                </a:cubicBezTo>
                <a:cubicBezTo>
                  <a:pt x="6107" y="20552"/>
                  <a:pt x="5281" y="20333"/>
                  <a:pt x="4907" y="19688"/>
                </a:cubicBezTo>
                <a:cubicBezTo>
                  <a:pt x="4664" y="19269"/>
                  <a:pt x="4664" y="18752"/>
                  <a:pt x="4907" y="18333"/>
                </a:cubicBezTo>
                <a:cubicBezTo>
                  <a:pt x="5147" y="17918"/>
                  <a:pt x="5589" y="17661"/>
                  <a:pt x="6068" y="17658"/>
                </a:cubicBezTo>
                <a:lnTo>
                  <a:pt x="6865" y="16308"/>
                </a:lnTo>
                <a:cubicBezTo>
                  <a:pt x="6270" y="15873"/>
                  <a:pt x="5752" y="15341"/>
                  <a:pt x="5333" y="14735"/>
                </a:cubicBezTo>
                <a:lnTo>
                  <a:pt x="3962" y="15525"/>
                </a:lnTo>
                <a:cubicBezTo>
                  <a:pt x="3962" y="16007"/>
                  <a:pt x="3705" y="16452"/>
                  <a:pt x="3287" y="16693"/>
                </a:cubicBezTo>
                <a:cubicBezTo>
                  <a:pt x="2642" y="17067"/>
                  <a:pt x="1816" y="16847"/>
                  <a:pt x="1442" y="16202"/>
                </a:cubicBezTo>
                <a:cubicBezTo>
                  <a:pt x="1068" y="15557"/>
                  <a:pt x="1288" y="14731"/>
                  <a:pt x="1932" y="14357"/>
                </a:cubicBezTo>
                <a:cubicBezTo>
                  <a:pt x="2351" y="14114"/>
                  <a:pt x="2868" y="14114"/>
                  <a:pt x="3287" y="14357"/>
                </a:cubicBezTo>
                <a:lnTo>
                  <a:pt x="4637" y="13568"/>
                </a:lnTo>
                <a:cubicBezTo>
                  <a:pt x="4338" y="12905"/>
                  <a:pt x="4151" y="12198"/>
                  <a:pt x="4084" y="11475"/>
                </a:cubicBezTo>
                <a:lnTo>
                  <a:pt x="2511" y="11475"/>
                </a:lnTo>
                <a:cubicBezTo>
                  <a:pt x="2271" y="11890"/>
                  <a:pt x="1829" y="12147"/>
                  <a:pt x="1350" y="12150"/>
                </a:cubicBezTo>
                <a:cubicBezTo>
                  <a:pt x="604" y="12150"/>
                  <a:pt x="0" y="11546"/>
                  <a:pt x="0" y="10800"/>
                </a:cubicBezTo>
                <a:cubicBezTo>
                  <a:pt x="0" y="10054"/>
                  <a:pt x="604" y="9450"/>
                  <a:pt x="1350" y="9450"/>
                </a:cubicBezTo>
                <a:cubicBezTo>
                  <a:pt x="1829" y="9453"/>
                  <a:pt x="2271" y="9710"/>
                  <a:pt x="2511" y="10125"/>
                </a:cubicBezTo>
                <a:lnTo>
                  <a:pt x="4084" y="10125"/>
                </a:lnTo>
                <a:cubicBezTo>
                  <a:pt x="4156" y="9401"/>
                  <a:pt x="4347" y="8694"/>
                  <a:pt x="4651" y="8033"/>
                </a:cubicBezTo>
                <a:lnTo>
                  <a:pt x="3301" y="7243"/>
                </a:lnTo>
                <a:cubicBezTo>
                  <a:pt x="2659" y="7623"/>
                  <a:pt x="1831" y="7411"/>
                  <a:pt x="1451" y="6770"/>
                </a:cubicBezTo>
                <a:cubicBezTo>
                  <a:pt x="1071" y="6129"/>
                  <a:pt x="1282" y="5301"/>
                  <a:pt x="1924" y="4920"/>
                </a:cubicBezTo>
                <a:cubicBezTo>
                  <a:pt x="2565" y="4540"/>
                  <a:pt x="3393" y="4752"/>
                  <a:pt x="3773" y="5393"/>
                </a:cubicBezTo>
                <a:cubicBezTo>
                  <a:pt x="3896" y="5599"/>
                  <a:pt x="3961" y="5835"/>
                  <a:pt x="3962" y="6075"/>
                </a:cubicBezTo>
                <a:lnTo>
                  <a:pt x="5312" y="6865"/>
                </a:lnTo>
                <a:cubicBezTo>
                  <a:pt x="5741" y="6271"/>
                  <a:pt x="6266" y="5754"/>
                  <a:pt x="6865" y="5333"/>
                </a:cubicBezTo>
                <a:lnTo>
                  <a:pt x="6075" y="3962"/>
                </a:lnTo>
                <a:cubicBezTo>
                  <a:pt x="5329" y="3959"/>
                  <a:pt x="4727" y="3352"/>
                  <a:pt x="4730" y="2607"/>
                </a:cubicBezTo>
                <a:cubicBezTo>
                  <a:pt x="4733" y="1861"/>
                  <a:pt x="5340" y="1259"/>
                  <a:pt x="6086" y="1262"/>
                </a:cubicBezTo>
                <a:cubicBezTo>
                  <a:pt x="6831" y="1265"/>
                  <a:pt x="7433" y="1872"/>
                  <a:pt x="7430" y="2618"/>
                </a:cubicBezTo>
                <a:cubicBezTo>
                  <a:pt x="7429" y="2853"/>
                  <a:pt x="7367" y="3084"/>
                  <a:pt x="7250" y="3287"/>
                </a:cubicBezTo>
                <a:lnTo>
                  <a:pt x="8039" y="4637"/>
                </a:lnTo>
                <a:cubicBezTo>
                  <a:pt x="8699" y="4339"/>
                  <a:pt x="9404" y="4152"/>
                  <a:pt x="10125" y="4084"/>
                </a:cubicBezTo>
                <a:lnTo>
                  <a:pt x="10125" y="2511"/>
                </a:lnTo>
                <a:cubicBezTo>
                  <a:pt x="9710" y="2271"/>
                  <a:pt x="9453" y="1829"/>
                  <a:pt x="9450" y="1350"/>
                </a:cubicBezTo>
                <a:cubicBezTo>
                  <a:pt x="9450" y="604"/>
                  <a:pt x="10054" y="0"/>
                  <a:pt x="10800" y="0"/>
                </a:cubicBezTo>
                <a:cubicBezTo>
                  <a:pt x="11546" y="0"/>
                  <a:pt x="12150" y="604"/>
                  <a:pt x="12150" y="1350"/>
                </a:cubicBezTo>
                <a:cubicBezTo>
                  <a:pt x="12147" y="1829"/>
                  <a:pt x="11890" y="2271"/>
                  <a:pt x="11475" y="2511"/>
                </a:cubicBezTo>
                <a:lnTo>
                  <a:pt x="11475" y="4084"/>
                </a:lnTo>
                <a:cubicBezTo>
                  <a:pt x="12199" y="4156"/>
                  <a:pt x="12906" y="4347"/>
                  <a:pt x="13568" y="4651"/>
                </a:cubicBezTo>
                <a:lnTo>
                  <a:pt x="14357" y="3301"/>
                </a:lnTo>
                <a:cubicBezTo>
                  <a:pt x="13984" y="2655"/>
                  <a:pt x="14206" y="1829"/>
                  <a:pt x="14851" y="1457"/>
                </a:cubicBezTo>
                <a:cubicBezTo>
                  <a:pt x="15497" y="1084"/>
                  <a:pt x="16323" y="1305"/>
                  <a:pt x="16695" y="1951"/>
                </a:cubicBezTo>
                <a:cubicBezTo>
                  <a:pt x="17068" y="2596"/>
                  <a:pt x="16847" y="3422"/>
                  <a:pt x="16201" y="3795"/>
                </a:cubicBezTo>
                <a:cubicBezTo>
                  <a:pt x="15998" y="3912"/>
                  <a:pt x="15767" y="3975"/>
                  <a:pt x="15532" y="3976"/>
                </a:cubicBezTo>
                <a:lnTo>
                  <a:pt x="14735" y="5326"/>
                </a:lnTo>
                <a:cubicBezTo>
                  <a:pt x="15327" y="5749"/>
                  <a:pt x="15845" y="6266"/>
                  <a:pt x="16268" y="6858"/>
                </a:cubicBezTo>
                <a:lnTo>
                  <a:pt x="17618" y="6068"/>
                </a:lnTo>
                <a:cubicBezTo>
                  <a:pt x="17618" y="5586"/>
                  <a:pt x="17875" y="5141"/>
                  <a:pt x="18293" y="4901"/>
                </a:cubicBezTo>
                <a:cubicBezTo>
                  <a:pt x="18937" y="4526"/>
                  <a:pt x="19764" y="4746"/>
                  <a:pt x="20138" y="5391"/>
                </a:cubicBezTo>
                <a:cubicBezTo>
                  <a:pt x="20512" y="6036"/>
                  <a:pt x="20292" y="6862"/>
                  <a:pt x="19647" y="7236"/>
                </a:cubicBezTo>
                <a:cubicBezTo>
                  <a:pt x="19228" y="7479"/>
                  <a:pt x="18711" y="7479"/>
                  <a:pt x="18293" y="7236"/>
                </a:cubicBezTo>
                <a:lnTo>
                  <a:pt x="16943" y="8026"/>
                </a:lnTo>
                <a:cubicBezTo>
                  <a:pt x="17261" y="8687"/>
                  <a:pt x="17466" y="9396"/>
                  <a:pt x="17550" y="10125"/>
                </a:cubicBezTo>
                <a:lnTo>
                  <a:pt x="19123" y="10125"/>
                </a:lnTo>
                <a:cubicBezTo>
                  <a:pt x="19356" y="9720"/>
                  <a:pt x="19783" y="9465"/>
                  <a:pt x="20250" y="9450"/>
                </a:cubicBezTo>
                <a:cubicBezTo>
                  <a:pt x="20996" y="9450"/>
                  <a:pt x="21600" y="10054"/>
                  <a:pt x="21600" y="10800"/>
                </a:cubicBezTo>
                <a:cubicBezTo>
                  <a:pt x="21600" y="11546"/>
                  <a:pt x="20996" y="12150"/>
                  <a:pt x="20250" y="12150"/>
                </a:cubicBezTo>
                <a:cubicBezTo>
                  <a:pt x="19771" y="12147"/>
                  <a:pt x="19329" y="11890"/>
                  <a:pt x="19089" y="11475"/>
                </a:cubicBezTo>
                <a:lnTo>
                  <a:pt x="17550" y="11475"/>
                </a:lnTo>
                <a:cubicBezTo>
                  <a:pt x="17467" y="12201"/>
                  <a:pt x="17264" y="12908"/>
                  <a:pt x="16949" y="13568"/>
                </a:cubicBezTo>
                <a:close/>
                <a:moveTo>
                  <a:pt x="14175" y="14175"/>
                </a:moveTo>
                <a:cubicBezTo>
                  <a:pt x="16020" y="12330"/>
                  <a:pt x="16020" y="9338"/>
                  <a:pt x="14175" y="7493"/>
                </a:cubicBezTo>
                <a:cubicBezTo>
                  <a:pt x="12329" y="5648"/>
                  <a:pt x="9338" y="5648"/>
                  <a:pt x="7492" y="7493"/>
                </a:cubicBezTo>
                <a:cubicBezTo>
                  <a:pt x="5647" y="9338"/>
                  <a:pt x="5647" y="12330"/>
                  <a:pt x="7492" y="14175"/>
                </a:cubicBezTo>
                <a:cubicBezTo>
                  <a:pt x="7776" y="14418"/>
                  <a:pt x="8202" y="14385"/>
                  <a:pt x="8444" y="14101"/>
                </a:cubicBezTo>
                <a:cubicBezTo>
                  <a:pt x="8661" y="13849"/>
                  <a:pt x="8661" y="13476"/>
                  <a:pt x="8444" y="13223"/>
                </a:cubicBezTo>
                <a:cubicBezTo>
                  <a:pt x="7128" y="11904"/>
                  <a:pt x="7131" y="9767"/>
                  <a:pt x="8450" y="8450"/>
                </a:cubicBezTo>
                <a:cubicBezTo>
                  <a:pt x="9770" y="7134"/>
                  <a:pt x="11907" y="7137"/>
                  <a:pt x="13223" y="8456"/>
                </a:cubicBezTo>
                <a:cubicBezTo>
                  <a:pt x="14537" y="9774"/>
                  <a:pt x="14537" y="11906"/>
                  <a:pt x="13223" y="13223"/>
                </a:cubicBezTo>
                <a:cubicBezTo>
                  <a:pt x="12962" y="13487"/>
                  <a:pt x="12962" y="13912"/>
                  <a:pt x="13223" y="14175"/>
                </a:cubicBezTo>
                <a:cubicBezTo>
                  <a:pt x="13349" y="14300"/>
                  <a:pt x="13519" y="14370"/>
                  <a:pt x="13696" y="14371"/>
                </a:cubicBezTo>
                <a:cubicBezTo>
                  <a:pt x="13875" y="14372"/>
                  <a:pt x="14048" y="14301"/>
                  <a:pt x="14175" y="14175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22860" rIns="2286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2" name="图片 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65514" y="0"/>
            <a:ext cx="6858000" cy="6858000"/>
          </a:xfrm>
          <a:prstGeom prst="rect">
            <a:avLst/>
          </a:prstGeom>
        </p:spPr>
      </p:pic>
      <p:sp>
        <p:nvSpPr>
          <p:cNvPr id="26" name="Rectangle 2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6855091" y="998627"/>
            <a:ext cx="474908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Hey, hey, hey! It's Fat Company! </a:t>
            </a:r>
          </a:p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Now I'm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ing a song for you, and this i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how you a thing or two. You'll have some fun now With me and the gang, learning</a:t>
            </a:r>
          </a:p>
        </p:txBody>
      </p:sp>
      <p:sp>
        <p:nvSpPr>
          <p:cNvPr id="29" name="Rectangle 2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6855091" y="2328417"/>
            <a:ext cx="474908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Hey, hey, hey! It's Fat Company! </a:t>
            </a:r>
          </a:p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Now I'm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ing a song for you, and this i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how you a thing or two. You'll have some fun now With me and the gang, learning</a:t>
            </a:r>
          </a:p>
        </p:txBody>
      </p:sp>
      <p:sp>
        <p:nvSpPr>
          <p:cNvPr id="32" name="Rectangle 2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6855091" y="3658207"/>
            <a:ext cx="474908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Hey, hey, hey! It's Fat Company! </a:t>
            </a:r>
          </a:p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Now I'm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ing a song for you, and this i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how you a thing or two. You'll have some fun now With me and the gang, learning</a:t>
            </a:r>
          </a:p>
        </p:txBody>
      </p:sp>
      <p:sp>
        <p:nvSpPr>
          <p:cNvPr id="35" name="Rectangle 2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6855091" y="4987997"/>
            <a:ext cx="474908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Hey, hey, hey! It's Fat Company! </a:t>
            </a:r>
          </a:p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Now I'm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ing a song for you, and this i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how you a thing or two. You'll have some fun now With me and the gang, learning</a:t>
            </a:r>
          </a:p>
        </p:txBody>
      </p:sp>
      <p:sp>
        <p:nvSpPr>
          <p:cNvPr id="3" name="椭圆 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326571" y="2064430"/>
            <a:ext cx="2656115" cy="2656115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TextBox 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955769E8-99A2-9F49-A469-343CD50B759C}"/>
              </a:ext>
            </a:extLst>
          </p:cNvPr>
          <p:cNvSpPr txBox="1"/>
          <p:nvPr/>
        </p:nvSpPr>
        <p:spPr>
          <a:xfrm>
            <a:off x="718456" y="3100100"/>
            <a:ext cx="71018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spc="-300" dirty="0">
                <a:solidFill>
                  <a:schemeClr val="bg1"/>
                </a:solidFill>
                <a:effectLst>
                  <a:outerShdw dist="63500" dir="2700000" algn="tl" rotWithShape="0">
                    <a:srgbClr val="67B0B5">
                      <a:alpha val="40000"/>
                    </a:srgbClr>
                  </a:outerShdw>
                </a:effectLst>
                <a:ea typeface="华文细黑" panose="02010600040101010101" pitchFamily="2" charset="-122"/>
                <a:cs typeface="+mn-ea"/>
                <a:sym typeface="+mn-lt"/>
              </a:rPr>
              <a:t>Our Vision</a:t>
            </a:r>
          </a:p>
        </p:txBody>
      </p:sp>
      <p:sp>
        <p:nvSpPr>
          <p:cNvPr id="4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2537307254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占位符 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08" b="22208"/>
          <a:stretch>
            <a:fillRect/>
          </a:stretch>
        </p:blipFill>
        <p:spPr/>
      </p:pic>
      <p:grpSp>
        <p:nvGrpSpPr>
          <p:cNvPr id="7" name="Group 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GrpSpPr/>
          <p:nvPr/>
        </p:nvGrpSpPr>
        <p:grpSpPr>
          <a:xfrm>
            <a:off x="359601" y="1447800"/>
            <a:ext cx="6879400" cy="1333500"/>
            <a:chOff x="9750424" y="3124200"/>
            <a:chExt cx="13758799" cy="2667000"/>
          </a:xfrm>
        </p:grpSpPr>
        <p:sp>
          <p:nvSpPr>
            <p:cNvPr id="8" name="Rounded Rectangle 7"/>
            <p:cNvSpPr/>
            <p:nvPr/>
          </p:nvSpPr>
          <p:spPr>
            <a:xfrm>
              <a:off x="9750424" y="3124200"/>
              <a:ext cx="13758799" cy="2667000"/>
            </a:xfrm>
            <a:prstGeom prst="roundRect">
              <a:avLst>
                <a:gd name="adj" fmla="val 1913"/>
              </a:avLst>
            </a:prstGeom>
            <a:solidFill>
              <a:schemeClr val="bg1"/>
            </a:solidFill>
            <a:ln>
              <a:noFill/>
            </a:ln>
            <a:effectLst>
              <a:outerShdw blurRad="749300" dist="38100" dir="5400000" algn="t" rotWithShape="0">
                <a:prstClr val="black">
                  <a:alpha val="6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0283826" y="3429000"/>
              <a:ext cx="2810256" cy="677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Web design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0886933" y="4908148"/>
              <a:ext cx="2316532" cy="615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Read more</a:t>
              </a:r>
            </a:p>
          </p:txBody>
        </p:sp>
      </p:grpSp>
      <p:grpSp>
        <p:nvGrpSpPr>
          <p:cNvPr id="17" name="Group 1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GrpSpPr/>
          <p:nvPr/>
        </p:nvGrpSpPr>
        <p:grpSpPr>
          <a:xfrm>
            <a:off x="359600" y="2933700"/>
            <a:ext cx="6879400" cy="1333500"/>
            <a:chOff x="9750424" y="3124200"/>
            <a:chExt cx="13758799" cy="2667000"/>
          </a:xfrm>
        </p:grpSpPr>
        <p:sp>
          <p:nvSpPr>
            <p:cNvPr id="18" name="Rounded Rectangle 17"/>
            <p:cNvSpPr/>
            <p:nvPr/>
          </p:nvSpPr>
          <p:spPr>
            <a:xfrm>
              <a:off x="9750424" y="3124200"/>
              <a:ext cx="13758799" cy="2667000"/>
            </a:xfrm>
            <a:prstGeom prst="roundRect">
              <a:avLst>
                <a:gd name="adj" fmla="val 1913"/>
              </a:avLst>
            </a:prstGeom>
            <a:solidFill>
              <a:schemeClr val="bg1"/>
            </a:solidFill>
            <a:ln>
              <a:noFill/>
            </a:ln>
            <a:effectLst>
              <a:outerShdw blurRad="3175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0283826" y="3429000"/>
              <a:ext cx="4490204" cy="677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Presentation design</a:t>
              </a:r>
            </a:p>
          </p:txBody>
        </p:sp>
      </p:grpSp>
      <p:grpSp>
        <p:nvGrpSpPr>
          <p:cNvPr id="25" name="Group 2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GrpSpPr/>
          <p:nvPr/>
        </p:nvGrpSpPr>
        <p:grpSpPr>
          <a:xfrm>
            <a:off x="358013" y="4484370"/>
            <a:ext cx="6879400" cy="1333500"/>
            <a:chOff x="9750424" y="3124200"/>
            <a:chExt cx="13758799" cy="2667000"/>
          </a:xfrm>
        </p:grpSpPr>
        <p:sp>
          <p:nvSpPr>
            <p:cNvPr id="26" name="Rounded Rectangle 25"/>
            <p:cNvSpPr/>
            <p:nvPr/>
          </p:nvSpPr>
          <p:spPr>
            <a:xfrm>
              <a:off x="9750424" y="3124200"/>
              <a:ext cx="13758799" cy="2667000"/>
            </a:xfrm>
            <a:prstGeom prst="roundRect">
              <a:avLst>
                <a:gd name="adj" fmla="val 1913"/>
              </a:avLst>
            </a:prstGeom>
            <a:solidFill>
              <a:schemeClr val="bg1"/>
            </a:solidFill>
            <a:ln>
              <a:noFill/>
            </a:ln>
            <a:effectLst>
              <a:outerShdw blurRad="3175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0283826" y="3429000"/>
              <a:ext cx="3463128" cy="677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Graphic design</a:t>
              </a:r>
            </a:p>
          </p:txBody>
        </p:sp>
      </p:grpSp>
      <p:sp>
        <p:nvSpPr>
          <p:cNvPr id="32" name="TextBox 3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468495" y="534440"/>
            <a:ext cx="42776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1">
                    <a:lumMod val="85000"/>
                    <a:lumOff val="15000"/>
                  </a:schemeClr>
                </a:solidFill>
                <a:ea typeface="Lato Black" panose="020F0502020204030203" pitchFamily="34" charset="0"/>
                <a:cs typeface="Lato Black" panose="020F0502020204030203" pitchFamily="34" charset="0"/>
              </a:rPr>
              <a:t>WHAT WE DO</a:t>
            </a:r>
          </a:p>
        </p:txBody>
      </p:sp>
      <p:sp>
        <p:nvSpPr>
          <p:cNvPr id="33" name="Rounded Rectangle 3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563402" y="2325010"/>
            <a:ext cx="1558495" cy="35644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520700" sx="102000" sy="102000" algn="ctr" rotWithShape="0">
              <a:prstClr val="black">
                <a:alpha val="2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Read more </a:t>
            </a:r>
          </a:p>
        </p:txBody>
      </p:sp>
      <p:sp>
        <p:nvSpPr>
          <p:cNvPr id="34" name="Rounded Rectangle 3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563402" y="3800388"/>
            <a:ext cx="1558495" cy="35644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520700" sx="102000" sy="102000" algn="ctr" rotWithShape="0">
              <a:prstClr val="black">
                <a:alpha val="2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Read more </a:t>
            </a:r>
          </a:p>
        </p:txBody>
      </p:sp>
      <p:sp>
        <p:nvSpPr>
          <p:cNvPr id="35" name="Rounded Rectangle 3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563402" y="5362549"/>
            <a:ext cx="1558495" cy="35644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520700" sx="102000" sy="102000" algn="ctr" rotWithShape="0">
              <a:prstClr val="black">
                <a:alpha val="2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Read more </a:t>
            </a:r>
          </a:p>
        </p:txBody>
      </p:sp>
      <p:sp>
        <p:nvSpPr>
          <p:cNvPr id="22" name="Rectangle 2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63148" y="1913027"/>
            <a:ext cx="474908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Hey, hey, hey! It's Fat Company! </a:t>
            </a:r>
          </a:p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Now I'm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ing a song for you, and this i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how you a thing or two. You'll have some fun now With me and the gang, learning</a:t>
            </a:r>
          </a:p>
        </p:txBody>
      </p:sp>
      <p:sp>
        <p:nvSpPr>
          <p:cNvPr id="23" name="Rectangle 2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584919" y="3392488"/>
            <a:ext cx="474908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Hey, hey, hey! It's Fat Company! </a:t>
            </a:r>
          </a:p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Now I'm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ing a song for you, and this i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how you a thing or two. You'll have some fun now With me and the gang, learning</a:t>
            </a:r>
          </a:p>
        </p:txBody>
      </p:sp>
      <p:sp>
        <p:nvSpPr>
          <p:cNvPr id="24" name="Rectangle 2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606690" y="4916488"/>
            <a:ext cx="474908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Hey, hey, hey! It's Fat Company! </a:t>
            </a:r>
          </a:p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Now I'm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ing a song for you, and this is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gonna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 panose="02000000000000000000" pitchFamily="2" charset="0"/>
                <a:cs typeface="Open Sans Light" panose="020B0306030504020204" pitchFamily="34" charset="0"/>
              </a:rPr>
              <a:t> show you a thing or two. You'll have some fun now With me and the gang, learning</a:t>
            </a:r>
          </a:p>
        </p:txBody>
      </p:sp>
      <p:sp>
        <p:nvSpPr>
          <p:cNvPr id="3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4790846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CF04FB3A-9821-4E4A-ADE2-8396DCEF5695}"/>
              </a:ext>
            </a:extLst>
          </p:cNvPr>
          <p:cNvSpPr/>
          <p:nvPr/>
        </p:nvSpPr>
        <p:spPr>
          <a:xfrm>
            <a:off x="6492240" y="1732149"/>
            <a:ext cx="5090903" cy="2469334"/>
          </a:xfrm>
          <a:prstGeom prst="roundRect">
            <a:avLst>
              <a:gd name="adj" fmla="val 3006"/>
            </a:avLst>
          </a:prstGeom>
          <a:solidFill>
            <a:srgbClr val="02010B"/>
          </a:solidFill>
          <a:ln>
            <a:noFill/>
          </a:ln>
          <a:effectLst>
            <a:outerShdw blurRad="25400" dist="12700" dir="27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EC7BF378-C6FC-4E5B-BC0D-9D643F84D36E}"/>
              </a:ext>
            </a:extLst>
          </p:cNvPr>
          <p:cNvSpPr/>
          <p:nvPr/>
        </p:nvSpPr>
        <p:spPr>
          <a:xfrm>
            <a:off x="608858" y="1732149"/>
            <a:ext cx="5344902" cy="2469334"/>
          </a:xfrm>
          <a:prstGeom prst="roundRect">
            <a:avLst>
              <a:gd name="adj" fmla="val 2643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  <a:effectLst>
            <a:outerShdw blurRad="25400" dist="12700" dir="27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A249FD48-40C7-453E-A8D6-C95FD645BAFF}"/>
              </a:ext>
            </a:extLst>
          </p:cNvPr>
          <p:cNvSpPr/>
          <p:nvPr/>
        </p:nvSpPr>
        <p:spPr>
          <a:xfrm>
            <a:off x="8098420" y="4434839"/>
            <a:ext cx="3484722" cy="1874573"/>
          </a:xfrm>
          <a:prstGeom prst="roundRect">
            <a:avLst>
              <a:gd name="adj" fmla="val 691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Chart 1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66FB7337-1F37-459F-8EFF-C1E1046CFC06}"/>
              </a:ext>
            </a:extLst>
          </p:cNvPr>
          <p:cNvGraphicFramePr/>
          <p:nvPr/>
        </p:nvGraphicFramePr>
        <p:xfrm>
          <a:off x="891539" y="2179643"/>
          <a:ext cx="4909821" cy="1920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TextBox 16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4F15D55A-6000-4DB1-A294-E50C65A516FC}"/>
              </a:ext>
            </a:extLst>
          </p:cNvPr>
          <p:cNvSpPr txBox="1"/>
          <p:nvPr/>
        </p:nvSpPr>
        <p:spPr>
          <a:xfrm>
            <a:off x="891539" y="1850409"/>
            <a:ext cx="2148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Customer Overview</a:t>
            </a:r>
          </a:p>
        </p:txBody>
      </p:sp>
      <p:sp>
        <p:nvSpPr>
          <p:cNvPr id="18" name="TextBox 17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E29B220B-F8DC-461A-B08F-23D87739D57F}"/>
              </a:ext>
            </a:extLst>
          </p:cNvPr>
          <p:cNvSpPr txBox="1"/>
          <p:nvPr/>
        </p:nvSpPr>
        <p:spPr>
          <a:xfrm>
            <a:off x="6782542" y="1850409"/>
            <a:ext cx="2148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Customer Overview</a:t>
            </a:r>
          </a:p>
        </p:txBody>
      </p:sp>
      <p:graphicFrame>
        <p:nvGraphicFramePr>
          <p:cNvPr id="23" name="Chart 2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4A8AB58D-86B9-4D84-93C0-E246D9506D90}"/>
              </a:ext>
            </a:extLst>
          </p:cNvPr>
          <p:cNvGraphicFramePr/>
          <p:nvPr/>
        </p:nvGraphicFramePr>
        <p:xfrm>
          <a:off x="6715230" y="2189351"/>
          <a:ext cx="4025247" cy="1874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angle: Rounded Corners 1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8F6A8D8A-4C78-4C2E-B843-09D9EEA7950A}"/>
              </a:ext>
            </a:extLst>
          </p:cNvPr>
          <p:cNvSpPr/>
          <p:nvPr/>
        </p:nvSpPr>
        <p:spPr>
          <a:xfrm>
            <a:off x="608858" y="4434839"/>
            <a:ext cx="3484722" cy="1874573"/>
          </a:xfrm>
          <a:prstGeom prst="roundRect">
            <a:avLst>
              <a:gd name="adj" fmla="val 4042"/>
            </a:avLst>
          </a:prstGeom>
          <a:solidFill>
            <a:srgbClr val="02010B"/>
          </a:solidFill>
          <a:ln>
            <a:noFill/>
          </a:ln>
          <a:effectLst>
            <a:outerShdw blurRad="25400" dist="12700" dir="27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7" name="Chart 26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0BB3024-5961-41A1-87BB-D895A6025B28}"/>
              </a:ext>
            </a:extLst>
          </p:cNvPr>
          <p:cNvGraphicFramePr/>
          <p:nvPr/>
        </p:nvGraphicFramePr>
        <p:xfrm>
          <a:off x="608858" y="5020450"/>
          <a:ext cx="3352280" cy="1416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1" name="TextBox 3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FFC6830-309B-45E4-B1F5-3C0268AD31D9}"/>
              </a:ext>
            </a:extLst>
          </p:cNvPr>
          <p:cNvSpPr txBox="1"/>
          <p:nvPr/>
        </p:nvSpPr>
        <p:spPr>
          <a:xfrm>
            <a:off x="816241" y="4588499"/>
            <a:ext cx="16375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accent1"/>
                </a:solidFill>
              </a:rPr>
              <a:t>Bounce Rate Level</a:t>
            </a:r>
          </a:p>
        </p:txBody>
      </p:sp>
      <p:sp>
        <p:nvSpPr>
          <p:cNvPr id="32" name="TextBox 31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47330412-4D4C-4B4F-BD72-08653A7A1970}"/>
              </a:ext>
            </a:extLst>
          </p:cNvPr>
          <p:cNvSpPr txBox="1"/>
          <p:nvPr/>
        </p:nvSpPr>
        <p:spPr>
          <a:xfrm>
            <a:off x="816239" y="4764942"/>
            <a:ext cx="28435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All Missed Transaction on check out Process</a:t>
            </a:r>
          </a:p>
        </p:txBody>
      </p:sp>
      <p:sp>
        <p:nvSpPr>
          <p:cNvPr id="13" name="Rectangle: Rounded Corners 1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1F9CC33-9848-4411-BDDE-7BC1D885C5C2}"/>
              </a:ext>
            </a:extLst>
          </p:cNvPr>
          <p:cNvSpPr/>
          <p:nvPr/>
        </p:nvSpPr>
        <p:spPr>
          <a:xfrm>
            <a:off x="4372240" y="4434839"/>
            <a:ext cx="3484722" cy="1874573"/>
          </a:xfrm>
          <a:prstGeom prst="roundRect">
            <a:avLst>
              <a:gd name="adj" fmla="val 3563"/>
            </a:avLst>
          </a:prstGeom>
          <a:solidFill>
            <a:srgbClr val="02010B"/>
          </a:solidFill>
          <a:ln>
            <a:noFill/>
          </a:ln>
          <a:effectLst>
            <a:outerShdw blurRad="25400" dist="12700" dir="27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8" name="Chart 27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85876A4B-E5F3-4625-8419-8596961DBD5D}"/>
              </a:ext>
            </a:extLst>
          </p:cNvPr>
          <p:cNvGraphicFramePr/>
          <p:nvPr/>
        </p:nvGraphicFramePr>
        <p:xfrm>
          <a:off x="4438461" y="5022903"/>
          <a:ext cx="3352280" cy="1416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3" name="TextBox 3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C5EAC509-C288-45CE-A089-75D000A336F8}"/>
              </a:ext>
            </a:extLst>
          </p:cNvPr>
          <p:cNvSpPr txBox="1"/>
          <p:nvPr/>
        </p:nvSpPr>
        <p:spPr>
          <a:xfrm>
            <a:off x="4626544" y="4588499"/>
            <a:ext cx="13975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accent3"/>
                </a:solidFill>
              </a:rPr>
              <a:t>New Sessions</a:t>
            </a:r>
          </a:p>
        </p:txBody>
      </p:sp>
      <p:sp>
        <p:nvSpPr>
          <p:cNvPr id="34" name="TextBox 3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CE855CC1-96CD-415E-B5B6-B49F03F68CC6}"/>
              </a:ext>
            </a:extLst>
          </p:cNvPr>
          <p:cNvSpPr txBox="1"/>
          <p:nvPr/>
        </p:nvSpPr>
        <p:spPr>
          <a:xfrm>
            <a:off x="4626543" y="4764942"/>
            <a:ext cx="24600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All new users from selected time period</a:t>
            </a:r>
          </a:p>
        </p:txBody>
      </p:sp>
      <p:sp>
        <p:nvSpPr>
          <p:cNvPr id="29" name="Rectangle: Rounded Corners 28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E6A4C067-B529-4B8A-807B-BF6527569CC8}"/>
              </a:ext>
            </a:extLst>
          </p:cNvPr>
          <p:cNvSpPr/>
          <p:nvPr/>
        </p:nvSpPr>
        <p:spPr>
          <a:xfrm>
            <a:off x="8098420" y="4434839"/>
            <a:ext cx="3484722" cy="1874573"/>
          </a:xfrm>
          <a:prstGeom prst="roundRect">
            <a:avLst>
              <a:gd name="adj" fmla="val 3085"/>
            </a:avLst>
          </a:prstGeom>
          <a:solidFill>
            <a:srgbClr val="02010B"/>
          </a:solidFill>
          <a:ln>
            <a:noFill/>
          </a:ln>
          <a:effectLst>
            <a:outerShdw blurRad="25400" dist="12700" dir="27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0" name="Chart 29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D5D70AE5-AB8A-4529-81C6-0BD2CE437B6E}"/>
              </a:ext>
            </a:extLst>
          </p:cNvPr>
          <p:cNvGraphicFramePr/>
          <p:nvPr/>
        </p:nvGraphicFramePr>
        <p:xfrm>
          <a:off x="8164641" y="5029391"/>
          <a:ext cx="3352280" cy="1416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TextBox 3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36259621-742C-4356-A338-B5E00796A975}"/>
              </a:ext>
            </a:extLst>
          </p:cNvPr>
          <p:cNvSpPr txBox="1"/>
          <p:nvPr/>
        </p:nvSpPr>
        <p:spPr>
          <a:xfrm>
            <a:off x="8381312" y="4588499"/>
            <a:ext cx="17342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accent5"/>
                </a:solidFill>
              </a:rPr>
              <a:t>Total Income Amount</a:t>
            </a:r>
          </a:p>
        </p:txBody>
      </p:sp>
      <p:sp>
        <p:nvSpPr>
          <p:cNvPr id="36" name="TextBox 3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89BC511A-8419-41BB-A00C-901A4A97B138}"/>
              </a:ext>
            </a:extLst>
          </p:cNvPr>
          <p:cNvSpPr txBox="1"/>
          <p:nvPr/>
        </p:nvSpPr>
        <p:spPr>
          <a:xfrm>
            <a:off x="8381311" y="4764942"/>
            <a:ext cx="24600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Income level assed on the real data</a:t>
            </a:r>
          </a:p>
        </p:txBody>
      </p:sp>
      <p:sp>
        <p:nvSpPr>
          <p:cNvPr id="26" name="TextBox 2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FE42999A-38F6-408F-A32C-45D805F50FD2}"/>
              </a:ext>
            </a:extLst>
          </p:cNvPr>
          <p:cNvSpPr txBox="1"/>
          <p:nvPr/>
        </p:nvSpPr>
        <p:spPr>
          <a:xfrm>
            <a:off x="1227032" y="162816"/>
            <a:ext cx="4269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>
                    <a:alpha val="32000"/>
                  </a:schemeClr>
                </a:solidFill>
                <a:latin typeface="Montserrat" panose="020B0604020202020204" charset="0"/>
              </a:rPr>
              <a:t>KPI </a:t>
            </a:r>
            <a:r>
              <a:rPr lang="en-US" dirty="0">
                <a:solidFill>
                  <a:schemeClr val="tx2">
                    <a:alpha val="32000"/>
                  </a:schemeClr>
                </a:solidFill>
                <a:latin typeface="Montserrat" panose="020B0604020202020204" charset="0"/>
              </a:rPr>
              <a:t>Dashboard</a:t>
            </a:r>
          </a:p>
        </p:txBody>
      </p:sp>
      <p:sp>
        <p:nvSpPr>
          <p:cNvPr id="25" name="TextBox 5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180432B2-12F0-4DBC-ADE5-86331CB8A801}"/>
              </a:ext>
            </a:extLst>
          </p:cNvPr>
          <p:cNvSpPr txBox="1"/>
          <p:nvPr/>
        </p:nvSpPr>
        <p:spPr>
          <a:xfrm>
            <a:off x="1887207" y="607199"/>
            <a:ext cx="8354715" cy="62837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defRPr sz="4400" b="1">
                <a:solidFill>
                  <a:schemeClr val="bg1"/>
                </a:solidFill>
                <a:effectLst>
                  <a:outerShdw blurRad="165100" dist="1625600" dir="19740000" sx="114000" sy="114000" algn="bl" rotWithShape="0">
                    <a:schemeClr val="bg1">
                      <a:alpha val="11000"/>
                    </a:schemeClr>
                  </a:outerShdw>
                </a:effectLst>
                <a:latin typeface="+mj-ea"/>
                <a:ea typeface="+mj-ea"/>
                <a:cs typeface="+mn-ea"/>
              </a:defRPr>
            </a:lvl1pPr>
            <a:lvl2pPr marL="1095566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834"/>
            </a:lvl2pPr>
            <a:lvl3pPr marL="1825943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195"/>
            </a:lvl3pPr>
            <a:lvl4pPr marL="2556320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/>
            </a:lvl4pPr>
            <a:lvl5pPr marL="3286697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/>
            </a:lvl5pPr>
            <a:lvl6pPr marL="4017074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/>
            </a:lvl6pPr>
            <a:lvl7pPr marL="4747451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/>
            </a:lvl7pPr>
            <a:lvl8pPr marL="5477828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/>
            </a:lvl8pPr>
            <a:lvl9pPr marL="6208205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/>
            </a:lvl9pPr>
          </a:lstStyle>
          <a:p>
            <a:r>
              <a:rPr lang="en-US" dirty="0"/>
              <a:t>Social Media Client Report</a:t>
            </a: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84BEA2B79408FB094EB53969616FE837C4DDA931FB4B50B287CB9E976CD8A286A6B09202195C1175A3DD2481D60CC400D4B189D647C2854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875609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: Rounded Corners 49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FFBFBD8E-BADC-4B91-92C0-77906B0D859E}"/>
              </a:ext>
            </a:extLst>
          </p:cNvPr>
          <p:cNvSpPr/>
          <p:nvPr/>
        </p:nvSpPr>
        <p:spPr>
          <a:xfrm>
            <a:off x="4177163" y="800628"/>
            <a:ext cx="7383150" cy="4011035"/>
          </a:xfrm>
          <a:prstGeom prst="roundRect">
            <a:avLst>
              <a:gd name="adj" fmla="val 2019"/>
            </a:avLst>
          </a:prstGeom>
          <a:solidFill>
            <a:srgbClr val="02010B">
              <a:alpha val="54000"/>
            </a:srgbClr>
          </a:solidFill>
          <a:ln>
            <a:solidFill>
              <a:srgbClr val="02010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" name="Group 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C851903-14D4-4995-A803-725EB58BA0EE}"/>
              </a:ext>
            </a:extLst>
          </p:cNvPr>
          <p:cNvGrpSpPr/>
          <p:nvPr/>
        </p:nvGrpSpPr>
        <p:grpSpPr>
          <a:xfrm>
            <a:off x="5035243" y="1912330"/>
            <a:ext cx="5440797" cy="1668492"/>
            <a:chOff x="5163820" y="2541440"/>
            <a:chExt cx="6192848" cy="1899119"/>
          </a:xfrm>
        </p:grpSpPr>
        <p:sp>
          <p:nvSpPr>
            <p:cNvPr id="16" name="Partial Circle 5">
              <a:extLst>
                <a:ext uri="{FF2B5EF4-FFF2-40B4-BE49-F238E27FC236}">
                  <a16:creationId xmlns:a16="http://schemas.microsoft.com/office/drawing/2014/main" id="{B4E41BAD-0AB1-41D8-8876-67A443FD5C5D}"/>
                </a:ext>
              </a:extLst>
            </p:cNvPr>
            <p:cNvSpPr/>
            <p:nvPr/>
          </p:nvSpPr>
          <p:spPr>
            <a:xfrm>
              <a:off x="5165154" y="2541440"/>
              <a:ext cx="1878562" cy="1878561"/>
            </a:xfrm>
            <a:prstGeom prst="ellipse">
              <a:avLst/>
            </a:prstGeom>
            <a:noFill/>
            <a:ln>
              <a:solidFill>
                <a:srgbClr val="0201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sz="875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" name="Partial Circle 5">
              <a:extLst>
                <a:ext uri="{FF2B5EF4-FFF2-40B4-BE49-F238E27FC236}">
                  <a16:creationId xmlns:a16="http://schemas.microsoft.com/office/drawing/2014/main" id="{A5BEC298-A850-4089-95C3-DDDA02AC19E2}"/>
                </a:ext>
              </a:extLst>
            </p:cNvPr>
            <p:cNvSpPr/>
            <p:nvPr/>
          </p:nvSpPr>
          <p:spPr>
            <a:xfrm>
              <a:off x="6607345" y="2551719"/>
              <a:ext cx="1878562" cy="1878561"/>
            </a:xfrm>
            <a:prstGeom prst="ellipse">
              <a:avLst/>
            </a:prstGeom>
            <a:noFill/>
            <a:ln>
              <a:solidFill>
                <a:srgbClr val="0201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sz="875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" name="Partial Circle 5">
              <a:extLst>
                <a:ext uri="{FF2B5EF4-FFF2-40B4-BE49-F238E27FC236}">
                  <a16:creationId xmlns:a16="http://schemas.microsoft.com/office/drawing/2014/main" id="{544E990C-D43C-4B01-8382-BD7D149E2240}"/>
                </a:ext>
              </a:extLst>
            </p:cNvPr>
            <p:cNvSpPr/>
            <p:nvPr/>
          </p:nvSpPr>
          <p:spPr>
            <a:xfrm>
              <a:off x="8040008" y="2551719"/>
              <a:ext cx="1878562" cy="1878561"/>
            </a:xfrm>
            <a:prstGeom prst="ellipse">
              <a:avLst/>
            </a:prstGeom>
            <a:noFill/>
            <a:ln>
              <a:solidFill>
                <a:srgbClr val="0201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sz="875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Partial Circle 5">
              <a:extLst>
                <a:ext uri="{FF2B5EF4-FFF2-40B4-BE49-F238E27FC236}">
                  <a16:creationId xmlns:a16="http://schemas.microsoft.com/office/drawing/2014/main" id="{89A57604-03E6-48D6-BC94-9A0FEDDF87BD}"/>
                </a:ext>
              </a:extLst>
            </p:cNvPr>
            <p:cNvSpPr/>
            <p:nvPr/>
          </p:nvSpPr>
          <p:spPr>
            <a:xfrm>
              <a:off x="9467243" y="2551719"/>
              <a:ext cx="1878562" cy="1878561"/>
            </a:xfrm>
            <a:prstGeom prst="ellipse">
              <a:avLst/>
            </a:prstGeom>
            <a:noFill/>
            <a:ln>
              <a:solidFill>
                <a:srgbClr val="0201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sz="875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Partial Circle 5">
              <a:extLst>
                <a:ext uri="{FF2B5EF4-FFF2-40B4-BE49-F238E27FC236}">
                  <a16:creationId xmlns:a16="http://schemas.microsoft.com/office/drawing/2014/main" id="{D95546D6-9B0C-4D77-879E-569639DDF4A7}"/>
                </a:ext>
              </a:extLst>
            </p:cNvPr>
            <p:cNvSpPr/>
            <p:nvPr/>
          </p:nvSpPr>
          <p:spPr>
            <a:xfrm>
              <a:off x="5163820" y="2541440"/>
              <a:ext cx="1878562" cy="1878561"/>
            </a:xfrm>
            <a:prstGeom prst="pie">
              <a:avLst>
                <a:gd name="adj1" fmla="val 0"/>
                <a:gd name="adj2" fmla="val 10822036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99000">
                  <a:schemeClr val="accent1"/>
                </a:gs>
              </a:gsLst>
              <a:lin ang="2700000" scaled="1"/>
            </a:gradFill>
            <a:ln>
              <a:solidFill>
                <a:srgbClr val="02010B"/>
              </a:solidFill>
            </a:ln>
            <a:effectLst>
              <a:outerShdw blurRad="177800" dist="292100" dir="2700000" algn="tl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sz="1125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Partial Circle 6">
              <a:extLst>
                <a:ext uri="{FF2B5EF4-FFF2-40B4-BE49-F238E27FC236}">
                  <a16:creationId xmlns:a16="http://schemas.microsoft.com/office/drawing/2014/main" id="{44153F8A-AE6F-4674-B30A-5A9D3A9CB7C2}"/>
                </a:ext>
              </a:extLst>
            </p:cNvPr>
            <p:cNvSpPr/>
            <p:nvPr/>
          </p:nvSpPr>
          <p:spPr>
            <a:xfrm>
              <a:off x="8040011" y="2541441"/>
              <a:ext cx="1878562" cy="1878561"/>
            </a:xfrm>
            <a:prstGeom prst="pie">
              <a:avLst>
                <a:gd name="adj1" fmla="val 0"/>
                <a:gd name="adj2" fmla="val 10822036"/>
              </a:avLst>
            </a:prstGeom>
            <a:gradFill>
              <a:gsLst>
                <a:gs pos="0">
                  <a:schemeClr val="accent3">
                    <a:lumMod val="60000"/>
                    <a:lumOff val="40000"/>
                  </a:schemeClr>
                </a:gs>
                <a:gs pos="99000">
                  <a:schemeClr val="accent3"/>
                </a:gs>
              </a:gsLst>
              <a:lin ang="2700000" scaled="1"/>
            </a:gradFill>
            <a:ln>
              <a:solidFill>
                <a:srgbClr val="02010B"/>
              </a:solidFill>
            </a:ln>
            <a:effectLst>
              <a:outerShdw blurRad="279400" dist="38100" dir="2700000" algn="tl" rotWithShape="0">
                <a:schemeClr val="accent3">
                  <a:alpha val="32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sz="1125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Partial Circle 7">
              <a:extLst>
                <a:ext uri="{FF2B5EF4-FFF2-40B4-BE49-F238E27FC236}">
                  <a16:creationId xmlns:a16="http://schemas.microsoft.com/office/drawing/2014/main" id="{53D47E38-2FCF-4111-8F20-A92490F39D5F}"/>
                </a:ext>
              </a:extLst>
            </p:cNvPr>
            <p:cNvSpPr/>
            <p:nvPr/>
          </p:nvSpPr>
          <p:spPr>
            <a:xfrm>
              <a:off x="6601914" y="2561998"/>
              <a:ext cx="1878562" cy="1878561"/>
            </a:xfrm>
            <a:prstGeom prst="pie">
              <a:avLst>
                <a:gd name="adj1" fmla="val 10776671"/>
                <a:gd name="adj2" fmla="val 14138"/>
              </a:avLst>
            </a:prstGeom>
            <a:gradFill>
              <a:gsLst>
                <a:gs pos="0">
                  <a:schemeClr val="accent2">
                    <a:lumMod val="60000"/>
                    <a:lumOff val="40000"/>
                  </a:schemeClr>
                </a:gs>
                <a:gs pos="99000">
                  <a:schemeClr val="accent2"/>
                </a:gs>
              </a:gsLst>
              <a:lin ang="2700000" scaled="1"/>
            </a:gradFill>
            <a:ln>
              <a:solidFill>
                <a:srgbClr val="02010B"/>
              </a:solidFill>
            </a:ln>
            <a:effectLst>
              <a:outerShdw blurRad="355600" dist="241300" dir="2700000" algn="tl" rotWithShape="0">
                <a:schemeClr val="accent2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sz="1125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A59D90A0-3D03-46E1-95D6-FFD58743A3B1}"/>
                </a:ext>
              </a:extLst>
            </p:cNvPr>
            <p:cNvSpPr/>
            <p:nvPr/>
          </p:nvSpPr>
          <p:spPr>
            <a:xfrm>
              <a:off x="5604287" y="2981907"/>
              <a:ext cx="997629" cy="997628"/>
            </a:xfrm>
            <a:prstGeom prst="ellipse">
              <a:avLst/>
            </a:prstGeom>
            <a:solidFill>
              <a:srgbClr val="02010B"/>
            </a:solidFill>
            <a:ln>
              <a:solidFill>
                <a:srgbClr val="02010B"/>
              </a:solidFill>
            </a:ln>
            <a:effectLst>
              <a:outerShdw blurRad="508000" dist="266700" dir="5520000" sx="87000" sy="87000" algn="t" rotWithShape="0">
                <a:prstClr val="black">
                  <a:alpha val="3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id-ID" sz="1750" spc="-94" dirty="0">
                  <a:solidFill>
                    <a:schemeClr val="bg1"/>
                  </a:solidFill>
                  <a:latin typeface="+mj-lt"/>
                  <a:cs typeface="Poppins" panose="00000500000000000000" pitchFamily="2" charset="0"/>
                </a:rPr>
                <a:t>01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8507E9D-2458-43DE-8D62-02010EE919AC}"/>
                </a:ext>
              </a:extLst>
            </p:cNvPr>
            <p:cNvSpPr/>
            <p:nvPr/>
          </p:nvSpPr>
          <p:spPr>
            <a:xfrm>
              <a:off x="7042381" y="2981907"/>
              <a:ext cx="997629" cy="997628"/>
            </a:xfrm>
            <a:prstGeom prst="ellipse">
              <a:avLst/>
            </a:prstGeom>
            <a:solidFill>
              <a:srgbClr val="02010B"/>
            </a:solidFill>
            <a:ln>
              <a:solidFill>
                <a:srgbClr val="02010B"/>
              </a:solidFill>
            </a:ln>
            <a:effectLst>
              <a:outerShdw blurRad="508000" dist="266700" dir="5520000" sx="87000" sy="87000" algn="t" rotWithShape="0">
                <a:prstClr val="black">
                  <a:alpha val="3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id-ID" sz="1750" dirty="0">
                  <a:solidFill>
                    <a:schemeClr val="bg1"/>
                  </a:solidFill>
                  <a:latin typeface="+mj-lt"/>
                  <a:cs typeface="Poppins" panose="00000500000000000000" pitchFamily="2" charset="0"/>
                </a:rPr>
                <a:t>02</a:t>
              </a:r>
            </a:p>
          </p:txBody>
        </p:sp>
        <p:sp>
          <p:nvSpPr>
            <p:cNvPr id="25" name="Partial Circle 10">
              <a:extLst>
                <a:ext uri="{FF2B5EF4-FFF2-40B4-BE49-F238E27FC236}">
                  <a16:creationId xmlns:a16="http://schemas.microsoft.com/office/drawing/2014/main" id="{90EFB6FD-CBE0-451E-9687-0883ADC54ABA}"/>
                </a:ext>
              </a:extLst>
            </p:cNvPr>
            <p:cNvSpPr/>
            <p:nvPr/>
          </p:nvSpPr>
          <p:spPr>
            <a:xfrm>
              <a:off x="9478106" y="2561998"/>
              <a:ext cx="1878562" cy="1878561"/>
            </a:xfrm>
            <a:prstGeom prst="pie">
              <a:avLst>
                <a:gd name="adj1" fmla="val 10776671"/>
                <a:gd name="adj2" fmla="val 14138"/>
              </a:avLst>
            </a:prstGeom>
            <a:gradFill>
              <a:gsLst>
                <a:gs pos="0">
                  <a:schemeClr val="accent4">
                    <a:lumMod val="60000"/>
                    <a:lumOff val="40000"/>
                  </a:schemeClr>
                </a:gs>
                <a:gs pos="99000">
                  <a:schemeClr val="accent4"/>
                </a:gs>
              </a:gsLst>
              <a:lin ang="2700000" scaled="1"/>
            </a:gradFill>
            <a:ln>
              <a:solidFill>
                <a:srgbClr val="02010B"/>
              </a:solidFill>
            </a:ln>
            <a:effectLst>
              <a:outerShdw blurRad="355600" dist="38100" dir="2700000" algn="tl" rotWithShape="0">
                <a:schemeClr val="accent4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sz="1125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2B55D29-EB04-4569-983B-45FFD6B5071D}"/>
                </a:ext>
              </a:extLst>
            </p:cNvPr>
            <p:cNvSpPr/>
            <p:nvPr/>
          </p:nvSpPr>
          <p:spPr>
            <a:xfrm>
              <a:off x="8480477" y="2981907"/>
              <a:ext cx="997629" cy="997628"/>
            </a:xfrm>
            <a:prstGeom prst="ellipse">
              <a:avLst/>
            </a:prstGeom>
            <a:solidFill>
              <a:srgbClr val="02010B"/>
            </a:solidFill>
            <a:ln>
              <a:solidFill>
                <a:srgbClr val="02010B"/>
              </a:solidFill>
            </a:ln>
            <a:effectLst>
              <a:outerShdw blurRad="508000" dist="266700" dir="5520000" sx="87000" sy="87000" algn="t" rotWithShape="0">
                <a:prstClr val="black">
                  <a:alpha val="3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id-ID" sz="1750" dirty="0">
                  <a:solidFill>
                    <a:schemeClr val="bg1"/>
                  </a:solidFill>
                  <a:latin typeface="+mj-lt"/>
                  <a:cs typeface="Poppins" panose="00000500000000000000" pitchFamily="2" charset="0"/>
                </a:rPr>
                <a:t>03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4855195-D7D6-40D4-85F4-A0FB333E6019}"/>
                </a:ext>
              </a:extLst>
            </p:cNvPr>
            <p:cNvSpPr/>
            <p:nvPr/>
          </p:nvSpPr>
          <p:spPr>
            <a:xfrm>
              <a:off x="9918573" y="2981907"/>
              <a:ext cx="997629" cy="997628"/>
            </a:xfrm>
            <a:prstGeom prst="ellipse">
              <a:avLst/>
            </a:prstGeom>
            <a:solidFill>
              <a:srgbClr val="02010B"/>
            </a:solidFill>
            <a:ln>
              <a:solidFill>
                <a:srgbClr val="02010B"/>
              </a:solidFill>
            </a:ln>
            <a:effectLst>
              <a:outerShdw blurRad="508000" dist="266700" dir="5520000" sx="87000" sy="87000" algn="t" rotWithShape="0">
                <a:prstClr val="black">
                  <a:alpha val="3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id-ID" sz="1750" dirty="0">
                  <a:solidFill>
                    <a:schemeClr val="bg1"/>
                  </a:solidFill>
                  <a:latin typeface="+mj-lt"/>
                  <a:cs typeface="Poppins" panose="00000500000000000000" pitchFamily="2" charset="0"/>
                </a:rPr>
                <a:t>04</a:t>
              </a:r>
            </a:p>
          </p:txBody>
        </p:sp>
      </p:grpSp>
      <p:grpSp>
        <p:nvGrpSpPr>
          <p:cNvPr id="32" name="Group 31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5365D41D-E779-429E-82EF-04D61D2B8220}"/>
              </a:ext>
            </a:extLst>
          </p:cNvPr>
          <p:cNvGrpSpPr/>
          <p:nvPr/>
        </p:nvGrpSpPr>
        <p:grpSpPr>
          <a:xfrm>
            <a:off x="4348334" y="3858540"/>
            <a:ext cx="2734978" cy="972200"/>
            <a:chOff x="1058664" y="2193379"/>
            <a:chExt cx="2909287" cy="1034161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F9000A4-A894-4457-B4C1-E886001EF461}"/>
                </a:ext>
              </a:extLst>
            </p:cNvPr>
            <p:cNvSpPr/>
            <p:nvPr/>
          </p:nvSpPr>
          <p:spPr>
            <a:xfrm>
              <a:off x="1058664" y="2505913"/>
              <a:ext cx="2909287" cy="7216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1000" dirty="0">
                  <a:solidFill>
                    <a:schemeClr val="bg1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rPr>
                <a:t>The European languages are members of the same family. Their separate existence</a:t>
              </a:r>
              <a:endParaRPr lang="id-ID" sz="10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BC5BA8A-3841-4C6C-A630-89D6225CBC60}"/>
                </a:ext>
              </a:extLst>
            </p:cNvPr>
            <p:cNvSpPr/>
            <p:nvPr/>
          </p:nvSpPr>
          <p:spPr>
            <a:xfrm>
              <a:off x="1216615" y="2193379"/>
              <a:ext cx="2593385" cy="3437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bg1"/>
                  </a:solidFill>
                  <a:cs typeface="Poppins" panose="02000000000000000000" pitchFamily="2" charset="0"/>
                </a:rPr>
                <a:t>Why Choose Us</a:t>
              </a:r>
              <a:endParaRPr lang="id-ID" sz="1500" b="1" dirty="0">
                <a:solidFill>
                  <a:schemeClr val="bg1"/>
                </a:solidFill>
                <a:cs typeface="Poppins" panose="02000000000000000000" pitchFamily="2" charset="0"/>
              </a:endParaRPr>
            </a:p>
          </p:txBody>
        </p:sp>
      </p:grpSp>
      <p:grpSp>
        <p:nvGrpSpPr>
          <p:cNvPr id="35" name="Group 3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A181CBAB-4E58-41AD-B059-513EA165D18E}"/>
              </a:ext>
            </a:extLst>
          </p:cNvPr>
          <p:cNvGrpSpPr/>
          <p:nvPr/>
        </p:nvGrpSpPr>
        <p:grpSpPr>
          <a:xfrm>
            <a:off x="7600578" y="3858540"/>
            <a:ext cx="2734978" cy="972200"/>
            <a:chOff x="1058664" y="2193379"/>
            <a:chExt cx="2909287" cy="1034161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FC74706-D0B0-4AA3-9CA1-7DF1C74EDEE6}"/>
                </a:ext>
              </a:extLst>
            </p:cNvPr>
            <p:cNvSpPr/>
            <p:nvPr/>
          </p:nvSpPr>
          <p:spPr>
            <a:xfrm>
              <a:off x="1058664" y="2505913"/>
              <a:ext cx="2909287" cy="7216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1000" dirty="0">
                  <a:solidFill>
                    <a:schemeClr val="bg1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rPr>
                <a:t>The European languages are members of the same family. Their separate existence</a:t>
              </a:r>
              <a:endParaRPr lang="id-ID" sz="10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2D22C09-48AB-4925-BED1-3501180C05F2}"/>
                </a:ext>
              </a:extLst>
            </p:cNvPr>
            <p:cNvSpPr/>
            <p:nvPr/>
          </p:nvSpPr>
          <p:spPr>
            <a:xfrm>
              <a:off x="1216615" y="2193379"/>
              <a:ext cx="2593385" cy="3437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bg1"/>
                  </a:solidFill>
                  <a:cs typeface="Poppins" panose="02000000000000000000" pitchFamily="2" charset="0"/>
                </a:rPr>
                <a:t>Why Choose Us</a:t>
              </a:r>
              <a:endParaRPr lang="id-ID" sz="1500" b="1" dirty="0">
                <a:solidFill>
                  <a:schemeClr val="bg1"/>
                </a:solidFill>
                <a:cs typeface="Poppins" panose="02000000000000000000" pitchFamily="2" charset="0"/>
              </a:endParaRPr>
            </a:p>
          </p:txBody>
        </p:sp>
      </p:grpSp>
      <p:grpSp>
        <p:nvGrpSpPr>
          <p:cNvPr id="44" name="Group 4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F631A389-ACE0-40F9-B55C-BC8C56E6BC59}"/>
              </a:ext>
            </a:extLst>
          </p:cNvPr>
          <p:cNvGrpSpPr/>
          <p:nvPr/>
        </p:nvGrpSpPr>
        <p:grpSpPr>
          <a:xfrm>
            <a:off x="5763857" y="971174"/>
            <a:ext cx="2734978" cy="972200"/>
            <a:chOff x="1058664" y="2193379"/>
            <a:chExt cx="2909287" cy="1034161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796120E-CAE5-4973-A04D-C9296BAEABA0}"/>
                </a:ext>
              </a:extLst>
            </p:cNvPr>
            <p:cNvSpPr/>
            <p:nvPr/>
          </p:nvSpPr>
          <p:spPr>
            <a:xfrm>
              <a:off x="1058664" y="2505913"/>
              <a:ext cx="2909287" cy="7216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1000" dirty="0">
                  <a:solidFill>
                    <a:schemeClr val="bg1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rPr>
                <a:t>The European languages are members of the same family. Their separate existence</a:t>
              </a:r>
              <a:endParaRPr lang="id-ID" sz="10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C28F70D-DBE1-45CE-B009-020B757CCCAE}"/>
                </a:ext>
              </a:extLst>
            </p:cNvPr>
            <p:cNvSpPr/>
            <p:nvPr/>
          </p:nvSpPr>
          <p:spPr>
            <a:xfrm>
              <a:off x="1216615" y="2193379"/>
              <a:ext cx="2593385" cy="3437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bg1"/>
                  </a:solidFill>
                  <a:cs typeface="Poppins" panose="02000000000000000000" pitchFamily="2" charset="0"/>
                </a:rPr>
                <a:t>Why Choose Us</a:t>
              </a:r>
              <a:endParaRPr lang="id-ID" sz="1500" b="1" dirty="0">
                <a:solidFill>
                  <a:schemeClr val="bg1"/>
                </a:solidFill>
                <a:cs typeface="Poppins" panose="02000000000000000000" pitchFamily="2" charset="0"/>
              </a:endParaRPr>
            </a:p>
          </p:txBody>
        </p:sp>
      </p:grpSp>
      <p:grpSp>
        <p:nvGrpSpPr>
          <p:cNvPr id="47" name="Group 46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AB42A5A8-AB6D-4895-90B2-D9909145E875}"/>
              </a:ext>
            </a:extLst>
          </p:cNvPr>
          <p:cNvGrpSpPr/>
          <p:nvPr/>
        </p:nvGrpSpPr>
        <p:grpSpPr>
          <a:xfrm>
            <a:off x="8635114" y="971174"/>
            <a:ext cx="2734978" cy="972200"/>
            <a:chOff x="1058664" y="2193379"/>
            <a:chExt cx="2909287" cy="1034161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5F7A8790-63FF-468A-B50E-2D85F8BC83A8}"/>
                </a:ext>
              </a:extLst>
            </p:cNvPr>
            <p:cNvSpPr/>
            <p:nvPr/>
          </p:nvSpPr>
          <p:spPr>
            <a:xfrm>
              <a:off x="1058664" y="2505913"/>
              <a:ext cx="2909287" cy="7216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1000" dirty="0">
                  <a:solidFill>
                    <a:schemeClr val="bg1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rPr>
                <a:t>The European languages are members of the same family. Their separate existence</a:t>
              </a:r>
              <a:endParaRPr lang="id-ID" sz="10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38C155E-8A42-4171-9FED-961659C68C3A}"/>
                </a:ext>
              </a:extLst>
            </p:cNvPr>
            <p:cNvSpPr/>
            <p:nvPr/>
          </p:nvSpPr>
          <p:spPr>
            <a:xfrm>
              <a:off x="1216615" y="2193379"/>
              <a:ext cx="2593385" cy="3437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bg1"/>
                  </a:solidFill>
                  <a:cs typeface="Poppins" panose="02000000000000000000" pitchFamily="2" charset="0"/>
                </a:rPr>
                <a:t>Why Choose Us</a:t>
              </a:r>
              <a:endParaRPr lang="id-ID" sz="1500" b="1" dirty="0">
                <a:solidFill>
                  <a:schemeClr val="bg1"/>
                </a:solidFill>
                <a:cs typeface="Poppins" panose="02000000000000000000" pitchFamily="2" charset="0"/>
              </a:endParaRPr>
            </a:p>
          </p:txBody>
        </p:sp>
      </p:grpSp>
      <p:sp>
        <p:nvSpPr>
          <p:cNvPr id="51" name="Rectangle: Rounded Corners 5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24D77DBC-C058-413D-8A08-195190D25845}"/>
              </a:ext>
            </a:extLst>
          </p:cNvPr>
          <p:cNvSpPr/>
          <p:nvPr/>
        </p:nvSpPr>
        <p:spPr>
          <a:xfrm>
            <a:off x="695242" y="800628"/>
            <a:ext cx="3335484" cy="4011035"/>
          </a:xfrm>
          <a:prstGeom prst="roundRect">
            <a:avLst>
              <a:gd name="adj" fmla="val 2019"/>
            </a:avLst>
          </a:prstGeom>
          <a:solidFill>
            <a:srgbClr val="02010B">
              <a:alpha val="62000"/>
            </a:srgbClr>
          </a:solidFill>
          <a:ln>
            <a:solidFill>
              <a:srgbClr val="02010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3" name="Group 5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8A5F84F8-ED14-4D16-860F-BF7DFB0C54C7}"/>
              </a:ext>
            </a:extLst>
          </p:cNvPr>
          <p:cNvGrpSpPr/>
          <p:nvPr/>
        </p:nvGrpSpPr>
        <p:grpSpPr>
          <a:xfrm>
            <a:off x="2238082" y="5091472"/>
            <a:ext cx="4527566" cy="845388"/>
            <a:chOff x="5211421" y="8224094"/>
            <a:chExt cx="7244105" cy="1352620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88F022F-3858-4A4D-AF39-AE8F0A69AD2E}"/>
                </a:ext>
              </a:extLst>
            </p:cNvPr>
            <p:cNvGrpSpPr/>
            <p:nvPr/>
          </p:nvGrpSpPr>
          <p:grpSpPr>
            <a:xfrm>
              <a:off x="5211421" y="8224094"/>
              <a:ext cx="7244105" cy="1352620"/>
              <a:chOff x="2006641" y="2397540"/>
              <a:chExt cx="8599254" cy="1179975"/>
            </a:xfrm>
          </p:grpSpPr>
          <p:sp>
            <p:nvSpPr>
              <p:cNvPr id="59" name="Rectangle: Rounded Corners 58">
                <a:extLst>
                  <a:ext uri="{FF2B5EF4-FFF2-40B4-BE49-F238E27FC236}">
                    <a16:creationId xmlns:a16="http://schemas.microsoft.com/office/drawing/2014/main" id="{72A7C074-A801-40E6-855D-EC46441C94D3}"/>
                  </a:ext>
                </a:extLst>
              </p:cNvPr>
              <p:cNvSpPr/>
              <p:nvPr/>
            </p:nvSpPr>
            <p:spPr>
              <a:xfrm>
                <a:off x="2006641" y="2397544"/>
                <a:ext cx="8599254" cy="1179971"/>
              </a:xfrm>
              <a:prstGeom prst="roundRect">
                <a:avLst>
                  <a:gd name="adj" fmla="val 6269"/>
                </a:avLst>
              </a:prstGeom>
              <a:solidFill>
                <a:srgbClr val="02010B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/>
              </a:p>
            </p:txBody>
          </p: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AEBE0C34-53BF-41CF-90FB-0FB81046AB07}"/>
                  </a:ext>
                </a:extLst>
              </p:cNvPr>
              <p:cNvGrpSpPr/>
              <p:nvPr/>
            </p:nvGrpSpPr>
            <p:grpSpPr>
              <a:xfrm>
                <a:off x="2006641" y="2397540"/>
                <a:ext cx="8599254" cy="882751"/>
                <a:chOff x="1093904" y="3847347"/>
                <a:chExt cx="14402898" cy="1165884"/>
              </a:xfrm>
            </p:grpSpPr>
            <p:sp>
              <p:nvSpPr>
                <p:cNvPr id="61" name="Rectangle: Top Corners Rounded 60">
                  <a:extLst>
                    <a:ext uri="{FF2B5EF4-FFF2-40B4-BE49-F238E27FC236}">
                      <a16:creationId xmlns:a16="http://schemas.microsoft.com/office/drawing/2014/main" id="{48F5A9B0-074D-4269-8417-F627D10045CA}"/>
                    </a:ext>
                  </a:extLst>
                </p:cNvPr>
                <p:cNvSpPr/>
                <p:nvPr/>
              </p:nvSpPr>
              <p:spPr>
                <a:xfrm>
                  <a:off x="1093904" y="3847347"/>
                  <a:ext cx="14402898" cy="61311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99000">
                      <a:schemeClr val="accent1"/>
                    </a:gs>
                  </a:gsLst>
                  <a:lin ang="27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1125" dirty="0"/>
                </a:p>
              </p:txBody>
            </p:sp>
            <p:sp>
              <p:nvSpPr>
                <p:cNvPr id="62" name="TextBox 61">
                  <a:extLst>
                    <a:ext uri="{FF2B5EF4-FFF2-40B4-BE49-F238E27FC236}">
                      <a16:creationId xmlns:a16="http://schemas.microsoft.com/office/drawing/2014/main" id="{DCA0876B-26A8-439C-81BB-F4ED44C94D2D}"/>
                    </a:ext>
                  </a:extLst>
                </p:cNvPr>
                <p:cNvSpPr txBox="1"/>
                <p:nvPr/>
              </p:nvSpPr>
              <p:spPr>
                <a:xfrm>
                  <a:off x="3384814" y="4606737"/>
                  <a:ext cx="11294506" cy="40649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algn="ctr">
                    <a:defRPr>
                      <a:solidFill>
                        <a:schemeClr val="lt1"/>
                      </a:solidFill>
                    </a:defRPr>
                  </a:lvl1pPr>
                  <a:lvl2pPr>
                    <a:defRPr>
                      <a:solidFill>
                        <a:schemeClr val="lt1"/>
                      </a:solidFill>
                    </a:defRPr>
                  </a:lvl2pPr>
                  <a:lvl3pPr>
                    <a:defRPr>
                      <a:solidFill>
                        <a:schemeClr val="lt1"/>
                      </a:solidFill>
                    </a:defRPr>
                  </a:lvl3pPr>
                  <a:lvl4pPr>
                    <a:defRPr>
                      <a:solidFill>
                        <a:schemeClr val="lt1"/>
                      </a:solidFill>
                    </a:defRPr>
                  </a:lvl4pPr>
                  <a:lvl5pPr>
                    <a:defRPr>
                      <a:solidFill>
                        <a:schemeClr val="lt1"/>
                      </a:solidFill>
                    </a:defRPr>
                  </a:lvl5pPr>
                  <a:lvl6pPr>
                    <a:defRPr>
                      <a:solidFill>
                        <a:schemeClr val="lt1"/>
                      </a:solidFill>
                    </a:defRPr>
                  </a:lvl6pPr>
                  <a:lvl7pPr>
                    <a:defRPr>
                      <a:solidFill>
                        <a:schemeClr val="lt1"/>
                      </a:solidFill>
                    </a:defRPr>
                  </a:lvl7pPr>
                  <a:lvl8pPr>
                    <a:defRPr>
                      <a:solidFill>
                        <a:schemeClr val="lt1"/>
                      </a:solidFill>
                    </a:defRPr>
                  </a:lvl8pPr>
                  <a:lvl9pPr>
                    <a:defRPr>
                      <a:solidFill>
                        <a:schemeClr val="lt1"/>
                      </a:solidFill>
                    </a:defRPr>
                  </a:lvl9pPr>
                </a:lstStyle>
                <a:p>
                  <a:pPr algn="l">
                    <a:lnSpc>
                      <a:spcPct val="130000"/>
                    </a:lnSpc>
                  </a:pPr>
                  <a:r>
                    <a:rPr lang="en-US" sz="875" dirty="0">
                      <a:solidFill>
                        <a:schemeClr val="bg1"/>
                      </a:solidFill>
                    </a:rPr>
                    <a:t>The European languages are members of the same family. Their separate existence</a:t>
                  </a:r>
                </a:p>
              </p:txBody>
            </p:sp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ECE197B5-C55D-492E-81CC-B53390A732DC}"/>
                    </a:ext>
                  </a:extLst>
                </p:cNvPr>
                <p:cNvSpPr txBox="1"/>
                <p:nvPr/>
              </p:nvSpPr>
              <p:spPr>
                <a:xfrm>
                  <a:off x="3384814" y="4054451"/>
                  <a:ext cx="9432286" cy="40649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algn="ctr">
                    <a:defRPr>
                      <a:solidFill>
                        <a:schemeClr val="lt1"/>
                      </a:solidFill>
                    </a:defRPr>
                  </a:lvl1pPr>
                  <a:lvl2pPr>
                    <a:defRPr>
                      <a:solidFill>
                        <a:schemeClr val="lt1"/>
                      </a:solidFill>
                    </a:defRPr>
                  </a:lvl2pPr>
                  <a:lvl3pPr>
                    <a:defRPr>
                      <a:solidFill>
                        <a:schemeClr val="lt1"/>
                      </a:solidFill>
                    </a:defRPr>
                  </a:lvl3pPr>
                  <a:lvl4pPr>
                    <a:defRPr>
                      <a:solidFill>
                        <a:schemeClr val="lt1"/>
                      </a:solidFill>
                    </a:defRPr>
                  </a:lvl4pPr>
                  <a:lvl5pPr>
                    <a:defRPr>
                      <a:solidFill>
                        <a:schemeClr val="lt1"/>
                      </a:solidFill>
                    </a:defRPr>
                  </a:lvl5pPr>
                  <a:lvl6pPr>
                    <a:defRPr>
                      <a:solidFill>
                        <a:schemeClr val="lt1"/>
                      </a:solidFill>
                    </a:defRPr>
                  </a:lvl6pPr>
                  <a:lvl7pPr>
                    <a:defRPr>
                      <a:solidFill>
                        <a:schemeClr val="lt1"/>
                      </a:solidFill>
                    </a:defRPr>
                  </a:lvl7pPr>
                  <a:lvl8pPr>
                    <a:defRPr>
                      <a:solidFill>
                        <a:schemeClr val="lt1"/>
                      </a:solidFill>
                    </a:defRPr>
                  </a:lvl8pPr>
                  <a:lvl9pPr>
                    <a:defRPr>
                      <a:solidFill>
                        <a:schemeClr val="lt1"/>
                      </a:solidFill>
                    </a:defRPr>
                  </a:lvl9pPr>
                </a:lstStyle>
                <a:p>
                  <a:pPr algn="l"/>
                  <a:r>
                    <a:rPr lang="en-US" sz="875" dirty="0">
                      <a:solidFill>
                        <a:schemeClr val="bg1"/>
                      </a:solidFill>
                    </a:rPr>
                    <a:t>Insert Your Amazing Statement Here</a:t>
                  </a:r>
                </a:p>
              </p:txBody>
            </p:sp>
          </p:grp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F013AA8E-257B-404D-AA33-FFD475516FDD}"/>
                </a:ext>
              </a:extLst>
            </p:cNvPr>
            <p:cNvGrpSpPr/>
            <p:nvPr/>
          </p:nvGrpSpPr>
          <p:grpSpPr>
            <a:xfrm>
              <a:off x="5600297" y="8510575"/>
              <a:ext cx="485834" cy="485832"/>
              <a:chOff x="8332318" y="3422521"/>
              <a:chExt cx="485834" cy="485832"/>
            </a:xfrm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D59A05C7-0C01-496F-8F49-DC60D8E6556D}"/>
                  </a:ext>
                </a:extLst>
              </p:cNvPr>
              <p:cNvSpPr/>
              <p:nvPr/>
            </p:nvSpPr>
            <p:spPr>
              <a:xfrm>
                <a:off x="8332318" y="3422521"/>
                <a:ext cx="485834" cy="485832"/>
              </a:xfrm>
              <a:prstGeom prst="ellipse">
                <a:avLst/>
              </a:prstGeom>
              <a:solidFill>
                <a:schemeClr val="accent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50"/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5B5615F0-EF85-4B80-B2DA-7D1760D91816}"/>
                  </a:ext>
                </a:extLst>
              </p:cNvPr>
              <p:cNvSpPr/>
              <p:nvPr/>
            </p:nvSpPr>
            <p:spPr>
              <a:xfrm>
                <a:off x="8385361" y="3475564"/>
                <a:ext cx="379747" cy="379746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50"/>
              </a:p>
            </p:txBody>
          </p:sp>
          <p:sp>
            <p:nvSpPr>
              <p:cNvPr id="58" name="Freeform 229">
                <a:extLst>
                  <a:ext uri="{FF2B5EF4-FFF2-40B4-BE49-F238E27FC236}">
                    <a16:creationId xmlns:a16="http://schemas.microsoft.com/office/drawing/2014/main" id="{4F9462D7-855C-4C21-8A84-C6E7E746CA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4072" y="3616544"/>
                <a:ext cx="142328" cy="97786"/>
              </a:xfrm>
              <a:custGeom>
                <a:avLst/>
                <a:gdLst>
                  <a:gd name="T0" fmla="*/ 124 w 16128"/>
                  <a:gd name="T1" fmla="*/ 7223 h 11872"/>
                  <a:gd name="T2" fmla="*/ 59 w 16128"/>
                  <a:gd name="T3" fmla="*/ 7113 h 11872"/>
                  <a:gd name="T4" fmla="*/ 18 w 16128"/>
                  <a:gd name="T5" fmla="*/ 6994 h 11872"/>
                  <a:gd name="T6" fmla="*/ 1 w 16128"/>
                  <a:gd name="T7" fmla="*/ 6871 h 11872"/>
                  <a:gd name="T8" fmla="*/ 7 w 16128"/>
                  <a:gd name="T9" fmla="*/ 6747 h 11872"/>
                  <a:gd name="T10" fmla="*/ 36 w 16128"/>
                  <a:gd name="T11" fmla="*/ 6626 h 11872"/>
                  <a:gd name="T12" fmla="*/ 90 w 16128"/>
                  <a:gd name="T13" fmla="*/ 6512 h 11872"/>
                  <a:gd name="T14" fmla="*/ 165 w 16128"/>
                  <a:gd name="T15" fmla="*/ 6408 h 11872"/>
                  <a:gd name="T16" fmla="*/ 1850 w 16128"/>
                  <a:gd name="T17" fmla="*/ 4727 h 11872"/>
                  <a:gd name="T18" fmla="*/ 1957 w 16128"/>
                  <a:gd name="T19" fmla="*/ 4656 h 11872"/>
                  <a:gd name="T20" fmla="*/ 2073 w 16128"/>
                  <a:gd name="T21" fmla="*/ 4609 h 11872"/>
                  <a:gd name="T22" fmla="*/ 2195 w 16128"/>
                  <a:gd name="T23" fmla="*/ 4586 h 11872"/>
                  <a:gd name="T24" fmla="*/ 2319 w 16128"/>
                  <a:gd name="T25" fmla="*/ 4586 h 11872"/>
                  <a:gd name="T26" fmla="*/ 2441 w 16128"/>
                  <a:gd name="T27" fmla="*/ 4609 h 11872"/>
                  <a:gd name="T28" fmla="*/ 2558 w 16128"/>
                  <a:gd name="T29" fmla="*/ 4656 h 11872"/>
                  <a:gd name="T30" fmla="*/ 2665 w 16128"/>
                  <a:gd name="T31" fmla="*/ 4727 h 11872"/>
                  <a:gd name="T32" fmla="*/ 5357 w 16128"/>
                  <a:gd name="T33" fmla="*/ 7406 h 11872"/>
                  <a:gd name="T34" fmla="*/ 5460 w 16128"/>
                  <a:gd name="T35" fmla="*/ 7483 h 11872"/>
                  <a:gd name="T36" fmla="*/ 5575 w 16128"/>
                  <a:gd name="T37" fmla="*/ 7535 h 11872"/>
                  <a:gd name="T38" fmla="*/ 5696 w 16128"/>
                  <a:gd name="T39" fmla="*/ 7565 h 11872"/>
                  <a:gd name="T40" fmla="*/ 5819 w 16128"/>
                  <a:gd name="T41" fmla="*/ 7571 h 11872"/>
                  <a:gd name="T42" fmla="*/ 5942 w 16128"/>
                  <a:gd name="T43" fmla="*/ 7552 h 11872"/>
                  <a:gd name="T44" fmla="*/ 6060 w 16128"/>
                  <a:gd name="T45" fmla="*/ 7512 h 11872"/>
                  <a:gd name="T46" fmla="*/ 6170 w 16128"/>
                  <a:gd name="T47" fmla="*/ 7447 h 11872"/>
                  <a:gd name="T48" fmla="*/ 13421 w 16128"/>
                  <a:gd name="T49" fmla="*/ 190 h 11872"/>
                  <a:gd name="T50" fmla="*/ 13521 w 16128"/>
                  <a:gd name="T51" fmla="*/ 107 h 11872"/>
                  <a:gd name="T52" fmla="*/ 13634 w 16128"/>
                  <a:gd name="T53" fmla="*/ 47 h 11872"/>
                  <a:gd name="T54" fmla="*/ 13753 w 16128"/>
                  <a:gd name="T55" fmla="*/ 12 h 11872"/>
                  <a:gd name="T56" fmla="*/ 13877 w 16128"/>
                  <a:gd name="T57" fmla="*/ 0 h 11872"/>
                  <a:gd name="T58" fmla="*/ 14000 w 16128"/>
                  <a:gd name="T59" fmla="*/ 11 h 11872"/>
                  <a:gd name="T60" fmla="*/ 14120 w 16128"/>
                  <a:gd name="T61" fmla="*/ 46 h 11872"/>
                  <a:gd name="T62" fmla="*/ 14233 w 16128"/>
                  <a:gd name="T63" fmla="*/ 105 h 11872"/>
                  <a:gd name="T64" fmla="*/ 14334 w 16128"/>
                  <a:gd name="T65" fmla="*/ 186 h 11872"/>
                  <a:gd name="T66" fmla="*/ 16003 w 16128"/>
                  <a:gd name="T67" fmla="*/ 1855 h 11872"/>
                  <a:gd name="T68" fmla="*/ 16068 w 16128"/>
                  <a:gd name="T69" fmla="*/ 1964 h 11872"/>
                  <a:gd name="T70" fmla="*/ 16109 w 16128"/>
                  <a:gd name="T71" fmla="*/ 2082 h 11872"/>
                  <a:gd name="T72" fmla="*/ 16127 w 16128"/>
                  <a:gd name="T73" fmla="*/ 2205 h 11872"/>
                  <a:gd name="T74" fmla="*/ 16122 w 16128"/>
                  <a:gd name="T75" fmla="*/ 2328 h 11872"/>
                  <a:gd name="T76" fmla="*/ 16093 w 16128"/>
                  <a:gd name="T77" fmla="*/ 2449 h 11872"/>
                  <a:gd name="T78" fmla="*/ 16039 w 16128"/>
                  <a:gd name="T79" fmla="*/ 2564 h 11872"/>
                  <a:gd name="T80" fmla="*/ 15964 w 16128"/>
                  <a:gd name="T81" fmla="*/ 2667 h 11872"/>
                  <a:gd name="T82" fmla="*/ 7188 w 16128"/>
                  <a:gd name="T83" fmla="*/ 11462 h 11872"/>
                  <a:gd name="T84" fmla="*/ 7074 w 16128"/>
                  <a:gd name="T85" fmla="*/ 11550 h 11872"/>
                  <a:gd name="T86" fmla="*/ 6943 w 16128"/>
                  <a:gd name="T87" fmla="*/ 11632 h 11872"/>
                  <a:gd name="T88" fmla="*/ 6801 w 16128"/>
                  <a:gd name="T89" fmla="*/ 11706 h 11872"/>
                  <a:gd name="T90" fmla="*/ 6652 w 16128"/>
                  <a:gd name="T91" fmla="*/ 11767 h 11872"/>
                  <a:gd name="T92" fmla="*/ 6500 w 16128"/>
                  <a:gd name="T93" fmla="*/ 11817 h 11872"/>
                  <a:gd name="T94" fmla="*/ 6349 w 16128"/>
                  <a:gd name="T95" fmla="*/ 11852 h 11872"/>
                  <a:gd name="T96" fmla="*/ 6205 w 16128"/>
                  <a:gd name="T97" fmla="*/ 11870 h 11872"/>
                  <a:gd name="T98" fmla="*/ 5352 w 16128"/>
                  <a:gd name="T99" fmla="*/ 11871 h 11872"/>
                  <a:gd name="T100" fmla="*/ 5210 w 16128"/>
                  <a:gd name="T101" fmla="*/ 11858 h 11872"/>
                  <a:gd name="T102" fmla="*/ 5062 w 16128"/>
                  <a:gd name="T103" fmla="*/ 11827 h 11872"/>
                  <a:gd name="T104" fmla="*/ 4910 w 16128"/>
                  <a:gd name="T105" fmla="*/ 11780 h 11872"/>
                  <a:gd name="T106" fmla="*/ 4760 w 16128"/>
                  <a:gd name="T107" fmla="*/ 11722 h 11872"/>
                  <a:gd name="T108" fmla="*/ 4615 w 16128"/>
                  <a:gd name="T109" fmla="*/ 11651 h 11872"/>
                  <a:gd name="T110" fmla="*/ 4481 w 16128"/>
                  <a:gd name="T111" fmla="*/ 11572 h 11872"/>
                  <a:gd name="T112" fmla="*/ 4363 w 16128"/>
                  <a:gd name="T113" fmla="*/ 11484 h 11872"/>
                  <a:gd name="T114" fmla="*/ 187 w 16128"/>
                  <a:gd name="T115" fmla="*/ 7297 h 11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128" h="11872">
                    <a:moveTo>
                      <a:pt x="187" y="7297"/>
                    </a:moveTo>
                    <a:lnTo>
                      <a:pt x="164" y="7273"/>
                    </a:lnTo>
                    <a:lnTo>
                      <a:pt x="143" y="7248"/>
                    </a:lnTo>
                    <a:lnTo>
                      <a:pt x="124" y="7223"/>
                    </a:lnTo>
                    <a:lnTo>
                      <a:pt x="106" y="7196"/>
                    </a:lnTo>
                    <a:lnTo>
                      <a:pt x="89" y="7168"/>
                    </a:lnTo>
                    <a:lnTo>
                      <a:pt x="74" y="7141"/>
                    </a:lnTo>
                    <a:lnTo>
                      <a:pt x="59" y="7113"/>
                    </a:lnTo>
                    <a:lnTo>
                      <a:pt x="46" y="7084"/>
                    </a:lnTo>
                    <a:lnTo>
                      <a:pt x="35" y="7054"/>
                    </a:lnTo>
                    <a:lnTo>
                      <a:pt x="26" y="7024"/>
                    </a:lnTo>
                    <a:lnTo>
                      <a:pt x="18" y="6994"/>
                    </a:lnTo>
                    <a:lnTo>
                      <a:pt x="12" y="6964"/>
                    </a:lnTo>
                    <a:lnTo>
                      <a:pt x="6" y="6933"/>
                    </a:lnTo>
                    <a:lnTo>
                      <a:pt x="3" y="6902"/>
                    </a:lnTo>
                    <a:lnTo>
                      <a:pt x="1" y="6871"/>
                    </a:lnTo>
                    <a:lnTo>
                      <a:pt x="0" y="6841"/>
                    </a:lnTo>
                    <a:lnTo>
                      <a:pt x="1" y="6809"/>
                    </a:lnTo>
                    <a:lnTo>
                      <a:pt x="3" y="6778"/>
                    </a:lnTo>
                    <a:lnTo>
                      <a:pt x="7" y="6747"/>
                    </a:lnTo>
                    <a:lnTo>
                      <a:pt x="12" y="6717"/>
                    </a:lnTo>
                    <a:lnTo>
                      <a:pt x="18" y="6687"/>
                    </a:lnTo>
                    <a:lnTo>
                      <a:pt x="26" y="6656"/>
                    </a:lnTo>
                    <a:lnTo>
                      <a:pt x="36" y="6626"/>
                    </a:lnTo>
                    <a:lnTo>
                      <a:pt x="47" y="6597"/>
                    </a:lnTo>
                    <a:lnTo>
                      <a:pt x="59" y="6569"/>
                    </a:lnTo>
                    <a:lnTo>
                      <a:pt x="74" y="6539"/>
                    </a:lnTo>
                    <a:lnTo>
                      <a:pt x="90" y="6512"/>
                    </a:lnTo>
                    <a:lnTo>
                      <a:pt x="106" y="6485"/>
                    </a:lnTo>
                    <a:lnTo>
                      <a:pt x="125" y="6459"/>
                    </a:lnTo>
                    <a:lnTo>
                      <a:pt x="144" y="6432"/>
                    </a:lnTo>
                    <a:lnTo>
                      <a:pt x="165" y="6408"/>
                    </a:lnTo>
                    <a:lnTo>
                      <a:pt x="188" y="6384"/>
                    </a:lnTo>
                    <a:lnTo>
                      <a:pt x="1801" y="4771"/>
                    </a:lnTo>
                    <a:lnTo>
                      <a:pt x="1824" y="4748"/>
                    </a:lnTo>
                    <a:lnTo>
                      <a:pt x="1850" y="4727"/>
                    </a:lnTo>
                    <a:lnTo>
                      <a:pt x="1876" y="4707"/>
                    </a:lnTo>
                    <a:lnTo>
                      <a:pt x="1902" y="4689"/>
                    </a:lnTo>
                    <a:lnTo>
                      <a:pt x="1929" y="4671"/>
                    </a:lnTo>
                    <a:lnTo>
                      <a:pt x="1957" y="4656"/>
                    </a:lnTo>
                    <a:lnTo>
                      <a:pt x="1985" y="4642"/>
                    </a:lnTo>
                    <a:lnTo>
                      <a:pt x="2014" y="4630"/>
                    </a:lnTo>
                    <a:lnTo>
                      <a:pt x="2043" y="4619"/>
                    </a:lnTo>
                    <a:lnTo>
                      <a:pt x="2073" y="4609"/>
                    </a:lnTo>
                    <a:lnTo>
                      <a:pt x="2104" y="4601"/>
                    </a:lnTo>
                    <a:lnTo>
                      <a:pt x="2134" y="4595"/>
                    </a:lnTo>
                    <a:lnTo>
                      <a:pt x="2164" y="4590"/>
                    </a:lnTo>
                    <a:lnTo>
                      <a:pt x="2195" y="4586"/>
                    </a:lnTo>
                    <a:lnTo>
                      <a:pt x="2227" y="4584"/>
                    </a:lnTo>
                    <a:lnTo>
                      <a:pt x="2257" y="4583"/>
                    </a:lnTo>
                    <a:lnTo>
                      <a:pt x="2288" y="4584"/>
                    </a:lnTo>
                    <a:lnTo>
                      <a:pt x="2319" y="4586"/>
                    </a:lnTo>
                    <a:lnTo>
                      <a:pt x="2350" y="4590"/>
                    </a:lnTo>
                    <a:lnTo>
                      <a:pt x="2381" y="4595"/>
                    </a:lnTo>
                    <a:lnTo>
                      <a:pt x="2411" y="4601"/>
                    </a:lnTo>
                    <a:lnTo>
                      <a:pt x="2441" y="4609"/>
                    </a:lnTo>
                    <a:lnTo>
                      <a:pt x="2472" y="4619"/>
                    </a:lnTo>
                    <a:lnTo>
                      <a:pt x="2501" y="4630"/>
                    </a:lnTo>
                    <a:lnTo>
                      <a:pt x="2529" y="4642"/>
                    </a:lnTo>
                    <a:lnTo>
                      <a:pt x="2558" y="4656"/>
                    </a:lnTo>
                    <a:lnTo>
                      <a:pt x="2586" y="4671"/>
                    </a:lnTo>
                    <a:lnTo>
                      <a:pt x="2613" y="4689"/>
                    </a:lnTo>
                    <a:lnTo>
                      <a:pt x="2639" y="4707"/>
                    </a:lnTo>
                    <a:lnTo>
                      <a:pt x="2665" y="4727"/>
                    </a:lnTo>
                    <a:lnTo>
                      <a:pt x="2689" y="4748"/>
                    </a:lnTo>
                    <a:lnTo>
                      <a:pt x="2714" y="4770"/>
                    </a:lnTo>
                    <a:lnTo>
                      <a:pt x="5332" y="7384"/>
                    </a:lnTo>
                    <a:lnTo>
                      <a:pt x="5357" y="7406"/>
                    </a:lnTo>
                    <a:lnTo>
                      <a:pt x="5382" y="7427"/>
                    </a:lnTo>
                    <a:lnTo>
                      <a:pt x="5407" y="7448"/>
                    </a:lnTo>
                    <a:lnTo>
                      <a:pt x="5433" y="7466"/>
                    </a:lnTo>
                    <a:lnTo>
                      <a:pt x="5460" y="7483"/>
                    </a:lnTo>
                    <a:lnTo>
                      <a:pt x="5489" y="7498"/>
                    </a:lnTo>
                    <a:lnTo>
                      <a:pt x="5517" y="7512"/>
                    </a:lnTo>
                    <a:lnTo>
                      <a:pt x="5546" y="7524"/>
                    </a:lnTo>
                    <a:lnTo>
                      <a:pt x="5575" y="7535"/>
                    </a:lnTo>
                    <a:lnTo>
                      <a:pt x="5604" y="7545"/>
                    </a:lnTo>
                    <a:lnTo>
                      <a:pt x="5635" y="7553"/>
                    </a:lnTo>
                    <a:lnTo>
                      <a:pt x="5665" y="7559"/>
                    </a:lnTo>
                    <a:lnTo>
                      <a:pt x="5696" y="7565"/>
                    </a:lnTo>
                    <a:lnTo>
                      <a:pt x="5726" y="7569"/>
                    </a:lnTo>
                    <a:lnTo>
                      <a:pt x="5758" y="7571"/>
                    </a:lnTo>
                    <a:lnTo>
                      <a:pt x="5789" y="7572"/>
                    </a:lnTo>
                    <a:lnTo>
                      <a:pt x="5819" y="7571"/>
                    </a:lnTo>
                    <a:lnTo>
                      <a:pt x="5850" y="7569"/>
                    </a:lnTo>
                    <a:lnTo>
                      <a:pt x="5882" y="7565"/>
                    </a:lnTo>
                    <a:lnTo>
                      <a:pt x="5912" y="7559"/>
                    </a:lnTo>
                    <a:lnTo>
                      <a:pt x="5942" y="7552"/>
                    </a:lnTo>
                    <a:lnTo>
                      <a:pt x="5972" y="7544"/>
                    </a:lnTo>
                    <a:lnTo>
                      <a:pt x="6003" y="7535"/>
                    </a:lnTo>
                    <a:lnTo>
                      <a:pt x="6032" y="7524"/>
                    </a:lnTo>
                    <a:lnTo>
                      <a:pt x="6060" y="7512"/>
                    </a:lnTo>
                    <a:lnTo>
                      <a:pt x="6089" y="7498"/>
                    </a:lnTo>
                    <a:lnTo>
                      <a:pt x="6117" y="7482"/>
                    </a:lnTo>
                    <a:lnTo>
                      <a:pt x="6144" y="7465"/>
                    </a:lnTo>
                    <a:lnTo>
                      <a:pt x="6170" y="7447"/>
                    </a:lnTo>
                    <a:lnTo>
                      <a:pt x="6196" y="7426"/>
                    </a:lnTo>
                    <a:lnTo>
                      <a:pt x="6220" y="7405"/>
                    </a:lnTo>
                    <a:lnTo>
                      <a:pt x="6245" y="7383"/>
                    </a:lnTo>
                    <a:lnTo>
                      <a:pt x="13421" y="190"/>
                    </a:lnTo>
                    <a:lnTo>
                      <a:pt x="13445" y="166"/>
                    </a:lnTo>
                    <a:lnTo>
                      <a:pt x="13470" y="145"/>
                    </a:lnTo>
                    <a:lnTo>
                      <a:pt x="13495" y="125"/>
                    </a:lnTo>
                    <a:lnTo>
                      <a:pt x="13521" y="107"/>
                    </a:lnTo>
                    <a:lnTo>
                      <a:pt x="13549" y="90"/>
                    </a:lnTo>
                    <a:lnTo>
                      <a:pt x="13577" y="75"/>
                    </a:lnTo>
                    <a:lnTo>
                      <a:pt x="13605" y="60"/>
                    </a:lnTo>
                    <a:lnTo>
                      <a:pt x="13634" y="47"/>
                    </a:lnTo>
                    <a:lnTo>
                      <a:pt x="13663" y="36"/>
                    </a:lnTo>
                    <a:lnTo>
                      <a:pt x="13693" y="27"/>
                    </a:lnTo>
                    <a:lnTo>
                      <a:pt x="13723" y="19"/>
                    </a:lnTo>
                    <a:lnTo>
                      <a:pt x="13753" y="12"/>
                    </a:lnTo>
                    <a:lnTo>
                      <a:pt x="13784" y="7"/>
                    </a:lnTo>
                    <a:lnTo>
                      <a:pt x="13815" y="3"/>
                    </a:lnTo>
                    <a:lnTo>
                      <a:pt x="13846" y="1"/>
                    </a:lnTo>
                    <a:lnTo>
                      <a:pt x="13877" y="0"/>
                    </a:lnTo>
                    <a:lnTo>
                      <a:pt x="13908" y="1"/>
                    </a:lnTo>
                    <a:lnTo>
                      <a:pt x="13939" y="3"/>
                    </a:lnTo>
                    <a:lnTo>
                      <a:pt x="13970" y="6"/>
                    </a:lnTo>
                    <a:lnTo>
                      <a:pt x="14000" y="11"/>
                    </a:lnTo>
                    <a:lnTo>
                      <a:pt x="14031" y="18"/>
                    </a:lnTo>
                    <a:lnTo>
                      <a:pt x="14062" y="26"/>
                    </a:lnTo>
                    <a:lnTo>
                      <a:pt x="14091" y="35"/>
                    </a:lnTo>
                    <a:lnTo>
                      <a:pt x="14120" y="46"/>
                    </a:lnTo>
                    <a:lnTo>
                      <a:pt x="14149" y="58"/>
                    </a:lnTo>
                    <a:lnTo>
                      <a:pt x="14178" y="73"/>
                    </a:lnTo>
                    <a:lnTo>
                      <a:pt x="14206" y="88"/>
                    </a:lnTo>
                    <a:lnTo>
                      <a:pt x="14233" y="105"/>
                    </a:lnTo>
                    <a:lnTo>
                      <a:pt x="14259" y="123"/>
                    </a:lnTo>
                    <a:lnTo>
                      <a:pt x="14285" y="143"/>
                    </a:lnTo>
                    <a:lnTo>
                      <a:pt x="14310" y="164"/>
                    </a:lnTo>
                    <a:lnTo>
                      <a:pt x="14334" y="186"/>
                    </a:lnTo>
                    <a:lnTo>
                      <a:pt x="15938" y="1780"/>
                    </a:lnTo>
                    <a:lnTo>
                      <a:pt x="15962" y="1804"/>
                    </a:lnTo>
                    <a:lnTo>
                      <a:pt x="15983" y="1829"/>
                    </a:lnTo>
                    <a:lnTo>
                      <a:pt x="16003" y="1855"/>
                    </a:lnTo>
                    <a:lnTo>
                      <a:pt x="16021" y="1881"/>
                    </a:lnTo>
                    <a:lnTo>
                      <a:pt x="16038" y="1908"/>
                    </a:lnTo>
                    <a:lnTo>
                      <a:pt x="16053" y="1935"/>
                    </a:lnTo>
                    <a:lnTo>
                      <a:pt x="16068" y="1964"/>
                    </a:lnTo>
                    <a:lnTo>
                      <a:pt x="16081" y="1993"/>
                    </a:lnTo>
                    <a:lnTo>
                      <a:pt x="16092" y="2022"/>
                    </a:lnTo>
                    <a:lnTo>
                      <a:pt x="16101" y="2051"/>
                    </a:lnTo>
                    <a:lnTo>
                      <a:pt x="16109" y="2082"/>
                    </a:lnTo>
                    <a:lnTo>
                      <a:pt x="16116" y="2112"/>
                    </a:lnTo>
                    <a:lnTo>
                      <a:pt x="16121" y="2143"/>
                    </a:lnTo>
                    <a:lnTo>
                      <a:pt x="16125" y="2173"/>
                    </a:lnTo>
                    <a:lnTo>
                      <a:pt x="16127" y="2205"/>
                    </a:lnTo>
                    <a:lnTo>
                      <a:pt x="16128" y="2236"/>
                    </a:lnTo>
                    <a:lnTo>
                      <a:pt x="16127" y="2266"/>
                    </a:lnTo>
                    <a:lnTo>
                      <a:pt x="16125" y="2297"/>
                    </a:lnTo>
                    <a:lnTo>
                      <a:pt x="16122" y="2328"/>
                    </a:lnTo>
                    <a:lnTo>
                      <a:pt x="16117" y="2359"/>
                    </a:lnTo>
                    <a:lnTo>
                      <a:pt x="16110" y="2389"/>
                    </a:lnTo>
                    <a:lnTo>
                      <a:pt x="16102" y="2419"/>
                    </a:lnTo>
                    <a:lnTo>
                      <a:pt x="16093" y="2449"/>
                    </a:lnTo>
                    <a:lnTo>
                      <a:pt x="16082" y="2478"/>
                    </a:lnTo>
                    <a:lnTo>
                      <a:pt x="16069" y="2507"/>
                    </a:lnTo>
                    <a:lnTo>
                      <a:pt x="16055" y="2535"/>
                    </a:lnTo>
                    <a:lnTo>
                      <a:pt x="16039" y="2564"/>
                    </a:lnTo>
                    <a:lnTo>
                      <a:pt x="16023" y="2591"/>
                    </a:lnTo>
                    <a:lnTo>
                      <a:pt x="16004" y="2617"/>
                    </a:lnTo>
                    <a:lnTo>
                      <a:pt x="15985" y="2642"/>
                    </a:lnTo>
                    <a:lnTo>
                      <a:pt x="15964" y="2667"/>
                    </a:lnTo>
                    <a:lnTo>
                      <a:pt x="15941" y="2692"/>
                    </a:lnTo>
                    <a:lnTo>
                      <a:pt x="7238" y="11415"/>
                    </a:lnTo>
                    <a:lnTo>
                      <a:pt x="7214" y="11439"/>
                    </a:lnTo>
                    <a:lnTo>
                      <a:pt x="7188" y="11462"/>
                    </a:lnTo>
                    <a:lnTo>
                      <a:pt x="7162" y="11485"/>
                    </a:lnTo>
                    <a:lnTo>
                      <a:pt x="7134" y="11507"/>
                    </a:lnTo>
                    <a:lnTo>
                      <a:pt x="7104" y="11529"/>
                    </a:lnTo>
                    <a:lnTo>
                      <a:pt x="7074" y="11550"/>
                    </a:lnTo>
                    <a:lnTo>
                      <a:pt x="7043" y="11572"/>
                    </a:lnTo>
                    <a:lnTo>
                      <a:pt x="7011" y="11593"/>
                    </a:lnTo>
                    <a:lnTo>
                      <a:pt x="6977" y="11613"/>
                    </a:lnTo>
                    <a:lnTo>
                      <a:pt x="6943" y="11632"/>
                    </a:lnTo>
                    <a:lnTo>
                      <a:pt x="6909" y="11651"/>
                    </a:lnTo>
                    <a:lnTo>
                      <a:pt x="6874" y="11670"/>
                    </a:lnTo>
                    <a:lnTo>
                      <a:pt x="6837" y="11688"/>
                    </a:lnTo>
                    <a:lnTo>
                      <a:pt x="6801" y="11706"/>
                    </a:lnTo>
                    <a:lnTo>
                      <a:pt x="6765" y="11722"/>
                    </a:lnTo>
                    <a:lnTo>
                      <a:pt x="6727" y="11738"/>
                    </a:lnTo>
                    <a:lnTo>
                      <a:pt x="6689" y="11753"/>
                    </a:lnTo>
                    <a:lnTo>
                      <a:pt x="6652" y="11767"/>
                    </a:lnTo>
                    <a:lnTo>
                      <a:pt x="6613" y="11781"/>
                    </a:lnTo>
                    <a:lnTo>
                      <a:pt x="6576" y="11793"/>
                    </a:lnTo>
                    <a:lnTo>
                      <a:pt x="6538" y="11805"/>
                    </a:lnTo>
                    <a:lnTo>
                      <a:pt x="6500" y="11817"/>
                    </a:lnTo>
                    <a:lnTo>
                      <a:pt x="6461" y="11827"/>
                    </a:lnTo>
                    <a:lnTo>
                      <a:pt x="6424" y="11836"/>
                    </a:lnTo>
                    <a:lnTo>
                      <a:pt x="6387" y="11844"/>
                    </a:lnTo>
                    <a:lnTo>
                      <a:pt x="6349" y="11852"/>
                    </a:lnTo>
                    <a:lnTo>
                      <a:pt x="6313" y="11858"/>
                    </a:lnTo>
                    <a:lnTo>
                      <a:pt x="6277" y="11863"/>
                    </a:lnTo>
                    <a:lnTo>
                      <a:pt x="6241" y="11867"/>
                    </a:lnTo>
                    <a:lnTo>
                      <a:pt x="6205" y="11870"/>
                    </a:lnTo>
                    <a:lnTo>
                      <a:pt x="6171" y="11871"/>
                    </a:lnTo>
                    <a:lnTo>
                      <a:pt x="6138" y="11872"/>
                    </a:lnTo>
                    <a:lnTo>
                      <a:pt x="5386" y="11872"/>
                    </a:lnTo>
                    <a:lnTo>
                      <a:pt x="5352" y="11871"/>
                    </a:lnTo>
                    <a:lnTo>
                      <a:pt x="5318" y="11870"/>
                    </a:lnTo>
                    <a:lnTo>
                      <a:pt x="5283" y="11867"/>
                    </a:lnTo>
                    <a:lnTo>
                      <a:pt x="5247" y="11863"/>
                    </a:lnTo>
                    <a:lnTo>
                      <a:pt x="5210" y="11858"/>
                    </a:lnTo>
                    <a:lnTo>
                      <a:pt x="5174" y="11851"/>
                    </a:lnTo>
                    <a:lnTo>
                      <a:pt x="5137" y="11844"/>
                    </a:lnTo>
                    <a:lnTo>
                      <a:pt x="5099" y="11836"/>
                    </a:lnTo>
                    <a:lnTo>
                      <a:pt x="5062" y="11827"/>
                    </a:lnTo>
                    <a:lnTo>
                      <a:pt x="5024" y="11817"/>
                    </a:lnTo>
                    <a:lnTo>
                      <a:pt x="4986" y="11805"/>
                    </a:lnTo>
                    <a:lnTo>
                      <a:pt x="4948" y="11793"/>
                    </a:lnTo>
                    <a:lnTo>
                      <a:pt x="4910" y="11780"/>
                    </a:lnTo>
                    <a:lnTo>
                      <a:pt x="4872" y="11767"/>
                    </a:lnTo>
                    <a:lnTo>
                      <a:pt x="4834" y="11753"/>
                    </a:lnTo>
                    <a:lnTo>
                      <a:pt x="4796" y="11738"/>
                    </a:lnTo>
                    <a:lnTo>
                      <a:pt x="4760" y="11722"/>
                    </a:lnTo>
                    <a:lnTo>
                      <a:pt x="4722" y="11705"/>
                    </a:lnTo>
                    <a:lnTo>
                      <a:pt x="4686" y="11688"/>
                    </a:lnTo>
                    <a:lnTo>
                      <a:pt x="4650" y="11669"/>
                    </a:lnTo>
                    <a:lnTo>
                      <a:pt x="4615" y="11651"/>
                    </a:lnTo>
                    <a:lnTo>
                      <a:pt x="4580" y="11632"/>
                    </a:lnTo>
                    <a:lnTo>
                      <a:pt x="4546" y="11612"/>
                    </a:lnTo>
                    <a:lnTo>
                      <a:pt x="4513" y="11592"/>
                    </a:lnTo>
                    <a:lnTo>
                      <a:pt x="4481" y="11572"/>
                    </a:lnTo>
                    <a:lnTo>
                      <a:pt x="4449" y="11550"/>
                    </a:lnTo>
                    <a:lnTo>
                      <a:pt x="4419" y="11528"/>
                    </a:lnTo>
                    <a:lnTo>
                      <a:pt x="4390" y="11506"/>
                    </a:lnTo>
                    <a:lnTo>
                      <a:pt x="4363" y="11484"/>
                    </a:lnTo>
                    <a:lnTo>
                      <a:pt x="4335" y="11462"/>
                    </a:lnTo>
                    <a:lnTo>
                      <a:pt x="4310" y="11439"/>
                    </a:lnTo>
                    <a:lnTo>
                      <a:pt x="4286" y="11414"/>
                    </a:lnTo>
                    <a:lnTo>
                      <a:pt x="187" y="7297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noFill/>
              </a:ln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750">
                  <a:solidFill>
                    <a:srgbClr val="535761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</p:grpSp>
      <p:grpSp>
        <p:nvGrpSpPr>
          <p:cNvPr id="64" name="Group 6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7D9CA641-EE79-4D5D-8B99-B691BFD77D68}"/>
              </a:ext>
            </a:extLst>
          </p:cNvPr>
          <p:cNvGrpSpPr/>
          <p:nvPr/>
        </p:nvGrpSpPr>
        <p:grpSpPr>
          <a:xfrm>
            <a:off x="7023221" y="5091472"/>
            <a:ext cx="4527566" cy="845388"/>
            <a:chOff x="5211421" y="8224094"/>
            <a:chExt cx="7244105" cy="1352620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AA3242A-A335-4689-B697-1D4B5D44D8E5}"/>
                </a:ext>
              </a:extLst>
            </p:cNvPr>
            <p:cNvGrpSpPr/>
            <p:nvPr/>
          </p:nvGrpSpPr>
          <p:grpSpPr>
            <a:xfrm>
              <a:off x="5211421" y="8224094"/>
              <a:ext cx="7244105" cy="1352620"/>
              <a:chOff x="2006641" y="2397540"/>
              <a:chExt cx="8599254" cy="1179975"/>
            </a:xfrm>
          </p:grpSpPr>
          <p:sp>
            <p:nvSpPr>
              <p:cNvPr id="70" name="Rectangle: Rounded Corners 69">
                <a:extLst>
                  <a:ext uri="{FF2B5EF4-FFF2-40B4-BE49-F238E27FC236}">
                    <a16:creationId xmlns:a16="http://schemas.microsoft.com/office/drawing/2014/main" id="{9F86C929-0D4B-4392-81F7-33B81D618998}"/>
                  </a:ext>
                </a:extLst>
              </p:cNvPr>
              <p:cNvSpPr/>
              <p:nvPr/>
            </p:nvSpPr>
            <p:spPr>
              <a:xfrm>
                <a:off x="2006641" y="2397544"/>
                <a:ext cx="8599254" cy="1179971"/>
              </a:xfrm>
              <a:prstGeom prst="roundRect">
                <a:avLst>
                  <a:gd name="adj" fmla="val 6269"/>
                </a:avLst>
              </a:prstGeom>
              <a:solidFill>
                <a:srgbClr val="02010B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/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74479A44-9E77-4434-A7E5-7A364D0E7C3A}"/>
                  </a:ext>
                </a:extLst>
              </p:cNvPr>
              <p:cNvGrpSpPr/>
              <p:nvPr/>
            </p:nvGrpSpPr>
            <p:grpSpPr>
              <a:xfrm>
                <a:off x="2006641" y="2397540"/>
                <a:ext cx="8599254" cy="882751"/>
                <a:chOff x="1093904" y="3847347"/>
                <a:chExt cx="14402898" cy="1165884"/>
              </a:xfrm>
            </p:grpSpPr>
            <p:sp>
              <p:nvSpPr>
                <p:cNvPr id="72" name="Rectangle: Top Corners Rounded 71">
                  <a:extLst>
                    <a:ext uri="{FF2B5EF4-FFF2-40B4-BE49-F238E27FC236}">
                      <a16:creationId xmlns:a16="http://schemas.microsoft.com/office/drawing/2014/main" id="{2CA302D5-245D-466A-A436-874EDEAB9B48}"/>
                    </a:ext>
                  </a:extLst>
                </p:cNvPr>
                <p:cNvSpPr/>
                <p:nvPr/>
              </p:nvSpPr>
              <p:spPr>
                <a:xfrm>
                  <a:off x="1093904" y="3847347"/>
                  <a:ext cx="14402898" cy="61311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99000">
                      <a:schemeClr val="accent1"/>
                    </a:gs>
                  </a:gsLst>
                  <a:lin ang="27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1125" dirty="0"/>
                </a:p>
              </p:txBody>
            </p: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B5AD950A-0CEC-48C4-8CB2-6D13234AEA9D}"/>
                    </a:ext>
                  </a:extLst>
                </p:cNvPr>
                <p:cNvSpPr txBox="1"/>
                <p:nvPr/>
              </p:nvSpPr>
              <p:spPr>
                <a:xfrm>
                  <a:off x="3384814" y="4606737"/>
                  <a:ext cx="11294506" cy="40649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algn="ctr">
                    <a:defRPr>
                      <a:solidFill>
                        <a:schemeClr val="lt1"/>
                      </a:solidFill>
                    </a:defRPr>
                  </a:lvl1pPr>
                  <a:lvl2pPr>
                    <a:defRPr>
                      <a:solidFill>
                        <a:schemeClr val="lt1"/>
                      </a:solidFill>
                    </a:defRPr>
                  </a:lvl2pPr>
                  <a:lvl3pPr>
                    <a:defRPr>
                      <a:solidFill>
                        <a:schemeClr val="lt1"/>
                      </a:solidFill>
                    </a:defRPr>
                  </a:lvl3pPr>
                  <a:lvl4pPr>
                    <a:defRPr>
                      <a:solidFill>
                        <a:schemeClr val="lt1"/>
                      </a:solidFill>
                    </a:defRPr>
                  </a:lvl4pPr>
                  <a:lvl5pPr>
                    <a:defRPr>
                      <a:solidFill>
                        <a:schemeClr val="lt1"/>
                      </a:solidFill>
                    </a:defRPr>
                  </a:lvl5pPr>
                  <a:lvl6pPr>
                    <a:defRPr>
                      <a:solidFill>
                        <a:schemeClr val="lt1"/>
                      </a:solidFill>
                    </a:defRPr>
                  </a:lvl6pPr>
                  <a:lvl7pPr>
                    <a:defRPr>
                      <a:solidFill>
                        <a:schemeClr val="lt1"/>
                      </a:solidFill>
                    </a:defRPr>
                  </a:lvl7pPr>
                  <a:lvl8pPr>
                    <a:defRPr>
                      <a:solidFill>
                        <a:schemeClr val="lt1"/>
                      </a:solidFill>
                    </a:defRPr>
                  </a:lvl8pPr>
                  <a:lvl9pPr>
                    <a:defRPr>
                      <a:solidFill>
                        <a:schemeClr val="lt1"/>
                      </a:solidFill>
                    </a:defRPr>
                  </a:lvl9pPr>
                </a:lstStyle>
                <a:p>
                  <a:pPr algn="l">
                    <a:lnSpc>
                      <a:spcPct val="130000"/>
                    </a:lnSpc>
                  </a:pPr>
                  <a:r>
                    <a:rPr lang="en-US" sz="875" dirty="0">
                      <a:solidFill>
                        <a:schemeClr val="bg1"/>
                      </a:solidFill>
                    </a:rPr>
                    <a:t>The European languages are members of the same family. Their separate existence</a:t>
                  </a:r>
                </a:p>
              </p:txBody>
            </p:sp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F30668B6-008C-4F3D-B800-791DEA9CECDF}"/>
                    </a:ext>
                  </a:extLst>
                </p:cNvPr>
                <p:cNvSpPr txBox="1"/>
                <p:nvPr/>
              </p:nvSpPr>
              <p:spPr>
                <a:xfrm>
                  <a:off x="3384814" y="4054451"/>
                  <a:ext cx="9432286" cy="40649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algn="ctr">
                    <a:defRPr>
                      <a:solidFill>
                        <a:schemeClr val="lt1"/>
                      </a:solidFill>
                    </a:defRPr>
                  </a:lvl1pPr>
                  <a:lvl2pPr>
                    <a:defRPr>
                      <a:solidFill>
                        <a:schemeClr val="lt1"/>
                      </a:solidFill>
                    </a:defRPr>
                  </a:lvl2pPr>
                  <a:lvl3pPr>
                    <a:defRPr>
                      <a:solidFill>
                        <a:schemeClr val="lt1"/>
                      </a:solidFill>
                    </a:defRPr>
                  </a:lvl3pPr>
                  <a:lvl4pPr>
                    <a:defRPr>
                      <a:solidFill>
                        <a:schemeClr val="lt1"/>
                      </a:solidFill>
                    </a:defRPr>
                  </a:lvl4pPr>
                  <a:lvl5pPr>
                    <a:defRPr>
                      <a:solidFill>
                        <a:schemeClr val="lt1"/>
                      </a:solidFill>
                    </a:defRPr>
                  </a:lvl5pPr>
                  <a:lvl6pPr>
                    <a:defRPr>
                      <a:solidFill>
                        <a:schemeClr val="lt1"/>
                      </a:solidFill>
                    </a:defRPr>
                  </a:lvl6pPr>
                  <a:lvl7pPr>
                    <a:defRPr>
                      <a:solidFill>
                        <a:schemeClr val="lt1"/>
                      </a:solidFill>
                    </a:defRPr>
                  </a:lvl7pPr>
                  <a:lvl8pPr>
                    <a:defRPr>
                      <a:solidFill>
                        <a:schemeClr val="lt1"/>
                      </a:solidFill>
                    </a:defRPr>
                  </a:lvl8pPr>
                  <a:lvl9pPr>
                    <a:defRPr>
                      <a:solidFill>
                        <a:schemeClr val="lt1"/>
                      </a:solidFill>
                    </a:defRPr>
                  </a:lvl9pPr>
                </a:lstStyle>
                <a:p>
                  <a:pPr algn="l"/>
                  <a:r>
                    <a:rPr lang="en-US" sz="875" dirty="0">
                      <a:solidFill>
                        <a:schemeClr val="bg1"/>
                      </a:solidFill>
                    </a:rPr>
                    <a:t>Insert Your Amazing Statement Here</a:t>
                  </a:r>
                </a:p>
              </p:txBody>
            </p: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4296D2EE-05E6-4AA2-9CF1-8B9A3DA5D48F}"/>
                </a:ext>
              </a:extLst>
            </p:cNvPr>
            <p:cNvGrpSpPr/>
            <p:nvPr/>
          </p:nvGrpSpPr>
          <p:grpSpPr>
            <a:xfrm>
              <a:off x="5600297" y="8510575"/>
              <a:ext cx="485834" cy="485832"/>
              <a:chOff x="8332318" y="3422521"/>
              <a:chExt cx="485834" cy="485832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5912DD61-5DAB-4A33-916D-47E033862A4D}"/>
                  </a:ext>
                </a:extLst>
              </p:cNvPr>
              <p:cNvSpPr/>
              <p:nvPr/>
            </p:nvSpPr>
            <p:spPr>
              <a:xfrm>
                <a:off x="8332318" y="3422521"/>
                <a:ext cx="485834" cy="485832"/>
              </a:xfrm>
              <a:prstGeom prst="ellipse">
                <a:avLst/>
              </a:prstGeom>
              <a:solidFill>
                <a:schemeClr val="accent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50"/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7C03926E-ECAB-45A9-83A0-E65E62220415}"/>
                  </a:ext>
                </a:extLst>
              </p:cNvPr>
              <p:cNvSpPr/>
              <p:nvPr/>
            </p:nvSpPr>
            <p:spPr>
              <a:xfrm>
                <a:off x="8385361" y="3475564"/>
                <a:ext cx="379747" cy="379746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50"/>
              </a:p>
            </p:txBody>
          </p:sp>
          <p:sp>
            <p:nvSpPr>
              <p:cNvPr id="69" name="Freeform 229">
                <a:extLst>
                  <a:ext uri="{FF2B5EF4-FFF2-40B4-BE49-F238E27FC236}">
                    <a16:creationId xmlns:a16="http://schemas.microsoft.com/office/drawing/2014/main" id="{43C474C9-437A-40B9-AC7D-707D71427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4072" y="3616544"/>
                <a:ext cx="142328" cy="97786"/>
              </a:xfrm>
              <a:custGeom>
                <a:avLst/>
                <a:gdLst>
                  <a:gd name="T0" fmla="*/ 124 w 16128"/>
                  <a:gd name="T1" fmla="*/ 7223 h 11872"/>
                  <a:gd name="T2" fmla="*/ 59 w 16128"/>
                  <a:gd name="T3" fmla="*/ 7113 h 11872"/>
                  <a:gd name="T4" fmla="*/ 18 w 16128"/>
                  <a:gd name="T5" fmla="*/ 6994 h 11872"/>
                  <a:gd name="T6" fmla="*/ 1 w 16128"/>
                  <a:gd name="T7" fmla="*/ 6871 h 11872"/>
                  <a:gd name="T8" fmla="*/ 7 w 16128"/>
                  <a:gd name="T9" fmla="*/ 6747 h 11872"/>
                  <a:gd name="T10" fmla="*/ 36 w 16128"/>
                  <a:gd name="T11" fmla="*/ 6626 h 11872"/>
                  <a:gd name="T12" fmla="*/ 90 w 16128"/>
                  <a:gd name="T13" fmla="*/ 6512 h 11872"/>
                  <a:gd name="T14" fmla="*/ 165 w 16128"/>
                  <a:gd name="T15" fmla="*/ 6408 h 11872"/>
                  <a:gd name="T16" fmla="*/ 1850 w 16128"/>
                  <a:gd name="T17" fmla="*/ 4727 h 11872"/>
                  <a:gd name="T18" fmla="*/ 1957 w 16128"/>
                  <a:gd name="T19" fmla="*/ 4656 h 11872"/>
                  <a:gd name="T20" fmla="*/ 2073 w 16128"/>
                  <a:gd name="T21" fmla="*/ 4609 h 11872"/>
                  <a:gd name="T22" fmla="*/ 2195 w 16128"/>
                  <a:gd name="T23" fmla="*/ 4586 h 11872"/>
                  <a:gd name="T24" fmla="*/ 2319 w 16128"/>
                  <a:gd name="T25" fmla="*/ 4586 h 11872"/>
                  <a:gd name="T26" fmla="*/ 2441 w 16128"/>
                  <a:gd name="T27" fmla="*/ 4609 h 11872"/>
                  <a:gd name="T28" fmla="*/ 2558 w 16128"/>
                  <a:gd name="T29" fmla="*/ 4656 h 11872"/>
                  <a:gd name="T30" fmla="*/ 2665 w 16128"/>
                  <a:gd name="T31" fmla="*/ 4727 h 11872"/>
                  <a:gd name="T32" fmla="*/ 5357 w 16128"/>
                  <a:gd name="T33" fmla="*/ 7406 h 11872"/>
                  <a:gd name="T34" fmla="*/ 5460 w 16128"/>
                  <a:gd name="T35" fmla="*/ 7483 h 11872"/>
                  <a:gd name="T36" fmla="*/ 5575 w 16128"/>
                  <a:gd name="T37" fmla="*/ 7535 h 11872"/>
                  <a:gd name="T38" fmla="*/ 5696 w 16128"/>
                  <a:gd name="T39" fmla="*/ 7565 h 11872"/>
                  <a:gd name="T40" fmla="*/ 5819 w 16128"/>
                  <a:gd name="T41" fmla="*/ 7571 h 11872"/>
                  <a:gd name="T42" fmla="*/ 5942 w 16128"/>
                  <a:gd name="T43" fmla="*/ 7552 h 11872"/>
                  <a:gd name="T44" fmla="*/ 6060 w 16128"/>
                  <a:gd name="T45" fmla="*/ 7512 h 11872"/>
                  <a:gd name="T46" fmla="*/ 6170 w 16128"/>
                  <a:gd name="T47" fmla="*/ 7447 h 11872"/>
                  <a:gd name="T48" fmla="*/ 13421 w 16128"/>
                  <a:gd name="T49" fmla="*/ 190 h 11872"/>
                  <a:gd name="T50" fmla="*/ 13521 w 16128"/>
                  <a:gd name="T51" fmla="*/ 107 h 11872"/>
                  <a:gd name="T52" fmla="*/ 13634 w 16128"/>
                  <a:gd name="T53" fmla="*/ 47 h 11872"/>
                  <a:gd name="T54" fmla="*/ 13753 w 16128"/>
                  <a:gd name="T55" fmla="*/ 12 h 11872"/>
                  <a:gd name="T56" fmla="*/ 13877 w 16128"/>
                  <a:gd name="T57" fmla="*/ 0 h 11872"/>
                  <a:gd name="T58" fmla="*/ 14000 w 16128"/>
                  <a:gd name="T59" fmla="*/ 11 h 11872"/>
                  <a:gd name="T60" fmla="*/ 14120 w 16128"/>
                  <a:gd name="T61" fmla="*/ 46 h 11872"/>
                  <a:gd name="T62" fmla="*/ 14233 w 16128"/>
                  <a:gd name="T63" fmla="*/ 105 h 11872"/>
                  <a:gd name="T64" fmla="*/ 14334 w 16128"/>
                  <a:gd name="T65" fmla="*/ 186 h 11872"/>
                  <a:gd name="T66" fmla="*/ 16003 w 16128"/>
                  <a:gd name="T67" fmla="*/ 1855 h 11872"/>
                  <a:gd name="T68" fmla="*/ 16068 w 16128"/>
                  <a:gd name="T69" fmla="*/ 1964 h 11872"/>
                  <a:gd name="T70" fmla="*/ 16109 w 16128"/>
                  <a:gd name="T71" fmla="*/ 2082 h 11872"/>
                  <a:gd name="T72" fmla="*/ 16127 w 16128"/>
                  <a:gd name="T73" fmla="*/ 2205 h 11872"/>
                  <a:gd name="T74" fmla="*/ 16122 w 16128"/>
                  <a:gd name="T75" fmla="*/ 2328 h 11872"/>
                  <a:gd name="T76" fmla="*/ 16093 w 16128"/>
                  <a:gd name="T77" fmla="*/ 2449 h 11872"/>
                  <a:gd name="T78" fmla="*/ 16039 w 16128"/>
                  <a:gd name="T79" fmla="*/ 2564 h 11872"/>
                  <a:gd name="T80" fmla="*/ 15964 w 16128"/>
                  <a:gd name="T81" fmla="*/ 2667 h 11872"/>
                  <a:gd name="T82" fmla="*/ 7188 w 16128"/>
                  <a:gd name="T83" fmla="*/ 11462 h 11872"/>
                  <a:gd name="T84" fmla="*/ 7074 w 16128"/>
                  <a:gd name="T85" fmla="*/ 11550 h 11872"/>
                  <a:gd name="T86" fmla="*/ 6943 w 16128"/>
                  <a:gd name="T87" fmla="*/ 11632 h 11872"/>
                  <a:gd name="T88" fmla="*/ 6801 w 16128"/>
                  <a:gd name="T89" fmla="*/ 11706 h 11872"/>
                  <a:gd name="T90" fmla="*/ 6652 w 16128"/>
                  <a:gd name="T91" fmla="*/ 11767 h 11872"/>
                  <a:gd name="T92" fmla="*/ 6500 w 16128"/>
                  <a:gd name="T93" fmla="*/ 11817 h 11872"/>
                  <a:gd name="T94" fmla="*/ 6349 w 16128"/>
                  <a:gd name="T95" fmla="*/ 11852 h 11872"/>
                  <a:gd name="T96" fmla="*/ 6205 w 16128"/>
                  <a:gd name="T97" fmla="*/ 11870 h 11872"/>
                  <a:gd name="T98" fmla="*/ 5352 w 16128"/>
                  <a:gd name="T99" fmla="*/ 11871 h 11872"/>
                  <a:gd name="T100" fmla="*/ 5210 w 16128"/>
                  <a:gd name="T101" fmla="*/ 11858 h 11872"/>
                  <a:gd name="T102" fmla="*/ 5062 w 16128"/>
                  <a:gd name="T103" fmla="*/ 11827 h 11872"/>
                  <a:gd name="T104" fmla="*/ 4910 w 16128"/>
                  <a:gd name="T105" fmla="*/ 11780 h 11872"/>
                  <a:gd name="T106" fmla="*/ 4760 w 16128"/>
                  <a:gd name="T107" fmla="*/ 11722 h 11872"/>
                  <a:gd name="T108" fmla="*/ 4615 w 16128"/>
                  <a:gd name="T109" fmla="*/ 11651 h 11872"/>
                  <a:gd name="T110" fmla="*/ 4481 w 16128"/>
                  <a:gd name="T111" fmla="*/ 11572 h 11872"/>
                  <a:gd name="T112" fmla="*/ 4363 w 16128"/>
                  <a:gd name="T113" fmla="*/ 11484 h 11872"/>
                  <a:gd name="T114" fmla="*/ 187 w 16128"/>
                  <a:gd name="T115" fmla="*/ 7297 h 11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128" h="11872">
                    <a:moveTo>
                      <a:pt x="187" y="7297"/>
                    </a:moveTo>
                    <a:lnTo>
                      <a:pt x="164" y="7273"/>
                    </a:lnTo>
                    <a:lnTo>
                      <a:pt x="143" y="7248"/>
                    </a:lnTo>
                    <a:lnTo>
                      <a:pt x="124" y="7223"/>
                    </a:lnTo>
                    <a:lnTo>
                      <a:pt x="106" y="7196"/>
                    </a:lnTo>
                    <a:lnTo>
                      <a:pt x="89" y="7168"/>
                    </a:lnTo>
                    <a:lnTo>
                      <a:pt x="74" y="7141"/>
                    </a:lnTo>
                    <a:lnTo>
                      <a:pt x="59" y="7113"/>
                    </a:lnTo>
                    <a:lnTo>
                      <a:pt x="46" y="7084"/>
                    </a:lnTo>
                    <a:lnTo>
                      <a:pt x="35" y="7054"/>
                    </a:lnTo>
                    <a:lnTo>
                      <a:pt x="26" y="7024"/>
                    </a:lnTo>
                    <a:lnTo>
                      <a:pt x="18" y="6994"/>
                    </a:lnTo>
                    <a:lnTo>
                      <a:pt x="12" y="6964"/>
                    </a:lnTo>
                    <a:lnTo>
                      <a:pt x="6" y="6933"/>
                    </a:lnTo>
                    <a:lnTo>
                      <a:pt x="3" y="6902"/>
                    </a:lnTo>
                    <a:lnTo>
                      <a:pt x="1" y="6871"/>
                    </a:lnTo>
                    <a:lnTo>
                      <a:pt x="0" y="6841"/>
                    </a:lnTo>
                    <a:lnTo>
                      <a:pt x="1" y="6809"/>
                    </a:lnTo>
                    <a:lnTo>
                      <a:pt x="3" y="6778"/>
                    </a:lnTo>
                    <a:lnTo>
                      <a:pt x="7" y="6747"/>
                    </a:lnTo>
                    <a:lnTo>
                      <a:pt x="12" y="6717"/>
                    </a:lnTo>
                    <a:lnTo>
                      <a:pt x="18" y="6687"/>
                    </a:lnTo>
                    <a:lnTo>
                      <a:pt x="26" y="6656"/>
                    </a:lnTo>
                    <a:lnTo>
                      <a:pt x="36" y="6626"/>
                    </a:lnTo>
                    <a:lnTo>
                      <a:pt x="47" y="6597"/>
                    </a:lnTo>
                    <a:lnTo>
                      <a:pt x="59" y="6569"/>
                    </a:lnTo>
                    <a:lnTo>
                      <a:pt x="74" y="6539"/>
                    </a:lnTo>
                    <a:lnTo>
                      <a:pt x="90" y="6512"/>
                    </a:lnTo>
                    <a:lnTo>
                      <a:pt x="106" y="6485"/>
                    </a:lnTo>
                    <a:lnTo>
                      <a:pt x="125" y="6459"/>
                    </a:lnTo>
                    <a:lnTo>
                      <a:pt x="144" y="6432"/>
                    </a:lnTo>
                    <a:lnTo>
                      <a:pt x="165" y="6408"/>
                    </a:lnTo>
                    <a:lnTo>
                      <a:pt x="188" y="6384"/>
                    </a:lnTo>
                    <a:lnTo>
                      <a:pt x="1801" y="4771"/>
                    </a:lnTo>
                    <a:lnTo>
                      <a:pt x="1824" y="4748"/>
                    </a:lnTo>
                    <a:lnTo>
                      <a:pt x="1850" y="4727"/>
                    </a:lnTo>
                    <a:lnTo>
                      <a:pt x="1876" y="4707"/>
                    </a:lnTo>
                    <a:lnTo>
                      <a:pt x="1902" y="4689"/>
                    </a:lnTo>
                    <a:lnTo>
                      <a:pt x="1929" y="4671"/>
                    </a:lnTo>
                    <a:lnTo>
                      <a:pt x="1957" y="4656"/>
                    </a:lnTo>
                    <a:lnTo>
                      <a:pt x="1985" y="4642"/>
                    </a:lnTo>
                    <a:lnTo>
                      <a:pt x="2014" y="4630"/>
                    </a:lnTo>
                    <a:lnTo>
                      <a:pt x="2043" y="4619"/>
                    </a:lnTo>
                    <a:lnTo>
                      <a:pt x="2073" y="4609"/>
                    </a:lnTo>
                    <a:lnTo>
                      <a:pt x="2104" y="4601"/>
                    </a:lnTo>
                    <a:lnTo>
                      <a:pt x="2134" y="4595"/>
                    </a:lnTo>
                    <a:lnTo>
                      <a:pt x="2164" y="4590"/>
                    </a:lnTo>
                    <a:lnTo>
                      <a:pt x="2195" y="4586"/>
                    </a:lnTo>
                    <a:lnTo>
                      <a:pt x="2227" y="4584"/>
                    </a:lnTo>
                    <a:lnTo>
                      <a:pt x="2257" y="4583"/>
                    </a:lnTo>
                    <a:lnTo>
                      <a:pt x="2288" y="4584"/>
                    </a:lnTo>
                    <a:lnTo>
                      <a:pt x="2319" y="4586"/>
                    </a:lnTo>
                    <a:lnTo>
                      <a:pt x="2350" y="4590"/>
                    </a:lnTo>
                    <a:lnTo>
                      <a:pt x="2381" y="4595"/>
                    </a:lnTo>
                    <a:lnTo>
                      <a:pt x="2411" y="4601"/>
                    </a:lnTo>
                    <a:lnTo>
                      <a:pt x="2441" y="4609"/>
                    </a:lnTo>
                    <a:lnTo>
                      <a:pt x="2472" y="4619"/>
                    </a:lnTo>
                    <a:lnTo>
                      <a:pt x="2501" y="4630"/>
                    </a:lnTo>
                    <a:lnTo>
                      <a:pt x="2529" y="4642"/>
                    </a:lnTo>
                    <a:lnTo>
                      <a:pt x="2558" y="4656"/>
                    </a:lnTo>
                    <a:lnTo>
                      <a:pt x="2586" y="4671"/>
                    </a:lnTo>
                    <a:lnTo>
                      <a:pt x="2613" y="4689"/>
                    </a:lnTo>
                    <a:lnTo>
                      <a:pt x="2639" y="4707"/>
                    </a:lnTo>
                    <a:lnTo>
                      <a:pt x="2665" y="4727"/>
                    </a:lnTo>
                    <a:lnTo>
                      <a:pt x="2689" y="4748"/>
                    </a:lnTo>
                    <a:lnTo>
                      <a:pt x="2714" y="4770"/>
                    </a:lnTo>
                    <a:lnTo>
                      <a:pt x="5332" y="7384"/>
                    </a:lnTo>
                    <a:lnTo>
                      <a:pt x="5357" y="7406"/>
                    </a:lnTo>
                    <a:lnTo>
                      <a:pt x="5382" y="7427"/>
                    </a:lnTo>
                    <a:lnTo>
                      <a:pt x="5407" y="7448"/>
                    </a:lnTo>
                    <a:lnTo>
                      <a:pt x="5433" y="7466"/>
                    </a:lnTo>
                    <a:lnTo>
                      <a:pt x="5460" y="7483"/>
                    </a:lnTo>
                    <a:lnTo>
                      <a:pt x="5489" y="7498"/>
                    </a:lnTo>
                    <a:lnTo>
                      <a:pt x="5517" y="7512"/>
                    </a:lnTo>
                    <a:lnTo>
                      <a:pt x="5546" y="7524"/>
                    </a:lnTo>
                    <a:lnTo>
                      <a:pt x="5575" y="7535"/>
                    </a:lnTo>
                    <a:lnTo>
                      <a:pt x="5604" y="7545"/>
                    </a:lnTo>
                    <a:lnTo>
                      <a:pt x="5635" y="7553"/>
                    </a:lnTo>
                    <a:lnTo>
                      <a:pt x="5665" y="7559"/>
                    </a:lnTo>
                    <a:lnTo>
                      <a:pt x="5696" y="7565"/>
                    </a:lnTo>
                    <a:lnTo>
                      <a:pt x="5726" y="7569"/>
                    </a:lnTo>
                    <a:lnTo>
                      <a:pt x="5758" y="7571"/>
                    </a:lnTo>
                    <a:lnTo>
                      <a:pt x="5789" y="7572"/>
                    </a:lnTo>
                    <a:lnTo>
                      <a:pt x="5819" y="7571"/>
                    </a:lnTo>
                    <a:lnTo>
                      <a:pt x="5850" y="7569"/>
                    </a:lnTo>
                    <a:lnTo>
                      <a:pt x="5882" y="7565"/>
                    </a:lnTo>
                    <a:lnTo>
                      <a:pt x="5912" y="7559"/>
                    </a:lnTo>
                    <a:lnTo>
                      <a:pt x="5942" y="7552"/>
                    </a:lnTo>
                    <a:lnTo>
                      <a:pt x="5972" y="7544"/>
                    </a:lnTo>
                    <a:lnTo>
                      <a:pt x="6003" y="7535"/>
                    </a:lnTo>
                    <a:lnTo>
                      <a:pt x="6032" y="7524"/>
                    </a:lnTo>
                    <a:lnTo>
                      <a:pt x="6060" y="7512"/>
                    </a:lnTo>
                    <a:lnTo>
                      <a:pt x="6089" y="7498"/>
                    </a:lnTo>
                    <a:lnTo>
                      <a:pt x="6117" y="7482"/>
                    </a:lnTo>
                    <a:lnTo>
                      <a:pt x="6144" y="7465"/>
                    </a:lnTo>
                    <a:lnTo>
                      <a:pt x="6170" y="7447"/>
                    </a:lnTo>
                    <a:lnTo>
                      <a:pt x="6196" y="7426"/>
                    </a:lnTo>
                    <a:lnTo>
                      <a:pt x="6220" y="7405"/>
                    </a:lnTo>
                    <a:lnTo>
                      <a:pt x="6245" y="7383"/>
                    </a:lnTo>
                    <a:lnTo>
                      <a:pt x="13421" y="190"/>
                    </a:lnTo>
                    <a:lnTo>
                      <a:pt x="13445" y="166"/>
                    </a:lnTo>
                    <a:lnTo>
                      <a:pt x="13470" y="145"/>
                    </a:lnTo>
                    <a:lnTo>
                      <a:pt x="13495" y="125"/>
                    </a:lnTo>
                    <a:lnTo>
                      <a:pt x="13521" y="107"/>
                    </a:lnTo>
                    <a:lnTo>
                      <a:pt x="13549" y="90"/>
                    </a:lnTo>
                    <a:lnTo>
                      <a:pt x="13577" y="75"/>
                    </a:lnTo>
                    <a:lnTo>
                      <a:pt x="13605" y="60"/>
                    </a:lnTo>
                    <a:lnTo>
                      <a:pt x="13634" y="47"/>
                    </a:lnTo>
                    <a:lnTo>
                      <a:pt x="13663" y="36"/>
                    </a:lnTo>
                    <a:lnTo>
                      <a:pt x="13693" y="27"/>
                    </a:lnTo>
                    <a:lnTo>
                      <a:pt x="13723" y="19"/>
                    </a:lnTo>
                    <a:lnTo>
                      <a:pt x="13753" y="12"/>
                    </a:lnTo>
                    <a:lnTo>
                      <a:pt x="13784" y="7"/>
                    </a:lnTo>
                    <a:lnTo>
                      <a:pt x="13815" y="3"/>
                    </a:lnTo>
                    <a:lnTo>
                      <a:pt x="13846" y="1"/>
                    </a:lnTo>
                    <a:lnTo>
                      <a:pt x="13877" y="0"/>
                    </a:lnTo>
                    <a:lnTo>
                      <a:pt x="13908" y="1"/>
                    </a:lnTo>
                    <a:lnTo>
                      <a:pt x="13939" y="3"/>
                    </a:lnTo>
                    <a:lnTo>
                      <a:pt x="13970" y="6"/>
                    </a:lnTo>
                    <a:lnTo>
                      <a:pt x="14000" y="11"/>
                    </a:lnTo>
                    <a:lnTo>
                      <a:pt x="14031" y="18"/>
                    </a:lnTo>
                    <a:lnTo>
                      <a:pt x="14062" y="26"/>
                    </a:lnTo>
                    <a:lnTo>
                      <a:pt x="14091" y="35"/>
                    </a:lnTo>
                    <a:lnTo>
                      <a:pt x="14120" y="46"/>
                    </a:lnTo>
                    <a:lnTo>
                      <a:pt x="14149" y="58"/>
                    </a:lnTo>
                    <a:lnTo>
                      <a:pt x="14178" y="73"/>
                    </a:lnTo>
                    <a:lnTo>
                      <a:pt x="14206" y="88"/>
                    </a:lnTo>
                    <a:lnTo>
                      <a:pt x="14233" y="105"/>
                    </a:lnTo>
                    <a:lnTo>
                      <a:pt x="14259" y="123"/>
                    </a:lnTo>
                    <a:lnTo>
                      <a:pt x="14285" y="143"/>
                    </a:lnTo>
                    <a:lnTo>
                      <a:pt x="14310" y="164"/>
                    </a:lnTo>
                    <a:lnTo>
                      <a:pt x="14334" y="186"/>
                    </a:lnTo>
                    <a:lnTo>
                      <a:pt x="15938" y="1780"/>
                    </a:lnTo>
                    <a:lnTo>
                      <a:pt x="15962" y="1804"/>
                    </a:lnTo>
                    <a:lnTo>
                      <a:pt x="15983" y="1829"/>
                    </a:lnTo>
                    <a:lnTo>
                      <a:pt x="16003" y="1855"/>
                    </a:lnTo>
                    <a:lnTo>
                      <a:pt x="16021" y="1881"/>
                    </a:lnTo>
                    <a:lnTo>
                      <a:pt x="16038" y="1908"/>
                    </a:lnTo>
                    <a:lnTo>
                      <a:pt x="16053" y="1935"/>
                    </a:lnTo>
                    <a:lnTo>
                      <a:pt x="16068" y="1964"/>
                    </a:lnTo>
                    <a:lnTo>
                      <a:pt x="16081" y="1993"/>
                    </a:lnTo>
                    <a:lnTo>
                      <a:pt x="16092" y="2022"/>
                    </a:lnTo>
                    <a:lnTo>
                      <a:pt x="16101" y="2051"/>
                    </a:lnTo>
                    <a:lnTo>
                      <a:pt x="16109" y="2082"/>
                    </a:lnTo>
                    <a:lnTo>
                      <a:pt x="16116" y="2112"/>
                    </a:lnTo>
                    <a:lnTo>
                      <a:pt x="16121" y="2143"/>
                    </a:lnTo>
                    <a:lnTo>
                      <a:pt x="16125" y="2173"/>
                    </a:lnTo>
                    <a:lnTo>
                      <a:pt x="16127" y="2205"/>
                    </a:lnTo>
                    <a:lnTo>
                      <a:pt x="16128" y="2236"/>
                    </a:lnTo>
                    <a:lnTo>
                      <a:pt x="16127" y="2266"/>
                    </a:lnTo>
                    <a:lnTo>
                      <a:pt x="16125" y="2297"/>
                    </a:lnTo>
                    <a:lnTo>
                      <a:pt x="16122" y="2328"/>
                    </a:lnTo>
                    <a:lnTo>
                      <a:pt x="16117" y="2359"/>
                    </a:lnTo>
                    <a:lnTo>
                      <a:pt x="16110" y="2389"/>
                    </a:lnTo>
                    <a:lnTo>
                      <a:pt x="16102" y="2419"/>
                    </a:lnTo>
                    <a:lnTo>
                      <a:pt x="16093" y="2449"/>
                    </a:lnTo>
                    <a:lnTo>
                      <a:pt x="16082" y="2478"/>
                    </a:lnTo>
                    <a:lnTo>
                      <a:pt x="16069" y="2507"/>
                    </a:lnTo>
                    <a:lnTo>
                      <a:pt x="16055" y="2535"/>
                    </a:lnTo>
                    <a:lnTo>
                      <a:pt x="16039" y="2564"/>
                    </a:lnTo>
                    <a:lnTo>
                      <a:pt x="16023" y="2591"/>
                    </a:lnTo>
                    <a:lnTo>
                      <a:pt x="16004" y="2617"/>
                    </a:lnTo>
                    <a:lnTo>
                      <a:pt x="15985" y="2642"/>
                    </a:lnTo>
                    <a:lnTo>
                      <a:pt x="15964" y="2667"/>
                    </a:lnTo>
                    <a:lnTo>
                      <a:pt x="15941" y="2692"/>
                    </a:lnTo>
                    <a:lnTo>
                      <a:pt x="7238" y="11415"/>
                    </a:lnTo>
                    <a:lnTo>
                      <a:pt x="7214" y="11439"/>
                    </a:lnTo>
                    <a:lnTo>
                      <a:pt x="7188" y="11462"/>
                    </a:lnTo>
                    <a:lnTo>
                      <a:pt x="7162" y="11485"/>
                    </a:lnTo>
                    <a:lnTo>
                      <a:pt x="7134" y="11507"/>
                    </a:lnTo>
                    <a:lnTo>
                      <a:pt x="7104" y="11529"/>
                    </a:lnTo>
                    <a:lnTo>
                      <a:pt x="7074" y="11550"/>
                    </a:lnTo>
                    <a:lnTo>
                      <a:pt x="7043" y="11572"/>
                    </a:lnTo>
                    <a:lnTo>
                      <a:pt x="7011" y="11593"/>
                    </a:lnTo>
                    <a:lnTo>
                      <a:pt x="6977" y="11613"/>
                    </a:lnTo>
                    <a:lnTo>
                      <a:pt x="6943" y="11632"/>
                    </a:lnTo>
                    <a:lnTo>
                      <a:pt x="6909" y="11651"/>
                    </a:lnTo>
                    <a:lnTo>
                      <a:pt x="6874" y="11670"/>
                    </a:lnTo>
                    <a:lnTo>
                      <a:pt x="6837" y="11688"/>
                    </a:lnTo>
                    <a:lnTo>
                      <a:pt x="6801" y="11706"/>
                    </a:lnTo>
                    <a:lnTo>
                      <a:pt x="6765" y="11722"/>
                    </a:lnTo>
                    <a:lnTo>
                      <a:pt x="6727" y="11738"/>
                    </a:lnTo>
                    <a:lnTo>
                      <a:pt x="6689" y="11753"/>
                    </a:lnTo>
                    <a:lnTo>
                      <a:pt x="6652" y="11767"/>
                    </a:lnTo>
                    <a:lnTo>
                      <a:pt x="6613" y="11781"/>
                    </a:lnTo>
                    <a:lnTo>
                      <a:pt x="6576" y="11793"/>
                    </a:lnTo>
                    <a:lnTo>
                      <a:pt x="6538" y="11805"/>
                    </a:lnTo>
                    <a:lnTo>
                      <a:pt x="6500" y="11817"/>
                    </a:lnTo>
                    <a:lnTo>
                      <a:pt x="6461" y="11827"/>
                    </a:lnTo>
                    <a:lnTo>
                      <a:pt x="6424" y="11836"/>
                    </a:lnTo>
                    <a:lnTo>
                      <a:pt x="6387" y="11844"/>
                    </a:lnTo>
                    <a:lnTo>
                      <a:pt x="6349" y="11852"/>
                    </a:lnTo>
                    <a:lnTo>
                      <a:pt x="6313" y="11858"/>
                    </a:lnTo>
                    <a:lnTo>
                      <a:pt x="6277" y="11863"/>
                    </a:lnTo>
                    <a:lnTo>
                      <a:pt x="6241" y="11867"/>
                    </a:lnTo>
                    <a:lnTo>
                      <a:pt x="6205" y="11870"/>
                    </a:lnTo>
                    <a:lnTo>
                      <a:pt x="6171" y="11871"/>
                    </a:lnTo>
                    <a:lnTo>
                      <a:pt x="6138" y="11872"/>
                    </a:lnTo>
                    <a:lnTo>
                      <a:pt x="5386" y="11872"/>
                    </a:lnTo>
                    <a:lnTo>
                      <a:pt x="5352" y="11871"/>
                    </a:lnTo>
                    <a:lnTo>
                      <a:pt x="5318" y="11870"/>
                    </a:lnTo>
                    <a:lnTo>
                      <a:pt x="5283" y="11867"/>
                    </a:lnTo>
                    <a:lnTo>
                      <a:pt x="5247" y="11863"/>
                    </a:lnTo>
                    <a:lnTo>
                      <a:pt x="5210" y="11858"/>
                    </a:lnTo>
                    <a:lnTo>
                      <a:pt x="5174" y="11851"/>
                    </a:lnTo>
                    <a:lnTo>
                      <a:pt x="5137" y="11844"/>
                    </a:lnTo>
                    <a:lnTo>
                      <a:pt x="5099" y="11836"/>
                    </a:lnTo>
                    <a:lnTo>
                      <a:pt x="5062" y="11827"/>
                    </a:lnTo>
                    <a:lnTo>
                      <a:pt x="5024" y="11817"/>
                    </a:lnTo>
                    <a:lnTo>
                      <a:pt x="4986" y="11805"/>
                    </a:lnTo>
                    <a:lnTo>
                      <a:pt x="4948" y="11793"/>
                    </a:lnTo>
                    <a:lnTo>
                      <a:pt x="4910" y="11780"/>
                    </a:lnTo>
                    <a:lnTo>
                      <a:pt x="4872" y="11767"/>
                    </a:lnTo>
                    <a:lnTo>
                      <a:pt x="4834" y="11753"/>
                    </a:lnTo>
                    <a:lnTo>
                      <a:pt x="4796" y="11738"/>
                    </a:lnTo>
                    <a:lnTo>
                      <a:pt x="4760" y="11722"/>
                    </a:lnTo>
                    <a:lnTo>
                      <a:pt x="4722" y="11705"/>
                    </a:lnTo>
                    <a:lnTo>
                      <a:pt x="4686" y="11688"/>
                    </a:lnTo>
                    <a:lnTo>
                      <a:pt x="4650" y="11669"/>
                    </a:lnTo>
                    <a:lnTo>
                      <a:pt x="4615" y="11651"/>
                    </a:lnTo>
                    <a:lnTo>
                      <a:pt x="4580" y="11632"/>
                    </a:lnTo>
                    <a:lnTo>
                      <a:pt x="4546" y="11612"/>
                    </a:lnTo>
                    <a:lnTo>
                      <a:pt x="4513" y="11592"/>
                    </a:lnTo>
                    <a:lnTo>
                      <a:pt x="4481" y="11572"/>
                    </a:lnTo>
                    <a:lnTo>
                      <a:pt x="4449" y="11550"/>
                    </a:lnTo>
                    <a:lnTo>
                      <a:pt x="4419" y="11528"/>
                    </a:lnTo>
                    <a:lnTo>
                      <a:pt x="4390" y="11506"/>
                    </a:lnTo>
                    <a:lnTo>
                      <a:pt x="4363" y="11484"/>
                    </a:lnTo>
                    <a:lnTo>
                      <a:pt x="4335" y="11462"/>
                    </a:lnTo>
                    <a:lnTo>
                      <a:pt x="4310" y="11439"/>
                    </a:lnTo>
                    <a:lnTo>
                      <a:pt x="4286" y="11414"/>
                    </a:lnTo>
                    <a:lnTo>
                      <a:pt x="187" y="7297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noFill/>
              </a:ln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750">
                  <a:solidFill>
                    <a:srgbClr val="535761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</p:grpSp>
      <p:grpSp>
        <p:nvGrpSpPr>
          <p:cNvPr id="76" name="Group 7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3AC5E39F-8FF4-42BB-BCF9-A1D4BFCCF0CD}"/>
              </a:ext>
            </a:extLst>
          </p:cNvPr>
          <p:cNvGrpSpPr/>
          <p:nvPr/>
        </p:nvGrpSpPr>
        <p:grpSpPr>
          <a:xfrm>
            <a:off x="1000638" y="1243959"/>
            <a:ext cx="2991627" cy="1407489"/>
            <a:chOff x="4915544" y="7601617"/>
            <a:chExt cx="4786603" cy="2251983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5BA7BD81-361A-4187-B9D9-E43ECD9FF8FC}"/>
                </a:ext>
              </a:extLst>
            </p:cNvPr>
            <p:cNvSpPr/>
            <p:nvPr/>
          </p:nvSpPr>
          <p:spPr>
            <a:xfrm>
              <a:off x="4915544" y="8043873"/>
              <a:ext cx="4786603" cy="18097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3375" dirty="0">
                  <a:solidFill>
                    <a:schemeClr val="bg1"/>
                  </a:solidFill>
                  <a:latin typeface="+mj-lt"/>
                  <a:ea typeface="Karla" pitchFamily="2" charset="0"/>
                  <a:cs typeface="Heebo" panose="00000500000000000000" pitchFamily="2" charset="-79"/>
                </a:rPr>
                <a:t>Business Flow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7CEAB783-8D57-4EDC-939B-F3B9FEB8B912}"/>
                </a:ext>
              </a:extLst>
            </p:cNvPr>
            <p:cNvSpPr/>
            <p:nvPr/>
          </p:nvSpPr>
          <p:spPr>
            <a:xfrm>
              <a:off x="4915544" y="7601617"/>
              <a:ext cx="4508928" cy="5170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500" dirty="0">
                  <a:solidFill>
                    <a:schemeClr val="bg1"/>
                  </a:solidFill>
                  <a:latin typeface="+mj-lt"/>
                  <a:ea typeface="Karla" pitchFamily="2" charset="0"/>
                  <a:cs typeface="Heebo" panose="00000500000000000000" pitchFamily="2" charset="-79"/>
                </a:rPr>
                <a:t>Subtitles here</a:t>
              </a:r>
              <a:endParaRPr lang="id-ID" sz="1500" dirty="0">
                <a:solidFill>
                  <a:schemeClr val="bg1"/>
                </a:solidFill>
                <a:latin typeface="+mj-lt"/>
                <a:ea typeface="Karla" pitchFamily="2" charset="0"/>
                <a:cs typeface="Heebo" panose="00000500000000000000" pitchFamily="2" charset="-79"/>
              </a:endParaRPr>
            </a:p>
          </p:txBody>
        </p:sp>
      </p:grpSp>
      <p:sp>
        <p:nvSpPr>
          <p:cNvPr id="80" name="Rectangle: Rounded Corners 79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2C5C6C1-4CD0-4F8C-9065-8A965299F578}"/>
              </a:ext>
            </a:extLst>
          </p:cNvPr>
          <p:cNvSpPr/>
          <p:nvPr/>
        </p:nvSpPr>
        <p:spPr>
          <a:xfrm>
            <a:off x="1068336" y="4032380"/>
            <a:ext cx="988770" cy="2508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/>
              </a:gs>
              <a:gs pos="99000">
                <a:schemeClr val="accent1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889000" dist="254000" dir="5400000" sx="80000" sy="8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75" dirty="0">
                <a:solidFill>
                  <a:schemeClr val="bg1"/>
                </a:solidFill>
                <a:latin typeface="+mj-lt"/>
                <a:cs typeface="Poppins Light" panose="02000000000000000000" pitchFamily="2" charset="0"/>
              </a:rPr>
              <a:t> Let’s Try It</a:t>
            </a:r>
            <a:endParaRPr lang="id-ID" sz="875" dirty="0">
              <a:solidFill>
                <a:schemeClr val="bg1"/>
              </a:solidFill>
              <a:latin typeface="+mj-lt"/>
              <a:cs typeface="Poppins Light" panose="02000000000000000000" pitchFamily="2" charset="0"/>
            </a:endParaRPr>
          </a:p>
        </p:txBody>
      </p:sp>
      <p:sp>
        <p:nvSpPr>
          <p:cNvPr id="79" name="Shape 70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1C7006DC-6286-4470-9D1B-66BC932CD95B}"/>
              </a:ext>
            </a:extLst>
          </p:cNvPr>
          <p:cNvSpPr/>
          <p:nvPr/>
        </p:nvSpPr>
        <p:spPr>
          <a:xfrm>
            <a:off x="987607" y="2809628"/>
            <a:ext cx="2413018" cy="108183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bg1"/>
                </a:solidFill>
                <a:ea typeface="思源黑体 CN Normal" panose="020B0400000000000000" pitchFamily="34" charset="-122"/>
              </a:rPr>
              <a:t>Hello, everyone! My name is Company, I am a professional PPT designer, to provide you with professional PPT template,</a:t>
            </a:r>
          </a:p>
        </p:txBody>
      </p:sp>
      <p:pic>
        <p:nvPicPr>
          <p:cNvPr id="4" name="图片 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E7D855A3-32A9-4345-9F49-EFB8ED5637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732" y="4164031"/>
            <a:ext cx="2279288" cy="2279288"/>
          </a:xfrm>
          <a:prstGeom prst="rect">
            <a:avLst/>
          </a:prstGeom>
        </p:spPr>
      </p:pic>
      <p:sp>
        <p:nvSpPr>
          <p:cNvPr id="2" name="e7d195523061f1c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84BEA2B79408FB094EB53969616FE837C4DDA931FB4B50B287CB9E976CD8A286A6B09202195C1175A3DD2481D60CC400D4B189D647C2854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193700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 xmlns:a16="http://schemas.microsoft.com/office/drawing/2014/main" xmlns:ma14="http://schemas.microsoft.com/office/mac/drawingml/2011/main" xmlns:a14="http://schemas.microsoft.com/office/drawing/2010/main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1D063379-D105-4593-A443-7A800266AC7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TextBox 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A5CB0B59-E2C1-4630-8F97-61E37A599B70}"/>
              </a:ext>
            </a:extLst>
          </p:cNvPr>
          <p:cNvSpPr txBox="1"/>
          <p:nvPr/>
        </p:nvSpPr>
        <p:spPr>
          <a:xfrm>
            <a:off x="1976130" y="2497976"/>
            <a:ext cx="4477509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1500" b="1" spc="300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Rajdhani Bold" panose="02000000000000000000" pitchFamily="2" charset="0"/>
              </a:rPr>
              <a:t>PART </a:t>
            </a:r>
            <a:endParaRPr lang="en-US" sz="11500" b="1" spc="300" dirty="0">
              <a:ln w="50800">
                <a:solidFill>
                  <a:schemeClr val="bg1"/>
                </a:solidFill>
              </a:ln>
              <a:gradFill>
                <a:gsLst>
                  <a:gs pos="0">
                    <a:schemeClr val="accent1">
                      <a:alpha val="64000"/>
                    </a:schemeClr>
                  </a:gs>
                  <a:gs pos="100000">
                    <a:schemeClr val="accent2"/>
                  </a:gs>
                </a:gsLst>
                <a:lin ang="8100000" scaled="1"/>
              </a:gradFill>
              <a:latin typeface="+mj-lt"/>
              <a:ea typeface="Open Sans" panose="020B0606030504020204" pitchFamily="34" charset="0"/>
              <a:cs typeface="Rajdhani Bold" panose="02000000000000000000" pitchFamily="2" charset="0"/>
            </a:endParaRPr>
          </a:p>
        </p:txBody>
      </p:sp>
      <p:sp>
        <p:nvSpPr>
          <p:cNvPr id="8" name="文本框 7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1F194A24-78D8-470E-8650-C6D63F7AFD73}"/>
              </a:ext>
            </a:extLst>
          </p:cNvPr>
          <p:cNvSpPr txBox="1"/>
          <p:nvPr/>
        </p:nvSpPr>
        <p:spPr>
          <a:xfrm>
            <a:off x="2168752" y="4022802"/>
            <a:ext cx="8141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id-ID" altLang="zh-CN" sz="1600" b="1" dirty="0">
                <a:solidFill>
                  <a:schemeClr val="bg1"/>
                </a:solidFill>
                <a:latin typeface="+mj-lt"/>
                <a:cs typeface="Poppins" panose="00000500000000000000" pitchFamily="50" charset="0"/>
              </a:rPr>
              <a:t>Technology Presentation Template</a:t>
            </a:r>
          </a:p>
          <a:p>
            <a:pPr algn="dist"/>
            <a:endParaRPr lang="zh-CN" altLang="en-US" sz="1600" b="1" dirty="0">
              <a:latin typeface="+mj-lt"/>
            </a:endParaRPr>
          </a:p>
        </p:txBody>
      </p:sp>
      <p:sp>
        <p:nvSpPr>
          <p:cNvPr id="9" name="Freeform 6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2B5244B2-E4AD-4D23-9705-D6FCEB2A2FD0}"/>
              </a:ext>
            </a:extLst>
          </p:cNvPr>
          <p:cNvSpPr>
            <a:spLocks noEditPoints="1"/>
          </p:cNvSpPr>
          <p:nvPr/>
        </p:nvSpPr>
        <p:spPr bwMode="auto">
          <a:xfrm>
            <a:off x="4921287" y="6468579"/>
            <a:ext cx="137450" cy="135137"/>
          </a:xfrm>
          <a:custGeom>
            <a:avLst/>
            <a:gdLst>
              <a:gd name="T0" fmla="*/ 92739 w 55"/>
              <a:gd name="T1" fmla="*/ 185737 h 54"/>
              <a:gd name="T2" fmla="*/ 0 w 55"/>
              <a:gd name="T3" fmla="*/ 92869 h 54"/>
              <a:gd name="T4" fmla="*/ 92739 w 55"/>
              <a:gd name="T5" fmla="*/ 0 h 54"/>
              <a:gd name="T6" fmla="*/ 188913 w 55"/>
              <a:gd name="T7" fmla="*/ 92869 h 54"/>
              <a:gd name="T8" fmla="*/ 92739 w 55"/>
              <a:gd name="T9" fmla="*/ 185737 h 54"/>
              <a:gd name="T10" fmla="*/ 13739 w 55"/>
              <a:gd name="T11" fmla="*/ 92869 h 54"/>
              <a:gd name="T12" fmla="*/ 92739 w 55"/>
              <a:gd name="T13" fmla="*/ 171979 h 54"/>
              <a:gd name="T14" fmla="*/ 171739 w 55"/>
              <a:gd name="T15" fmla="*/ 92869 h 54"/>
              <a:gd name="T16" fmla="*/ 92739 w 55"/>
              <a:gd name="T17" fmla="*/ 13758 h 54"/>
              <a:gd name="T18" fmla="*/ 13739 w 55"/>
              <a:gd name="T19" fmla="*/ 92869 h 54"/>
              <a:gd name="T20" fmla="*/ 140826 w 55"/>
              <a:gd name="T21" fmla="*/ 127264 h 54"/>
              <a:gd name="T22" fmla="*/ 96174 w 55"/>
              <a:gd name="T23" fmla="*/ 151341 h 54"/>
              <a:gd name="T24" fmla="*/ 37783 w 55"/>
              <a:gd name="T25" fmla="*/ 92869 h 54"/>
              <a:gd name="T26" fmla="*/ 96174 w 55"/>
              <a:gd name="T27" fmla="*/ 34396 h 54"/>
              <a:gd name="T28" fmla="*/ 137391 w 55"/>
              <a:gd name="T29" fmla="*/ 58473 h 54"/>
              <a:gd name="T30" fmla="*/ 137391 w 55"/>
              <a:gd name="T31" fmla="*/ 72231 h 54"/>
              <a:gd name="T32" fmla="*/ 137391 w 55"/>
              <a:gd name="T33" fmla="*/ 72231 h 54"/>
              <a:gd name="T34" fmla="*/ 123652 w 55"/>
              <a:gd name="T35" fmla="*/ 72231 h 54"/>
              <a:gd name="T36" fmla="*/ 120217 w 55"/>
              <a:gd name="T37" fmla="*/ 72231 h 54"/>
              <a:gd name="T38" fmla="*/ 120217 w 55"/>
              <a:gd name="T39" fmla="*/ 61912 h 54"/>
              <a:gd name="T40" fmla="*/ 96174 w 55"/>
              <a:gd name="T41" fmla="*/ 51594 h 54"/>
              <a:gd name="T42" fmla="*/ 54957 w 55"/>
              <a:gd name="T43" fmla="*/ 92869 h 54"/>
              <a:gd name="T44" fmla="*/ 96174 w 55"/>
              <a:gd name="T45" fmla="*/ 134143 h 54"/>
              <a:gd name="T46" fmla="*/ 120217 w 55"/>
              <a:gd name="T47" fmla="*/ 123825 h 54"/>
              <a:gd name="T48" fmla="*/ 120217 w 55"/>
              <a:gd name="T49" fmla="*/ 113506 h 54"/>
              <a:gd name="T50" fmla="*/ 123652 w 55"/>
              <a:gd name="T51" fmla="*/ 113506 h 54"/>
              <a:gd name="T52" fmla="*/ 137391 w 55"/>
              <a:gd name="T53" fmla="*/ 113506 h 54"/>
              <a:gd name="T54" fmla="*/ 140826 w 55"/>
              <a:gd name="T55" fmla="*/ 113506 h 54"/>
              <a:gd name="T56" fmla="*/ 140826 w 55"/>
              <a:gd name="T57" fmla="*/ 127264 h 5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55" h="54">
                <a:moveTo>
                  <a:pt x="27" y="54"/>
                </a:moveTo>
                <a:cubicBezTo>
                  <a:pt x="12" y="54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4"/>
                  <a:pt x="27" y="54"/>
                </a:cubicBezTo>
                <a:close/>
                <a:moveTo>
                  <a:pt x="4" y="27"/>
                </a:moveTo>
                <a:cubicBezTo>
                  <a:pt x="4" y="40"/>
                  <a:pt x="15" y="50"/>
                  <a:pt x="27" y="50"/>
                </a:cubicBezTo>
                <a:cubicBezTo>
                  <a:pt x="40" y="50"/>
                  <a:pt x="50" y="40"/>
                  <a:pt x="50" y="27"/>
                </a:cubicBezTo>
                <a:cubicBezTo>
                  <a:pt x="50" y="14"/>
                  <a:pt x="40" y="4"/>
                  <a:pt x="27" y="4"/>
                </a:cubicBezTo>
                <a:cubicBezTo>
                  <a:pt x="15" y="4"/>
                  <a:pt x="4" y="14"/>
                  <a:pt x="4" y="27"/>
                </a:cubicBezTo>
                <a:close/>
                <a:moveTo>
                  <a:pt x="41" y="37"/>
                </a:moveTo>
                <a:cubicBezTo>
                  <a:pt x="41" y="42"/>
                  <a:pt x="33" y="44"/>
                  <a:pt x="28" y="44"/>
                </a:cubicBezTo>
                <a:cubicBezTo>
                  <a:pt x="18" y="44"/>
                  <a:pt x="11" y="37"/>
                  <a:pt x="11" y="27"/>
                </a:cubicBezTo>
                <a:cubicBezTo>
                  <a:pt x="11" y="17"/>
                  <a:pt x="18" y="10"/>
                  <a:pt x="28" y="10"/>
                </a:cubicBezTo>
                <a:cubicBezTo>
                  <a:pt x="31" y="10"/>
                  <a:pt x="40" y="11"/>
                  <a:pt x="40" y="17"/>
                </a:cubicBezTo>
                <a:cubicBezTo>
                  <a:pt x="40" y="21"/>
                  <a:pt x="40" y="21"/>
                  <a:pt x="40" y="21"/>
                </a:cubicBezTo>
                <a:cubicBezTo>
                  <a:pt x="40" y="21"/>
                  <a:pt x="40" y="21"/>
                  <a:pt x="40" y="21"/>
                </a:cubicBezTo>
                <a:cubicBezTo>
                  <a:pt x="36" y="21"/>
                  <a:pt x="36" y="21"/>
                  <a:pt x="36" y="21"/>
                </a:cubicBezTo>
                <a:cubicBezTo>
                  <a:pt x="35" y="21"/>
                  <a:pt x="35" y="21"/>
                  <a:pt x="35" y="21"/>
                </a:cubicBezTo>
                <a:cubicBezTo>
                  <a:pt x="35" y="18"/>
                  <a:pt x="35" y="18"/>
                  <a:pt x="35" y="18"/>
                </a:cubicBezTo>
                <a:cubicBezTo>
                  <a:pt x="35" y="16"/>
                  <a:pt x="31" y="15"/>
                  <a:pt x="28" y="15"/>
                </a:cubicBezTo>
                <a:cubicBezTo>
                  <a:pt x="21" y="15"/>
                  <a:pt x="16" y="20"/>
                  <a:pt x="16" y="27"/>
                </a:cubicBezTo>
                <a:cubicBezTo>
                  <a:pt x="16" y="34"/>
                  <a:pt x="21" y="39"/>
                  <a:pt x="28" y="39"/>
                </a:cubicBezTo>
                <a:cubicBezTo>
                  <a:pt x="31" y="39"/>
                  <a:pt x="35" y="38"/>
                  <a:pt x="35" y="36"/>
                </a:cubicBezTo>
                <a:cubicBezTo>
                  <a:pt x="35" y="33"/>
                  <a:pt x="35" y="33"/>
                  <a:pt x="35" y="33"/>
                </a:cubicBezTo>
                <a:cubicBezTo>
                  <a:pt x="35" y="33"/>
                  <a:pt x="36" y="33"/>
                  <a:pt x="36" y="33"/>
                </a:cubicBezTo>
                <a:cubicBezTo>
                  <a:pt x="40" y="33"/>
                  <a:pt x="40" y="33"/>
                  <a:pt x="40" y="33"/>
                </a:cubicBezTo>
                <a:cubicBezTo>
                  <a:pt x="41" y="33"/>
                  <a:pt x="41" y="33"/>
                  <a:pt x="41" y="33"/>
                </a:cubicBezTo>
                <a:lnTo>
                  <a:pt x="41" y="3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>
            <a:ext uri="{91240B29-F687-4f45-9708-019B960494DF}">
              <a14:hiddenLine xmlns="" xmlns:a16="http://schemas.microsoft.com/office/drawing/2014/main" xmlns:mc="http://schemas.openxmlformats.org/markup-compatibility/2006" xmlns:am3d="http://schemas.microsoft.com/office/drawing/2017/model3d" xmlns:p14="http://schemas.microsoft.com/office/powerpoint/2010/main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l"/>
            <a:endParaRPr lang="en-US" sz="1000" dirty="0">
              <a:solidFill>
                <a:schemeClr val="bg1">
                  <a:lumMod val="7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</a:endParaRPr>
          </a:p>
        </p:txBody>
      </p:sp>
      <p:sp>
        <p:nvSpPr>
          <p:cNvPr id="10" name="TextBox 4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F654EC8B-4C71-4178-BF34-8C7A69919F71}"/>
              </a:ext>
            </a:extLst>
          </p:cNvPr>
          <p:cNvSpPr txBox="1"/>
          <p:nvPr/>
        </p:nvSpPr>
        <p:spPr>
          <a:xfrm>
            <a:off x="5096275" y="6409189"/>
            <a:ext cx="22028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spc="300" dirty="0" err="1">
                <a:solidFill>
                  <a:schemeClr val="bg1">
                    <a:lumMod val="75000"/>
                  </a:schemeClr>
                </a:solidFill>
                <a:latin typeface="Nexa Light" panose="02000000000000000000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Company.ALL</a:t>
            </a:r>
            <a:r>
              <a:rPr lang="en-US" sz="1000" spc="300" dirty="0">
                <a:solidFill>
                  <a:schemeClr val="bg1">
                    <a:lumMod val="75000"/>
                  </a:schemeClr>
                </a:solidFill>
                <a:latin typeface="Nexa Light" panose="02000000000000000000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 RIGHTS</a:t>
            </a:r>
            <a:endParaRPr lang="id-ID" sz="1000" spc="300" dirty="0">
              <a:solidFill>
                <a:schemeClr val="bg1">
                  <a:lumMod val="75000"/>
                </a:schemeClr>
              </a:solidFill>
              <a:latin typeface="Nexa Light" panose="02000000000000000000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11" name="TextBox 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7AD1A132-BCB4-4679-9F3F-23513AAB3669}"/>
              </a:ext>
            </a:extLst>
          </p:cNvPr>
          <p:cNvSpPr txBox="1"/>
          <p:nvPr/>
        </p:nvSpPr>
        <p:spPr>
          <a:xfrm>
            <a:off x="6261017" y="2514082"/>
            <a:ext cx="4251485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1500" b="1" spc="300" dirty="0">
                <a:ln w="50800">
                  <a:solidFill>
                    <a:schemeClr val="bg1"/>
                  </a:solidFill>
                </a:ln>
                <a:gradFill>
                  <a:gsLst>
                    <a:gs pos="0">
                      <a:schemeClr val="accent1">
                        <a:alpha val="64000"/>
                      </a:schemeClr>
                    </a:gs>
                    <a:gs pos="100000">
                      <a:schemeClr val="accent2"/>
                    </a:gs>
                  </a:gsLst>
                  <a:lin ang="8100000" scaled="1"/>
                </a:gradFill>
                <a:latin typeface="+mj-lt"/>
                <a:ea typeface="Open Sans" panose="020B0606030504020204" pitchFamily="34" charset="0"/>
                <a:cs typeface="Rajdhani Bold" panose="02000000000000000000" pitchFamily="2" charset="0"/>
              </a:rPr>
              <a:t>FOUR</a:t>
            </a:r>
            <a:endParaRPr lang="en-US" sz="11500" b="1" spc="300" dirty="0">
              <a:ln w="50800">
                <a:solidFill>
                  <a:schemeClr val="bg1"/>
                </a:solidFill>
              </a:ln>
              <a:gradFill>
                <a:gsLst>
                  <a:gs pos="0">
                    <a:schemeClr val="accent1">
                      <a:alpha val="64000"/>
                    </a:schemeClr>
                  </a:gs>
                  <a:gs pos="100000">
                    <a:schemeClr val="accent2"/>
                  </a:gs>
                </a:gsLst>
                <a:lin ang="8100000" scaled="1"/>
              </a:gradFill>
              <a:latin typeface="+mj-lt"/>
              <a:ea typeface="Open Sans" panose="020B0606030504020204" pitchFamily="34" charset="0"/>
              <a:cs typeface="Rajdhani Bold" panose="02000000000000000000" pitchFamily="2" charset="0"/>
            </a:endParaRPr>
          </a:p>
        </p:txBody>
      </p:sp>
      <p:pic>
        <p:nvPicPr>
          <p:cNvPr id="12" name="3D Model 2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987B435F-CB2A-4526-A7F0-E238CB29A50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475" y="2463409"/>
            <a:ext cx="517858" cy="536689"/>
          </a:xfrm>
          <a:prstGeom prst="rect">
            <a:avLst/>
          </a:prstGeom>
        </p:spPr>
      </p:pic>
      <p:sp>
        <p:nvSpPr>
          <p:cNvPr id="2" name="e7d195523061f1c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84BEA2B79408FB094EB53969616FE837C4DDA931FB4B50B287CB9E976CD8A286A6B09202195C1175A3DD2481D60CC400D4B189D647C2854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30500545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2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: Rounded Corners 38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85009887-8C7D-4213-997A-893CA56886AE}"/>
              </a:ext>
            </a:extLst>
          </p:cNvPr>
          <p:cNvSpPr/>
          <p:nvPr/>
        </p:nvSpPr>
        <p:spPr>
          <a:xfrm>
            <a:off x="838200" y="3371850"/>
            <a:ext cx="10439400" cy="2552700"/>
          </a:xfrm>
          <a:prstGeom prst="roundRect">
            <a:avLst>
              <a:gd name="adj" fmla="val 2985"/>
            </a:avLst>
          </a:prstGeom>
          <a:gradFill>
            <a:gsLst>
              <a:gs pos="49000">
                <a:srgbClr val="292929"/>
              </a:gs>
              <a:gs pos="0">
                <a:srgbClr val="02010B"/>
              </a:gs>
            </a:gsLst>
            <a:lin ang="81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" name="Group 31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3A5BAD6-BA70-41C0-B45C-C32C71BBD597}"/>
              </a:ext>
            </a:extLst>
          </p:cNvPr>
          <p:cNvGrpSpPr/>
          <p:nvPr/>
        </p:nvGrpSpPr>
        <p:grpSpPr>
          <a:xfrm>
            <a:off x="1217115" y="1072247"/>
            <a:ext cx="4212135" cy="4599207"/>
            <a:chOff x="3951837" y="1382495"/>
            <a:chExt cx="4212135" cy="4599207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27A2BBD-8327-4951-AA6E-574147DDF34B}"/>
                </a:ext>
              </a:extLst>
            </p:cNvPr>
            <p:cNvGrpSpPr/>
            <p:nvPr/>
          </p:nvGrpSpPr>
          <p:grpSpPr>
            <a:xfrm rot="5400000">
              <a:off x="3758301" y="1576031"/>
              <a:ext cx="4599207" cy="4212135"/>
              <a:chOff x="1799303" y="1268361"/>
              <a:chExt cx="1166810" cy="914402"/>
            </a:xfrm>
            <a:solidFill>
              <a:srgbClr val="232A4E"/>
            </a:solidFill>
            <a:effectLst>
              <a:outerShdw blurRad="609600" dist="114300" dir="5400000" algn="t" rotWithShape="0">
                <a:prstClr val="black">
                  <a:alpha val="12000"/>
                </a:prstClr>
              </a:outerShdw>
            </a:effectLst>
          </p:grpSpPr>
          <p:sp>
            <p:nvSpPr>
              <p:cNvPr id="4" name="Rectangle: Top Corners Rounded 3">
                <a:extLst>
                  <a:ext uri="{FF2B5EF4-FFF2-40B4-BE49-F238E27FC236}">
                    <a16:creationId xmlns:a16="http://schemas.microsoft.com/office/drawing/2014/main" id="{D0908E34-8282-4F76-BA8C-B9CCC865C528}"/>
                  </a:ext>
                </a:extLst>
              </p:cNvPr>
              <p:cNvSpPr/>
              <p:nvPr/>
            </p:nvSpPr>
            <p:spPr>
              <a:xfrm rot="16200000">
                <a:off x="1408586" y="1659078"/>
                <a:ext cx="914400" cy="132966"/>
              </a:xfrm>
              <a:prstGeom prst="round2SameRect">
                <a:avLst>
                  <a:gd name="adj1" fmla="val 22155"/>
                  <a:gd name="adj2" fmla="val 0"/>
                </a:avLst>
              </a:prstGeom>
              <a:gradFill>
                <a:gsLst>
                  <a:gs pos="0">
                    <a:schemeClr val="accent3">
                      <a:alpha val="57000"/>
                    </a:schemeClr>
                  </a:gs>
                  <a:gs pos="100000">
                    <a:schemeClr val="accent4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  <a:cs typeface="Rajdhani Bold" panose="02000000000000000000" pitchFamily="2" charset="0"/>
                </a:endParaRPr>
              </a:p>
            </p:txBody>
          </p:sp>
          <p:sp>
            <p:nvSpPr>
              <p:cNvPr id="5" name="Rectangle: Top Corners Rounded 4">
                <a:extLst>
                  <a:ext uri="{FF2B5EF4-FFF2-40B4-BE49-F238E27FC236}">
                    <a16:creationId xmlns:a16="http://schemas.microsoft.com/office/drawing/2014/main" id="{EE15E132-EF1E-4241-9915-0F694C705E63}"/>
                  </a:ext>
                </a:extLst>
              </p:cNvPr>
              <p:cNvSpPr/>
              <p:nvPr/>
            </p:nvSpPr>
            <p:spPr>
              <a:xfrm rot="5400000">
                <a:off x="1991991" y="1208640"/>
                <a:ext cx="914400" cy="1033845"/>
              </a:xfrm>
              <a:prstGeom prst="round2SameRect">
                <a:avLst>
                  <a:gd name="adj1" fmla="val 0"/>
                  <a:gd name="adj2" fmla="val 0"/>
                </a:avLst>
              </a:prstGeom>
              <a:solidFill>
                <a:srgbClr val="0201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  <a:cs typeface="Rajdhani Bold" panose="02000000000000000000" pitchFamily="2" charset="0"/>
                </a:endParaRP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F907741-5703-4282-B0FE-21DC5AB8E282}"/>
                </a:ext>
              </a:extLst>
            </p:cNvPr>
            <p:cNvGrpSpPr/>
            <p:nvPr/>
          </p:nvGrpSpPr>
          <p:grpSpPr>
            <a:xfrm>
              <a:off x="4553899" y="2236672"/>
              <a:ext cx="678980" cy="1304276"/>
              <a:chOff x="2126061" y="2693866"/>
              <a:chExt cx="678980" cy="1304276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377F8369-3585-4EBC-8833-27EB339A8546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2138669" y="2693866"/>
                <a:ext cx="653764" cy="883074"/>
              </a:xfrm>
              <a:custGeom>
                <a:avLst/>
                <a:gdLst>
                  <a:gd name="connsiteX0" fmla="*/ 4385106 w 4388197"/>
                  <a:gd name="connsiteY0" fmla="*/ 558456 h 5927380"/>
                  <a:gd name="connsiteX1" fmla="*/ 4113435 w 4388197"/>
                  <a:gd name="connsiteY1" fmla="*/ 295861 h 5927380"/>
                  <a:gd name="connsiteX2" fmla="*/ 3363997 w 4388197"/>
                  <a:gd name="connsiteY2" fmla="*/ 82390 h 5927380"/>
                  <a:gd name="connsiteX3" fmla="*/ 1853593 w 4388197"/>
                  <a:gd name="connsiteY3" fmla="*/ 9427 h 5927380"/>
                  <a:gd name="connsiteX4" fmla="*/ 953547 w 4388197"/>
                  <a:gd name="connsiteY4" fmla="*/ 139099 h 5927380"/>
                  <a:gd name="connsiteX5" fmla="*/ 822756 w 4388197"/>
                  <a:gd name="connsiteY5" fmla="*/ 179554 h 5927380"/>
                  <a:gd name="connsiteX6" fmla="*/ 1472749 w 4388197"/>
                  <a:gd name="connsiteY6" fmla="*/ 129708 h 5927380"/>
                  <a:gd name="connsiteX7" fmla="*/ 3187807 w 4388197"/>
                  <a:gd name="connsiteY7" fmla="*/ 161855 h 5927380"/>
                  <a:gd name="connsiteX8" fmla="*/ 4057587 w 4388197"/>
                  <a:gd name="connsiteY8" fmla="*/ 371353 h 5927380"/>
                  <a:gd name="connsiteX9" fmla="*/ 4385106 w 4388197"/>
                  <a:gd name="connsiteY9" fmla="*/ 558456 h 5927380"/>
                  <a:gd name="connsiteX10" fmla="*/ 827301 w 4388197"/>
                  <a:gd name="connsiteY10" fmla="*/ 909092 h 5927380"/>
                  <a:gd name="connsiteX11" fmla="*/ 925716 w 4388197"/>
                  <a:gd name="connsiteY11" fmla="*/ 905687 h 5927380"/>
                  <a:gd name="connsiteX12" fmla="*/ 523475 w 4388197"/>
                  <a:gd name="connsiteY12" fmla="*/ 808284 h 5927380"/>
                  <a:gd name="connsiteX13" fmla="*/ 373537 w 4388197"/>
                  <a:gd name="connsiteY13" fmla="*/ 698615 h 5927380"/>
                  <a:gd name="connsiteX14" fmla="*/ 414626 w 4388197"/>
                  <a:gd name="connsiteY14" fmla="*/ 629350 h 5927380"/>
                  <a:gd name="connsiteX15" fmla="*/ 618989 w 4388197"/>
                  <a:gd name="connsiteY15" fmla="*/ 564414 h 5927380"/>
                  <a:gd name="connsiteX16" fmla="*/ 1496637 w 4388197"/>
                  <a:gd name="connsiteY16" fmla="*/ 467372 h 5927380"/>
                  <a:gd name="connsiteX17" fmla="*/ 2360588 w 4388197"/>
                  <a:gd name="connsiteY17" fmla="*/ 477112 h 5927380"/>
                  <a:gd name="connsiteX18" fmla="*/ 3466027 w 4388197"/>
                  <a:gd name="connsiteY18" fmla="*/ 562971 h 5927380"/>
                  <a:gd name="connsiteX19" fmla="*/ 3934947 w 4388197"/>
                  <a:gd name="connsiteY19" fmla="*/ 673362 h 5927380"/>
                  <a:gd name="connsiteX20" fmla="*/ 4057493 w 4388197"/>
                  <a:gd name="connsiteY20" fmla="*/ 772569 h 5927380"/>
                  <a:gd name="connsiteX21" fmla="*/ 4043797 w 4388197"/>
                  <a:gd name="connsiteY21" fmla="*/ 854821 h 5927380"/>
                  <a:gd name="connsiteX22" fmla="*/ 4115162 w 4388197"/>
                  <a:gd name="connsiteY22" fmla="*/ 761025 h 5927380"/>
                  <a:gd name="connsiteX23" fmla="*/ 4075155 w 4388197"/>
                  <a:gd name="connsiteY23" fmla="*/ 687792 h 5927380"/>
                  <a:gd name="connsiteX24" fmla="*/ 3826457 w 4388197"/>
                  <a:gd name="connsiteY24" fmla="*/ 543851 h 5927380"/>
                  <a:gd name="connsiteX25" fmla="*/ 3124339 w 4388197"/>
                  <a:gd name="connsiteY25" fmla="*/ 377544 h 5927380"/>
                  <a:gd name="connsiteX26" fmla="*/ 1500962 w 4388197"/>
                  <a:gd name="connsiteY26" fmla="*/ 308640 h 5927380"/>
                  <a:gd name="connsiteX27" fmla="*/ 718108 w 4388197"/>
                  <a:gd name="connsiteY27" fmla="*/ 351209 h 5927380"/>
                  <a:gd name="connsiteX28" fmla="*/ 204855 w 4388197"/>
                  <a:gd name="connsiteY28" fmla="*/ 437068 h 5927380"/>
                  <a:gd name="connsiteX29" fmla="*/ 18513 w 4388197"/>
                  <a:gd name="connsiteY29" fmla="*/ 529421 h 5927380"/>
                  <a:gd name="connsiteX30" fmla="*/ 18873 w 4388197"/>
                  <a:gd name="connsiteY30" fmla="*/ 640173 h 5927380"/>
                  <a:gd name="connsiteX31" fmla="*/ 148628 w 4388197"/>
                  <a:gd name="connsiteY31" fmla="*/ 749842 h 5927380"/>
                  <a:gd name="connsiteX32" fmla="*/ 534288 w 4388197"/>
                  <a:gd name="connsiteY32" fmla="*/ 873580 h 5927380"/>
                  <a:gd name="connsiteX33" fmla="*/ 827301 w 4388197"/>
                  <a:gd name="connsiteY33" fmla="*/ 909092 h 5927380"/>
                  <a:gd name="connsiteX34" fmla="*/ 1370321 w 4388197"/>
                  <a:gd name="connsiteY34" fmla="*/ 1345856 h 5927380"/>
                  <a:gd name="connsiteX35" fmla="*/ 1369239 w 4388197"/>
                  <a:gd name="connsiteY35" fmla="*/ 1231740 h 5927380"/>
                  <a:gd name="connsiteX36" fmla="*/ 1611510 w 4388197"/>
                  <a:gd name="connsiteY36" fmla="*/ 1166738 h 5927380"/>
                  <a:gd name="connsiteX37" fmla="*/ 2221515 w 4388197"/>
                  <a:gd name="connsiteY37" fmla="*/ 1164932 h 5927380"/>
                  <a:gd name="connsiteX38" fmla="*/ 2766986 w 4388197"/>
                  <a:gd name="connsiteY38" fmla="*/ 1232463 h 5927380"/>
                  <a:gd name="connsiteX39" fmla="*/ 2888482 w 4388197"/>
                  <a:gd name="connsiteY39" fmla="*/ 1188044 h 5927380"/>
                  <a:gd name="connsiteX40" fmla="*/ 3116693 w 4388197"/>
                  <a:gd name="connsiteY40" fmla="*/ 1065623 h 5927380"/>
                  <a:gd name="connsiteX41" fmla="*/ 2450807 w 4388197"/>
                  <a:gd name="connsiteY41" fmla="*/ 902032 h 5927380"/>
                  <a:gd name="connsiteX42" fmla="*/ 1852340 w 4388197"/>
                  <a:gd name="connsiteY42" fmla="*/ 889032 h 5927380"/>
                  <a:gd name="connsiteX43" fmla="*/ 1288122 w 4388197"/>
                  <a:gd name="connsiteY43" fmla="*/ 997370 h 5927380"/>
                  <a:gd name="connsiteX44" fmla="*/ 1132736 w 4388197"/>
                  <a:gd name="connsiteY44" fmla="*/ 1123764 h 5927380"/>
                  <a:gd name="connsiteX45" fmla="*/ 1172394 w 4388197"/>
                  <a:gd name="connsiteY45" fmla="*/ 1251241 h 5927380"/>
                  <a:gd name="connsiteX46" fmla="*/ 1370321 w 4388197"/>
                  <a:gd name="connsiteY46" fmla="*/ 1345856 h 5927380"/>
                  <a:gd name="connsiteX47" fmla="*/ 1243547 w 4388197"/>
                  <a:gd name="connsiteY47" fmla="*/ 1991968 h 5927380"/>
                  <a:gd name="connsiteX48" fmla="*/ 1187297 w 4388197"/>
                  <a:gd name="connsiteY48" fmla="*/ 1867588 h 5927380"/>
                  <a:gd name="connsiteX49" fmla="*/ 1321072 w 4388197"/>
                  <a:gd name="connsiteY49" fmla="*/ 1784788 h 5927380"/>
                  <a:gd name="connsiteX50" fmla="*/ 1979848 w 4388197"/>
                  <a:gd name="connsiteY50" fmla="*/ 1750078 h 5927380"/>
                  <a:gd name="connsiteX51" fmla="*/ 2937183 w 4388197"/>
                  <a:gd name="connsiteY51" fmla="*/ 1846978 h 5927380"/>
                  <a:gd name="connsiteX52" fmla="*/ 3049684 w 4388197"/>
                  <a:gd name="connsiteY52" fmla="*/ 1794551 h 5927380"/>
                  <a:gd name="connsiteX53" fmla="*/ 3211944 w 4388197"/>
                  <a:gd name="connsiteY53" fmla="*/ 1705966 h 5927380"/>
                  <a:gd name="connsiteX54" fmla="*/ 2069632 w 4388197"/>
                  <a:gd name="connsiteY54" fmla="*/ 1528073 h 5927380"/>
                  <a:gd name="connsiteX55" fmla="*/ 1203884 w 4388197"/>
                  <a:gd name="connsiteY55" fmla="*/ 1605449 h 5927380"/>
                  <a:gd name="connsiteX56" fmla="*/ 988619 w 4388197"/>
                  <a:gd name="connsiteY56" fmla="*/ 1690780 h 5927380"/>
                  <a:gd name="connsiteX57" fmla="*/ 978883 w 4388197"/>
                  <a:gd name="connsiteY57" fmla="*/ 1851679 h 5927380"/>
                  <a:gd name="connsiteX58" fmla="*/ 1243547 w 4388197"/>
                  <a:gd name="connsiteY58" fmla="*/ 1991968 h 5927380"/>
                  <a:gd name="connsiteX59" fmla="*/ 1461814 w 4388197"/>
                  <a:gd name="connsiteY59" fmla="*/ 2674738 h 5927380"/>
                  <a:gd name="connsiteX60" fmla="*/ 1009858 w 4388197"/>
                  <a:gd name="connsiteY60" fmla="*/ 2520318 h 5927380"/>
                  <a:gd name="connsiteX61" fmla="*/ 910385 w 4388197"/>
                  <a:gd name="connsiteY61" fmla="*/ 2438056 h 5927380"/>
                  <a:gd name="connsiteX62" fmla="*/ 951832 w 4388197"/>
                  <a:gd name="connsiteY62" fmla="*/ 2376721 h 5927380"/>
                  <a:gd name="connsiteX63" fmla="*/ 1180333 w 4388197"/>
                  <a:gd name="connsiteY63" fmla="*/ 2333425 h 5927380"/>
                  <a:gd name="connsiteX64" fmla="*/ 1929268 w 4388197"/>
                  <a:gd name="connsiteY64" fmla="*/ 2309974 h 5927380"/>
                  <a:gd name="connsiteX65" fmla="*/ 3443718 w 4388197"/>
                  <a:gd name="connsiteY65" fmla="*/ 2460786 h 5927380"/>
                  <a:gd name="connsiteX66" fmla="*/ 3242248 w 4388197"/>
                  <a:gd name="connsiteY66" fmla="*/ 2334508 h 5927380"/>
                  <a:gd name="connsiteX67" fmla="*/ 3020234 w 4388197"/>
                  <a:gd name="connsiteY67" fmla="*/ 2281471 h 5927380"/>
                  <a:gd name="connsiteX68" fmla="*/ 1510470 w 4388197"/>
                  <a:gd name="connsiteY68" fmla="*/ 2169264 h 5927380"/>
                  <a:gd name="connsiteX69" fmla="*/ 835059 w 4388197"/>
                  <a:gd name="connsiteY69" fmla="*/ 2221579 h 5927380"/>
                  <a:gd name="connsiteX70" fmla="*/ 525105 w 4388197"/>
                  <a:gd name="connsiteY70" fmla="*/ 2295181 h 5927380"/>
                  <a:gd name="connsiteX71" fmla="*/ 476089 w 4388197"/>
                  <a:gd name="connsiteY71" fmla="*/ 2361928 h 5927380"/>
                  <a:gd name="connsiteX72" fmla="*/ 652330 w 4388197"/>
                  <a:gd name="connsiteY72" fmla="*/ 2484960 h 5927380"/>
                  <a:gd name="connsiteX73" fmla="*/ 1343239 w 4388197"/>
                  <a:gd name="connsiteY73" fmla="*/ 2671130 h 5927380"/>
                  <a:gd name="connsiteX74" fmla="*/ 1461814 w 4388197"/>
                  <a:gd name="connsiteY74" fmla="*/ 2674738 h 5927380"/>
                  <a:gd name="connsiteX75" fmla="*/ 3887622 w 4388197"/>
                  <a:gd name="connsiteY75" fmla="*/ 2739577 h 5927380"/>
                  <a:gd name="connsiteX76" fmla="*/ 4309754 w 4388197"/>
                  <a:gd name="connsiteY76" fmla="*/ 2545171 h 5927380"/>
                  <a:gd name="connsiteX77" fmla="*/ 4370335 w 4388197"/>
                  <a:gd name="connsiteY77" fmla="*/ 2201036 h 5927380"/>
                  <a:gd name="connsiteX78" fmla="*/ 4141353 w 4388197"/>
                  <a:gd name="connsiteY78" fmla="*/ 1893658 h 5927380"/>
                  <a:gd name="connsiteX79" fmla="*/ 3473881 w 4388197"/>
                  <a:gd name="connsiteY79" fmla="*/ 1577631 h 5927380"/>
                  <a:gd name="connsiteX80" fmla="*/ 3637954 w 4388197"/>
                  <a:gd name="connsiteY80" fmla="*/ 1685376 h 5927380"/>
                  <a:gd name="connsiteX81" fmla="*/ 3999637 w 4388197"/>
                  <a:gd name="connsiteY81" fmla="*/ 1997078 h 5927380"/>
                  <a:gd name="connsiteX82" fmla="*/ 4147844 w 4388197"/>
                  <a:gd name="connsiteY82" fmla="*/ 2301574 h 5927380"/>
                  <a:gd name="connsiteX83" fmla="*/ 3978362 w 4388197"/>
                  <a:gd name="connsiteY83" fmla="*/ 2621204 h 5927380"/>
                  <a:gd name="connsiteX84" fmla="*/ 3615597 w 4388197"/>
                  <a:gd name="connsiteY84" fmla="*/ 2658321 h 5927380"/>
                  <a:gd name="connsiteX85" fmla="*/ 3887622 w 4388197"/>
                  <a:gd name="connsiteY85" fmla="*/ 2739577 h 5927380"/>
                  <a:gd name="connsiteX86" fmla="*/ 3497694 w 4388197"/>
                  <a:gd name="connsiteY86" fmla="*/ 4725642 h 5927380"/>
                  <a:gd name="connsiteX87" fmla="*/ 3338011 w 4388197"/>
                  <a:gd name="connsiteY87" fmla="*/ 4620052 h 5927380"/>
                  <a:gd name="connsiteX88" fmla="*/ 2751547 w 4388197"/>
                  <a:gd name="connsiteY88" fmla="*/ 4173546 h 5927380"/>
                  <a:gd name="connsiteX89" fmla="*/ 2561226 w 4388197"/>
                  <a:gd name="connsiteY89" fmla="*/ 3902543 h 5927380"/>
                  <a:gd name="connsiteX90" fmla="*/ 2571318 w 4388197"/>
                  <a:gd name="connsiteY90" fmla="*/ 3668659 h 5927380"/>
                  <a:gd name="connsiteX91" fmla="*/ 2772814 w 4388197"/>
                  <a:gd name="connsiteY91" fmla="*/ 3335311 h 5927380"/>
                  <a:gd name="connsiteX92" fmla="*/ 2865091 w 4388197"/>
                  <a:gd name="connsiteY92" fmla="*/ 2998359 h 5927380"/>
                  <a:gd name="connsiteX93" fmla="*/ 2754070 w 4388197"/>
                  <a:gd name="connsiteY93" fmla="*/ 2773124 h 5927380"/>
                  <a:gd name="connsiteX94" fmla="*/ 2414880 w 4388197"/>
                  <a:gd name="connsiteY94" fmla="*/ 2492030 h 5927380"/>
                  <a:gd name="connsiteX95" fmla="*/ 2574202 w 4388197"/>
                  <a:gd name="connsiteY95" fmla="*/ 2765916 h 5927380"/>
                  <a:gd name="connsiteX96" fmla="*/ 2536354 w 4388197"/>
                  <a:gd name="connsiteY96" fmla="*/ 3009530 h 5927380"/>
                  <a:gd name="connsiteX97" fmla="*/ 2253035 w 4388197"/>
                  <a:gd name="connsiteY97" fmla="*/ 3463605 h 5927380"/>
                  <a:gd name="connsiteX98" fmla="*/ 2278627 w 4388197"/>
                  <a:gd name="connsiteY98" fmla="*/ 3971014 h 5927380"/>
                  <a:gd name="connsiteX99" fmla="*/ 2765245 w 4388197"/>
                  <a:gd name="connsiteY99" fmla="*/ 4426530 h 5927380"/>
                  <a:gd name="connsiteX100" fmla="*/ 3497694 w 4388197"/>
                  <a:gd name="connsiteY100" fmla="*/ 4725642 h 5927380"/>
                  <a:gd name="connsiteX101" fmla="*/ 2810103 w 4388197"/>
                  <a:gd name="connsiteY101" fmla="*/ 5927380 h 5927380"/>
                  <a:gd name="connsiteX102" fmla="*/ 2880016 w 4388197"/>
                  <a:gd name="connsiteY102" fmla="*/ 5803705 h 5927380"/>
                  <a:gd name="connsiteX103" fmla="*/ 2882899 w 4388197"/>
                  <a:gd name="connsiteY103" fmla="*/ 5199032 h 5927380"/>
                  <a:gd name="connsiteX104" fmla="*/ 2714243 w 4388197"/>
                  <a:gd name="connsiteY104" fmla="*/ 4884616 h 5927380"/>
                  <a:gd name="connsiteX105" fmla="*/ 2521082 w 4388197"/>
                  <a:gd name="connsiteY105" fmla="*/ 4684501 h 5927380"/>
                  <a:gd name="connsiteX106" fmla="*/ 2024484 w 4388197"/>
                  <a:gd name="connsiteY106" fmla="*/ 4199176 h 5927380"/>
                  <a:gd name="connsiteX107" fmla="*/ 1733661 w 4388197"/>
                  <a:gd name="connsiteY107" fmla="*/ 3770821 h 5927380"/>
                  <a:gd name="connsiteX108" fmla="*/ 1784114 w 4388197"/>
                  <a:gd name="connsiteY108" fmla="*/ 3376720 h 5927380"/>
                  <a:gd name="connsiteX109" fmla="*/ 2172599 w 4388197"/>
                  <a:gd name="connsiteY109" fmla="*/ 2719043 h 5927380"/>
                  <a:gd name="connsiteX110" fmla="*/ 1741950 w 4388197"/>
                  <a:gd name="connsiteY110" fmla="*/ 3181652 h 5927380"/>
                  <a:gd name="connsiteX111" fmla="*/ 1428423 w 4388197"/>
                  <a:gd name="connsiteY111" fmla="*/ 3663011 h 5927380"/>
                  <a:gd name="connsiteX112" fmla="*/ 1444640 w 4388197"/>
                  <a:gd name="connsiteY112" fmla="*/ 3939567 h 5927380"/>
                  <a:gd name="connsiteX113" fmla="*/ 1739427 w 4388197"/>
                  <a:gd name="connsiteY113" fmla="*/ 4320327 h 5927380"/>
                  <a:gd name="connsiteX114" fmla="*/ 2427745 w 4388197"/>
                  <a:gd name="connsiteY114" fmla="*/ 4904808 h 5927380"/>
                  <a:gd name="connsiteX115" fmla="*/ 2825239 w 4388197"/>
                  <a:gd name="connsiteY115" fmla="*/ 5695895 h 5927380"/>
                  <a:gd name="connsiteX116" fmla="*/ 2810103 w 4388197"/>
                  <a:gd name="connsiteY116" fmla="*/ 5927380 h 5927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</a:cxnLst>
                <a:rect l="l" t="t" r="r" b="b"/>
                <a:pathLst>
                  <a:path w="4388197" h="5927380">
                    <a:moveTo>
                      <a:pt x="4385106" y="558456"/>
                    </a:moveTo>
                    <a:cubicBezTo>
                      <a:pt x="4344031" y="432035"/>
                      <a:pt x="4224409" y="355460"/>
                      <a:pt x="4113435" y="295861"/>
                    </a:cubicBezTo>
                    <a:cubicBezTo>
                      <a:pt x="3882479" y="170162"/>
                      <a:pt x="3620536" y="123567"/>
                      <a:pt x="3363997" y="82390"/>
                    </a:cubicBezTo>
                    <a:cubicBezTo>
                      <a:pt x="2864252" y="11233"/>
                      <a:pt x="2357661" y="-16219"/>
                      <a:pt x="1853593" y="9427"/>
                    </a:cubicBezTo>
                    <a:cubicBezTo>
                      <a:pt x="1550215" y="24597"/>
                      <a:pt x="1247557" y="62885"/>
                      <a:pt x="953547" y="139099"/>
                    </a:cubicBezTo>
                    <a:cubicBezTo>
                      <a:pt x="909230" y="150657"/>
                      <a:pt x="865632" y="163661"/>
                      <a:pt x="822756" y="179554"/>
                    </a:cubicBezTo>
                    <a:cubicBezTo>
                      <a:pt x="1039660" y="165467"/>
                      <a:pt x="1255844" y="139099"/>
                      <a:pt x="1472749" y="129708"/>
                    </a:cubicBezTo>
                    <a:cubicBezTo>
                      <a:pt x="2043835" y="95393"/>
                      <a:pt x="2618884" y="94671"/>
                      <a:pt x="3187807" y="161855"/>
                    </a:cubicBezTo>
                    <a:cubicBezTo>
                      <a:pt x="3483619" y="201226"/>
                      <a:pt x="3780872" y="255406"/>
                      <a:pt x="4057587" y="371353"/>
                    </a:cubicBezTo>
                    <a:cubicBezTo>
                      <a:pt x="4174327" y="420115"/>
                      <a:pt x="4280977" y="487660"/>
                      <a:pt x="4385106" y="558456"/>
                    </a:cubicBezTo>
                    <a:close/>
                    <a:moveTo>
                      <a:pt x="827301" y="909092"/>
                    </a:moveTo>
                    <a:cubicBezTo>
                      <a:pt x="860095" y="909588"/>
                      <a:pt x="892917" y="908573"/>
                      <a:pt x="925716" y="905687"/>
                    </a:cubicBezTo>
                    <a:cubicBezTo>
                      <a:pt x="790554" y="878631"/>
                      <a:pt x="652509" y="858068"/>
                      <a:pt x="523475" y="808284"/>
                    </a:cubicBezTo>
                    <a:cubicBezTo>
                      <a:pt x="466888" y="783752"/>
                      <a:pt x="401650" y="758139"/>
                      <a:pt x="373537" y="698615"/>
                    </a:cubicBezTo>
                    <a:cubicBezTo>
                      <a:pt x="362724" y="667229"/>
                      <a:pt x="390477" y="643419"/>
                      <a:pt x="414626" y="629350"/>
                    </a:cubicBezTo>
                    <a:cubicBezTo>
                      <a:pt x="477340" y="593275"/>
                      <a:pt x="549427" y="579566"/>
                      <a:pt x="618989" y="564414"/>
                    </a:cubicBezTo>
                    <a:cubicBezTo>
                      <a:pt x="908055" y="505972"/>
                      <a:pt x="1202886" y="487213"/>
                      <a:pt x="1496637" y="467372"/>
                    </a:cubicBezTo>
                    <a:cubicBezTo>
                      <a:pt x="1784621" y="455467"/>
                      <a:pt x="2072604" y="472062"/>
                      <a:pt x="2360588" y="477112"/>
                    </a:cubicBezTo>
                    <a:cubicBezTo>
                      <a:pt x="2730029" y="493346"/>
                      <a:pt x="3099470" y="513548"/>
                      <a:pt x="3466027" y="562971"/>
                    </a:cubicBezTo>
                    <a:cubicBezTo>
                      <a:pt x="3624617" y="588224"/>
                      <a:pt x="3785729" y="612395"/>
                      <a:pt x="3934947" y="673362"/>
                    </a:cubicBezTo>
                    <a:cubicBezTo>
                      <a:pt x="3982163" y="695368"/>
                      <a:pt x="4037309" y="720621"/>
                      <a:pt x="4057493" y="772569"/>
                    </a:cubicBezTo>
                    <a:cubicBezTo>
                      <a:pt x="4059656" y="800708"/>
                      <a:pt x="4049203" y="827764"/>
                      <a:pt x="4043797" y="854821"/>
                    </a:cubicBezTo>
                    <a:cubicBezTo>
                      <a:pt x="4075155" y="831011"/>
                      <a:pt x="4115162" y="805037"/>
                      <a:pt x="4115162" y="761025"/>
                    </a:cubicBezTo>
                    <a:cubicBezTo>
                      <a:pt x="4118406" y="730361"/>
                      <a:pt x="4094257" y="707994"/>
                      <a:pt x="4075155" y="687792"/>
                    </a:cubicBezTo>
                    <a:cubicBezTo>
                      <a:pt x="4005231" y="620331"/>
                      <a:pt x="3914403" y="581370"/>
                      <a:pt x="3826457" y="543851"/>
                    </a:cubicBezTo>
                    <a:cubicBezTo>
                      <a:pt x="3601549" y="455467"/>
                      <a:pt x="3362223" y="411816"/>
                      <a:pt x="3124339" y="377544"/>
                    </a:cubicBezTo>
                    <a:cubicBezTo>
                      <a:pt x="2585857" y="312969"/>
                      <a:pt x="2042689" y="302868"/>
                      <a:pt x="1500962" y="308640"/>
                    </a:cubicBezTo>
                    <a:cubicBezTo>
                      <a:pt x="1239650" y="312248"/>
                      <a:pt x="978699" y="329203"/>
                      <a:pt x="718108" y="351209"/>
                    </a:cubicBezTo>
                    <a:cubicBezTo>
                      <a:pt x="545462" y="368165"/>
                      <a:pt x="372816" y="393778"/>
                      <a:pt x="204855" y="437068"/>
                    </a:cubicBezTo>
                    <a:cubicBezTo>
                      <a:pt x="138897" y="457992"/>
                      <a:pt x="67892" y="478194"/>
                      <a:pt x="18513" y="529421"/>
                    </a:cubicBezTo>
                    <a:cubicBezTo>
                      <a:pt x="-10682" y="559725"/>
                      <a:pt x="-1311" y="608066"/>
                      <a:pt x="18873" y="640173"/>
                    </a:cubicBezTo>
                    <a:cubicBezTo>
                      <a:pt x="49510" y="689235"/>
                      <a:pt x="98889" y="722424"/>
                      <a:pt x="148628" y="749842"/>
                    </a:cubicBezTo>
                    <a:cubicBezTo>
                      <a:pt x="269012" y="812974"/>
                      <a:pt x="402371" y="844720"/>
                      <a:pt x="534288" y="873580"/>
                    </a:cubicBezTo>
                    <a:cubicBezTo>
                      <a:pt x="630794" y="892520"/>
                      <a:pt x="728921" y="907604"/>
                      <a:pt x="827301" y="909092"/>
                    </a:cubicBezTo>
                    <a:close/>
                    <a:moveTo>
                      <a:pt x="1370321" y="1345856"/>
                    </a:moveTo>
                    <a:cubicBezTo>
                      <a:pt x="1357702" y="1310105"/>
                      <a:pt x="1331024" y="1261714"/>
                      <a:pt x="1369239" y="1231740"/>
                    </a:cubicBezTo>
                    <a:cubicBezTo>
                      <a:pt x="1437378" y="1179377"/>
                      <a:pt x="1528951" y="1173960"/>
                      <a:pt x="1611510" y="1166738"/>
                    </a:cubicBezTo>
                    <a:cubicBezTo>
                      <a:pt x="1814485" y="1159154"/>
                      <a:pt x="2018180" y="1156265"/>
                      <a:pt x="2221515" y="1164932"/>
                    </a:cubicBezTo>
                    <a:cubicBezTo>
                      <a:pt x="2403939" y="1178655"/>
                      <a:pt x="2588888" y="1186600"/>
                      <a:pt x="2766986" y="1232463"/>
                    </a:cubicBezTo>
                    <a:cubicBezTo>
                      <a:pt x="2813493" y="1248352"/>
                      <a:pt x="2850267" y="1207184"/>
                      <a:pt x="2888482" y="1188044"/>
                    </a:cubicBezTo>
                    <a:cubicBezTo>
                      <a:pt x="2960587" y="1140014"/>
                      <a:pt x="3043146" y="1110763"/>
                      <a:pt x="3116693" y="1065623"/>
                    </a:cubicBezTo>
                    <a:cubicBezTo>
                      <a:pt x="2900019" y="992675"/>
                      <a:pt x="2677937" y="932367"/>
                      <a:pt x="2450807" y="902032"/>
                    </a:cubicBezTo>
                    <a:cubicBezTo>
                      <a:pt x="2252881" y="872781"/>
                      <a:pt x="2051709" y="874587"/>
                      <a:pt x="1852340" y="889032"/>
                    </a:cubicBezTo>
                    <a:cubicBezTo>
                      <a:pt x="1660902" y="900949"/>
                      <a:pt x="1467662" y="927311"/>
                      <a:pt x="1288122" y="997370"/>
                    </a:cubicBezTo>
                    <a:cubicBezTo>
                      <a:pt x="1226833" y="1023732"/>
                      <a:pt x="1158333" y="1057678"/>
                      <a:pt x="1132736" y="1123764"/>
                    </a:cubicBezTo>
                    <a:cubicBezTo>
                      <a:pt x="1113268" y="1169266"/>
                      <a:pt x="1137784" y="1220546"/>
                      <a:pt x="1172394" y="1251241"/>
                    </a:cubicBezTo>
                    <a:cubicBezTo>
                      <a:pt x="1228996" y="1299271"/>
                      <a:pt x="1298577" y="1329244"/>
                      <a:pt x="1370321" y="1345856"/>
                    </a:cubicBezTo>
                    <a:close/>
                    <a:moveTo>
                      <a:pt x="1243547" y="1991968"/>
                    </a:moveTo>
                    <a:cubicBezTo>
                      <a:pt x="1217586" y="1955088"/>
                      <a:pt x="1174316" y="1917846"/>
                      <a:pt x="1187297" y="1867588"/>
                    </a:cubicBezTo>
                    <a:cubicBezTo>
                      <a:pt x="1210374" y="1815522"/>
                      <a:pt x="1270951" y="1798528"/>
                      <a:pt x="1321072" y="1784788"/>
                    </a:cubicBezTo>
                    <a:cubicBezTo>
                      <a:pt x="1537058" y="1737061"/>
                      <a:pt x="1760256" y="1747185"/>
                      <a:pt x="1979848" y="1750078"/>
                    </a:cubicBezTo>
                    <a:cubicBezTo>
                      <a:pt x="2300402" y="1763817"/>
                      <a:pt x="2621317" y="1788766"/>
                      <a:pt x="2937183" y="1846978"/>
                    </a:cubicBezTo>
                    <a:cubicBezTo>
                      <a:pt x="2983698" y="1860718"/>
                      <a:pt x="3016150" y="1819138"/>
                      <a:pt x="3049684" y="1794551"/>
                    </a:cubicBezTo>
                    <a:cubicBezTo>
                      <a:pt x="3097641" y="1754416"/>
                      <a:pt x="3154973" y="1729106"/>
                      <a:pt x="3211944" y="1705966"/>
                    </a:cubicBezTo>
                    <a:cubicBezTo>
                      <a:pt x="2843794" y="1585925"/>
                      <a:pt x="2457254" y="1520480"/>
                      <a:pt x="2069632" y="1528073"/>
                    </a:cubicBezTo>
                    <a:cubicBezTo>
                      <a:pt x="1780088" y="1536028"/>
                      <a:pt x="1488019" y="1542536"/>
                      <a:pt x="1203884" y="1605449"/>
                    </a:cubicBezTo>
                    <a:cubicBezTo>
                      <a:pt x="1129244" y="1624251"/>
                      <a:pt x="1052441" y="1645945"/>
                      <a:pt x="988619" y="1690780"/>
                    </a:cubicBezTo>
                    <a:cubicBezTo>
                      <a:pt x="937056" y="1727299"/>
                      <a:pt x="944268" y="1805759"/>
                      <a:pt x="978883" y="1851679"/>
                    </a:cubicBezTo>
                    <a:cubicBezTo>
                      <a:pt x="1039821" y="1936286"/>
                      <a:pt x="1145110" y="1972805"/>
                      <a:pt x="1243547" y="1991968"/>
                    </a:cubicBezTo>
                    <a:close/>
                    <a:moveTo>
                      <a:pt x="1461814" y="2674738"/>
                    </a:moveTo>
                    <a:cubicBezTo>
                      <a:pt x="1309000" y="2631443"/>
                      <a:pt x="1153663" y="2590673"/>
                      <a:pt x="1009858" y="2520318"/>
                    </a:cubicBezTo>
                    <a:cubicBezTo>
                      <a:pt x="972015" y="2500474"/>
                      <a:pt x="930568" y="2478104"/>
                      <a:pt x="910385" y="2438056"/>
                    </a:cubicBezTo>
                    <a:cubicBezTo>
                      <a:pt x="893806" y="2408110"/>
                      <a:pt x="927684" y="2386102"/>
                      <a:pt x="951832" y="2376721"/>
                    </a:cubicBezTo>
                    <a:cubicBezTo>
                      <a:pt x="1024635" y="2348218"/>
                      <a:pt x="1103205" y="2342445"/>
                      <a:pt x="1180333" y="2333425"/>
                    </a:cubicBezTo>
                    <a:cubicBezTo>
                      <a:pt x="1429017" y="2311056"/>
                      <a:pt x="1679503" y="2306727"/>
                      <a:pt x="1929268" y="2309974"/>
                    </a:cubicBezTo>
                    <a:cubicBezTo>
                      <a:pt x="2436728" y="2328374"/>
                      <a:pt x="2941665" y="2384658"/>
                      <a:pt x="3443718" y="2460786"/>
                    </a:cubicBezTo>
                    <a:cubicBezTo>
                      <a:pt x="3377763" y="2417130"/>
                      <a:pt x="3309285" y="2376721"/>
                      <a:pt x="3242248" y="2334508"/>
                    </a:cubicBezTo>
                    <a:cubicBezTo>
                      <a:pt x="3177013" y="2290852"/>
                      <a:pt x="3094479" y="2297346"/>
                      <a:pt x="3020234" y="2281471"/>
                    </a:cubicBezTo>
                    <a:cubicBezTo>
                      <a:pt x="2519983" y="2213281"/>
                      <a:pt x="2016127" y="2152306"/>
                      <a:pt x="1510470" y="2169264"/>
                    </a:cubicBezTo>
                    <a:cubicBezTo>
                      <a:pt x="1284852" y="2180448"/>
                      <a:pt x="1059235" y="2192715"/>
                      <a:pt x="835059" y="2221579"/>
                    </a:cubicBezTo>
                    <a:cubicBezTo>
                      <a:pt x="730179" y="2237093"/>
                      <a:pt x="623137" y="2252968"/>
                      <a:pt x="525105" y="2295181"/>
                    </a:cubicBezTo>
                    <a:cubicBezTo>
                      <a:pt x="499876" y="2307448"/>
                      <a:pt x="462393" y="2328014"/>
                      <a:pt x="476089" y="2361928"/>
                    </a:cubicBezTo>
                    <a:cubicBezTo>
                      <a:pt x="514292" y="2426150"/>
                      <a:pt x="589258" y="2452488"/>
                      <a:pt x="652330" y="2484960"/>
                    </a:cubicBezTo>
                    <a:cubicBezTo>
                      <a:pt x="872541" y="2579488"/>
                      <a:pt x="1106449" y="2638658"/>
                      <a:pt x="1343239" y="2671130"/>
                    </a:cubicBezTo>
                    <a:cubicBezTo>
                      <a:pt x="1382524" y="2676181"/>
                      <a:pt x="1422530" y="2676181"/>
                      <a:pt x="1461814" y="2674738"/>
                    </a:cubicBezTo>
                    <a:close/>
                    <a:moveTo>
                      <a:pt x="3887622" y="2739577"/>
                    </a:moveTo>
                    <a:cubicBezTo>
                      <a:pt x="4047642" y="2740886"/>
                      <a:pt x="4209687" y="2671743"/>
                      <a:pt x="4309754" y="2545171"/>
                    </a:cubicBezTo>
                    <a:cubicBezTo>
                      <a:pt x="4383316" y="2448957"/>
                      <a:pt x="4408919" y="2316709"/>
                      <a:pt x="4370335" y="2201036"/>
                    </a:cubicBezTo>
                    <a:cubicBezTo>
                      <a:pt x="4329587" y="2077076"/>
                      <a:pt x="4239076" y="1976899"/>
                      <a:pt x="4141353" y="1893658"/>
                    </a:cubicBezTo>
                    <a:cubicBezTo>
                      <a:pt x="3948432" y="1736906"/>
                      <a:pt x="3712959" y="1640332"/>
                      <a:pt x="3473881" y="1577631"/>
                    </a:cubicBezTo>
                    <a:cubicBezTo>
                      <a:pt x="3525808" y="1617630"/>
                      <a:pt x="3583864" y="1648260"/>
                      <a:pt x="3637954" y="1685376"/>
                    </a:cubicBezTo>
                    <a:cubicBezTo>
                      <a:pt x="3770295" y="1774382"/>
                      <a:pt x="3894342" y="1877082"/>
                      <a:pt x="3999637" y="1997078"/>
                    </a:cubicBezTo>
                    <a:cubicBezTo>
                      <a:pt x="4072478" y="2084283"/>
                      <a:pt x="4135584" y="2186622"/>
                      <a:pt x="4147844" y="2301574"/>
                    </a:cubicBezTo>
                    <a:cubicBezTo>
                      <a:pt x="4158662" y="2427336"/>
                      <a:pt x="4098802" y="2567873"/>
                      <a:pt x="3978362" y="2621204"/>
                    </a:cubicBezTo>
                    <a:cubicBezTo>
                      <a:pt x="3865133" y="2674536"/>
                      <a:pt x="3737120" y="2667690"/>
                      <a:pt x="3615597" y="2658321"/>
                    </a:cubicBezTo>
                    <a:cubicBezTo>
                      <a:pt x="3696327" y="2712643"/>
                      <a:pt x="3791610" y="2738791"/>
                      <a:pt x="3887622" y="2739577"/>
                    </a:cubicBezTo>
                    <a:close/>
                    <a:moveTo>
                      <a:pt x="3497694" y="4725642"/>
                    </a:moveTo>
                    <a:cubicBezTo>
                      <a:pt x="3448311" y="4684560"/>
                      <a:pt x="3391359" y="4655009"/>
                      <a:pt x="3338011" y="4620052"/>
                    </a:cubicBezTo>
                    <a:cubicBezTo>
                      <a:pt x="3131830" y="4485992"/>
                      <a:pt x="2927811" y="4345806"/>
                      <a:pt x="2751547" y="4173546"/>
                    </a:cubicBezTo>
                    <a:cubicBezTo>
                      <a:pt x="2675130" y="4093542"/>
                      <a:pt x="2600876" y="4007412"/>
                      <a:pt x="2561226" y="3902543"/>
                    </a:cubicBezTo>
                    <a:cubicBezTo>
                      <a:pt x="2531308" y="3827585"/>
                      <a:pt x="2536715" y="3741095"/>
                      <a:pt x="2571318" y="3668659"/>
                    </a:cubicBezTo>
                    <a:cubicBezTo>
                      <a:pt x="2625747" y="3550095"/>
                      <a:pt x="2710455" y="3449189"/>
                      <a:pt x="2772814" y="3335311"/>
                    </a:cubicBezTo>
                    <a:cubicBezTo>
                      <a:pt x="2830487" y="3233324"/>
                      <a:pt x="2880951" y="3118004"/>
                      <a:pt x="2865091" y="2998359"/>
                    </a:cubicBezTo>
                    <a:cubicBezTo>
                      <a:pt x="2852475" y="2914031"/>
                      <a:pt x="2807418" y="2838352"/>
                      <a:pt x="2754070" y="2773124"/>
                    </a:cubicBezTo>
                    <a:cubicBezTo>
                      <a:pt x="2658549" y="2660326"/>
                      <a:pt x="2541400" y="2567709"/>
                      <a:pt x="2414880" y="2492030"/>
                    </a:cubicBezTo>
                    <a:cubicBezTo>
                      <a:pt x="2471111" y="2581043"/>
                      <a:pt x="2538877" y="2665371"/>
                      <a:pt x="2574202" y="2765916"/>
                    </a:cubicBezTo>
                    <a:cubicBezTo>
                      <a:pt x="2601597" y="2848082"/>
                      <a:pt x="2578167" y="2937095"/>
                      <a:pt x="2536354" y="3009530"/>
                    </a:cubicBezTo>
                    <a:cubicBezTo>
                      <a:pt x="2447682" y="3164493"/>
                      <a:pt x="2314673" y="3293507"/>
                      <a:pt x="2253035" y="3463605"/>
                    </a:cubicBezTo>
                    <a:cubicBezTo>
                      <a:pt x="2189594" y="3626135"/>
                      <a:pt x="2194640" y="3816774"/>
                      <a:pt x="2278627" y="3971014"/>
                    </a:cubicBezTo>
                    <a:cubicBezTo>
                      <a:pt x="2384962" y="4172465"/>
                      <a:pt x="2574202" y="4311210"/>
                      <a:pt x="2765245" y="4426530"/>
                    </a:cubicBezTo>
                    <a:cubicBezTo>
                      <a:pt x="2995937" y="4555184"/>
                      <a:pt x="3241409" y="4660054"/>
                      <a:pt x="3497694" y="4725642"/>
                    </a:cubicBezTo>
                    <a:close/>
                    <a:moveTo>
                      <a:pt x="2810103" y="5927380"/>
                    </a:moveTo>
                    <a:cubicBezTo>
                      <a:pt x="2841456" y="5891324"/>
                      <a:pt x="2868124" y="5850579"/>
                      <a:pt x="2880016" y="5803705"/>
                    </a:cubicBezTo>
                    <a:cubicBezTo>
                      <a:pt x="2933352" y="5607556"/>
                      <a:pt x="2945244" y="5394821"/>
                      <a:pt x="2882899" y="5199032"/>
                    </a:cubicBezTo>
                    <a:cubicBezTo>
                      <a:pt x="2845420" y="5085453"/>
                      <a:pt x="2789201" y="4977643"/>
                      <a:pt x="2714243" y="4884616"/>
                    </a:cubicBezTo>
                    <a:cubicBezTo>
                      <a:pt x="2656943" y="4811421"/>
                      <a:pt x="2587031" y="4749403"/>
                      <a:pt x="2521082" y="4684501"/>
                    </a:cubicBezTo>
                    <a:cubicBezTo>
                      <a:pt x="2353507" y="4525130"/>
                      <a:pt x="2183410" y="4367562"/>
                      <a:pt x="2024484" y="4199176"/>
                    </a:cubicBezTo>
                    <a:cubicBezTo>
                      <a:pt x="1907362" y="4072256"/>
                      <a:pt x="1791682" y="3936322"/>
                      <a:pt x="1733661" y="3770821"/>
                    </a:cubicBezTo>
                    <a:cubicBezTo>
                      <a:pt x="1688614" y="3639213"/>
                      <a:pt x="1736905" y="3500756"/>
                      <a:pt x="1784114" y="3376720"/>
                    </a:cubicBezTo>
                    <a:cubicBezTo>
                      <a:pt x="1883938" y="3141629"/>
                      <a:pt x="2023764" y="2925649"/>
                      <a:pt x="2172599" y="2719043"/>
                    </a:cubicBezTo>
                    <a:cubicBezTo>
                      <a:pt x="2018358" y="2862910"/>
                      <a:pt x="1877451" y="3020118"/>
                      <a:pt x="1741950" y="3181652"/>
                    </a:cubicBezTo>
                    <a:cubicBezTo>
                      <a:pt x="1621945" y="3330927"/>
                      <a:pt x="1500138" y="3483448"/>
                      <a:pt x="1428423" y="3663011"/>
                    </a:cubicBezTo>
                    <a:cubicBezTo>
                      <a:pt x="1397431" y="3752432"/>
                      <a:pt x="1404999" y="3854112"/>
                      <a:pt x="1444640" y="3939567"/>
                    </a:cubicBezTo>
                    <a:cubicBezTo>
                      <a:pt x="1509868" y="4088481"/>
                      <a:pt x="1624468" y="4208190"/>
                      <a:pt x="1739427" y="4320327"/>
                    </a:cubicBezTo>
                    <a:cubicBezTo>
                      <a:pt x="1958896" y="4526932"/>
                      <a:pt x="2196744" y="4712265"/>
                      <a:pt x="2427745" y="4904808"/>
                    </a:cubicBezTo>
                    <a:cubicBezTo>
                      <a:pt x="2659106" y="5100236"/>
                      <a:pt x="2821275" y="5389052"/>
                      <a:pt x="2825239" y="5695895"/>
                    </a:cubicBezTo>
                    <a:cubicBezTo>
                      <a:pt x="2829203" y="5773778"/>
                      <a:pt x="2810463" y="5849858"/>
                      <a:pt x="2810103" y="592738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chemeClr val="bg1"/>
                  </a:solidFill>
                  <a:ea typeface="Open Sans Light" panose="020B0306030504020204" pitchFamily="34" charset="0"/>
                  <a:cs typeface="Rajdhani Bold" panose="02000000000000000000" pitchFamily="2" charset="0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A8DC1EBD-517B-4208-A00A-947D3BA0E0FB}"/>
                  </a:ext>
                </a:extLst>
              </p:cNvPr>
              <p:cNvSpPr txBox="1"/>
              <p:nvPr/>
            </p:nvSpPr>
            <p:spPr>
              <a:xfrm>
                <a:off x="2126061" y="3721143"/>
                <a:ext cx="67898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ea typeface="Open Sans Light" panose="020B0306030504020204" pitchFamily="34" charset="0"/>
                    <a:cs typeface="Rajdhani Bold" panose="02000000000000000000" pitchFamily="2" charset="0"/>
                  </a:rPr>
                  <a:t>JAVA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6BAA027-9844-4A67-8E9A-EECDA59FA49B}"/>
                </a:ext>
              </a:extLst>
            </p:cNvPr>
            <p:cNvGrpSpPr/>
            <p:nvPr/>
          </p:nvGrpSpPr>
          <p:grpSpPr>
            <a:xfrm>
              <a:off x="5786741" y="2656372"/>
              <a:ext cx="678980" cy="884576"/>
              <a:chOff x="3358903" y="3113566"/>
              <a:chExt cx="678980" cy="884576"/>
            </a:xfrm>
          </p:grpSpPr>
          <p:grpSp>
            <p:nvGrpSpPr>
              <p:cNvPr id="7" name="Group 23">
                <a:extLst>
                  <a:ext uri="{FF2B5EF4-FFF2-40B4-BE49-F238E27FC236}">
                    <a16:creationId xmlns:a16="http://schemas.microsoft.com/office/drawing/2014/main" id="{9B832700-AFEB-4919-8746-CB829EAB0D3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412579" y="3113566"/>
                <a:ext cx="571628" cy="273562"/>
                <a:chOff x="2557" y="1548"/>
                <a:chExt cx="2566" cy="1228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8" name="Freeform 24">
                  <a:extLst>
                    <a:ext uri="{FF2B5EF4-FFF2-40B4-BE49-F238E27FC236}">
                      <a16:creationId xmlns:a16="http://schemas.microsoft.com/office/drawing/2014/main" id="{3968E343-859E-450F-94E4-E61A38317D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V="1">
                  <a:off x="3434" y="1548"/>
                  <a:ext cx="829" cy="971"/>
                </a:xfrm>
                <a:custGeom>
                  <a:avLst/>
                  <a:gdLst>
                    <a:gd name="T0" fmla="*/ 826 w 3651"/>
                    <a:gd name="T1" fmla="*/ 4264 h 4265"/>
                    <a:gd name="T2" fmla="*/ 1746 w 3651"/>
                    <a:gd name="T3" fmla="*/ 4264 h 4265"/>
                    <a:gd name="T4" fmla="*/ 1529 w 3651"/>
                    <a:gd name="T5" fmla="*/ 3132 h 4265"/>
                    <a:gd name="T6" fmla="*/ 2847 w 3651"/>
                    <a:gd name="T7" fmla="*/ 3094 h 4265"/>
                    <a:gd name="T8" fmla="*/ 3515 w 3651"/>
                    <a:gd name="T9" fmla="*/ 2738 h 4265"/>
                    <a:gd name="T10" fmla="*/ 3593 w 3651"/>
                    <a:gd name="T11" fmla="*/ 1997 h 4265"/>
                    <a:gd name="T12" fmla="*/ 3207 w 3651"/>
                    <a:gd name="T13" fmla="*/ 2 h 4265"/>
                    <a:gd name="T14" fmla="*/ 2272 w 3651"/>
                    <a:gd name="T15" fmla="*/ 3 h 4265"/>
                    <a:gd name="T16" fmla="*/ 2641 w 3651"/>
                    <a:gd name="T17" fmla="*/ 1902 h 4265"/>
                    <a:gd name="T18" fmla="*/ 2580 w 3651"/>
                    <a:gd name="T19" fmla="*/ 2333 h 4265"/>
                    <a:gd name="T20" fmla="*/ 2205 w 3651"/>
                    <a:gd name="T21" fmla="*/ 2437 h 4265"/>
                    <a:gd name="T22" fmla="*/ 1395 w 3651"/>
                    <a:gd name="T23" fmla="*/ 2440 h 4265"/>
                    <a:gd name="T24" fmla="*/ 916 w 3651"/>
                    <a:gd name="T25" fmla="*/ 0 h 4265"/>
                    <a:gd name="T26" fmla="*/ 0 w 3651"/>
                    <a:gd name="T27" fmla="*/ 2 h 4265"/>
                    <a:gd name="T28" fmla="*/ 826 w 3651"/>
                    <a:gd name="T29" fmla="*/ 4264 h 42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651" h="4265">
                      <a:moveTo>
                        <a:pt x="826" y="4264"/>
                      </a:moveTo>
                      <a:cubicBezTo>
                        <a:pt x="1132" y="4265"/>
                        <a:pt x="1439" y="4264"/>
                        <a:pt x="1746" y="4264"/>
                      </a:cubicBezTo>
                      <a:cubicBezTo>
                        <a:pt x="1675" y="3886"/>
                        <a:pt x="1599" y="3510"/>
                        <a:pt x="1529" y="3132"/>
                      </a:cubicBezTo>
                      <a:cubicBezTo>
                        <a:pt x="1968" y="3120"/>
                        <a:pt x="2411" y="3159"/>
                        <a:pt x="2847" y="3094"/>
                      </a:cubicBezTo>
                      <a:cubicBezTo>
                        <a:pt x="3097" y="3052"/>
                        <a:pt x="3371" y="2963"/>
                        <a:pt x="3515" y="2738"/>
                      </a:cubicBezTo>
                      <a:cubicBezTo>
                        <a:pt x="3651" y="2517"/>
                        <a:pt x="3637" y="2243"/>
                        <a:pt x="3593" y="1997"/>
                      </a:cubicBezTo>
                      <a:cubicBezTo>
                        <a:pt x="3465" y="1332"/>
                        <a:pt x="3336" y="667"/>
                        <a:pt x="3207" y="2"/>
                      </a:cubicBezTo>
                      <a:cubicBezTo>
                        <a:pt x="2895" y="2"/>
                        <a:pt x="2584" y="1"/>
                        <a:pt x="2272" y="3"/>
                      </a:cubicBezTo>
                      <a:cubicBezTo>
                        <a:pt x="2394" y="636"/>
                        <a:pt x="2520" y="1269"/>
                        <a:pt x="2641" y="1902"/>
                      </a:cubicBezTo>
                      <a:cubicBezTo>
                        <a:pt x="2662" y="2045"/>
                        <a:pt x="2689" y="2219"/>
                        <a:pt x="2580" y="2333"/>
                      </a:cubicBezTo>
                      <a:cubicBezTo>
                        <a:pt x="2476" y="2419"/>
                        <a:pt x="2334" y="2430"/>
                        <a:pt x="2205" y="2437"/>
                      </a:cubicBezTo>
                      <a:cubicBezTo>
                        <a:pt x="1935" y="2444"/>
                        <a:pt x="1665" y="2439"/>
                        <a:pt x="1395" y="2440"/>
                      </a:cubicBezTo>
                      <a:cubicBezTo>
                        <a:pt x="1232" y="1627"/>
                        <a:pt x="1084" y="812"/>
                        <a:pt x="916" y="0"/>
                      </a:cubicBezTo>
                      <a:cubicBezTo>
                        <a:pt x="611" y="5"/>
                        <a:pt x="306" y="0"/>
                        <a:pt x="0" y="2"/>
                      </a:cubicBezTo>
                      <a:cubicBezTo>
                        <a:pt x="275" y="1423"/>
                        <a:pt x="550" y="2843"/>
                        <a:pt x="826" y="4264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  <a:ea typeface="Open Sans Light" panose="020B0306030504020204" pitchFamily="34" charset="0"/>
                    <a:cs typeface="Rajdhani Bold" panose="02000000000000000000" pitchFamily="2" charset="0"/>
                  </a:endParaRPr>
                </a:p>
              </p:txBody>
            </p:sp>
            <p:sp>
              <p:nvSpPr>
                <p:cNvPr id="9" name="Freeform 25">
                  <a:extLst>
                    <a:ext uri="{FF2B5EF4-FFF2-40B4-BE49-F238E27FC236}">
                      <a16:creationId xmlns:a16="http://schemas.microsoft.com/office/drawing/2014/main" id="{34E9CBA1-D8BB-474A-AE59-C847FF5DF2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flipV="1">
                  <a:off x="2557" y="1806"/>
                  <a:ext cx="920" cy="970"/>
                </a:xfrm>
                <a:custGeom>
                  <a:avLst/>
                  <a:gdLst>
                    <a:gd name="T0" fmla="*/ 821 w 4052"/>
                    <a:gd name="T1" fmla="*/ 4258 h 4260"/>
                    <a:gd name="T2" fmla="*/ 2575 w 4052"/>
                    <a:gd name="T3" fmla="*/ 4258 h 4260"/>
                    <a:gd name="T4" fmla="*/ 3673 w 4052"/>
                    <a:gd name="T5" fmla="*/ 3938 h 4260"/>
                    <a:gd name="T6" fmla="*/ 4043 w 4052"/>
                    <a:gd name="T7" fmla="*/ 3120 h 4260"/>
                    <a:gd name="T8" fmla="*/ 3665 w 4052"/>
                    <a:gd name="T9" fmla="*/ 1883 h 4260"/>
                    <a:gd name="T10" fmla="*/ 2750 w 4052"/>
                    <a:gd name="T11" fmla="*/ 1227 h 4260"/>
                    <a:gd name="T12" fmla="*/ 1146 w 4052"/>
                    <a:gd name="T13" fmla="*/ 1132 h 4260"/>
                    <a:gd name="T14" fmla="*/ 926 w 4052"/>
                    <a:gd name="T15" fmla="*/ 1 h 4260"/>
                    <a:gd name="T16" fmla="*/ 0 w 4052"/>
                    <a:gd name="T17" fmla="*/ 0 h 4260"/>
                    <a:gd name="T18" fmla="*/ 821 w 4052"/>
                    <a:gd name="T19" fmla="*/ 4258 h 4260"/>
                    <a:gd name="T20" fmla="*/ 1626 w 4052"/>
                    <a:gd name="T21" fmla="*/ 3587 h 4260"/>
                    <a:gd name="T22" fmla="*/ 1280 w 4052"/>
                    <a:gd name="T23" fmla="*/ 1807 h 4260"/>
                    <a:gd name="T24" fmla="*/ 2554 w 4052"/>
                    <a:gd name="T25" fmla="*/ 1940 h 4260"/>
                    <a:gd name="T26" fmla="*/ 3034 w 4052"/>
                    <a:gd name="T27" fmla="*/ 2658 h 4260"/>
                    <a:gd name="T28" fmla="*/ 3017 w 4052"/>
                    <a:gd name="T29" fmla="*/ 3319 h 4260"/>
                    <a:gd name="T30" fmla="*/ 2544 w 4052"/>
                    <a:gd name="T31" fmla="*/ 3570 h 4260"/>
                    <a:gd name="T32" fmla="*/ 1626 w 4052"/>
                    <a:gd name="T33" fmla="*/ 3587 h 4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052" h="4260">
                      <a:moveTo>
                        <a:pt x="821" y="4258"/>
                      </a:moveTo>
                      <a:cubicBezTo>
                        <a:pt x="1406" y="4259"/>
                        <a:pt x="1990" y="4258"/>
                        <a:pt x="2575" y="4258"/>
                      </a:cubicBezTo>
                      <a:cubicBezTo>
                        <a:pt x="2959" y="4260"/>
                        <a:pt x="3372" y="4195"/>
                        <a:pt x="3673" y="3938"/>
                      </a:cubicBezTo>
                      <a:cubicBezTo>
                        <a:pt x="3915" y="3740"/>
                        <a:pt x="4038" y="3427"/>
                        <a:pt x="4043" y="3120"/>
                      </a:cubicBezTo>
                      <a:cubicBezTo>
                        <a:pt x="4052" y="2683"/>
                        <a:pt x="3932" y="2234"/>
                        <a:pt x="3665" y="1883"/>
                      </a:cubicBezTo>
                      <a:cubicBezTo>
                        <a:pt x="3435" y="1580"/>
                        <a:pt x="3120" y="1331"/>
                        <a:pt x="2750" y="1227"/>
                      </a:cubicBezTo>
                      <a:cubicBezTo>
                        <a:pt x="2227" y="1085"/>
                        <a:pt x="1680" y="1148"/>
                        <a:pt x="1146" y="1132"/>
                      </a:cubicBezTo>
                      <a:cubicBezTo>
                        <a:pt x="1072" y="755"/>
                        <a:pt x="1001" y="378"/>
                        <a:pt x="926" y="1"/>
                      </a:cubicBezTo>
                      <a:cubicBezTo>
                        <a:pt x="617" y="0"/>
                        <a:pt x="308" y="0"/>
                        <a:pt x="0" y="0"/>
                      </a:cubicBezTo>
                      <a:cubicBezTo>
                        <a:pt x="272" y="1420"/>
                        <a:pt x="547" y="2838"/>
                        <a:pt x="821" y="4258"/>
                      </a:cubicBezTo>
                      <a:moveTo>
                        <a:pt x="1626" y="3587"/>
                      </a:moveTo>
                      <a:cubicBezTo>
                        <a:pt x="1510" y="2994"/>
                        <a:pt x="1395" y="2400"/>
                        <a:pt x="1280" y="1807"/>
                      </a:cubicBezTo>
                      <a:cubicBezTo>
                        <a:pt x="1705" y="1820"/>
                        <a:pt x="2156" y="1751"/>
                        <a:pt x="2554" y="1940"/>
                      </a:cubicBezTo>
                      <a:cubicBezTo>
                        <a:pt x="2831" y="2072"/>
                        <a:pt x="2971" y="2372"/>
                        <a:pt x="3034" y="2658"/>
                      </a:cubicBezTo>
                      <a:cubicBezTo>
                        <a:pt x="3079" y="2873"/>
                        <a:pt x="3119" y="3113"/>
                        <a:pt x="3017" y="3319"/>
                      </a:cubicBezTo>
                      <a:cubicBezTo>
                        <a:pt x="2926" y="3489"/>
                        <a:pt x="2722" y="3547"/>
                        <a:pt x="2544" y="3570"/>
                      </a:cubicBezTo>
                      <a:cubicBezTo>
                        <a:pt x="2239" y="3601"/>
                        <a:pt x="1932" y="3584"/>
                        <a:pt x="1626" y="3587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  <a:ea typeface="Open Sans Light" panose="020B0306030504020204" pitchFamily="34" charset="0"/>
                    <a:cs typeface="Rajdhani Bold" panose="02000000000000000000" pitchFamily="2" charset="0"/>
                  </a:endParaRPr>
                </a:p>
              </p:txBody>
            </p:sp>
            <p:sp>
              <p:nvSpPr>
                <p:cNvPr id="10" name="Freeform 26">
                  <a:extLst>
                    <a:ext uri="{FF2B5EF4-FFF2-40B4-BE49-F238E27FC236}">
                      <a16:creationId xmlns:a16="http://schemas.microsoft.com/office/drawing/2014/main" id="{B1C6C094-9127-4127-924E-0BF3093DACF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flipV="1">
                  <a:off x="4201" y="1806"/>
                  <a:ext cx="922" cy="970"/>
                </a:xfrm>
                <a:custGeom>
                  <a:avLst/>
                  <a:gdLst>
                    <a:gd name="T0" fmla="*/ 0 w 4060"/>
                    <a:gd name="T1" fmla="*/ 0 h 4260"/>
                    <a:gd name="T2" fmla="*/ 826 w 4060"/>
                    <a:gd name="T3" fmla="*/ 4260 h 4260"/>
                    <a:gd name="T4" fmla="*/ 2567 w 4060"/>
                    <a:gd name="T5" fmla="*/ 4258 h 4260"/>
                    <a:gd name="T6" fmla="*/ 3671 w 4060"/>
                    <a:gd name="T7" fmla="*/ 3941 h 4260"/>
                    <a:gd name="T8" fmla="*/ 4041 w 4060"/>
                    <a:gd name="T9" fmla="*/ 3158 h 4260"/>
                    <a:gd name="T10" fmla="*/ 3615 w 4060"/>
                    <a:gd name="T11" fmla="*/ 1820 h 4260"/>
                    <a:gd name="T12" fmla="*/ 2637 w 4060"/>
                    <a:gd name="T13" fmla="*/ 1199 h 4260"/>
                    <a:gd name="T14" fmla="*/ 1145 w 4060"/>
                    <a:gd name="T15" fmla="*/ 1131 h 4260"/>
                    <a:gd name="T16" fmla="*/ 926 w 4060"/>
                    <a:gd name="T17" fmla="*/ 0 h 4260"/>
                    <a:gd name="T18" fmla="*/ 0 w 4060"/>
                    <a:gd name="T19" fmla="*/ 0 h 4260"/>
                    <a:gd name="T20" fmla="*/ 1625 w 4060"/>
                    <a:gd name="T21" fmla="*/ 3588 h 4260"/>
                    <a:gd name="T22" fmla="*/ 1280 w 4060"/>
                    <a:gd name="T23" fmla="*/ 1807 h 4260"/>
                    <a:gd name="T24" fmla="*/ 2547 w 4060"/>
                    <a:gd name="T25" fmla="*/ 1937 h 4260"/>
                    <a:gd name="T26" fmla="*/ 3039 w 4060"/>
                    <a:gd name="T27" fmla="*/ 2678 h 4260"/>
                    <a:gd name="T28" fmla="*/ 3016 w 4060"/>
                    <a:gd name="T29" fmla="*/ 3321 h 4260"/>
                    <a:gd name="T30" fmla="*/ 2570 w 4060"/>
                    <a:gd name="T31" fmla="*/ 3567 h 4260"/>
                    <a:gd name="T32" fmla="*/ 1625 w 4060"/>
                    <a:gd name="T33" fmla="*/ 3588 h 4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060" h="4260">
                      <a:moveTo>
                        <a:pt x="0" y="0"/>
                      </a:moveTo>
                      <a:cubicBezTo>
                        <a:pt x="275" y="1420"/>
                        <a:pt x="542" y="2842"/>
                        <a:pt x="826" y="4260"/>
                      </a:cubicBezTo>
                      <a:cubicBezTo>
                        <a:pt x="1406" y="4256"/>
                        <a:pt x="1987" y="4260"/>
                        <a:pt x="2567" y="4258"/>
                      </a:cubicBezTo>
                      <a:cubicBezTo>
                        <a:pt x="2953" y="4260"/>
                        <a:pt x="3368" y="4199"/>
                        <a:pt x="3671" y="3941"/>
                      </a:cubicBezTo>
                      <a:cubicBezTo>
                        <a:pt x="3903" y="3751"/>
                        <a:pt x="4028" y="3454"/>
                        <a:pt x="4041" y="3158"/>
                      </a:cubicBezTo>
                      <a:cubicBezTo>
                        <a:pt x="4060" y="2682"/>
                        <a:pt x="3924" y="2189"/>
                        <a:pt x="3615" y="1820"/>
                      </a:cubicBezTo>
                      <a:cubicBezTo>
                        <a:pt x="3367" y="1516"/>
                        <a:pt x="3025" y="1278"/>
                        <a:pt x="2637" y="1199"/>
                      </a:cubicBezTo>
                      <a:cubicBezTo>
                        <a:pt x="2146" y="1095"/>
                        <a:pt x="1642" y="1148"/>
                        <a:pt x="1145" y="1131"/>
                      </a:cubicBezTo>
                      <a:cubicBezTo>
                        <a:pt x="1073" y="754"/>
                        <a:pt x="1000" y="377"/>
                        <a:pt x="926" y="0"/>
                      </a:cubicBezTo>
                      <a:cubicBezTo>
                        <a:pt x="618" y="0"/>
                        <a:pt x="309" y="0"/>
                        <a:pt x="0" y="0"/>
                      </a:cubicBezTo>
                      <a:moveTo>
                        <a:pt x="1625" y="3588"/>
                      </a:moveTo>
                      <a:cubicBezTo>
                        <a:pt x="1510" y="2994"/>
                        <a:pt x="1394" y="2401"/>
                        <a:pt x="1280" y="1807"/>
                      </a:cubicBezTo>
                      <a:cubicBezTo>
                        <a:pt x="1703" y="1820"/>
                        <a:pt x="2151" y="1752"/>
                        <a:pt x="2547" y="1937"/>
                      </a:cubicBezTo>
                      <a:cubicBezTo>
                        <a:pt x="2836" y="2070"/>
                        <a:pt x="2976" y="2384"/>
                        <a:pt x="3039" y="2678"/>
                      </a:cubicBezTo>
                      <a:cubicBezTo>
                        <a:pt x="3079" y="2888"/>
                        <a:pt x="3117" y="3121"/>
                        <a:pt x="3016" y="3321"/>
                      </a:cubicBezTo>
                      <a:cubicBezTo>
                        <a:pt x="2930" y="3482"/>
                        <a:pt x="2739" y="3541"/>
                        <a:pt x="2570" y="3567"/>
                      </a:cubicBezTo>
                      <a:cubicBezTo>
                        <a:pt x="2256" y="3603"/>
                        <a:pt x="1940" y="3583"/>
                        <a:pt x="1625" y="3588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  <a:ea typeface="Open Sans Light" panose="020B0306030504020204" pitchFamily="34" charset="0"/>
                    <a:cs typeface="Rajdhani Bold" panose="02000000000000000000" pitchFamily="2" charset="0"/>
                  </a:endParaRP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15F45F2D-3E99-4AF7-8693-2A5BFAF1639F}"/>
                  </a:ext>
                </a:extLst>
              </p:cNvPr>
              <p:cNvSpPr txBox="1"/>
              <p:nvPr/>
            </p:nvSpPr>
            <p:spPr>
              <a:xfrm>
                <a:off x="3358903" y="3721143"/>
                <a:ext cx="67898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ea typeface="Open Sans Light" panose="020B0306030504020204" pitchFamily="34" charset="0"/>
                    <a:cs typeface="Rajdhani Bold" panose="02000000000000000000" pitchFamily="2" charset="0"/>
                  </a:rPr>
                  <a:t>PHP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B31B9FC-A67F-4B9A-A2AB-9B310EF0BE29}"/>
                </a:ext>
              </a:extLst>
            </p:cNvPr>
            <p:cNvGrpSpPr/>
            <p:nvPr/>
          </p:nvGrpSpPr>
          <p:grpSpPr>
            <a:xfrm>
              <a:off x="6975352" y="2604794"/>
              <a:ext cx="678980" cy="1120820"/>
              <a:chOff x="4547514" y="3061988"/>
              <a:chExt cx="678980" cy="1120820"/>
            </a:xfrm>
          </p:grpSpPr>
          <p:grpSp>
            <p:nvGrpSpPr>
              <p:cNvPr id="11" name="Group 29">
                <a:extLst>
                  <a:ext uri="{FF2B5EF4-FFF2-40B4-BE49-F238E27FC236}">
                    <a16:creationId xmlns:a16="http://schemas.microsoft.com/office/drawing/2014/main" id="{ED9C8151-D8CA-4252-BFD0-0328F55C6503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684859" y="3061988"/>
                <a:ext cx="404290" cy="411590"/>
                <a:chOff x="2789" y="1091"/>
                <a:chExt cx="2104" cy="2142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12" name="Freeform 30">
                  <a:extLst>
                    <a:ext uri="{FF2B5EF4-FFF2-40B4-BE49-F238E27FC236}">
                      <a16:creationId xmlns:a16="http://schemas.microsoft.com/office/drawing/2014/main" id="{FC0A1F9B-E7E8-470B-9B77-C5FC03040E7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flipV="1">
                  <a:off x="2789" y="1091"/>
                  <a:ext cx="1547" cy="1576"/>
                </a:xfrm>
                <a:custGeom>
                  <a:avLst/>
                  <a:gdLst>
                    <a:gd name="T0" fmla="*/ 3445 w 6804"/>
                    <a:gd name="T1" fmla="*/ 6806 h 6935"/>
                    <a:gd name="T2" fmla="*/ 5652 w 6804"/>
                    <a:gd name="T3" fmla="*/ 6818 h 6935"/>
                    <a:gd name="T4" fmla="*/ 6559 w 6804"/>
                    <a:gd name="T5" fmla="*/ 6320 h 6935"/>
                    <a:gd name="T6" fmla="*/ 6802 w 6804"/>
                    <a:gd name="T7" fmla="*/ 5630 h 6935"/>
                    <a:gd name="T8" fmla="*/ 6801 w 6804"/>
                    <a:gd name="T9" fmla="*/ 3512 h 6935"/>
                    <a:gd name="T10" fmla="*/ 6371 w 6804"/>
                    <a:gd name="T11" fmla="*/ 2644 h 6935"/>
                    <a:gd name="T12" fmla="*/ 5652 w 6804"/>
                    <a:gd name="T13" fmla="*/ 2400 h 6935"/>
                    <a:gd name="T14" fmla="*/ 3675 w 6804"/>
                    <a:gd name="T15" fmla="*/ 2400 h 6935"/>
                    <a:gd name="T16" fmla="*/ 3116 w 6804"/>
                    <a:gd name="T17" fmla="*/ 2348 h 6935"/>
                    <a:gd name="T18" fmla="*/ 2105 w 6804"/>
                    <a:gd name="T19" fmla="*/ 1044 h 6935"/>
                    <a:gd name="T20" fmla="*/ 2102 w 6804"/>
                    <a:gd name="T21" fmla="*/ 3 h 6935"/>
                    <a:gd name="T22" fmla="*/ 1314 w 6804"/>
                    <a:gd name="T23" fmla="*/ 4 h 6935"/>
                    <a:gd name="T24" fmla="*/ 632 w 6804"/>
                    <a:gd name="T25" fmla="*/ 259 h 6935"/>
                    <a:gd name="T26" fmla="*/ 164 w 6804"/>
                    <a:gd name="T27" fmla="*/ 1120 h 6935"/>
                    <a:gd name="T28" fmla="*/ 7 w 6804"/>
                    <a:gd name="T29" fmla="*/ 2279 h 6935"/>
                    <a:gd name="T30" fmla="*/ 154 w 6804"/>
                    <a:gd name="T31" fmla="*/ 3373 h 6935"/>
                    <a:gd name="T32" fmla="*/ 687 w 6804"/>
                    <a:gd name="T33" fmla="*/ 4247 h 6935"/>
                    <a:gd name="T34" fmla="*/ 1558 w 6804"/>
                    <a:gd name="T35" fmla="*/ 4528 h 6935"/>
                    <a:gd name="T36" fmla="*/ 4584 w 6804"/>
                    <a:gd name="T37" fmla="*/ 4528 h 6935"/>
                    <a:gd name="T38" fmla="*/ 4584 w 6804"/>
                    <a:gd name="T39" fmla="*/ 4801 h 6935"/>
                    <a:gd name="T40" fmla="*/ 2372 w 6804"/>
                    <a:gd name="T41" fmla="*/ 4801 h 6935"/>
                    <a:gd name="T42" fmla="*/ 2374 w 6804"/>
                    <a:gd name="T43" fmla="*/ 5771 h 6935"/>
                    <a:gd name="T44" fmla="*/ 2609 w 6804"/>
                    <a:gd name="T45" fmla="*/ 6450 h 6935"/>
                    <a:gd name="T46" fmla="*/ 3445 w 6804"/>
                    <a:gd name="T47" fmla="*/ 6806 h 6935"/>
                    <a:gd name="T48" fmla="*/ 3192 w 6804"/>
                    <a:gd name="T49" fmla="*/ 6185 h 6935"/>
                    <a:gd name="T50" fmla="*/ 2931 w 6804"/>
                    <a:gd name="T51" fmla="*/ 5771 h 6935"/>
                    <a:gd name="T52" fmla="*/ 3360 w 6804"/>
                    <a:gd name="T53" fmla="*/ 5377 h 6935"/>
                    <a:gd name="T54" fmla="*/ 3720 w 6804"/>
                    <a:gd name="T55" fmla="*/ 5955 h 6935"/>
                    <a:gd name="T56" fmla="*/ 3192 w 6804"/>
                    <a:gd name="T57" fmla="*/ 6185 h 69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804" h="6935">
                      <a:moveTo>
                        <a:pt x="3445" y="6806"/>
                      </a:moveTo>
                      <a:cubicBezTo>
                        <a:pt x="4173" y="6935"/>
                        <a:pt x="4923" y="6931"/>
                        <a:pt x="5652" y="6818"/>
                      </a:cubicBezTo>
                      <a:cubicBezTo>
                        <a:pt x="6000" y="6765"/>
                        <a:pt x="6337" y="6598"/>
                        <a:pt x="6559" y="6320"/>
                      </a:cubicBezTo>
                      <a:cubicBezTo>
                        <a:pt x="6722" y="6130"/>
                        <a:pt x="6802" y="5879"/>
                        <a:pt x="6802" y="5630"/>
                      </a:cubicBezTo>
                      <a:cubicBezTo>
                        <a:pt x="6802" y="4924"/>
                        <a:pt x="6804" y="4218"/>
                        <a:pt x="6801" y="3512"/>
                      </a:cubicBezTo>
                      <a:cubicBezTo>
                        <a:pt x="6794" y="3177"/>
                        <a:pt x="6635" y="2851"/>
                        <a:pt x="6371" y="2644"/>
                      </a:cubicBezTo>
                      <a:cubicBezTo>
                        <a:pt x="6173" y="2475"/>
                        <a:pt x="5910" y="2398"/>
                        <a:pt x="5652" y="2400"/>
                      </a:cubicBezTo>
                      <a:cubicBezTo>
                        <a:pt x="4993" y="2400"/>
                        <a:pt x="4334" y="2400"/>
                        <a:pt x="3675" y="2400"/>
                      </a:cubicBezTo>
                      <a:cubicBezTo>
                        <a:pt x="3488" y="2400"/>
                        <a:pt x="3297" y="2406"/>
                        <a:pt x="3116" y="2348"/>
                      </a:cubicBezTo>
                      <a:cubicBezTo>
                        <a:pt x="2550" y="2187"/>
                        <a:pt x="2108" y="1638"/>
                        <a:pt x="2105" y="1044"/>
                      </a:cubicBezTo>
                      <a:cubicBezTo>
                        <a:pt x="2100" y="697"/>
                        <a:pt x="2106" y="350"/>
                        <a:pt x="2102" y="3"/>
                      </a:cubicBezTo>
                      <a:cubicBezTo>
                        <a:pt x="1839" y="3"/>
                        <a:pt x="1577" y="0"/>
                        <a:pt x="1314" y="4"/>
                      </a:cubicBezTo>
                      <a:cubicBezTo>
                        <a:pt x="1066" y="9"/>
                        <a:pt x="818" y="93"/>
                        <a:pt x="632" y="259"/>
                      </a:cubicBezTo>
                      <a:cubicBezTo>
                        <a:pt x="384" y="484"/>
                        <a:pt x="243" y="800"/>
                        <a:pt x="164" y="1120"/>
                      </a:cubicBezTo>
                      <a:cubicBezTo>
                        <a:pt x="72" y="1499"/>
                        <a:pt x="0" y="1888"/>
                        <a:pt x="7" y="2279"/>
                      </a:cubicBezTo>
                      <a:cubicBezTo>
                        <a:pt x="2" y="2649"/>
                        <a:pt x="71" y="3015"/>
                        <a:pt x="154" y="3373"/>
                      </a:cubicBezTo>
                      <a:cubicBezTo>
                        <a:pt x="231" y="3710"/>
                        <a:pt x="407" y="4036"/>
                        <a:pt x="687" y="4247"/>
                      </a:cubicBezTo>
                      <a:cubicBezTo>
                        <a:pt x="933" y="4438"/>
                        <a:pt x="1248" y="4528"/>
                        <a:pt x="1558" y="4528"/>
                      </a:cubicBezTo>
                      <a:cubicBezTo>
                        <a:pt x="2567" y="4528"/>
                        <a:pt x="3575" y="4529"/>
                        <a:pt x="4584" y="4528"/>
                      </a:cubicBezTo>
                      <a:cubicBezTo>
                        <a:pt x="4584" y="4619"/>
                        <a:pt x="4584" y="4710"/>
                        <a:pt x="4584" y="4801"/>
                      </a:cubicBezTo>
                      <a:cubicBezTo>
                        <a:pt x="3847" y="4801"/>
                        <a:pt x="3109" y="4799"/>
                        <a:pt x="2372" y="4801"/>
                      </a:cubicBezTo>
                      <a:cubicBezTo>
                        <a:pt x="2373" y="5125"/>
                        <a:pt x="2370" y="5448"/>
                        <a:pt x="2374" y="5771"/>
                      </a:cubicBezTo>
                      <a:cubicBezTo>
                        <a:pt x="2384" y="6012"/>
                        <a:pt x="2430" y="6273"/>
                        <a:pt x="2609" y="6450"/>
                      </a:cubicBezTo>
                      <a:cubicBezTo>
                        <a:pt x="2831" y="6669"/>
                        <a:pt x="3148" y="6747"/>
                        <a:pt x="3445" y="6806"/>
                      </a:cubicBezTo>
                      <a:moveTo>
                        <a:pt x="3192" y="6185"/>
                      </a:moveTo>
                      <a:cubicBezTo>
                        <a:pt x="3030" y="6121"/>
                        <a:pt x="2920" y="5946"/>
                        <a:pt x="2931" y="5771"/>
                      </a:cubicBezTo>
                      <a:cubicBezTo>
                        <a:pt x="2938" y="5553"/>
                        <a:pt x="3139" y="5359"/>
                        <a:pt x="3360" y="5377"/>
                      </a:cubicBezTo>
                      <a:cubicBezTo>
                        <a:pt x="3638" y="5378"/>
                        <a:pt x="3837" y="5706"/>
                        <a:pt x="3720" y="5955"/>
                      </a:cubicBezTo>
                      <a:cubicBezTo>
                        <a:pt x="3643" y="6159"/>
                        <a:pt x="3394" y="6268"/>
                        <a:pt x="3192" y="6185"/>
                      </a:cubicBezTo>
                    </a:path>
                  </a:pathLst>
                </a:custGeom>
                <a:gradFill>
                  <a:gsLst>
                    <a:gs pos="0">
                      <a:schemeClr val="accent3"/>
                    </a:gs>
                    <a:gs pos="100000">
                      <a:schemeClr val="accent4"/>
                    </a:gs>
                  </a:gsLst>
                  <a:lin ang="81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bg1"/>
                    </a:solidFill>
                    <a:ea typeface="Open Sans Light" panose="020B0306030504020204" pitchFamily="34" charset="0"/>
                    <a:cs typeface="Rajdhani Bold" panose="02000000000000000000" pitchFamily="2" charset="0"/>
                  </a:endParaRPr>
                </a:p>
              </p:txBody>
            </p:sp>
            <p:sp>
              <p:nvSpPr>
                <p:cNvPr id="13" name="Freeform 31">
                  <a:extLst>
                    <a:ext uri="{FF2B5EF4-FFF2-40B4-BE49-F238E27FC236}">
                      <a16:creationId xmlns:a16="http://schemas.microsoft.com/office/drawing/2014/main" id="{3FFEEFB3-FE48-4314-9116-560A6078066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flipV="1">
                  <a:off x="3329" y="1638"/>
                  <a:ext cx="1564" cy="1595"/>
                </a:xfrm>
                <a:custGeom>
                  <a:avLst/>
                  <a:gdLst>
                    <a:gd name="T0" fmla="*/ 4700 w 6881"/>
                    <a:gd name="T1" fmla="*/ 7012 h 7015"/>
                    <a:gd name="T2" fmla="*/ 5571 w 6881"/>
                    <a:gd name="T3" fmla="*/ 7011 h 7015"/>
                    <a:gd name="T4" fmla="*/ 6227 w 6881"/>
                    <a:gd name="T5" fmla="*/ 6729 h 7015"/>
                    <a:gd name="T6" fmla="*/ 6641 w 6881"/>
                    <a:gd name="T7" fmla="*/ 5860 h 7015"/>
                    <a:gd name="T8" fmla="*/ 6688 w 6881"/>
                    <a:gd name="T9" fmla="*/ 3802 h 7015"/>
                    <a:gd name="T10" fmla="*/ 6233 w 6881"/>
                    <a:gd name="T11" fmla="*/ 2800 h 7015"/>
                    <a:gd name="T12" fmla="*/ 5534 w 6881"/>
                    <a:gd name="T13" fmla="*/ 2497 h 7015"/>
                    <a:gd name="T14" fmla="*/ 2214 w 6881"/>
                    <a:gd name="T15" fmla="*/ 2496 h 7015"/>
                    <a:gd name="T16" fmla="*/ 2214 w 6881"/>
                    <a:gd name="T17" fmla="*/ 2214 h 7015"/>
                    <a:gd name="T18" fmla="*/ 4424 w 6881"/>
                    <a:gd name="T19" fmla="*/ 2214 h 7015"/>
                    <a:gd name="T20" fmla="*/ 4423 w 6881"/>
                    <a:gd name="T21" fmla="*/ 1348 h 7015"/>
                    <a:gd name="T22" fmla="*/ 4130 w 6881"/>
                    <a:gd name="T23" fmla="*/ 673 h 7015"/>
                    <a:gd name="T24" fmla="*/ 2923 w 6881"/>
                    <a:gd name="T25" fmla="*/ 141 h 7015"/>
                    <a:gd name="T26" fmla="*/ 899 w 6881"/>
                    <a:gd name="T27" fmla="*/ 309 h 7015"/>
                    <a:gd name="T28" fmla="*/ 148 w 6881"/>
                    <a:gd name="T29" fmla="*/ 862 h 7015"/>
                    <a:gd name="T30" fmla="*/ 2 w 6881"/>
                    <a:gd name="T31" fmla="*/ 1379 h 7015"/>
                    <a:gd name="T32" fmla="*/ 2 w 6881"/>
                    <a:gd name="T33" fmla="*/ 3497 h 7015"/>
                    <a:gd name="T34" fmla="*/ 852 w 6881"/>
                    <a:gd name="T35" fmla="*/ 4582 h 7015"/>
                    <a:gd name="T36" fmla="*/ 1373 w 6881"/>
                    <a:gd name="T37" fmla="*/ 4615 h 7015"/>
                    <a:gd name="T38" fmla="*/ 3349 w 6881"/>
                    <a:gd name="T39" fmla="*/ 4616 h 7015"/>
                    <a:gd name="T40" fmla="*/ 4695 w 6881"/>
                    <a:gd name="T41" fmla="*/ 5934 h 7015"/>
                    <a:gd name="T42" fmla="*/ 4700 w 6881"/>
                    <a:gd name="T43" fmla="*/ 7012 h 7015"/>
                    <a:gd name="T44" fmla="*/ 3292 w 6881"/>
                    <a:gd name="T45" fmla="*/ 1613 h 7015"/>
                    <a:gd name="T46" fmla="*/ 3046 w 6881"/>
                    <a:gd name="T47" fmla="*/ 1176 h 7015"/>
                    <a:gd name="T48" fmla="*/ 3525 w 6881"/>
                    <a:gd name="T49" fmla="*/ 808 h 7015"/>
                    <a:gd name="T50" fmla="*/ 3857 w 6881"/>
                    <a:gd name="T51" fmla="*/ 1333 h 7015"/>
                    <a:gd name="T52" fmla="*/ 3292 w 6881"/>
                    <a:gd name="T53" fmla="*/ 1613 h 70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881" h="7015">
                      <a:moveTo>
                        <a:pt x="4700" y="7012"/>
                      </a:moveTo>
                      <a:cubicBezTo>
                        <a:pt x="4990" y="7011"/>
                        <a:pt x="5281" y="7015"/>
                        <a:pt x="5571" y="7011"/>
                      </a:cubicBezTo>
                      <a:cubicBezTo>
                        <a:pt x="5816" y="7007"/>
                        <a:pt x="6059" y="6909"/>
                        <a:pt x="6227" y="6729"/>
                      </a:cubicBezTo>
                      <a:cubicBezTo>
                        <a:pt x="6450" y="6489"/>
                        <a:pt x="6565" y="6173"/>
                        <a:pt x="6641" y="5860"/>
                      </a:cubicBezTo>
                      <a:cubicBezTo>
                        <a:pt x="6809" y="5190"/>
                        <a:pt x="6881" y="4475"/>
                        <a:pt x="6688" y="3802"/>
                      </a:cubicBezTo>
                      <a:cubicBezTo>
                        <a:pt x="6583" y="3451"/>
                        <a:pt x="6468" y="3088"/>
                        <a:pt x="6233" y="2800"/>
                      </a:cubicBezTo>
                      <a:cubicBezTo>
                        <a:pt x="6066" y="2593"/>
                        <a:pt x="5796" y="2492"/>
                        <a:pt x="5534" y="2497"/>
                      </a:cubicBezTo>
                      <a:cubicBezTo>
                        <a:pt x="4428" y="2496"/>
                        <a:pt x="3321" y="2497"/>
                        <a:pt x="2214" y="2496"/>
                      </a:cubicBezTo>
                      <a:cubicBezTo>
                        <a:pt x="2214" y="2402"/>
                        <a:pt x="2214" y="2308"/>
                        <a:pt x="2214" y="2214"/>
                      </a:cubicBezTo>
                      <a:cubicBezTo>
                        <a:pt x="2951" y="2214"/>
                        <a:pt x="3687" y="2215"/>
                        <a:pt x="4424" y="2214"/>
                      </a:cubicBezTo>
                      <a:cubicBezTo>
                        <a:pt x="4423" y="1925"/>
                        <a:pt x="4426" y="1637"/>
                        <a:pt x="4423" y="1348"/>
                      </a:cubicBezTo>
                      <a:cubicBezTo>
                        <a:pt x="4422" y="1095"/>
                        <a:pt x="4315" y="845"/>
                        <a:pt x="4130" y="673"/>
                      </a:cubicBezTo>
                      <a:cubicBezTo>
                        <a:pt x="3806" y="357"/>
                        <a:pt x="3354" y="231"/>
                        <a:pt x="2923" y="141"/>
                      </a:cubicBezTo>
                      <a:cubicBezTo>
                        <a:pt x="2250" y="0"/>
                        <a:pt x="1542" y="70"/>
                        <a:pt x="899" y="309"/>
                      </a:cubicBezTo>
                      <a:cubicBezTo>
                        <a:pt x="607" y="422"/>
                        <a:pt x="324" y="596"/>
                        <a:pt x="148" y="862"/>
                      </a:cubicBezTo>
                      <a:cubicBezTo>
                        <a:pt x="49" y="1015"/>
                        <a:pt x="0" y="1198"/>
                        <a:pt x="2" y="1379"/>
                      </a:cubicBezTo>
                      <a:cubicBezTo>
                        <a:pt x="2" y="2085"/>
                        <a:pt x="0" y="2791"/>
                        <a:pt x="2" y="3497"/>
                      </a:cubicBezTo>
                      <a:cubicBezTo>
                        <a:pt x="2" y="3994"/>
                        <a:pt x="371" y="4463"/>
                        <a:pt x="852" y="4582"/>
                      </a:cubicBezTo>
                      <a:cubicBezTo>
                        <a:pt x="1022" y="4627"/>
                        <a:pt x="1199" y="4613"/>
                        <a:pt x="1373" y="4615"/>
                      </a:cubicBezTo>
                      <a:cubicBezTo>
                        <a:pt x="2031" y="4616"/>
                        <a:pt x="2690" y="4613"/>
                        <a:pt x="3349" y="4616"/>
                      </a:cubicBezTo>
                      <a:cubicBezTo>
                        <a:pt x="4047" y="4628"/>
                        <a:pt x="4658" y="5242"/>
                        <a:pt x="4695" y="5934"/>
                      </a:cubicBezTo>
                      <a:cubicBezTo>
                        <a:pt x="4705" y="6293"/>
                        <a:pt x="4697" y="6653"/>
                        <a:pt x="4700" y="7012"/>
                      </a:cubicBezTo>
                      <a:moveTo>
                        <a:pt x="3292" y="1613"/>
                      </a:moveTo>
                      <a:cubicBezTo>
                        <a:pt x="3126" y="1541"/>
                        <a:pt x="3022" y="1355"/>
                        <a:pt x="3046" y="1176"/>
                      </a:cubicBezTo>
                      <a:cubicBezTo>
                        <a:pt x="3066" y="948"/>
                        <a:pt x="3297" y="763"/>
                        <a:pt x="3525" y="808"/>
                      </a:cubicBezTo>
                      <a:cubicBezTo>
                        <a:pt x="3761" y="843"/>
                        <a:pt x="3923" y="1105"/>
                        <a:pt x="3857" y="1333"/>
                      </a:cubicBezTo>
                      <a:cubicBezTo>
                        <a:pt x="3805" y="1573"/>
                        <a:pt x="3515" y="1721"/>
                        <a:pt x="3292" y="1613"/>
                      </a:cubicBezTo>
                    </a:path>
                  </a:pathLst>
                </a:custGeom>
                <a:gradFill>
                  <a:gsLst>
                    <a:gs pos="0">
                      <a:schemeClr val="accent3"/>
                    </a:gs>
                    <a:gs pos="100000">
                      <a:schemeClr val="accent4"/>
                    </a:gs>
                  </a:gsLst>
                  <a:lin ang="81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  <a:ea typeface="Open Sans Light" panose="020B0306030504020204" pitchFamily="34" charset="0"/>
                    <a:cs typeface="Rajdhani Bold" panose="02000000000000000000" pitchFamily="2" charset="0"/>
                  </a:endParaRP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C5A764A-BC53-4FC5-A6E8-F0E0A31493C1}"/>
                  </a:ext>
                </a:extLst>
              </p:cNvPr>
              <p:cNvSpPr txBox="1"/>
              <p:nvPr/>
            </p:nvSpPr>
            <p:spPr>
              <a:xfrm>
                <a:off x="4547514" y="3721143"/>
                <a:ext cx="67898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ea typeface="Open Sans Light" panose="020B0306030504020204" pitchFamily="34" charset="0"/>
                    <a:cs typeface="Rajdhani Bold" panose="02000000000000000000" pitchFamily="2" charset="0"/>
                  </a:rPr>
                  <a:t>Python 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B9ADFA3-808A-4217-A5C1-7527FCCA064A}"/>
                </a:ext>
              </a:extLst>
            </p:cNvPr>
            <p:cNvGrpSpPr/>
            <p:nvPr/>
          </p:nvGrpSpPr>
          <p:grpSpPr>
            <a:xfrm>
              <a:off x="4553899" y="4053177"/>
              <a:ext cx="678980" cy="1070698"/>
              <a:chOff x="2126061" y="4510371"/>
              <a:chExt cx="678980" cy="1070698"/>
            </a:xfrm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01B15EB7-3676-4786-82A2-0E44F53B022F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2184597" y="4510371"/>
                <a:ext cx="561908" cy="492160"/>
              </a:xfrm>
              <a:custGeom>
                <a:avLst/>
                <a:gdLst>
                  <a:gd name="connsiteX0" fmla="*/ 2401648 w 3499977"/>
                  <a:gd name="connsiteY0" fmla="*/ 1861829 h 3065543"/>
                  <a:gd name="connsiteX1" fmla="*/ 2504093 w 3499977"/>
                  <a:gd name="connsiteY1" fmla="*/ 1860168 h 3065543"/>
                  <a:gd name="connsiteX2" fmla="*/ 2510032 w 3499977"/>
                  <a:gd name="connsiteY2" fmla="*/ 1854205 h 3065543"/>
                  <a:gd name="connsiteX3" fmla="*/ 2517321 w 3499977"/>
                  <a:gd name="connsiteY3" fmla="*/ 1641429 h 3065543"/>
                  <a:gd name="connsiteX4" fmla="*/ 2728689 w 3499977"/>
                  <a:gd name="connsiteY4" fmla="*/ 1641158 h 3065543"/>
                  <a:gd name="connsiteX5" fmla="*/ 2728959 w 3499977"/>
                  <a:gd name="connsiteY5" fmla="*/ 1428924 h 3065543"/>
                  <a:gd name="connsiteX6" fmla="*/ 2511922 w 3499977"/>
                  <a:gd name="connsiteY6" fmla="*/ 1428111 h 3065543"/>
                  <a:gd name="connsiteX7" fmla="*/ 2510032 w 3499977"/>
                  <a:gd name="connsiteY7" fmla="*/ 1214792 h 3065543"/>
                  <a:gd name="connsiteX8" fmla="*/ 2466840 w 3499977"/>
                  <a:gd name="connsiteY8" fmla="*/ 1202053 h 3065543"/>
                  <a:gd name="connsiteX9" fmla="*/ 2297853 w 3499977"/>
                  <a:gd name="connsiteY9" fmla="*/ 1205034 h 3065543"/>
                  <a:gd name="connsiteX10" fmla="*/ 2292454 w 3499977"/>
                  <a:gd name="connsiteY10" fmla="*/ 1422419 h 3065543"/>
                  <a:gd name="connsiteX11" fmla="*/ 2081355 w 3499977"/>
                  <a:gd name="connsiteY11" fmla="*/ 1422690 h 3065543"/>
                  <a:gd name="connsiteX12" fmla="*/ 2080276 w 3499977"/>
                  <a:gd name="connsiteY12" fmla="*/ 1641429 h 3065543"/>
                  <a:gd name="connsiteX13" fmla="*/ 2298663 w 3499977"/>
                  <a:gd name="connsiteY13" fmla="*/ 1642513 h 3065543"/>
                  <a:gd name="connsiteX14" fmla="*/ 2299203 w 3499977"/>
                  <a:gd name="connsiteY14" fmla="*/ 1861253 h 3065543"/>
                  <a:gd name="connsiteX15" fmla="*/ 2401648 w 3499977"/>
                  <a:gd name="connsiteY15" fmla="*/ 1861829 h 3065543"/>
                  <a:gd name="connsiteX16" fmla="*/ 3274944 w 3499977"/>
                  <a:gd name="connsiteY16" fmla="*/ 1862104 h 3065543"/>
                  <a:gd name="connsiteX17" fmla="*/ 3279542 w 3499977"/>
                  <a:gd name="connsiteY17" fmla="*/ 1646303 h 3065543"/>
                  <a:gd name="connsiteX18" fmla="*/ 3499977 w 3499977"/>
                  <a:gd name="connsiteY18" fmla="*/ 1641700 h 3065543"/>
                  <a:gd name="connsiteX19" fmla="*/ 3499166 w 3499977"/>
                  <a:gd name="connsiteY19" fmla="*/ 1423191 h 3065543"/>
                  <a:gd name="connsiteX20" fmla="*/ 3280894 w 3499977"/>
                  <a:gd name="connsiteY20" fmla="*/ 1422108 h 3065543"/>
                  <a:gd name="connsiteX21" fmla="*/ 3280353 w 3499977"/>
                  <a:gd name="connsiteY21" fmla="*/ 1203329 h 3065543"/>
                  <a:gd name="connsiteX22" fmla="*/ 3055320 w 3499977"/>
                  <a:gd name="connsiteY22" fmla="*/ 1204141 h 3065543"/>
                  <a:gd name="connsiteX23" fmla="*/ 3054238 w 3499977"/>
                  <a:gd name="connsiteY23" fmla="*/ 1422379 h 3065543"/>
                  <a:gd name="connsiteX24" fmla="*/ 2841376 w 3499977"/>
                  <a:gd name="connsiteY24" fmla="*/ 1422379 h 3065543"/>
                  <a:gd name="connsiteX25" fmla="*/ 2837319 w 3499977"/>
                  <a:gd name="connsiteY25" fmla="*/ 1637909 h 3065543"/>
                  <a:gd name="connsiteX26" fmla="*/ 3047476 w 3499977"/>
                  <a:gd name="connsiteY26" fmla="*/ 1643595 h 3065543"/>
                  <a:gd name="connsiteX27" fmla="*/ 3061541 w 3499977"/>
                  <a:gd name="connsiteY27" fmla="*/ 1693687 h 3065543"/>
                  <a:gd name="connsiteX28" fmla="*/ 3061541 w 3499977"/>
                  <a:gd name="connsiteY28" fmla="*/ 1861563 h 3065543"/>
                  <a:gd name="connsiteX29" fmla="*/ 3274944 w 3499977"/>
                  <a:gd name="connsiteY29" fmla="*/ 1862104 h 3065543"/>
                  <a:gd name="connsiteX30" fmla="*/ 1469867 w 3499977"/>
                  <a:gd name="connsiteY30" fmla="*/ 3064588 h 3065543"/>
                  <a:gd name="connsiteX31" fmla="*/ 1855948 w 3499977"/>
                  <a:gd name="connsiteY31" fmla="*/ 3032278 h 3065543"/>
                  <a:gd name="connsiteX32" fmla="*/ 2034628 w 3499977"/>
                  <a:gd name="connsiteY32" fmla="*/ 2981664 h 3065543"/>
                  <a:gd name="connsiteX33" fmla="*/ 2765027 w 3499977"/>
                  <a:gd name="connsiteY33" fmla="*/ 2441150 h 3065543"/>
                  <a:gd name="connsiteX34" fmla="*/ 2842338 w 3499977"/>
                  <a:gd name="connsiteY34" fmla="*/ 2313397 h 3065543"/>
                  <a:gd name="connsiteX35" fmla="*/ 2534717 w 3499977"/>
                  <a:gd name="connsiteY35" fmla="*/ 2133406 h 3065543"/>
                  <a:gd name="connsiteX36" fmla="*/ 2202766 w 3499977"/>
                  <a:gd name="connsiteY36" fmla="*/ 1946919 h 3065543"/>
                  <a:gd name="connsiteX37" fmla="*/ 2168166 w 3499977"/>
                  <a:gd name="connsiteY37" fmla="*/ 1957205 h 3065543"/>
                  <a:gd name="connsiteX38" fmla="*/ 1608067 w 3499977"/>
                  <a:gd name="connsiteY38" fmla="*/ 2297969 h 3065543"/>
                  <a:gd name="connsiteX39" fmla="*/ 1312339 w 3499977"/>
                  <a:gd name="connsiteY39" fmla="*/ 2269550 h 3065543"/>
                  <a:gd name="connsiteX40" fmla="*/ 1158528 w 3499977"/>
                  <a:gd name="connsiteY40" fmla="*/ 2202967 h 3065543"/>
                  <a:gd name="connsiteX41" fmla="*/ 818468 w 3499977"/>
                  <a:gd name="connsiteY41" fmla="*/ 1813483 h 3065543"/>
                  <a:gd name="connsiteX42" fmla="*/ 1013368 w 3499977"/>
                  <a:gd name="connsiteY42" fmla="*/ 964142 h 3065543"/>
                  <a:gd name="connsiteX43" fmla="*/ 1260168 w 3499977"/>
                  <a:gd name="connsiteY43" fmla="*/ 815548 h 3065543"/>
                  <a:gd name="connsiteX44" fmla="*/ 1808102 w 3499977"/>
                  <a:gd name="connsiteY44" fmla="*/ 817172 h 3065543"/>
                  <a:gd name="connsiteX45" fmla="*/ 2193305 w 3499977"/>
                  <a:gd name="connsiteY45" fmla="*/ 1144945 h 3065543"/>
                  <a:gd name="connsiteX46" fmla="*/ 2386042 w 3499977"/>
                  <a:gd name="connsiteY46" fmla="*/ 1037491 h 3065543"/>
                  <a:gd name="connsiteX47" fmla="*/ 2828552 w 3499977"/>
                  <a:gd name="connsiteY47" fmla="*/ 794165 h 3065543"/>
                  <a:gd name="connsiteX48" fmla="*/ 2850718 w 3499977"/>
                  <a:gd name="connsiteY48" fmla="*/ 762227 h 3065543"/>
                  <a:gd name="connsiteX49" fmla="*/ 2703125 w 3499977"/>
                  <a:gd name="connsiteY49" fmla="*/ 549486 h 3065543"/>
                  <a:gd name="connsiteX50" fmla="*/ 2353874 w 3499977"/>
                  <a:gd name="connsiteY50" fmla="*/ 241201 h 3065543"/>
                  <a:gd name="connsiteX51" fmla="*/ 2020842 w 3499977"/>
                  <a:gd name="connsiteY51" fmla="*/ 79886 h 3065543"/>
                  <a:gd name="connsiteX52" fmla="*/ 1618339 w 3499977"/>
                  <a:gd name="connsiteY52" fmla="*/ 5453 h 3065543"/>
                  <a:gd name="connsiteX53" fmla="*/ 1426954 w 3499977"/>
                  <a:gd name="connsiteY53" fmla="*/ 6265 h 3065543"/>
                  <a:gd name="connsiteX54" fmla="*/ 1036885 w 3499977"/>
                  <a:gd name="connsiteY54" fmla="*/ 80968 h 3065543"/>
                  <a:gd name="connsiteX55" fmla="*/ 590861 w 3499977"/>
                  <a:gd name="connsiteY55" fmla="*/ 322129 h 3065543"/>
                  <a:gd name="connsiteX56" fmla="*/ 287564 w 3499977"/>
                  <a:gd name="connsiteY56" fmla="*/ 636639 h 3065543"/>
                  <a:gd name="connsiteX57" fmla="*/ 80501 w 3499977"/>
                  <a:gd name="connsiteY57" fmla="*/ 1035597 h 3065543"/>
                  <a:gd name="connsiteX58" fmla="*/ 18328 w 3499977"/>
                  <a:gd name="connsiteY58" fmla="*/ 1302200 h 3065543"/>
                  <a:gd name="connsiteX59" fmla="*/ 7785 w 3499977"/>
                  <a:gd name="connsiteY59" fmla="*/ 1673820 h 3065543"/>
                  <a:gd name="connsiteX60" fmla="*/ 56442 w 3499977"/>
                  <a:gd name="connsiteY60" fmla="*/ 1946107 h 3065543"/>
                  <a:gd name="connsiteX61" fmla="*/ 368660 w 3499977"/>
                  <a:gd name="connsiteY61" fmla="*/ 2533717 h 3065543"/>
                  <a:gd name="connsiteX62" fmla="*/ 611135 w 3499977"/>
                  <a:gd name="connsiteY62" fmla="*/ 2759450 h 3065543"/>
                  <a:gd name="connsiteX63" fmla="*/ 1088246 w 3499977"/>
                  <a:gd name="connsiteY63" fmla="*/ 3000881 h 3065543"/>
                  <a:gd name="connsiteX64" fmla="*/ 1469867 w 3499977"/>
                  <a:gd name="connsiteY64" fmla="*/ 3064588 h 3065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499977" h="3065543">
                    <a:moveTo>
                      <a:pt x="2401648" y="1861829"/>
                    </a:moveTo>
                    <a:cubicBezTo>
                      <a:pt x="2435796" y="1862066"/>
                      <a:pt x="2469945" y="1861930"/>
                      <a:pt x="2504093" y="1860168"/>
                    </a:cubicBezTo>
                    <a:lnTo>
                      <a:pt x="2510032" y="1854205"/>
                    </a:lnTo>
                    <a:cubicBezTo>
                      <a:pt x="2515701" y="1783461"/>
                      <a:pt x="2503553" y="1711632"/>
                      <a:pt x="2517321" y="1641429"/>
                    </a:cubicBezTo>
                    <a:cubicBezTo>
                      <a:pt x="2587777" y="1642242"/>
                      <a:pt x="2658233" y="1642242"/>
                      <a:pt x="2728689" y="1641158"/>
                    </a:cubicBezTo>
                    <a:cubicBezTo>
                      <a:pt x="2730039" y="1570413"/>
                      <a:pt x="2729769" y="1499669"/>
                      <a:pt x="2728959" y="1428924"/>
                    </a:cubicBezTo>
                    <a:cubicBezTo>
                      <a:pt x="2656613" y="1427026"/>
                      <a:pt x="2584268" y="1428382"/>
                      <a:pt x="2511922" y="1428111"/>
                    </a:cubicBezTo>
                    <a:cubicBezTo>
                      <a:pt x="2508952" y="1357095"/>
                      <a:pt x="2513271" y="1285808"/>
                      <a:pt x="2510032" y="1214792"/>
                    </a:cubicBezTo>
                    <a:cubicBezTo>
                      <a:pt x="2502203" y="1198529"/>
                      <a:pt x="2481148" y="1203950"/>
                      <a:pt x="2466840" y="1202053"/>
                    </a:cubicBezTo>
                    <a:cubicBezTo>
                      <a:pt x="2410691" y="1202866"/>
                      <a:pt x="2354002" y="1200155"/>
                      <a:pt x="2297853" y="1205034"/>
                    </a:cubicBezTo>
                    <a:cubicBezTo>
                      <a:pt x="2287325" y="1277134"/>
                      <a:pt x="2294614" y="1350047"/>
                      <a:pt x="2292454" y="1422419"/>
                    </a:cubicBezTo>
                    <a:cubicBezTo>
                      <a:pt x="2221998" y="1422148"/>
                      <a:pt x="2151542" y="1422148"/>
                      <a:pt x="2081355" y="1422690"/>
                    </a:cubicBezTo>
                    <a:cubicBezTo>
                      <a:pt x="2077576" y="1495332"/>
                      <a:pt x="2079196" y="1568516"/>
                      <a:pt x="2080276" y="1641429"/>
                    </a:cubicBezTo>
                    <a:cubicBezTo>
                      <a:pt x="2153161" y="1642513"/>
                      <a:pt x="2225777" y="1641429"/>
                      <a:pt x="2298663" y="1642513"/>
                    </a:cubicBezTo>
                    <a:cubicBezTo>
                      <a:pt x="2297583" y="1715426"/>
                      <a:pt x="2297313" y="1788340"/>
                      <a:pt x="2299203" y="1861253"/>
                    </a:cubicBezTo>
                    <a:cubicBezTo>
                      <a:pt x="2333351" y="1860982"/>
                      <a:pt x="2367500" y="1861591"/>
                      <a:pt x="2401648" y="1861829"/>
                    </a:cubicBezTo>
                    <a:close/>
                    <a:moveTo>
                      <a:pt x="3274944" y="1862104"/>
                    </a:moveTo>
                    <a:cubicBezTo>
                      <a:pt x="3284410" y="1790622"/>
                      <a:pt x="3278190" y="1718056"/>
                      <a:pt x="3279542" y="1646303"/>
                    </a:cubicBezTo>
                    <a:cubicBezTo>
                      <a:pt x="3352570" y="1637368"/>
                      <a:pt x="3426679" y="1644949"/>
                      <a:pt x="3499977" y="1641700"/>
                    </a:cubicBezTo>
                    <a:cubicBezTo>
                      <a:pt x="3498625" y="1568864"/>
                      <a:pt x="3499707" y="1496028"/>
                      <a:pt x="3499166" y="1423191"/>
                    </a:cubicBezTo>
                    <a:cubicBezTo>
                      <a:pt x="3426409" y="1421837"/>
                      <a:pt x="3353651" y="1423462"/>
                      <a:pt x="3280894" y="1422108"/>
                    </a:cubicBezTo>
                    <a:cubicBezTo>
                      <a:pt x="3279271" y="1349272"/>
                      <a:pt x="3279271" y="1276165"/>
                      <a:pt x="3280353" y="1203329"/>
                    </a:cubicBezTo>
                    <a:cubicBezTo>
                      <a:pt x="3205432" y="1203599"/>
                      <a:pt x="3130241" y="1201704"/>
                      <a:pt x="3055320" y="1204141"/>
                    </a:cubicBezTo>
                    <a:cubicBezTo>
                      <a:pt x="3054779" y="1276977"/>
                      <a:pt x="3056402" y="1349813"/>
                      <a:pt x="3054238" y="1422379"/>
                    </a:cubicBezTo>
                    <a:cubicBezTo>
                      <a:pt x="2983374" y="1422921"/>
                      <a:pt x="2912240" y="1422921"/>
                      <a:pt x="2841376" y="1422379"/>
                    </a:cubicBezTo>
                    <a:cubicBezTo>
                      <a:pt x="2831639" y="1493591"/>
                      <a:pt x="2836508" y="1566156"/>
                      <a:pt x="2837319" y="1637909"/>
                    </a:cubicBezTo>
                    <a:cubicBezTo>
                      <a:pt x="2906560" y="1649552"/>
                      <a:pt x="2977694" y="1636826"/>
                      <a:pt x="3047476" y="1643595"/>
                    </a:cubicBezTo>
                    <a:cubicBezTo>
                      <a:pt x="3065598" y="1654155"/>
                      <a:pt x="3059918" y="1676358"/>
                      <a:pt x="3061541" y="1693687"/>
                    </a:cubicBezTo>
                    <a:cubicBezTo>
                      <a:pt x="3061000" y="1749736"/>
                      <a:pt x="3060729" y="1805514"/>
                      <a:pt x="3061541" y="1861563"/>
                    </a:cubicBezTo>
                    <a:cubicBezTo>
                      <a:pt x="3132675" y="1861833"/>
                      <a:pt x="3203810" y="1861292"/>
                      <a:pt x="3274944" y="1862104"/>
                    </a:cubicBezTo>
                    <a:close/>
                    <a:moveTo>
                      <a:pt x="1469867" y="3064588"/>
                    </a:moveTo>
                    <a:cubicBezTo>
                      <a:pt x="1599214" y="3069088"/>
                      <a:pt x="1729304" y="3057585"/>
                      <a:pt x="1855948" y="3032278"/>
                    </a:cubicBezTo>
                    <a:cubicBezTo>
                      <a:pt x="1915688" y="3016580"/>
                      <a:pt x="1975429" y="3000069"/>
                      <a:pt x="2034628" y="2981664"/>
                    </a:cubicBezTo>
                    <a:cubicBezTo>
                      <a:pt x="2325491" y="2881519"/>
                      <a:pt x="2582292" y="2688536"/>
                      <a:pt x="2765027" y="2441150"/>
                    </a:cubicBezTo>
                    <a:cubicBezTo>
                      <a:pt x="2793411" y="2400280"/>
                      <a:pt x="2822335" y="2359139"/>
                      <a:pt x="2842338" y="2313397"/>
                    </a:cubicBezTo>
                    <a:cubicBezTo>
                      <a:pt x="2741510" y="2250333"/>
                      <a:pt x="2635275" y="2196471"/>
                      <a:pt x="2534717" y="2133406"/>
                    </a:cubicBezTo>
                    <a:cubicBezTo>
                      <a:pt x="2422264" y="2074402"/>
                      <a:pt x="2315759" y="2004841"/>
                      <a:pt x="2202766" y="1946919"/>
                    </a:cubicBezTo>
                    <a:cubicBezTo>
                      <a:pt x="2190602" y="1939070"/>
                      <a:pt x="2174383" y="1944483"/>
                      <a:pt x="2168166" y="1957205"/>
                    </a:cubicBezTo>
                    <a:cubicBezTo>
                      <a:pt x="2040846" y="2142609"/>
                      <a:pt x="1833782" y="2277128"/>
                      <a:pt x="1608067" y="2297969"/>
                    </a:cubicBezTo>
                    <a:cubicBezTo>
                      <a:pt x="1509130" y="2302029"/>
                      <a:pt x="1406950" y="2303653"/>
                      <a:pt x="1312339" y="2269550"/>
                    </a:cubicBezTo>
                    <a:cubicBezTo>
                      <a:pt x="1260438" y="2249250"/>
                      <a:pt x="1206915" y="2231116"/>
                      <a:pt x="1158528" y="2202967"/>
                    </a:cubicBezTo>
                    <a:cubicBezTo>
                      <a:pt x="1002555" y="2120414"/>
                      <a:pt x="880642" y="1978316"/>
                      <a:pt x="818468" y="1813483"/>
                    </a:cubicBezTo>
                    <a:cubicBezTo>
                      <a:pt x="698177" y="1526580"/>
                      <a:pt x="782516" y="1170928"/>
                      <a:pt x="1013368" y="964142"/>
                    </a:cubicBezTo>
                    <a:cubicBezTo>
                      <a:pt x="1086624" y="901618"/>
                      <a:pt x="1169071" y="848298"/>
                      <a:pt x="1260168" y="815548"/>
                    </a:cubicBezTo>
                    <a:cubicBezTo>
                      <a:pt x="1433171" y="742198"/>
                      <a:pt x="1634828" y="746799"/>
                      <a:pt x="1808102" y="817172"/>
                    </a:cubicBezTo>
                    <a:cubicBezTo>
                      <a:pt x="1969482" y="878071"/>
                      <a:pt x="2102478" y="999869"/>
                      <a:pt x="2193305" y="1144945"/>
                    </a:cubicBezTo>
                    <a:cubicBezTo>
                      <a:pt x="2254397" y="1104074"/>
                      <a:pt x="2320895" y="1071866"/>
                      <a:pt x="2386042" y="1037491"/>
                    </a:cubicBezTo>
                    <a:cubicBezTo>
                      <a:pt x="2533095" y="955751"/>
                      <a:pt x="2680688" y="874823"/>
                      <a:pt x="2828552" y="794165"/>
                    </a:cubicBezTo>
                    <a:cubicBezTo>
                      <a:pt x="2839365" y="786857"/>
                      <a:pt x="2861801" y="779279"/>
                      <a:pt x="2850718" y="762227"/>
                    </a:cubicBezTo>
                    <a:cubicBezTo>
                      <a:pt x="2811792" y="684817"/>
                      <a:pt x="2756107" y="617422"/>
                      <a:pt x="2703125" y="549486"/>
                    </a:cubicBezTo>
                    <a:cubicBezTo>
                      <a:pt x="2600674" y="432289"/>
                      <a:pt x="2484708" y="326189"/>
                      <a:pt x="2353874" y="241201"/>
                    </a:cubicBezTo>
                    <a:cubicBezTo>
                      <a:pt x="2248180" y="177595"/>
                      <a:pt x="2137890" y="120214"/>
                      <a:pt x="2020842" y="79886"/>
                    </a:cubicBezTo>
                    <a:cubicBezTo>
                      <a:pt x="1890279" y="39557"/>
                      <a:pt x="1755390" y="10054"/>
                      <a:pt x="1618339" y="5453"/>
                    </a:cubicBezTo>
                    <a:cubicBezTo>
                      <a:pt x="1554814" y="-3208"/>
                      <a:pt x="1490749" y="-501"/>
                      <a:pt x="1426954" y="6265"/>
                    </a:cubicBezTo>
                    <a:cubicBezTo>
                      <a:pt x="1293687" y="10325"/>
                      <a:pt x="1163935" y="43617"/>
                      <a:pt x="1036885" y="80968"/>
                    </a:cubicBezTo>
                    <a:cubicBezTo>
                      <a:pt x="877668" y="138890"/>
                      <a:pt x="723317" y="215217"/>
                      <a:pt x="590861" y="322129"/>
                    </a:cubicBezTo>
                    <a:cubicBezTo>
                      <a:pt x="474354" y="410636"/>
                      <a:pt x="376228" y="520796"/>
                      <a:pt x="287564" y="636639"/>
                    </a:cubicBezTo>
                    <a:cubicBezTo>
                      <a:pt x="199711" y="758438"/>
                      <a:pt x="131861" y="894581"/>
                      <a:pt x="80501" y="1035597"/>
                    </a:cubicBezTo>
                    <a:cubicBezTo>
                      <a:pt x="57524" y="1123833"/>
                      <a:pt x="24004" y="1210445"/>
                      <a:pt x="18328" y="1302200"/>
                    </a:cubicBezTo>
                    <a:cubicBezTo>
                      <a:pt x="487" y="1425081"/>
                      <a:pt x="-6812" y="1550127"/>
                      <a:pt x="7785" y="1673820"/>
                    </a:cubicBezTo>
                    <a:cubicBezTo>
                      <a:pt x="13462" y="1765846"/>
                      <a:pt x="27789" y="1858142"/>
                      <a:pt x="56442" y="1946107"/>
                    </a:cubicBezTo>
                    <a:cubicBezTo>
                      <a:pt x="113480" y="2162638"/>
                      <a:pt x="224040" y="2363470"/>
                      <a:pt x="368660" y="2533717"/>
                    </a:cubicBezTo>
                    <a:cubicBezTo>
                      <a:pt x="445700" y="2613021"/>
                      <a:pt x="520038" y="2696115"/>
                      <a:pt x="611135" y="2759450"/>
                    </a:cubicBezTo>
                    <a:cubicBezTo>
                      <a:pt x="753863" y="2868256"/>
                      <a:pt x="915242" y="2952703"/>
                      <a:pt x="1088246" y="3000881"/>
                    </a:cubicBezTo>
                    <a:cubicBezTo>
                      <a:pt x="1211916" y="3039586"/>
                      <a:pt x="1340520" y="3060089"/>
                      <a:pt x="1469867" y="306458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chemeClr val="bg1"/>
                  </a:solidFill>
                  <a:ea typeface="Open Sans Light" panose="020B0306030504020204" pitchFamily="34" charset="0"/>
                  <a:cs typeface="Rajdhani Bold" panose="02000000000000000000" pitchFamily="2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759CC0DB-FC5C-49F2-BACC-E7FC97462668}"/>
                  </a:ext>
                </a:extLst>
              </p:cNvPr>
              <p:cNvSpPr txBox="1"/>
              <p:nvPr/>
            </p:nvSpPr>
            <p:spPr>
              <a:xfrm>
                <a:off x="2126061" y="5304070"/>
                <a:ext cx="67898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ea typeface="Open Sans Light" panose="020B0306030504020204" pitchFamily="34" charset="0"/>
                    <a:cs typeface="Rajdhani Bold" panose="02000000000000000000" pitchFamily="2" charset="0"/>
                  </a:rPr>
                  <a:t>C++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6E68583-130E-4C75-B5F3-4E8775E99303}"/>
                </a:ext>
              </a:extLst>
            </p:cNvPr>
            <p:cNvGrpSpPr/>
            <p:nvPr/>
          </p:nvGrpSpPr>
          <p:grpSpPr>
            <a:xfrm>
              <a:off x="5786741" y="4050422"/>
              <a:ext cx="678980" cy="1073453"/>
              <a:chOff x="3358903" y="4507616"/>
              <a:chExt cx="678980" cy="1073453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38989467-0CB9-44D5-A6B7-CB3E00F9CC0F}"/>
                  </a:ext>
                </a:extLst>
              </p:cNvPr>
              <p:cNvGrpSpPr/>
              <p:nvPr/>
            </p:nvGrpSpPr>
            <p:grpSpPr>
              <a:xfrm>
                <a:off x="3455975" y="4507616"/>
                <a:ext cx="484836" cy="495464"/>
                <a:chOff x="-4856996" y="-3670989"/>
                <a:chExt cx="2825750" cy="2887663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21" name="Freeform 37">
                  <a:extLst>
                    <a:ext uri="{FF2B5EF4-FFF2-40B4-BE49-F238E27FC236}">
                      <a16:creationId xmlns:a16="http://schemas.microsoft.com/office/drawing/2014/main" id="{905A77C7-6255-44F2-AFEA-B575DBFAB7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V="1">
                  <a:off x="-4856996" y="-3670989"/>
                  <a:ext cx="2684463" cy="2887663"/>
                </a:xfrm>
                <a:custGeom>
                  <a:avLst/>
                  <a:gdLst>
                    <a:gd name="T0" fmla="*/ 2443 w 9935"/>
                    <a:gd name="T1" fmla="*/ 9783 h 10668"/>
                    <a:gd name="T2" fmla="*/ 5460 w 9935"/>
                    <a:gd name="T3" fmla="*/ 10659 h 10668"/>
                    <a:gd name="T4" fmla="*/ 6924 w 9935"/>
                    <a:gd name="T5" fmla="*/ 10410 h 10668"/>
                    <a:gd name="T6" fmla="*/ 7613 w 9935"/>
                    <a:gd name="T7" fmla="*/ 10125 h 10668"/>
                    <a:gd name="T8" fmla="*/ 9755 w 9935"/>
                    <a:gd name="T9" fmla="*/ 8300 h 10668"/>
                    <a:gd name="T10" fmla="*/ 9935 w 9935"/>
                    <a:gd name="T11" fmla="*/ 8000 h 10668"/>
                    <a:gd name="T12" fmla="*/ 9817 w 9935"/>
                    <a:gd name="T13" fmla="*/ 7903 h 10668"/>
                    <a:gd name="T14" fmla="*/ 7916 w 9935"/>
                    <a:gd name="T15" fmla="*/ 6806 h 10668"/>
                    <a:gd name="T16" fmla="*/ 7645 w 9935"/>
                    <a:gd name="T17" fmla="*/ 6664 h 10668"/>
                    <a:gd name="T18" fmla="*/ 7405 w 9935"/>
                    <a:gd name="T19" fmla="*/ 6979 h 10668"/>
                    <a:gd name="T20" fmla="*/ 6670 w 9935"/>
                    <a:gd name="T21" fmla="*/ 7609 h 10668"/>
                    <a:gd name="T22" fmla="*/ 4794 w 9935"/>
                    <a:gd name="T23" fmla="*/ 7885 h 10668"/>
                    <a:gd name="T24" fmla="*/ 3675 w 9935"/>
                    <a:gd name="T25" fmla="*/ 7347 h 10668"/>
                    <a:gd name="T26" fmla="*/ 3207 w 9935"/>
                    <a:gd name="T27" fmla="*/ 6872 h 10668"/>
                    <a:gd name="T28" fmla="*/ 2723 w 9935"/>
                    <a:gd name="T29" fmla="*/ 5315 h 10668"/>
                    <a:gd name="T30" fmla="*/ 2827 w 9935"/>
                    <a:gd name="T31" fmla="*/ 4588 h 10668"/>
                    <a:gd name="T32" fmla="*/ 5354 w 9935"/>
                    <a:gd name="T33" fmla="*/ 2682 h 10668"/>
                    <a:gd name="T34" fmla="*/ 7344 w 9935"/>
                    <a:gd name="T35" fmla="*/ 3571 h 10668"/>
                    <a:gd name="T36" fmla="*/ 7674 w 9935"/>
                    <a:gd name="T37" fmla="*/ 3990 h 10668"/>
                    <a:gd name="T38" fmla="*/ 9935 w 9935"/>
                    <a:gd name="T39" fmla="*/ 2672 h 10668"/>
                    <a:gd name="T40" fmla="*/ 6183 w 9935"/>
                    <a:gd name="T41" fmla="*/ 102 h 10668"/>
                    <a:gd name="T42" fmla="*/ 3943 w 9935"/>
                    <a:gd name="T43" fmla="*/ 226 h 10668"/>
                    <a:gd name="T44" fmla="*/ 1023 w 9935"/>
                    <a:gd name="T45" fmla="*/ 2246 h 10668"/>
                    <a:gd name="T46" fmla="*/ 739 w 9935"/>
                    <a:gd name="T47" fmla="*/ 2676 h 10668"/>
                    <a:gd name="T48" fmla="*/ 352 w 9935"/>
                    <a:gd name="T49" fmla="*/ 3455 h 10668"/>
                    <a:gd name="T50" fmla="*/ 16 w 9935"/>
                    <a:gd name="T51" fmla="*/ 4855 h 10668"/>
                    <a:gd name="T52" fmla="*/ 8 w 9935"/>
                    <a:gd name="T53" fmla="*/ 5598 h 10668"/>
                    <a:gd name="T54" fmla="*/ 137 w 9935"/>
                    <a:gd name="T55" fmla="*/ 6507 h 10668"/>
                    <a:gd name="T56" fmla="*/ 380 w 9935"/>
                    <a:gd name="T57" fmla="*/ 7284 h 10668"/>
                    <a:gd name="T58" fmla="*/ 1271 w 9935"/>
                    <a:gd name="T59" fmla="*/ 8763 h 10668"/>
                    <a:gd name="T60" fmla="*/ 2443 w 9935"/>
                    <a:gd name="T61" fmla="*/ 9783 h 106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9935" h="10668">
                      <a:moveTo>
                        <a:pt x="2443" y="9783"/>
                      </a:moveTo>
                      <a:cubicBezTo>
                        <a:pt x="3325" y="10380"/>
                        <a:pt x="4399" y="10668"/>
                        <a:pt x="5460" y="10659"/>
                      </a:cubicBezTo>
                      <a:cubicBezTo>
                        <a:pt x="5954" y="10631"/>
                        <a:pt x="6453" y="10571"/>
                        <a:pt x="6924" y="10410"/>
                      </a:cubicBezTo>
                      <a:cubicBezTo>
                        <a:pt x="7150" y="10306"/>
                        <a:pt x="7395" y="10248"/>
                        <a:pt x="7613" y="10125"/>
                      </a:cubicBezTo>
                      <a:cubicBezTo>
                        <a:pt x="8476" y="9727"/>
                        <a:pt x="9221" y="9084"/>
                        <a:pt x="9755" y="8300"/>
                      </a:cubicBezTo>
                      <a:cubicBezTo>
                        <a:pt x="9818" y="8203"/>
                        <a:pt x="9907" y="8115"/>
                        <a:pt x="9935" y="8000"/>
                      </a:cubicBezTo>
                      <a:cubicBezTo>
                        <a:pt x="9913" y="7952"/>
                        <a:pt x="9859" y="7931"/>
                        <a:pt x="9817" y="7903"/>
                      </a:cubicBezTo>
                      <a:cubicBezTo>
                        <a:pt x="9180" y="7544"/>
                        <a:pt x="8551" y="7170"/>
                        <a:pt x="7916" y="6806"/>
                      </a:cubicBezTo>
                      <a:cubicBezTo>
                        <a:pt x="7827" y="6755"/>
                        <a:pt x="7742" y="6696"/>
                        <a:pt x="7645" y="6664"/>
                      </a:cubicBezTo>
                      <a:cubicBezTo>
                        <a:pt x="7540" y="6746"/>
                        <a:pt x="7497" y="6884"/>
                        <a:pt x="7405" y="6979"/>
                      </a:cubicBezTo>
                      <a:cubicBezTo>
                        <a:pt x="7187" y="7218"/>
                        <a:pt x="6939" y="7430"/>
                        <a:pt x="6670" y="7609"/>
                      </a:cubicBezTo>
                      <a:cubicBezTo>
                        <a:pt x="6101" y="7904"/>
                        <a:pt x="5426" y="8033"/>
                        <a:pt x="4794" y="7885"/>
                      </a:cubicBezTo>
                      <a:cubicBezTo>
                        <a:pt x="4389" y="7793"/>
                        <a:pt x="3977" y="7644"/>
                        <a:pt x="3675" y="7347"/>
                      </a:cubicBezTo>
                      <a:cubicBezTo>
                        <a:pt x="3516" y="7192"/>
                        <a:pt x="3343" y="7048"/>
                        <a:pt x="3207" y="6872"/>
                      </a:cubicBezTo>
                      <a:cubicBezTo>
                        <a:pt x="2910" y="6410"/>
                        <a:pt x="2703" y="5871"/>
                        <a:pt x="2723" y="5315"/>
                      </a:cubicBezTo>
                      <a:cubicBezTo>
                        <a:pt x="2714" y="5069"/>
                        <a:pt x="2751" y="4823"/>
                        <a:pt x="2827" y="4588"/>
                      </a:cubicBezTo>
                      <a:cubicBezTo>
                        <a:pt x="3087" y="3469"/>
                        <a:pt x="4212" y="2638"/>
                        <a:pt x="5354" y="2682"/>
                      </a:cubicBezTo>
                      <a:cubicBezTo>
                        <a:pt x="6106" y="2657"/>
                        <a:pt x="6848" y="3014"/>
                        <a:pt x="7344" y="3571"/>
                      </a:cubicBezTo>
                      <a:cubicBezTo>
                        <a:pt x="7466" y="3701"/>
                        <a:pt x="7550" y="3862"/>
                        <a:pt x="7674" y="3990"/>
                      </a:cubicBezTo>
                      <a:cubicBezTo>
                        <a:pt x="8418" y="3535"/>
                        <a:pt x="9187" y="3122"/>
                        <a:pt x="9935" y="2672"/>
                      </a:cubicBezTo>
                      <a:cubicBezTo>
                        <a:pt x="9161" y="1302"/>
                        <a:pt x="7728" y="353"/>
                        <a:pt x="6183" y="102"/>
                      </a:cubicBezTo>
                      <a:cubicBezTo>
                        <a:pt x="5438" y="0"/>
                        <a:pt x="4669" y="20"/>
                        <a:pt x="3943" y="226"/>
                      </a:cubicBezTo>
                      <a:cubicBezTo>
                        <a:pt x="2783" y="549"/>
                        <a:pt x="1721" y="1259"/>
                        <a:pt x="1023" y="2246"/>
                      </a:cubicBezTo>
                      <a:cubicBezTo>
                        <a:pt x="927" y="2388"/>
                        <a:pt x="843" y="2539"/>
                        <a:pt x="739" y="2676"/>
                      </a:cubicBezTo>
                      <a:cubicBezTo>
                        <a:pt x="563" y="2910"/>
                        <a:pt x="472" y="3192"/>
                        <a:pt x="352" y="3455"/>
                      </a:cubicBezTo>
                      <a:cubicBezTo>
                        <a:pt x="174" y="3903"/>
                        <a:pt x="79" y="4379"/>
                        <a:pt x="16" y="4855"/>
                      </a:cubicBezTo>
                      <a:cubicBezTo>
                        <a:pt x="0" y="5102"/>
                        <a:pt x="9" y="5350"/>
                        <a:pt x="8" y="5598"/>
                      </a:cubicBezTo>
                      <a:cubicBezTo>
                        <a:pt x="2" y="5906"/>
                        <a:pt x="85" y="6206"/>
                        <a:pt x="137" y="6507"/>
                      </a:cubicBezTo>
                      <a:cubicBezTo>
                        <a:pt x="173" y="6779"/>
                        <a:pt x="322" y="7017"/>
                        <a:pt x="380" y="7284"/>
                      </a:cubicBezTo>
                      <a:cubicBezTo>
                        <a:pt x="617" y="7809"/>
                        <a:pt x="889" y="8327"/>
                        <a:pt x="1271" y="8763"/>
                      </a:cubicBezTo>
                      <a:cubicBezTo>
                        <a:pt x="1630" y="9137"/>
                        <a:pt x="2007" y="9500"/>
                        <a:pt x="2443" y="9783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  <a:ea typeface="Open Sans Light" panose="020B0306030504020204" pitchFamily="34" charset="0"/>
                    <a:cs typeface="Rajdhani Bold" panose="02000000000000000000" pitchFamily="2" charset="0"/>
                  </a:endParaRPr>
                </a:p>
              </p:txBody>
            </p:sp>
            <p:sp>
              <p:nvSpPr>
                <p:cNvPr id="22" name="Freeform 38">
                  <a:extLst>
                    <a:ext uri="{FF2B5EF4-FFF2-40B4-BE49-F238E27FC236}">
                      <a16:creationId xmlns:a16="http://schemas.microsoft.com/office/drawing/2014/main" id="{780D40B5-80F6-48FC-8252-9BDCA4632B7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flipV="1">
                  <a:off x="-2644021" y="-2631177"/>
                  <a:ext cx="612775" cy="782638"/>
                </a:xfrm>
                <a:custGeom>
                  <a:avLst/>
                  <a:gdLst>
                    <a:gd name="T0" fmla="*/ 606 w 2269"/>
                    <a:gd name="T1" fmla="*/ 2887 h 2890"/>
                    <a:gd name="T2" fmla="*/ 1007 w 2269"/>
                    <a:gd name="T3" fmla="*/ 2882 h 2890"/>
                    <a:gd name="T4" fmla="*/ 947 w 2269"/>
                    <a:gd name="T5" fmla="*/ 2207 h 2890"/>
                    <a:gd name="T6" fmla="*/ 1477 w 2269"/>
                    <a:gd name="T7" fmla="*/ 2216 h 2890"/>
                    <a:gd name="T8" fmla="*/ 1524 w 2269"/>
                    <a:gd name="T9" fmla="*/ 2883 h 2890"/>
                    <a:gd name="T10" fmla="*/ 1945 w 2269"/>
                    <a:gd name="T11" fmla="*/ 2885 h 2890"/>
                    <a:gd name="T12" fmla="*/ 1891 w 2269"/>
                    <a:gd name="T13" fmla="*/ 2194 h 2890"/>
                    <a:gd name="T14" fmla="*/ 2269 w 2269"/>
                    <a:gd name="T15" fmla="*/ 2185 h 2890"/>
                    <a:gd name="T16" fmla="*/ 2268 w 2269"/>
                    <a:gd name="T17" fmla="*/ 1816 h 2890"/>
                    <a:gd name="T18" fmla="*/ 1865 w 2269"/>
                    <a:gd name="T19" fmla="*/ 1818 h 2890"/>
                    <a:gd name="T20" fmla="*/ 1765 w 2269"/>
                    <a:gd name="T21" fmla="*/ 1190 h 2890"/>
                    <a:gd name="T22" fmla="*/ 2155 w 2269"/>
                    <a:gd name="T23" fmla="*/ 1182 h 2890"/>
                    <a:gd name="T24" fmla="*/ 2156 w 2269"/>
                    <a:gd name="T25" fmla="*/ 796 h 2890"/>
                    <a:gd name="T26" fmla="*/ 1761 w 2269"/>
                    <a:gd name="T27" fmla="*/ 796 h 2890"/>
                    <a:gd name="T28" fmla="*/ 1655 w 2269"/>
                    <a:gd name="T29" fmla="*/ 30 h 2890"/>
                    <a:gd name="T30" fmla="*/ 1236 w 2269"/>
                    <a:gd name="T31" fmla="*/ 31 h 2890"/>
                    <a:gd name="T32" fmla="*/ 1312 w 2269"/>
                    <a:gd name="T33" fmla="*/ 794 h 2890"/>
                    <a:gd name="T34" fmla="*/ 808 w 2269"/>
                    <a:gd name="T35" fmla="*/ 795 h 2890"/>
                    <a:gd name="T36" fmla="*/ 720 w 2269"/>
                    <a:gd name="T37" fmla="*/ 49 h 2890"/>
                    <a:gd name="T38" fmla="*/ 317 w 2269"/>
                    <a:gd name="T39" fmla="*/ 30 h 2890"/>
                    <a:gd name="T40" fmla="*/ 361 w 2269"/>
                    <a:gd name="T41" fmla="*/ 794 h 2890"/>
                    <a:gd name="T42" fmla="*/ 3 w 2269"/>
                    <a:gd name="T43" fmla="*/ 795 h 2890"/>
                    <a:gd name="T44" fmla="*/ 4 w 2269"/>
                    <a:gd name="T45" fmla="*/ 1182 h 2890"/>
                    <a:gd name="T46" fmla="*/ 423 w 2269"/>
                    <a:gd name="T47" fmla="*/ 1187 h 2890"/>
                    <a:gd name="T48" fmla="*/ 471 w 2269"/>
                    <a:gd name="T49" fmla="*/ 1793 h 2890"/>
                    <a:gd name="T50" fmla="*/ 110 w 2269"/>
                    <a:gd name="T51" fmla="*/ 1815 h 2890"/>
                    <a:gd name="T52" fmla="*/ 109 w 2269"/>
                    <a:gd name="T53" fmla="*/ 2196 h 2890"/>
                    <a:gd name="T54" fmla="*/ 523 w 2269"/>
                    <a:gd name="T55" fmla="*/ 2212 h 2890"/>
                    <a:gd name="T56" fmla="*/ 606 w 2269"/>
                    <a:gd name="T57" fmla="*/ 2887 h 2890"/>
                    <a:gd name="T58" fmla="*/ 913 w 2269"/>
                    <a:gd name="T59" fmla="*/ 1817 h 2890"/>
                    <a:gd name="T60" fmla="*/ 843 w 2269"/>
                    <a:gd name="T61" fmla="*/ 1187 h 2890"/>
                    <a:gd name="T62" fmla="*/ 1354 w 2269"/>
                    <a:gd name="T63" fmla="*/ 1186 h 2890"/>
                    <a:gd name="T64" fmla="*/ 1414 w 2269"/>
                    <a:gd name="T65" fmla="*/ 1812 h 2890"/>
                    <a:gd name="T66" fmla="*/ 913 w 2269"/>
                    <a:gd name="T67" fmla="*/ 1817 h 28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269" h="2890">
                      <a:moveTo>
                        <a:pt x="606" y="2887"/>
                      </a:moveTo>
                      <a:cubicBezTo>
                        <a:pt x="740" y="2889"/>
                        <a:pt x="874" y="2890"/>
                        <a:pt x="1007" y="2882"/>
                      </a:cubicBezTo>
                      <a:cubicBezTo>
                        <a:pt x="1010" y="2655"/>
                        <a:pt x="952" y="2433"/>
                        <a:pt x="947" y="2207"/>
                      </a:cubicBezTo>
                      <a:cubicBezTo>
                        <a:pt x="1124" y="2208"/>
                        <a:pt x="1301" y="2201"/>
                        <a:pt x="1477" y="2216"/>
                      </a:cubicBezTo>
                      <a:cubicBezTo>
                        <a:pt x="1477" y="2439"/>
                        <a:pt x="1513" y="2660"/>
                        <a:pt x="1524" y="2883"/>
                      </a:cubicBezTo>
                      <a:cubicBezTo>
                        <a:pt x="1664" y="2890"/>
                        <a:pt x="1805" y="2890"/>
                        <a:pt x="1945" y="2885"/>
                      </a:cubicBezTo>
                      <a:cubicBezTo>
                        <a:pt x="1937" y="2654"/>
                        <a:pt x="1859" y="2425"/>
                        <a:pt x="1891" y="2194"/>
                      </a:cubicBezTo>
                      <a:cubicBezTo>
                        <a:pt x="2016" y="2177"/>
                        <a:pt x="2143" y="2190"/>
                        <a:pt x="2269" y="2185"/>
                      </a:cubicBezTo>
                      <a:cubicBezTo>
                        <a:pt x="2269" y="2062"/>
                        <a:pt x="2269" y="1939"/>
                        <a:pt x="2268" y="1816"/>
                      </a:cubicBezTo>
                      <a:cubicBezTo>
                        <a:pt x="2134" y="1812"/>
                        <a:pt x="1999" y="1812"/>
                        <a:pt x="1865" y="1818"/>
                      </a:cubicBezTo>
                      <a:cubicBezTo>
                        <a:pt x="1806" y="1613"/>
                        <a:pt x="1807" y="1398"/>
                        <a:pt x="1765" y="1190"/>
                      </a:cubicBezTo>
                      <a:cubicBezTo>
                        <a:pt x="1895" y="1187"/>
                        <a:pt x="2025" y="1181"/>
                        <a:pt x="2155" y="1182"/>
                      </a:cubicBezTo>
                      <a:cubicBezTo>
                        <a:pt x="2158" y="1053"/>
                        <a:pt x="2157" y="925"/>
                        <a:pt x="2156" y="796"/>
                      </a:cubicBezTo>
                      <a:cubicBezTo>
                        <a:pt x="2024" y="790"/>
                        <a:pt x="1893" y="790"/>
                        <a:pt x="1761" y="796"/>
                      </a:cubicBezTo>
                      <a:cubicBezTo>
                        <a:pt x="1685" y="547"/>
                        <a:pt x="1703" y="283"/>
                        <a:pt x="1655" y="30"/>
                      </a:cubicBezTo>
                      <a:cubicBezTo>
                        <a:pt x="1515" y="26"/>
                        <a:pt x="1375" y="26"/>
                        <a:pt x="1236" y="31"/>
                      </a:cubicBezTo>
                      <a:cubicBezTo>
                        <a:pt x="1271" y="284"/>
                        <a:pt x="1315" y="538"/>
                        <a:pt x="1312" y="794"/>
                      </a:cubicBezTo>
                      <a:cubicBezTo>
                        <a:pt x="1144" y="790"/>
                        <a:pt x="976" y="789"/>
                        <a:pt x="808" y="795"/>
                      </a:cubicBezTo>
                      <a:cubicBezTo>
                        <a:pt x="753" y="550"/>
                        <a:pt x="771" y="293"/>
                        <a:pt x="720" y="49"/>
                      </a:cubicBezTo>
                      <a:cubicBezTo>
                        <a:pt x="595" y="0"/>
                        <a:pt x="449" y="37"/>
                        <a:pt x="317" y="30"/>
                      </a:cubicBezTo>
                      <a:cubicBezTo>
                        <a:pt x="337" y="284"/>
                        <a:pt x="369" y="538"/>
                        <a:pt x="361" y="794"/>
                      </a:cubicBezTo>
                      <a:cubicBezTo>
                        <a:pt x="241" y="792"/>
                        <a:pt x="122" y="789"/>
                        <a:pt x="3" y="795"/>
                      </a:cubicBezTo>
                      <a:cubicBezTo>
                        <a:pt x="1" y="924"/>
                        <a:pt x="0" y="1053"/>
                        <a:pt x="4" y="1182"/>
                      </a:cubicBezTo>
                      <a:cubicBezTo>
                        <a:pt x="143" y="1185"/>
                        <a:pt x="283" y="1184"/>
                        <a:pt x="423" y="1187"/>
                      </a:cubicBezTo>
                      <a:cubicBezTo>
                        <a:pt x="454" y="1388"/>
                        <a:pt x="469" y="1590"/>
                        <a:pt x="471" y="1793"/>
                      </a:cubicBezTo>
                      <a:cubicBezTo>
                        <a:pt x="350" y="1794"/>
                        <a:pt x="229" y="1796"/>
                        <a:pt x="110" y="1815"/>
                      </a:cubicBezTo>
                      <a:cubicBezTo>
                        <a:pt x="112" y="1942"/>
                        <a:pt x="112" y="2069"/>
                        <a:pt x="109" y="2196"/>
                      </a:cubicBezTo>
                      <a:cubicBezTo>
                        <a:pt x="246" y="2210"/>
                        <a:pt x="385" y="2207"/>
                        <a:pt x="523" y="2212"/>
                      </a:cubicBezTo>
                      <a:cubicBezTo>
                        <a:pt x="553" y="2437"/>
                        <a:pt x="563" y="2664"/>
                        <a:pt x="606" y="2887"/>
                      </a:cubicBezTo>
                      <a:moveTo>
                        <a:pt x="913" y="1817"/>
                      </a:moveTo>
                      <a:cubicBezTo>
                        <a:pt x="875" y="1609"/>
                        <a:pt x="875" y="1396"/>
                        <a:pt x="843" y="1187"/>
                      </a:cubicBezTo>
                      <a:cubicBezTo>
                        <a:pt x="1013" y="1183"/>
                        <a:pt x="1184" y="1183"/>
                        <a:pt x="1354" y="1186"/>
                      </a:cubicBezTo>
                      <a:cubicBezTo>
                        <a:pt x="1384" y="1393"/>
                        <a:pt x="1403" y="1603"/>
                        <a:pt x="1414" y="1812"/>
                      </a:cubicBezTo>
                      <a:cubicBezTo>
                        <a:pt x="1247" y="1814"/>
                        <a:pt x="1080" y="1811"/>
                        <a:pt x="913" y="1817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  <a:ea typeface="Open Sans Light" panose="020B0306030504020204" pitchFamily="34" charset="0"/>
                    <a:cs typeface="Rajdhani Bold" panose="02000000000000000000" pitchFamily="2" charset="0"/>
                  </a:endParaRPr>
                </a:p>
              </p:txBody>
            </p:sp>
          </p:grp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8E328666-6562-4284-B25A-3819EA43B810}"/>
                  </a:ext>
                </a:extLst>
              </p:cNvPr>
              <p:cNvSpPr txBox="1"/>
              <p:nvPr/>
            </p:nvSpPr>
            <p:spPr>
              <a:xfrm>
                <a:off x="3358903" y="5304070"/>
                <a:ext cx="67898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ea typeface="Open Sans Light" panose="020B0306030504020204" pitchFamily="34" charset="0"/>
                    <a:cs typeface="Rajdhani Bold" panose="02000000000000000000" pitchFamily="2" charset="0"/>
                  </a:rPr>
                  <a:t>C#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265DAC7-7F57-47D7-9C35-AFA83AA60CBF}"/>
                </a:ext>
              </a:extLst>
            </p:cNvPr>
            <p:cNvGrpSpPr/>
            <p:nvPr/>
          </p:nvGrpSpPr>
          <p:grpSpPr>
            <a:xfrm>
              <a:off x="6975352" y="4050424"/>
              <a:ext cx="678980" cy="1073451"/>
              <a:chOff x="4547514" y="4507618"/>
              <a:chExt cx="678980" cy="1073451"/>
            </a:xfrm>
          </p:grpSpPr>
          <p:sp>
            <p:nvSpPr>
              <p:cNvPr id="19" name="Freeform 35">
                <a:extLst>
                  <a:ext uri="{FF2B5EF4-FFF2-40B4-BE49-F238E27FC236}">
                    <a16:creationId xmlns:a16="http://schemas.microsoft.com/office/drawing/2014/main" id="{6177E16C-5292-4E1D-9855-14C59D38D81F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4655967" y="4507618"/>
                <a:ext cx="462074" cy="495458"/>
              </a:xfrm>
              <a:custGeom>
                <a:avLst/>
                <a:gdLst>
                  <a:gd name="T0" fmla="*/ 4938 w 10645"/>
                  <a:gd name="T1" fmla="*/ 11333 h 11405"/>
                  <a:gd name="T2" fmla="*/ 5641 w 10645"/>
                  <a:gd name="T3" fmla="*/ 11385 h 11405"/>
                  <a:gd name="T4" fmla="*/ 6064 w 10645"/>
                  <a:gd name="T5" fmla="*/ 11365 h 11405"/>
                  <a:gd name="T6" fmla="*/ 7523 w 10645"/>
                  <a:gd name="T7" fmla="*/ 11102 h 11405"/>
                  <a:gd name="T8" fmla="*/ 8320 w 10645"/>
                  <a:gd name="T9" fmla="*/ 10752 h 11405"/>
                  <a:gd name="T10" fmla="*/ 9006 w 10645"/>
                  <a:gd name="T11" fmla="*/ 10340 h 11405"/>
                  <a:gd name="T12" fmla="*/ 10399 w 10645"/>
                  <a:gd name="T13" fmla="*/ 8939 h 11405"/>
                  <a:gd name="T14" fmla="*/ 10609 w 10645"/>
                  <a:gd name="T15" fmla="*/ 8590 h 11405"/>
                  <a:gd name="T16" fmla="*/ 9859 w 10645"/>
                  <a:gd name="T17" fmla="*/ 8154 h 11405"/>
                  <a:gd name="T18" fmla="*/ 8805 w 10645"/>
                  <a:gd name="T19" fmla="*/ 7551 h 11405"/>
                  <a:gd name="T20" fmla="*/ 8176 w 10645"/>
                  <a:gd name="T21" fmla="*/ 7193 h 11405"/>
                  <a:gd name="T22" fmla="*/ 7846 w 10645"/>
                  <a:gd name="T23" fmla="*/ 7587 h 11405"/>
                  <a:gd name="T24" fmla="*/ 6065 w 10645"/>
                  <a:gd name="T25" fmla="*/ 8506 h 11405"/>
                  <a:gd name="T26" fmla="*/ 4855 w 10645"/>
                  <a:gd name="T27" fmla="*/ 8395 h 11405"/>
                  <a:gd name="T28" fmla="*/ 3702 w 10645"/>
                  <a:gd name="T29" fmla="*/ 7675 h 11405"/>
                  <a:gd name="T30" fmla="*/ 3187 w 10645"/>
                  <a:gd name="T31" fmla="*/ 6957 h 11405"/>
                  <a:gd name="T32" fmla="*/ 3200 w 10645"/>
                  <a:gd name="T33" fmla="*/ 4415 h 11405"/>
                  <a:gd name="T34" fmla="*/ 5641 w 10645"/>
                  <a:gd name="T35" fmla="*/ 2864 h 11405"/>
                  <a:gd name="T36" fmla="*/ 7366 w 10645"/>
                  <a:gd name="T37" fmla="*/ 3379 h 11405"/>
                  <a:gd name="T38" fmla="*/ 8121 w 10645"/>
                  <a:gd name="T39" fmla="*/ 4176 h 11405"/>
                  <a:gd name="T40" fmla="*/ 8241 w 10645"/>
                  <a:gd name="T41" fmla="*/ 4237 h 11405"/>
                  <a:gd name="T42" fmla="*/ 10645 w 10645"/>
                  <a:gd name="T43" fmla="*/ 2923 h 11405"/>
                  <a:gd name="T44" fmla="*/ 10359 w 10645"/>
                  <a:gd name="T45" fmla="*/ 2432 h 11405"/>
                  <a:gd name="T46" fmla="*/ 7042 w 10645"/>
                  <a:gd name="T47" fmla="*/ 196 h 11405"/>
                  <a:gd name="T48" fmla="*/ 5959 w 10645"/>
                  <a:gd name="T49" fmla="*/ 46 h 11405"/>
                  <a:gd name="T50" fmla="*/ 2673 w 10645"/>
                  <a:gd name="T51" fmla="*/ 936 h 11405"/>
                  <a:gd name="T52" fmla="*/ 2008 w 10645"/>
                  <a:gd name="T53" fmla="*/ 1432 h 11405"/>
                  <a:gd name="T54" fmla="*/ 1115 w 10645"/>
                  <a:gd name="T55" fmla="*/ 2406 h 11405"/>
                  <a:gd name="T56" fmla="*/ 522 w 10645"/>
                  <a:gd name="T57" fmla="*/ 3438 h 11405"/>
                  <a:gd name="T58" fmla="*/ 171 w 10645"/>
                  <a:gd name="T59" fmla="*/ 4493 h 11405"/>
                  <a:gd name="T60" fmla="*/ 50 w 10645"/>
                  <a:gd name="T61" fmla="*/ 5594 h 11405"/>
                  <a:gd name="T62" fmla="*/ 1444 w 10645"/>
                  <a:gd name="T63" fmla="*/ 9439 h 11405"/>
                  <a:gd name="T64" fmla="*/ 2342 w 10645"/>
                  <a:gd name="T65" fmla="*/ 10266 h 11405"/>
                  <a:gd name="T66" fmla="*/ 4938 w 10645"/>
                  <a:gd name="T67" fmla="*/ 11333 h 11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645" h="11405">
                    <a:moveTo>
                      <a:pt x="4938" y="11333"/>
                    </a:moveTo>
                    <a:cubicBezTo>
                      <a:pt x="5170" y="11380"/>
                      <a:pt x="5408" y="11347"/>
                      <a:pt x="5641" y="11385"/>
                    </a:cubicBezTo>
                    <a:cubicBezTo>
                      <a:pt x="5783" y="11405"/>
                      <a:pt x="5922" y="11363"/>
                      <a:pt x="6064" y="11365"/>
                    </a:cubicBezTo>
                    <a:cubicBezTo>
                      <a:pt x="6562" y="11370"/>
                      <a:pt x="7049" y="11245"/>
                      <a:pt x="7523" y="11102"/>
                    </a:cubicBezTo>
                    <a:cubicBezTo>
                      <a:pt x="7795" y="11002"/>
                      <a:pt x="8071" y="10903"/>
                      <a:pt x="8320" y="10752"/>
                    </a:cubicBezTo>
                    <a:cubicBezTo>
                      <a:pt x="8561" y="10636"/>
                      <a:pt x="8797" y="10507"/>
                      <a:pt x="9006" y="10340"/>
                    </a:cubicBezTo>
                    <a:cubicBezTo>
                      <a:pt x="9550" y="9963"/>
                      <a:pt x="10032" y="9491"/>
                      <a:pt x="10399" y="8939"/>
                    </a:cubicBezTo>
                    <a:cubicBezTo>
                      <a:pt x="10480" y="8830"/>
                      <a:pt x="10562" y="8719"/>
                      <a:pt x="10609" y="8590"/>
                    </a:cubicBezTo>
                    <a:cubicBezTo>
                      <a:pt x="10359" y="8444"/>
                      <a:pt x="10106" y="8305"/>
                      <a:pt x="9859" y="8154"/>
                    </a:cubicBezTo>
                    <a:cubicBezTo>
                      <a:pt x="9511" y="7948"/>
                      <a:pt x="9146" y="7771"/>
                      <a:pt x="8805" y="7551"/>
                    </a:cubicBezTo>
                    <a:cubicBezTo>
                      <a:pt x="8595" y="7433"/>
                      <a:pt x="8387" y="7311"/>
                      <a:pt x="8176" y="7193"/>
                    </a:cubicBezTo>
                    <a:cubicBezTo>
                      <a:pt x="8051" y="7312"/>
                      <a:pt x="7970" y="7467"/>
                      <a:pt x="7846" y="7587"/>
                    </a:cubicBezTo>
                    <a:cubicBezTo>
                      <a:pt x="7384" y="8085"/>
                      <a:pt x="6754" y="8462"/>
                      <a:pt x="6065" y="8506"/>
                    </a:cubicBezTo>
                    <a:cubicBezTo>
                      <a:pt x="5660" y="8515"/>
                      <a:pt x="5242" y="8540"/>
                      <a:pt x="4855" y="8395"/>
                    </a:cubicBezTo>
                    <a:cubicBezTo>
                      <a:pt x="4410" y="8272"/>
                      <a:pt x="4029" y="7992"/>
                      <a:pt x="3702" y="7675"/>
                    </a:cubicBezTo>
                    <a:cubicBezTo>
                      <a:pt x="3481" y="7475"/>
                      <a:pt x="3338" y="7210"/>
                      <a:pt x="3187" y="6957"/>
                    </a:cubicBezTo>
                    <a:cubicBezTo>
                      <a:pt x="2803" y="6168"/>
                      <a:pt x="2815" y="5202"/>
                      <a:pt x="3200" y="4415"/>
                    </a:cubicBezTo>
                    <a:cubicBezTo>
                      <a:pt x="3661" y="3516"/>
                      <a:pt x="4624" y="2883"/>
                      <a:pt x="5641" y="2864"/>
                    </a:cubicBezTo>
                    <a:cubicBezTo>
                      <a:pt x="6253" y="2835"/>
                      <a:pt x="6863" y="3037"/>
                      <a:pt x="7366" y="3379"/>
                    </a:cubicBezTo>
                    <a:cubicBezTo>
                      <a:pt x="7665" y="3593"/>
                      <a:pt x="7918" y="3870"/>
                      <a:pt x="8121" y="4176"/>
                    </a:cubicBezTo>
                    <a:cubicBezTo>
                      <a:pt x="8145" y="4218"/>
                      <a:pt x="8187" y="4265"/>
                      <a:pt x="8241" y="4237"/>
                    </a:cubicBezTo>
                    <a:cubicBezTo>
                      <a:pt x="9044" y="3804"/>
                      <a:pt x="9839" y="3351"/>
                      <a:pt x="10645" y="2923"/>
                    </a:cubicBezTo>
                    <a:cubicBezTo>
                      <a:pt x="10607" y="2731"/>
                      <a:pt x="10466" y="2587"/>
                      <a:pt x="10359" y="2432"/>
                    </a:cubicBezTo>
                    <a:cubicBezTo>
                      <a:pt x="9584" y="1307"/>
                      <a:pt x="8364" y="515"/>
                      <a:pt x="7042" y="196"/>
                    </a:cubicBezTo>
                    <a:cubicBezTo>
                      <a:pt x="6688" y="103"/>
                      <a:pt x="6322" y="75"/>
                      <a:pt x="5959" y="46"/>
                    </a:cubicBezTo>
                    <a:cubicBezTo>
                      <a:pt x="4807" y="0"/>
                      <a:pt x="3645" y="316"/>
                      <a:pt x="2673" y="936"/>
                    </a:cubicBezTo>
                    <a:cubicBezTo>
                      <a:pt x="2446" y="1093"/>
                      <a:pt x="2208" y="1239"/>
                      <a:pt x="2008" y="1432"/>
                    </a:cubicBezTo>
                    <a:cubicBezTo>
                      <a:pt x="1689" y="1736"/>
                      <a:pt x="1367" y="2043"/>
                      <a:pt x="1115" y="2406"/>
                    </a:cubicBezTo>
                    <a:cubicBezTo>
                      <a:pt x="881" y="2727"/>
                      <a:pt x="693" y="3080"/>
                      <a:pt x="522" y="3438"/>
                    </a:cubicBezTo>
                    <a:cubicBezTo>
                      <a:pt x="359" y="3774"/>
                      <a:pt x="279" y="4139"/>
                      <a:pt x="171" y="4493"/>
                    </a:cubicBezTo>
                    <a:cubicBezTo>
                      <a:pt x="96" y="4855"/>
                      <a:pt x="41" y="5224"/>
                      <a:pt x="50" y="5594"/>
                    </a:cubicBezTo>
                    <a:cubicBezTo>
                      <a:pt x="0" y="6992"/>
                      <a:pt x="527" y="8389"/>
                      <a:pt x="1444" y="9439"/>
                    </a:cubicBezTo>
                    <a:cubicBezTo>
                      <a:pt x="1727" y="9732"/>
                      <a:pt x="2007" y="10032"/>
                      <a:pt x="2342" y="10266"/>
                    </a:cubicBezTo>
                    <a:cubicBezTo>
                      <a:pt x="3109" y="10816"/>
                      <a:pt x="3997" y="11212"/>
                      <a:pt x="4938" y="11333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  <a:ea typeface="Open Sans Light" panose="020B0306030504020204" pitchFamily="34" charset="0"/>
                  <a:cs typeface="Rajdhani Bold" panose="02000000000000000000" pitchFamily="2" charset="0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0BA1358F-A0F1-4E6E-8CFE-F50FC958A22F}"/>
                  </a:ext>
                </a:extLst>
              </p:cNvPr>
              <p:cNvSpPr txBox="1"/>
              <p:nvPr/>
            </p:nvSpPr>
            <p:spPr>
              <a:xfrm>
                <a:off x="4547514" y="5304070"/>
                <a:ext cx="67898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ea typeface="Open Sans Light" panose="020B0306030504020204" pitchFamily="34" charset="0"/>
                    <a:cs typeface="Rajdhani Bold" panose="02000000000000000000" pitchFamily="2" charset="0"/>
                  </a:rPr>
                  <a:t>C</a:t>
                </a: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A56FDD4-45DC-4019-8502-640A24490C8E}"/>
                </a:ext>
              </a:extLst>
            </p:cNvPr>
            <p:cNvSpPr txBox="1"/>
            <p:nvPr/>
          </p:nvSpPr>
          <p:spPr>
            <a:xfrm>
              <a:off x="4846489" y="5419971"/>
              <a:ext cx="24228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cs typeface="Rajdhani Bold" panose="02000000000000000000" pitchFamily="2" charset="0"/>
                </a:rPr>
                <a:t>More programming language 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F8AE571-5B71-4439-95CD-BEC7D95BE73E}"/>
                </a:ext>
              </a:extLst>
            </p:cNvPr>
            <p:cNvSpPr txBox="1"/>
            <p:nvPr/>
          </p:nvSpPr>
          <p:spPr>
            <a:xfrm>
              <a:off x="4846489" y="1520224"/>
              <a:ext cx="242282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ea typeface="Open Sans Light" panose="020B0306030504020204" pitchFamily="34" charset="0"/>
                  <a:cs typeface="Rajdhani Bold" panose="02000000000000000000" pitchFamily="2" charset="0"/>
                </a:rPr>
                <a:t>Fully support language </a:t>
              </a:r>
            </a:p>
          </p:txBody>
        </p:sp>
      </p:grpSp>
      <p:sp>
        <p:nvSpPr>
          <p:cNvPr id="40" name="TextBox 39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F60A312E-FD4E-41D5-A888-E864681A880E}"/>
              </a:ext>
            </a:extLst>
          </p:cNvPr>
          <p:cNvSpPr txBox="1"/>
          <p:nvPr/>
        </p:nvSpPr>
        <p:spPr>
          <a:xfrm>
            <a:off x="5881431" y="3864422"/>
            <a:ext cx="32762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ea typeface="Pacifico" panose="02000000000000000000" pitchFamily="2" charset="0"/>
                <a:cs typeface="Rajdhani Bold" panose="02000000000000000000" pitchFamily="2" charset="0"/>
              </a:rPr>
              <a:t>Support programming language </a:t>
            </a:r>
          </a:p>
        </p:txBody>
      </p:sp>
      <p:sp>
        <p:nvSpPr>
          <p:cNvPr id="41" name="Rectangle 4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26221A55-88B3-4DDB-AB2B-15CE6EA8F0E3}"/>
              </a:ext>
            </a:extLst>
          </p:cNvPr>
          <p:cNvSpPr/>
          <p:nvPr/>
        </p:nvSpPr>
        <p:spPr>
          <a:xfrm>
            <a:off x="5881431" y="4309543"/>
            <a:ext cx="5034219" cy="1447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</a:rPr>
              <a:t>Hey, hey, hey! It's Fat </a:t>
            </a:r>
            <a:r>
              <a:rPr lang="en-US" altLang="zh-CN" sz="1200" dirty="0">
                <a:solidFill>
                  <a:schemeClr val="bg1"/>
                </a:solidFill>
              </a:rPr>
              <a:t>Company</a:t>
            </a:r>
            <a:r>
              <a:rPr lang="zh-CN" altLang="en-US" sz="1200" dirty="0">
                <a:solidFill>
                  <a:schemeClr val="bg1"/>
                </a:solidFill>
              </a:rPr>
              <a:t>! Now I'm gonna sing a song for you, and this is gonna show you a thing or two. You'll have some fun now With me and the gang, learning from each other While we do our thing.</a:t>
            </a:r>
          </a:p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</a:p>
        </p:txBody>
      </p:sp>
      <p:sp>
        <p:nvSpPr>
          <p:cNvPr id="42" name="TextBox 41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E304E4F7-EF20-4E06-9913-4C78EF58D6F4}"/>
              </a:ext>
            </a:extLst>
          </p:cNvPr>
          <p:cNvSpPr txBox="1"/>
          <p:nvPr/>
        </p:nvSpPr>
        <p:spPr>
          <a:xfrm>
            <a:off x="5859284" y="821466"/>
            <a:ext cx="5842386" cy="1926168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defRPr sz="4400" b="1">
                <a:solidFill>
                  <a:schemeClr val="bg1"/>
                </a:solidFill>
                <a:effectLst>
                  <a:outerShdw blurRad="165100" dist="1625600" dir="19740000" sx="114000" sy="114000" algn="bl" rotWithShape="0">
                    <a:schemeClr val="bg1">
                      <a:alpha val="11000"/>
                    </a:schemeClr>
                  </a:outerShdw>
                </a:effectLst>
                <a:latin typeface="+mj-ea"/>
                <a:ea typeface="+mj-ea"/>
                <a:cs typeface="+mn-ea"/>
              </a:defRPr>
            </a:lvl1pPr>
            <a:lvl2pPr marL="1095566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834"/>
            </a:lvl2pPr>
            <a:lvl3pPr marL="1825943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195"/>
            </a:lvl3pPr>
            <a:lvl4pPr marL="2556320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/>
            </a:lvl4pPr>
            <a:lvl5pPr marL="3286697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/>
            </a:lvl5pPr>
            <a:lvl6pPr marL="4017074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/>
            </a:lvl6pPr>
            <a:lvl7pPr marL="4747451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/>
            </a:lvl7pPr>
            <a:lvl8pPr marL="5477828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/>
            </a:lvl8pPr>
            <a:lvl9pPr marL="6208205" indent="-365189" defTabSz="1460754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/>
            </a:lvl9pPr>
          </a:lstStyle>
          <a:p>
            <a:pPr algn="l"/>
            <a:r>
              <a:rPr lang="en-US" dirty="0"/>
              <a:t>Learning Management Systems</a:t>
            </a:r>
          </a:p>
        </p:txBody>
      </p:sp>
      <p:grpSp>
        <p:nvGrpSpPr>
          <p:cNvPr id="43" name="Group 4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060D84E5-7246-494A-9988-21DFD568D257}"/>
              </a:ext>
            </a:extLst>
          </p:cNvPr>
          <p:cNvGrpSpPr/>
          <p:nvPr/>
        </p:nvGrpSpPr>
        <p:grpSpPr>
          <a:xfrm>
            <a:off x="5957198" y="2827184"/>
            <a:ext cx="1324112" cy="334281"/>
            <a:chOff x="4481444" y="4189765"/>
            <a:chExt cx="1324112" cy="334281"/>
          </a:xfrm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0D43067E-B4DB-4482-A2E3-6C06AE5C042E}"/>
                </a:ext>
              </a:extLst>
            </p:cNvPr>
            <p:cNvSpPr/>
            <p:nvPr/>
          </p:nvSpPr>
          <p:spPr>
            <a:xfrm>
              <a:off x="4481444" y="4189765"/>
              <a:ext cx="1324112" cy="331302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accent5">
                    <a:lumMod val="60000"/>
                    <a:lumOff val="40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8100000" scaled="1"/>
            </a:gradFill>
            <a:ln w="31750">
              <a:solidFill>
                <a:schemeClr val="accent3">
                  <a:alpha val="93000"/>
                </a:schemeClr>
              </a:solidFill>
            </a:ln>
            <a:effectLst>
              <a:outerShdw blurRad="228600" dist="152400" dir="5400000" sx="79000" sy="79000" algn="t" rotWithShape="0">
                <a:schemeClr val="accent3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200" spc="3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C141D3F-98E6-4BBD-B2A0-DFD7FB12DB5E}"/>
                </a:ext>
              </a:extLst>
            </p:cNvPr>
            <p:cNvSpPr txBox="1"/>
            <p:nvPr/>
          </p:nvSpPr>
          <p:spPr>
            <a:xfrm>
              <a:off x="4552391" y="4216269"/>
              <a:ext cx="119440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Read More</a:t>
              </a:r>
              <a:endParaRPr lang="id-ID" sz="1400" b="1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46" name="TextBox 4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EA672242-0A51-4EBD-82EB-0A0613EC7938}"/>
              </a:ext>
            </a:extLst>
          </p:cNvPr>
          <p:cNvSpPr txBox="1"/>
          <p:nvPr/>
        </p:nvSpPr>
        <p:spPr>
          <a:xfrm>
            <a:off x="7431927" y="2927654"/>
            <a:ext cx="6274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Next   </a:t>
            </a:r>
            <a:r>
              <a:rPr lang="en-US" sz="900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  <a:sym typeface="Wingdings 3" panose="05040102010807070707" pitchFamily="18" charset="2"/>
              </a:rPr>
              <a:t></a:t>
            </a:r>
            <a:endParaRPr lang="id-ID" sz="9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47" name="Group 46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CDAF5EAE-F108-4467-BACC-A36C27FC0B17}"/>
              </a:ext>
            </a:extLst>
          </p:cNvPr>
          <p:cNvGrpSpPr/>
          <p:nvPr/>
        </p:nvGrpSpPr>
        <p:grpSpPr>
          <a:xfrm>
            <a:off x="10332553" y="3558064"/>
            <a:ext cx="660492" cy="205272"/>
            <a:chOff x="6442216" y="3223727"/>
            <a:chExt cx="1082174" cy="336325"/>
          </a:xfrm>
          <a:solidFill>
            <a:schemeClr val="bg1"/>
          </a:solidFill>
        </p:grpSpPr>
        <p:sp>
          <p:nvSpPr>
            <p:cNvPr id="48" name="Freeform 45">
              <a:extLst>
                <a:ext uri="{FF2B5EF4-FFF2-40B4-BE49-F238E27FC236}">
                  <a16:creationId xmlns:a16="http://schemas.microsoft.com/office/drawing/2014/main" id="{837C2E31-9123-4300-950F-A5678EBCB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4465" y="3223727"/>
              <a:ext cx="189925" cy="336325"/>
            </a:xfrm>
            <a:custGeom>
              <a:avLst/>
              <a:gdLst>
                <a:gd name="T0" fmla="*/ 6350 w 96"/>
                <a:gd name="T1" fmla="*/ 33734 h 168"/>
                <a:gd name="T2" fmla="*/ 106363 w 96"/>
                <a:gd name="T3" fmla="*/ 134938 h 168"/>
                <a:gd name="T4" fmla="*/ 4763 w 96"/>
                <a:gd name="T5" fmla="*/ 237747 h 168"/>
                <a:gd name="T6" fmla="*/ 4763 w 96"/>
                <a:gd name="T7" fmla="*/ 237747 h 168"/>
                <a:gd name="T8" fmla="*/ 0 w 96"/>
                <a:gd name="T9" fmla="*/ 250598 h 168"/>
                <a:gd name="T10" fmla="*/ 19050 w 96"/>
                <a:gd name="T11" fmla="*/ 269875 h 168"/>
                <a:gd name="T12" fmla="*/ 31750 w 96"/>
                <a:gd name="T13" fmla="*/ 265056 h 168"/>
                <a:gd name="T14" fmla="*/ 31750 w 96"/>
                <a:gd name="T15" fmla="*/ 265056 h 168"/>
                <a:gd name="T16" fmla="*/ 146050 w 96"/>
                <a:gd name="T17" fmla="*/ 149395 h 168"/>
                <a:gd name="T18" fmla="*/ 146050 w 96"/>
                <a:gd name="T19" fmla="*/ 149395 h 168"/>
                <a:gd name="T20" fmla="*/ 152400 w 96"/>
                <a:gd name="T21" fmla="*/ 134938 h 168"/>
                <a:gd name="T22" fmla="*/ 152400 w 96"/>
                <a:gd name="T23" fmla="*/ 134938 h 168"/>
                <a:gd name="T24" fmla="*/ 152400 w 96"/>
                <a:gd name="T25" fmla="*/ 134938 h 168"/>
                <a:gd name="T26" fmla="*/ 146050 w 96"/>
                <a:gd name="T27" fmla="*/ 120480 h 168"/>
                <a:gd name="T28" fmla="*/ 146050 w 96"/>
                <a:gd name="T29" fmla="*/ 120480 h 168"/>
                <a:gd name="T30" fmla="*/ 31750 w 96"/>
                <a:gd name="T31" fmla="*/ 4819 h 168"/>
                <a:gd name="T32" fmla="*/ 31750 w 96"/>
                <a:gd name="T33" fmla="*/ 4819 h 168"/>
                <a:gd name="T34" fmla="*/ 19050 w 96"/>
                <a:gd name="T35" fmla="*/ 0 h 168"/>
                <a:gd name="T36" fmla="*/ 0 w 96"/>
                <a:gd name="T37" fmla="*/ 19277 h 168"/>
                <a:gd name="T38" fmla="*/ 6350 w 96"/>
                <a:gd name="T39" fmla="*/ 33734 h 1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6" h="168">
                  <a:moveTo>
                    <a:pt x="4" y="21"/>
                  </a:moveTo>
                  <a:cubicBezTo>
                    <a:pt x="67" y="84"/>
                    <a:pt x="67" y="84"/>
                    <a:pt x="67" y="84"/>
                  </a:cubicBezTo>
                  <a:cubicBezTo>
                    <a:pt x="3" y="148"/>
                    <a:pt x="3" y="148"/>
                    <a:pt x="3" y="148"/>
                  </a:cubicBezTo>
                  <a:cubicBezTo>
                    <a:pt x="3" y="148"/>
                    <a:pt x="3" y="148"/>
                    <a:pt x="3" y="148"/>
                  </a:cubicBezTo>
                  <a:cubicBezTo>
                    <a:pt x="1" y="150"/>
                    <a:pt x="0" y="153"/>
                    <a:pt x="0" y="156"/>
                  </a:cubicBezTo>
                  <a:cubicBezTo>
                    <a:pt x="0" y="163"/>
                    <a:pt x="5" y="168"/>
                    <a:pt x="12" y="168"/>
                  </a:cubicBezTo>
                  <a:cubicBezTo>
                    <a:pt x="15" y="168"/>
                    <a:pt x="18" y="167"/>
                    <a:pt x="20" y="165"/>
                  </a:cubicBezTo>
                  <a:cubicBezTo>
                    <a:pt x="20" y="165"/>
                    <a:pt x="20" y="165"/>
                    <a:pt x="20" y="165"/>
                  </a:cubicBezTo>
                  <a:cubicBezTo>
                    <a:pt x="92" y="93"/>
                    <a:pt x="92" y="93"/>
                    <a:pt x="92" y="93"/>
                  </a:cubicBezTo>
                  <a:cubicBezTo>
                    <a:pt x="92" y="93"/>
                    <a:pt x="92" y="93"/>
                    <a:pt x="92" y="93"/>
                  </a:cubicBezTo>
                  <a:cubicBezTo>
                    <a:pt x="95" y="90"/>
                    <a:pt x="96" y="87"/>
                    <a:pt x="96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1"/>
                    <a:pt x="95" y="77"/>
                    <a:pt x="92" y="75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8" y="1"/>
                    <a:pt x="15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16"/>
                    <a:pt x="2" y="19"/>
                    <a:pt x="4" y="21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" name="Freeform 46">
              <a:extLst>
                <a:ext uri="{FF2B5EF4-FFF2-40B4-BE49-F238E27FC236}">
                  <a16:creationId xmlns:a16="http://schemas.microsoft.com/office/drawing/2014/main" id="{EA222C8C-22F0-43C7-BD44-2B42C3F15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2216" y="3223727"/>
              <a:ext cx="191902" cy="336325"/>
            </a:xfrm>
            <a:custGeom>
              <a:avLst/>
              <a:gdLst>
                <a:gd name="T0" fmla="*/ 147571 w 96"/>
                <a:gd name="T1" fmla="*/ 33734 h 168"/>
                <a:gd name="T2" fmla="*/ 46517 w 96"/>
                <a:gd name="T3" fmla="*/ 134938 h 168"/>
                <a:gd name="T4" fmla="*/ 149175 w 96"/>
                <a:gd name="T5" fmla="*/ 237747 h 168"/>
                <a:gd name="T6" fmla="*/ 149175 w 96"/>
                <a:gd name="T7" fmla="*/ 237747 h 168"/>
                <a:gd name="T8" fmla="*/ 153987 w 96"/>
                <a:gd name="T9" fmla="*/ 250598 h 168"/>
                <a:gd name="T10" fmla="*/ 134739 w 96"/>
                <a:gd name="T11" fmla="*/ 269875 h 168"/>
                <a:gd name="T12" fmla="*/ 121906 w 96"/>
                <a:gd name="T13" fmla="*/ 265056 h 168"/>
                <a:gd name="T14" fmla="*/ 121906 w 96"/>
                <a:gd name="T15" fmla="*/ 265056 h 168"/>
                <a:gd name="T16" fmla="*/ 6416 w 96"/>
                <a:gd name="T17" fmla="*/ 149395 h 168"/>
                <a:gd name="T18" fmla="*/ 6416 w 96"/>
                <a:gd name="T19" fmla="*/ 149395 h 168"/>
                <a:gd name="T20" fmla="*/ 0 w 96"/>
                <a:gd name="T21" fmla="*/ 134938 h 168"/>
                <a:gd name="T22" fmla="*/ 0 w 96"/>
                <a:gd name="T23" fmla="*/ 134938 h 168"/>
                <a:gd name="T24" fmla="*/ 0 w 96"/>
                <a:gd name="T25" fmla="*/ 134938 h 168"/>
                <a:gd name="T26" fmla="*/ 6416 w 96"/>
                <a:gd name="T27" fmla="*/ 120480 h 168"/>
                <a:gd name="T28" fmla="*/ 6416 w 96"/>
                <a:gd name="T29" fmla="*/ 120480 h 168"/>
                <a:gd name="T30" fmla="*/ 121906 w 96"/>
                <a:gd name="T31" fmla="*/ 4819 h 168"/>
                <a:gd name="T32" fmla="*/ 121906 w 96"/>
                <a:gd name="T33" fmla="*/ 4819 h 168"/>
                <a:gd name="T34" fmla="*/ 134739 w 96"/>
                <a:gd name="T35" fmla="*/ 0 h 168"/>
                <a:gd name="T36" fmla="*/ 153987 w 96"/>
                <a:gd name="T37" fmla="*/ 19277 h 168"/>
                <a:gd name="T38" fmla="*/ 147571 w 96"/>
                <a:gd name="T39" fmla="*/ 33734 h 1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6" h="168">
                  <a:moveTo>
                    <a:pt x="92" y="21"/>
                  </a:moveTo>
                  <a:cubicBezTo>
                    <a:pt x="29" y="84"/>
                    <a:pt x="29" y="84"/>
                    <a:pt x="29" y="84"/>
                  </a:cubicBezTo>
                  <a:cubicBezTo>
                    <a:pt x="93" y="148"/>
                    <a:pt x="93" y="148"/>
                    <a:pt x="93" y="148"/>
                  </a:cubicBezTo>
                  <a:cubicBezTo>
                    <a:pt x="93" y="148"/>
                    <a:pt x="93" y="148"/>
                    <a:pt x="93" y="148"/>
                  </a:cubicBezTo>
                  <a:cubicBezTo>
                    <a:pt x="95" y="150"/>
                    <a:pt x="96" y="153"/>
                    <a:pt x="96" y="156"/>
                  </a:cubicBezTo>
                  <a:cubicBezTo>
                    <a:pt x="96" y="163"/>
                    <a:pt x="91" y="168"/>
                    <a:pt x="84" y="168"/>
                  </a:cubicBezTo>
                  <a:cubicBezTo>
                    <a:pt x="81" y="168"/>
                    <a:pt x="78" y="167"/>
                    <a:pt x="76" y="165"/>
                  </a:cubicBezTo>
                  <a:cubicBezTo>
                    <a:pt x="76" y="165"/>
                    <a:pt x="76" y="165"/>
                    <a:pt x="76" y="165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1" y="90"/>
                    <a:pt x="0" y="87"/>
                    <a:pt x="0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1"/>
                    <a:pt x="1" y="77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8" y="1"/>
                    <a:pt x="81" y="0"/>
                    <a:pt x="84" y="0"/>
                  </a:cubicBezTo>
                  <a:cubicBezTo>
                    <a:pt x="91" y="0"/>
                    <a:pt x="96" y="5"/>
                    <a:pt x="96" y="12"/>
                  </a:cubicBezTo>
                  <a:cubicBezTo>
                    <a:pt x="96" y="16"/>
                    <a:pt x="94" y="19"/>
                    <a:pt x="92" y="21"/>
                  </a:cubicBezTo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txBody>
            <a:bodyPr/>
            <a:lstStyle/>
            <a:p>
              <a:endParaRPr lang="en-US" dirty="0">
                <a:solidFill>
                  <a:schemeClr val="tx1">
                    <a:alpha val="10000"/>
                  </a:schemeClr>
                </a:solidFill>
              </a:endParaRPr>
            </a:p>
          </p:txBody>
        </p:sp>
      </p:grpSp>
      <p:sp>
        <p:nvSpPr>
          <p:cNvPr id="33" name="e7d195523061f1c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84BEA2B79408FB094EB53969616FE837C4DDA931FB4B50B287CB9E976CD8A286A6B09202195C1175A3DD2481D60CC400D4B189D647C2854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238521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 xmlns:a16="http://schemas.microsoft.com/office/drawing/2014/main" xmlns:a14="http://schemas.microsoft.com/office/drawing/2010/main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占位符 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3" name="Rectangle 1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56EB942A-FA6B-4F78-B5ED-CE9CAE4AC292}"/>
              </a:ext>
            </a:extLst>
          </p:cNvPr>
          <p:cNvSpPr/>
          <p:nvPr/>
        </p:nvSpPr>
        <p:spPr>
          <a:xfrm>
            <a:off x="3129214" y="2286001"/>
            <a:ext cx="5933574" cy="2286000"/>
          </a:xfrm>
          <a:prstGeom prst="rect">
            <a:avLst/>
          </a:prstGeom>
          <a:solidFill>
            <a:srgbClr val="05151D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Rectangle 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A3B3706B-8569-4DE3-BC99-F0ED7C858375}"/>
              </a:ext>
            </a:extLst>
          </p:cNvPr>
          <p:cNvSpPr/>
          <p:nvPr/>
        </p:nvSpPr>
        <p:spPr>
          <a:xfrm>
            <a:off x="0" y="1"/>
            <a:ext cx="3129213" cy="2286000"/>
          </a:xfrm>
          <a:prstGeom prst="rect">
            <a:avLst/>
          </a:prstGeom>
          <a:solidFill>
            <a:srgbClr val="061A24"/>
          </a:solidFill>
          <a:ln>
            <a:noFill/>
          </a:ln>
          <a:effectLst>
            <a:outerShdw blurRad="406400" sx="102000" sy="102000" algn="ctr" rotWithShape="0">
              <a:prstClr val="black">
                <a:alpha val="5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7" name="TextBox 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019F3316-3D7F-4D4D-8BFC-6F2677A397AA}"/>
              </a:ext>
            </a:extLst>
          </p:cNvPr>
          <p:cNvSpPr txBox="1"/>
          <p:nvPr/>
        </p:nvSpPr>
        <p:spPr>
          <a:xfrm>
            <a:off x="585287" y="608958"/>
            <a:ext cx="21996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+mj-lt"/>
              </a:rPr>
              <a:t>Insert title here</a:t>
            </a:r>
          </a:p>
        </p:txBody>
      </p:sp>
      <p:sp>
        <p:nvSpPr>
          <p:cNvPr id="8" name="TextBox 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428B4FF1-9DB7-46A9-9B7E-5F2465A9A94F}"/>
              </a:ext>
            </a:extLst>
          </p:cNvPr>
          <p:cNvSpPr txBox="1"/>
          <p:nvPr/>
        </p:nvSpPr>
        <p:spPr>
          <a:xfrm>
            <a:off x="585287" y="1065690"/>
            <a:ext cx="235273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</a:rPr>
              <a:t>Hey, hey, hey! It's Fat </a:t>
            </a:r>
            <a:r>
              <a:rPr lang="en-US" altLang="zh-CN" sz="1400" dirty="0">
                <a:solidFill>
                  <a:schemeClr val="bg1"/>
                </a:solidFill>
              </a:rPr>
              <a:t>Company</a:t>
            </a:r>
            <a:r>
              <a:rPr lang="zh-CN" altLang="en-US" sz="1400" dirty="0">
                <a:solidFill>
                  <a:schemeClr val="bg1"/>
                </a:solidFill>
              </a:rPr>
              <a:t>! Now I'm gonna sing a song for you, </a:t>
            </a:r>
            <a:endParaRPr lang="en-US" altLang="zh-CN" sz="1400" dirty="0">
              <a:solidFill>
                <a:schemeClr val="bg1"/>
              </a:solidFill>
            </a:endParaRPr>
          </a:p>
        </p:txBody>
      </p:sp>
      <p:sp>
        <p:nvSpPr>
          <p:cNvPr id="11" name="Oval 1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6C56E9AB-4197-44CF-B050-4347B81DAABE}"/>
              </a:ext>
            </a:extLst>
          </p:cNvPr>
          <p:cNvSpPr/>
          <p:nvPr/>
        </p:nvSpPr>
        <p:spPr>
          <a:xfrm>
            <a:off x="336917" y="736514"/>
            <a:ext cx="153429" cy="153429"/>
          </a:xfrm>
          <a:prstGeom prst="ellipse">
            <a:avLst/>
          </a:prstGeom>
          <a:gradFill>
            <a:gsLst>
              <a:gs pos="0">
                <a:schemeClr val="accent1"/>
              </a:gs>
              <a:gs pos="56400">
                <a:srgbClr val="16CBE6"/>
              </a:gs>
              <a:gs pos="10000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42" name="Shape 77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9829607" y="3585855"/>
            <a:ext cx="1348603" cy="5909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7708" rIns="27708">
            <a:spAutoFit/>
          </a:bodyPr>
          <a:lstStyle/>
          <a:p>
            <a:pPr algn="ctr">
              <a:lnSpc>
                <a:spcPct val="120000"/>
              </a:lnSpc>
              <a:defRPr sz="18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600" dirty="0">
                <a:latin typeface="+mj-lt"/>
              </a:rPr>
              <a:t>17,805$ </a:t>
            </a:r>
            <a:r>
              <a:rPr sz="1600" dirty="0" err="1">
                <a:latin typeface="+mj-lt"/>
              </a:rPr>
              <a:t>Bn</a:t>
            </a:r>
            <a:endParaRPr sz="1600" dirty="0">
              <a:latin typeface="+mj-lt"/>
            </a:endParaRPr>
          </a:p>
          <a:p>
            <a:pPr algn="ctr"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100" dirty="0">
                <a:latin typeface="+mj-lt"/>
              </a:rPr>
              <a:t>Business Strategies</a:t>
            </a:r>
          </a:p>
        </p:txBody>
      </p:sp>
      <p:sp>
        <p:nvSpPr>
          <p:cNvPr id="43" name="Shape 68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10097547" y="2676897"/>
            <a:ext cx="812723" cy="4062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100" dirty="0">
                <a:latin typeface="+mj-lt"/>
              </a:rPr>
              <a:t>25%</a:t>
            </a:r>
          </a:p>
          <a:p>
            <a:pPr algn="ctr"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100" dirty="0">
                <a:latin typeface="+mj-lt"/>
              </a:rPr>
              <a:t>Description </a:t>
            </a:r>
          </a:p>
        </p:txBody>
      </p:sp>
      <p:sp>
        <p:nvSpPr>
          <p:cNvPr id="44" name="Shape 68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9932000" y="3181455"/>
            <a:ext cx="1143816" cy="282512"/>
          </a:xfrm>
          <a:prstGeom prst="rect">
            <a:avLst/>
          </a:prstGeom>
          <a:gradFill>
            <a:gsLst>
              <a:gs pos="1000">
                <a:schemeClr val="accent2"/>
              </a:gs>
              <a:gs pos="100000">
                <a:schemeClr val="accent3"/>
              </a:gs>
            </a:gsLst>
            <a:lin ang="20498872" scaled="0"/>
          </a:gradFill>
          <a:ln w="12700">
            <a:miter lim="400000"/>
          </a:ln>
        </p:spPr>
        <p:txBody>
          <a:bodyPr lIns="45719" rIns="45719" anchor="ctr"/>
          <a:lstStyle/>
          <a:p>
            <a:endParaRPr>
              <a:latin typeface="+mj-lt"/>
            </a:endParaRPr>
          </a:p>
        </p:txBody>
      </p:sp>
      <p:sp>
        <p:nvSpPr>
          <p:cNvPr id="45" name="Shape 69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10432461" y="3252893"/>
            <a:ext cx="142894" cy="1396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38901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>
              <a:latin typeface="+mj-lt"/>
            </a:endParaRPr>
          </a:p>
        </p:txBody>
      </p:sp>
      <p:sp>
        <p:nvSpPr>
          <p:cNvPr id="48" name="Rectangle 4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A3B3706B-8569-4DE3-BC99-F0ED7C858375}"/>
              </a:ext>
            </a:extLst>
          </p:cNvPr>
          <p:cNvSpPr/>
          <p:nvPr/>
        </p:nvSpPr>
        <p:spPr>
          <a:xfrm>
            <a:off x="8965108" y="4572000"/>
            <a:ext cx="3129213" cy="2286000"/>
          </a:xfrm>
          <a:prstGeom prst="rect">
            <a:avLst/>
          </a:prstGeom>
          <a:solidFill>
            <a:srgbClr val="061A24"/>
          </a:solidFill>
          <a:ln>
            <a:noFill/>
          </a:ln>
          <a:effectLst>
            <a:outerShdw blurRad="406400" sx="102000" sy="102000" algn="ctr" rotWithShape="0">
              <a:prstClr val="black">
                <a:alpha val="5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49" name="TextBox 4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019F3316-3D7F-4D4D-8BFC-6F2677A397AA}"/>
              </a:ext>
            </a:extLst>
          </p:cNvPr>
          <p:cNvSpPr txBox="1"/>
          <p:nvPr/>
        </p:nvSpPr>
        <p:spPr>
          <a:xfrm>
            <a:off x="9550395" y="5180957"/>
            <a:ext cx="21996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+mj-lt"/>
              </a:rPr>
              <a:t>Insert title here</a:t>
            </a:r>
          </a:p>
        </p:txBody>
      </p:sp>
      <p:sp>
        <p:nvSpPr>
          <p:cNvPr id="50" name="TextBox 4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428B4FF1-9DB7-46A9-9B7E-5F2465A9A94F}"/>
              </a:ext>
            </a:extLst>
          </p:cNvPr>
          <p:cNvSpPr txBox="1"/>
          <p:nvPr/>
        </p:nvSpPr>
        <p:spPr>
          <a:xfrm>
            <a:off x="9550395" y="5637689"/>
            <a:ext cx="235273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</a:rPr>
              <a:t>Hey, hey, hey! It's Fat </a:t>
            </a:r>
            <a:r>
              <a:rPr lang="en-US" altLang="zh-CN" sz="1400" dirty="0">
                <a:solidFill>
                  <a:schemeClr val="bg1"/>
                </a:solidFill>
              </a:rPr>
              <a:t>Company</a:t>
            </a:r>
            <a:r>
              <a:rPr lang="zh-CN" altLang="en-US" sz="1400" dirty="0">
                <a:solidFill>
                  <a:schemeClr val="bg1"/>
                </a:solidFill>
              </a:rPr>
              <a:t>! Now I'm gonna sing a song for you, </a:t>
            </a:r>
            <a:endParaRPr lang="en-US" altLang="zh-CN" sz="1400" dirty="0">
              <a:solidFill>
                <a:schemeClr val="bg1"/>
              </a:solidFill>
            </a:endParaRPr>
          </a:p>
        </p:txBody>
      </p:sp>
      <p:sp>
        <p:nvSpPr>
          <p:cNvPr id="69" name="Oval 6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6C56E9AB-4197-44CF-B050-4347B81DAABE}"/>
              </a:ext>
            </a:extLst>
          </p:cNvPr>
          <p:cNvSpPr/>
          <p:nvPr/>
        </p:nvSpPr>
        <p:spPr>
          <a:xfrm>
            <a:off x="9302025" y="5308513"/>
            <a:ext cx="153429" cy="153429"/>
          </a:xfrm>
          <a:prstGeom prst="ellipse">
            <a:avLst/>
          </a:prstGeom>
          <a:gradFill>
            <a:gsLst>
              <a:gs pos="0">
                <a:schemeClr val="accent1"/>
              </a:gs>
              <a:gs pos="56400">
                <a:srgbClr val="16CBE6"/>
              </a:gs>
              <a:gs pos="10000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Shape 77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1095852" y="3585855"/>
            <a:ext cx="1348603" cy="5909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7708" rIns="27708">
            <a:spAutoFit/>
          </a:bodyPr>
          <a:lstStyle/>
          <a:p>
            <a:pPr algn="ctr">
              <a:lnSpc>
                <a:spcPct val="120000"/>
              </a:lnSpc>
              <a:defRPr sz="18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600" dirty="0">
                <a:latin typeface="+mj-lt"/>
              </a:rPr>
              <a:t>17,805$ </a:t>
            </a:r>
            <a:r>
              <a:rPr sz="1600" dirty="0" err="1">
                <a:latin typeface="+mj-lt"/>
              </a:rPr>
              <a:t>Bn</a:t>
            </a:r>
            <a:endParaRPr sz="1600" dirty="0">
              <a:latin typeface="+mj-lt"/>
            </a:endParaRPr>
          </a:p>
          <a:p>
            <a:pPr algn="ctr"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100" dirty="0">
                <a:latin typeface="+mj-lt"/>
              </a:rPr>
              <a:t>Business Strategies</a:t>
            </a:r>
          </a:p>
        </p:txBody>
      </p:sp>
      <p:sp>
        <p:nvSpPr>
          <p:cNvPr id="34" name="Shape 68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1363792" y="2676897"/>
            <a:ext cx="812723" cy="4062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100" dirty="0">
                <a:latin typeface="+mj-lt"/>
              </a:rPr>
              <a:t>25%</a:t>
            </a:r>
          </a:p>
          <a:p>
            <a:pPr algn="ctr"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100" dirty="0">
                <a:latin typeface="+mj-lt"/>
              </a:rPr>
              <a:t>Description </a:t>
            </a:r>
          </a:p>
        </p:txBody>
      </p:sp>
      <p:sp>
        <p:nvSpPr>
          <p:cNvPr id="35" name="Shape 68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1198245" y="3181455"/>
            <a:ext cx="1143816" cy="282512"/>
          </a:xfrm>
          <a:prstGeom prst="rect">
            <a:avLst/>
          </a:prstGeom>
          <a:gradFill>
            <a:gsLst>
              <a:gs pos="1000">
                <a:schemeClr val="accent2"/>
              </a:gs>
              <a:gs pos="100000">
                <a:schemeClr val="accent3"/>
              </a:gs>
            </a:gsLst>
            <a:lin ang="20498872" scaled="0"/>
          </a:gradFill>
          <a:ln w="12700">
            <a:miter lim="400000"/>
          </a:ln>
        </p:spPr>
        <p:txBody>
          <a:bodyPr lIns="45719" rIns="45719" anchor="ctr"/>
          <a:lstStyle/>
          <a:p>
            <a:endParaRPr>
              <a:latin typeface="+mj-lt"/>
            </a:endParaRPr>
          </a:p>
        </p:txBody>
      </p:sp>
      <p:sp>
        <p:nvSpPr>
          <p:cNvPr id="36" name="Shape 69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1698706" y="3252893"/>
            <a:ext cx="142894" cy="1396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38901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>
              <a:latin typeface="+mj-lt"/>
            </a:endParaRPr>
          </a:p>
        </p:txBody>
      </p:sp>
      <p:sp>
        <p:nvSpPr>
          <p:cNvPr id="57" name="Oval 5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1CF0706-E70F-45EC-BEF7-F7777756A9F4}"/>
              </a:ext>
            </a:extLst>
          </p:cNvPr>
          <p:cNvSpPr/>
          <p:nvPr/>
        </p:nvSpPr>
        <p:spPr>
          <a:xfrm>
            <a:off x="3463922" y="5017616"/>
            <a:ext cx="914400" cy="914400"/>
          </a:xfrm>
          <a:prstGeom prst="ellipse">
            <a:avLst/>
          </a:prstGeom>
          <a:noFill/>
          <a:ln w="508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+mj-lt"/>
                <a:cs typeface="Montserrat" panose="02000000000000000000" pitchFamily="2" charset="0"/>
              </a:rPr>
              <a:t>20%</a:t>
            </a:r>
          </a:p>
        </p:txBody>
      </p:sp>
      <p:sp>
        <p:nvSpPr>
          <p:cNvPr id="58" name="Arc 5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7079100A-0588-4662-B8D9-E437851F3F7C}"/>
              </a:ext>
            </a:extLst>
          </p:cNvPr>
          <p:cNvSpPr/>
          <p:nvPr/>
        </p:nvSpPr>
        <p:spPr>
          <a:xfrm>
            <a:off x="3463922" y="5017616"/>
            <a:ext cx="914400" cy="914400"/>
          </a:xfrm>
          <a:prstGeom prst="arc">
            <a:avLst>
              <a:gd name="adj1" fmla="val 16200000"/>
              <a:gd name="adj2" fmla="val 20697729"/>
            </a:avLst>
          </a:prstGeom>
          <a:noFill/>
          <a:ln w="50800"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9" name="Oval 5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3141A74E-0EF3-45D7-A6AA-239BE6D774DF}"/>
              </a:ext>
            </a:extLst>
          </p:cNvPr>
          <p:cNvSpPr/>
          <p:nvPr/>
        </p:nvSpPr>
        <p:spPr>
          <a:xfrm>
            <a:off x="4725133" y="5017616"/>
            <a:ext cx="914400" cy="914400"/>
          </a:xfrm>
          <a:prstGeom prst="ellipse">
            <a:avLst/>
          </a:prstGeom>
          <a:noFill/>
          <a:ln w="508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+mj-lt"/>
                <a:cs typeface="Montserrat" panose="02000000000000000000" pitchFamily="2" charset="0"/>
              </a:rPr>
              <a:t>50%</a:t>
            </a:r>
          </a:p>
        </p:txBody>
      </p:sp>
      <p:sp>
        <p:nvSpPr>
          <p:cNvPr id="60" name="Arc 5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3D5CCC9E-7AA6-460F-8E3D-6352E3193565}"/>
              </a:ext>
            </a:extLst>
          </p:cNvPr>
          <p:cNvSpPr/>
          <p:nvPr/>
        </p:nvSpPr>
        <p:spPr>
          <a:xfrm>
            <a:off x="4725133" y="5017616"/>
            <a:ext cx="914400" cy="914400"/>
          </a:xfrm>
          <a:prstGeom prst="arc">
            <a:avLst>
              <a:gd name="adj1" fmla="val 16200000"/>
              <a:gd name="adj2" fmla="val 5556158"/>
            </a:avLst>
          </a:prstGeom>
          <a:noFill/>
          <a:ln w="50800"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61" name="Oval 6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56E66C6C-5A88-4F6B-A151-27EC6673F1C1}"/>
              </a:ext>
            </a:extLst>
          </p:cNvPr>
          <p:cNvSpPr/>
          <p:nvPr/>
        </p:nvSpPr>
        <p:spPr>
          <a:xfrm>
            <a:off x="5986344" y="5017616"/>
            <a:ext cx="914400" cy="914400"/>
          </a:xfrm>
          <a:prstGeom prst="ellipse">
            <a:avLst/>
          </a:prstGeom>
          <a:noFill/>
          <a:ln w="508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+mj-lt"/>
                <a:cs typeface="Montserrat" panose="02000000000000000000" pitchFamily="2" charset="0"/>
              </a:rPr>
              <a:t>80%</a:t>
            </a:r>
          </a:p>
        </p:txBody>
      </p:sp>
      <p:sp>
        <p:nvSpPr>
          <p:cNvPr id="62" name="Arc 6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2B60C75E-CDC9-4453-A84B-2CD1A98BD70E}"/>
              </a:ext>
            </a:extLst>
          </p:cNvPr>
          <p:cNvSpPr/>
          <p:nvPr/>
        </p:nvSpPr>
        <p:spPr>
          <a:xfrm>
            <a:off x="5986344" y="5017616"/>
            <a:ext cx="914400" cy="914400"/>
          </a:xfrm>
          <a:prstGeom prst="arc">
            <a:avLst>
              <a:gd name="adj1" fmla="val 16200000"/>
              <a:gd name="adj2" fmla="val 12516629"/>
            </a:avLst>
          </a:prstGeom>
          <a:noFill/>
          <a:ln w="50800"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63" name="Oval 6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1A074551-85A0-4568-859E-92110F4D1E50}"/>
              </a:ext>
            </a:extLst>
          </p:cNvPr>
          <p:cNvSpPr/>
          <p:nvPr/>
        </p:nvSpPr>
        <p:spPr>
          <a:xfrm>
            <a:off x="7209455" y="5017616"/>
            <a:ext cx="914400" cy="914400"/>
          </a:xfrm>
          <a:prstGeom prst="ellipse">
            <a:avLst/>
          </a:prstGeom>
          <a:noFill/>
          <a:ln w="508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+mj-lt"/>
                <a:cs typeface="Montserrat" panose="02000000000000000000" pitchFamily="2" charset="0"/>
              </a:rPr>
              <a:t>60%</a:t>
            </a:r>
          </a:p>
        </p:txBody>
      </p:sp>
      <p:sp>
        <p:nvSpPr>
          <p:cNvPr id="64" name="Arc 6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656401C4-E768-41A8-98C2-1700C1226C0B}"/>
              </a:ext>
            </a:extLst>
          </p:cNvPr>
          <p:cNvSpPr/>
          <p:nvPr/>
        </p:nvSpPr>
        <p:spPr>
          <a:xfrm>
            <a:off x="7209455" y="5017616"/>
            <a:ext cx="914400" cy="914400"/>
          </a:xfrm>
          <a:prstGeom prst="arc">
            <a:avLst>
              <a:gd name="adj1" fmla="val 16200000"/>
              <a:gd name="adj2" fmla="val 7939478"/>
            </a:avLst>
          </a:prstGeom>
          <a:noFill/>
          <a:ln w="50800"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65" name="Text Placeholder 3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4ADB7407-9838-4E90-A6B3-FEC4603259F6}"/>
              </a:ext>
            </a:extLst>
          </p:cNvPr>
          <p:cNvSpPr txBox="1">
            <a:spLocks/>
          </p:cNvSpPr>
          <p:nvPr/>
        </p:nvSpPr>
        <p:spPr>
          <a:xfrm>
            <a:off x="7320823" y="6032812"/>
            <a:ext cx="691664" cy="276999"/>
          </a:xfrm>
          <a:prstGeom prst="rect">
            <a:avLst/>
          </a:prstGeom>
          <a:effectLst/>
        </p:spPr>
        <p:txBody>
          <a:bodyPr wrap="none" lIns="91440" tIns="45720" rIns="91440" bIns="45720">
            <a:spAutoFit/>
          </a:bodyPr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+mj-lt"/>
                <a:ea typeface="Questrial" panose="020B0606030504020204" pitchFamily="34" charset="0"/>
                <a:cs typeface="Montserrat" panose="02000000000000000000" pitchFamily="2" charset="0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Type D</a:t>
            </a:r>
          </a:p>
        </p:txBody>
      </p:sp>
      <p:sp>
        <p:nvSpPr>
          <p:cNvPr id="66" name="Text Placeholder 3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8859746-5285-49BF-9B17-A0E2DE4761C4}"/>
              </a:ext>
            </a:extLst>
          </p:cNvPr>
          <p:cNvSpPr txBox="1">
            <a:spLocks/>
          </p:cNvSpPr>
          <p:nvPr/>
        </p:nvSpPr>
        <p:spPr>
          <a:xfrm>
            <a:off x="3579298" y="6052555"/>
            <a:ext cx="683649" cy="276999"/>
          </a:xfrm>
          <a:prstGeom prst="rect">
            <a:avLst/>
          </a:prstGeom>
          <a:effectLst/>
        </p:spPr>
        <p:txBody>
          <a:bodyPr wrap="none" lIns="91440" tIns="45720" rIns="91440" bIns="45720">
            <a:spAutoFit/>
          </a:bodyPr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+mj-lt"/>
                <a:ea typeface="Questrial" panose="020B0606030504020204" pitchFamily="34" charset="0"/>
                <a:cs typeface="Montserrat" panose="02000000000000000000" pitchFamily="2" charset="0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Type A</a:t>
            </a:r>
          </a:p>
        </p:txBody>
      </p:sp>
      <p:sp>
        <p:nvSpPr>
          <p:cNvPr id="67" name="Text Placeholder 3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98F26D3-1266-4B5F-8A0B-02D35187EB62}"/>
              </a:ext>
            </a:extLst>
          </p:cNvPr>
          <p:cNvSpPr txBox="1">
            <a:spLocks/>
          </p:cNvSpPr>
          <p:nvPr/>
        </p:nvSpPr>
        <p:spPr>
          <a:xfrm>
            <a:off x="4846920" y="6055680"/>
            <a:ext cx="670825" cy="276999"/>
          </a:xfrm>
          <a:prstGeom prst="rect">
            <a:avLst/>
          </a:prstGeom>
          <a:effectLst/>
        </p:spPr>
        <p:txBody>
          <a:bodyPr wrap="none" lIns="91440" tIns="45720" rIns="91440" bIns="45720">
            <a:spAutoFit/>
          </a:bodyPr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+mj-lt"/>
                <a:ea typeface="Questrial" panose="020B0606030504020204" pitchFamily="34" charset="0"/>
                <a:cs typeface="Montserrat" panose="02000000000000000000" pitchFamily="2" charset="0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Type B</a:t>
            </a:r>
          </a:p>
        </p:txBody>
      </p:sp>
      <p:sp>
        <p:nvSpPr>
          <p:cNvPr id="68" name="Text Placeholder 3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68EAEB17-BF4F-4719-80F7-613C408F7205}"/>
              </a:ext>
            </a:extLst>
          </p:cNvPr>
          <p:cNvSpPr txBox="1">
            <a:spLocks/>
          </p:cNvSpPr>
          <p:nvPr/>
        </p:nvSpPr>
        <p:spPr>
          <a:xfrm>
            <a:off x="6101654" y="6055095"/>
            <a:ext cx="677238" cy="276999"/>
          </a:xfrm>
          <a:prstGeom prst="rect">
            <a:avLst/>
          </a:prstGeom>
          <a:effectLst/>
        </p:spPr>
        <p:txBody>
          <a:bodyPr wrap="none" lIns="91440" tIns="45720" rIns="91440" bIns="45720">
            <a:spAutoFit/>
          </a:bodyPr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+mj-lt"/>
                <a:ea typeface="Questrial" panose="020B0606030504020204" pitchFamily="34" charset="0"/>
                <a:cs typeface="Montserrat" panose="02000000000000000000" pitchFamily="2" charset="0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</a:rPr>
              <a:t>Type C</a:t>
            </a:r>
          </a:p>
        </p:txBody>
      </p:sp>
      <p:sp>
        <p:nvSpPr>
          <p:cNvPr id="39" name="TextBox 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6450849A-B830-4274-A335-EB64289B7E89}"/>
              </a:ext>
            </a:extLst>
          </p:cNvPr>
          <p:cNvSpPr txBox="1"/>
          <p:nvPr/>
        </p:nvSpPr>
        <p:spPr>
          <a:xfrm>
            <a:off x="3826672" y="736514"/>
            <a:ext cx="45499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>
                <a:latin typeface="+mj-ea"/>
                <a:ea typeface="+mj-ea"/>
              </a:rPr>
              <a:t>About us</a:t>
            </a:r>
          </a:p>
        </p:txBody>
      </p:sp>
      <p:grpSp>
        <p:nvGrpSpPr>
          <p:cNvPr id="40" name="组合 3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GrpSpPr/>
          <p:nvPr/>
        </p:nvGrpSpPr>
        <p:grpSpPr>
          <a:xfrm>
            <a:off x="5341974" y="566704"/>
            <a:ext cx="1553021" cy="257189"/>
            <a:chOff x="698021" y="1374188"/>
            <a:chExt cx="1553021" cy="257189"/>
          </a:xfrm>
        </p:grpSpPr>
        <p:sp>
          <p:nvSpPr>
            <p:cNvPr id="41" name="TextBox 26">
              <a:extLst>
                <a:ext uri="{FF2B5EF4-FFF2-40B4-BE49-F238E27FC236}">
                  <a16:creationId xmlns:a16="http://schemas.microsoft.com/office/drawing/2014/main" id="{098457CE-85C6-4570-8CFA-D98ADA36B6C3}"/>
                </a:ext>
              </a:extLst>
            </p:cNvPr>
            <p:cNvSpPr txBox="1"/>
            <p:nvPr/>
          </p:nvSpPr>
          <p:spPr>
            <a:xfrm>
              <a:off x="698021" y="1374188"/>
              <a:ext cx="77136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000" i="1" dirty="0">
                  <a:ea typeface="Roboto Medium" charset="0"/>
                  <a:cs typeface="Roboto Medium" charset="0"/>
                </a:rPr>
                <a:t>Company</a:t>
              </a:r>
              <a:endParaRPr lang="en-US" sz="1000" i="1" dirty="0">
                <a:ea typeface="Roboto Medium" charset="0"/>
                <a:cs typeface="Roboto Medium" charset="0"/>
              </a:endParaRPr>
            </a:p>
          </p:txBody>
        </p:sp>
        <p:cxnSp>
          <p:nvCxnSpPr>
            <p:cNvPr id="47" name="Straight Connector 27">
              <a:extLst>
                <a:ext uri="{FF2B5EF4-FFF2-40B4-BE49-F238E27FC236}">
                  <a16:creationId xmlns:a16="http://schemas.microsoft.com/office/drawing/2014/main" id="{8C13FF99-F030-4D42-80A7-05C63E49AB9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04402" y="1625027"/>
              <a:ext cx="1546640" cy="4619"/>
            </a:xfrm>
            <a:prstGeom prst="line">
              <a:avLst/>
            </a:prstGeom>
            <a:ln>
              <a:solidFill>
                <a:schemeClr val="bg2">
                  <a:lumMod val="25000"/>
                  <a:lumOff val="75000"/>
                  <a:alpha val="2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28">
              <a:extLst>
                <a:ext uri="{FF2B5EF4-FFF2-40B4-BE49-F238E27FC236}">
                  <a16:creationId xmlns:a16="http://schemas.microsoft.com/office/drawing/2014/main" id="{A0C95351-4DD3-4D0C-9529-B072A66C46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4402" y="1631377"/>
              <a:ext cx="265907" cy="0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Cross 29">
              <a:extLst>
                <a:ext uri="{FF2B5EF4-FFF2-40B4-BE49-F238E27FC236}">
                  <a16:creationId xmlns:a16="http://schemas.microsoft.com/office/drawing/2014/main" id="{610F54E0-9FA4-4339-8AF7-00CC7C22B4D4}"/>
                </a:ext>
              </a:extLst>
            </p:cNvPr>
            <p:cNvSpPr/>
            <p:nvPr/>
          </p:nvSpPr>
          <p:spPr>
            <a:xfrm flipH="1">
              <a:off x="2145024" y="1446712"/>
              <a:ext cx="106018" cy="106018"/>
            </a:xfrm>
            <a:prstGeom prst="plus">
              <a:avLst>
                <a:gd name="adj" fmla="val 375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6" name="TextBox 1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311CE91-0287-4141-9227-A254657467EE}"/>
              </a:ext>
            </a:extLst>
          </p:cNvPr>
          <p:cNvSpPr txBox="1"/>
          <p:nvPr/>
        </p:nvSpPr>
        <p:spPr>
          <a:xfrm>
            <a:off x="4330752" y="1554404"/>
            <a:ext cx="35418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+mj-ea"/>
                <a:ea typeface="+mj-ea"/>
              </a:rPr>
              <a:t>welcome to our </a:t>
            </a:r>
            <a:r>
              <a:rPr lang="en-US" altLang="zh-CN" sz="1400" dirty="0">
                <a:solidFill>
                  <a:schemeClr val="accent1"/>
                </a:solidFill>
                <a:latin typeface="+mj-ea"/>
                <a:ea typeface="+mj-ea"/>
              </a:rPr>
              <a:t>Company </a:t>
            </a:r>
            <a:r>
              <a:rPr lang="en-US" altLang="zh-CN" sz="1400" dirty="0">
                <a:solidFill>
                  <a:schemeClr val="accent1"/>
                </a:solidFill>
                <a:latin typeface="+mj-ea"/>
              </a:rPr>
              <a:t>presentation</a:t>
            </a:r>
          </a:p>
          <a:p>
            <a:pPr algn="ctr"/>
            <a:r>
              <a:rPr lang="en-US" altLang="zh-CN" sz="1400" dirty="0">
                <a:solidFill>
                  <a:schemeClr val="accent1"/>
                </a:solidFill>
                <a:latin typeface="+mj-ea"/>
                <a:ea typeface="+mj-ea"/>
              </a:rPr>
              <a:t> </a:t>
            </a:r>
            <a:endParaRPr lang="en-US" sz="1400" dirty="0">
              <a:solidFill>
                <a:schemeClr val="accent1"/>
              </a:solidFill>
              <a:latin typeface="+mj-ea"/>
              <a:ea typeface="+mj-ea"/>
            </a:endParaRPr>
          </a:p>
        </p:txBody>
      </p:sp>
      <p:sp>
        <p:nvSpPr>
          <p:cNvPr id="70" name="Shape 70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535418" y="4703903"/>
            <a:ext cx="2326576" cy="13542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zh-CN" altLang="en-US" sz="1100" dirty="0"/>
              <a:t>Hey, hey, hey! It's Fat </a:t>
            </a:r>
            <a:r>
              <a:rPr lang="en-US" altLang="zh-CN" sz="1100" dirty="0"/>
              <a:t>Company</a:t>
            </a:r>
            <a:r>
              <a:rPr lang="zh-CN" altLang="en-US" sz="1100" dirty="0"/>
              <a:t>! Now I'm gonna sing a song for you, and this is gonna show you a thing or two. You'll have some fun now With me and the gang, learning from each other While we do our thing.</a:t>
            </a:r>
            <a:r>
              <a:rPr lang="en-US" altLang="zh-CN" sz="1100" dirty="0"/>
              <a:t> Hey, hey, hey! It's Fat Company! </a:t>
            </a:r>
          </a:p>
        </p:txBody>
      </p:sp>
      <p:sp>
        <p:nvSpPr>
          <p:cNvPr id="3" name="e7d195523061f1c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 hidden="1"/>
          <p:cNvSpPr txBox="1"/>
          <p:nvPr/>
        </p:nvSpPr>
        <p:spPr>
          <a:xfrm>
            <a:off x="-355600" y="1803400"/>
            <a:ext cx="322909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105180381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B493C218-4DED-421A-BAF4-27159CF00A06}"/>
              </a:ext>
            </a:extLst>
          </p:cNvPr>
          <p:cNvSpPr/>
          <p:nvPr/>
        </p:nvSpPr>
        <p:spPr>
          <a:xfrm>
            <a:off x="841460" y="1829978"/>
            <a:ext cx="3405298" cy="1935590"/>
          </a:xfrm>
          <a:prstGeom prst="roundRect">
            <a:avLst>
              <a:gd name="adj" fmla="val 712"/>
            </a:avLst>
          </a:prstGeom>
          <a:solidFill>
            <a:schemeClr val="tx1">
              <a:alpha val="27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Freeform 1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A56319F5-1C9E-4BED-9CA2-877AB3D54B31}"/>
              </a:ext>
            </a:extLst>
          </p:cNvPr>
          <p:cNvSpPr>
            <a:spLocks noEditPoints="1"/>
          </p:cNvSpPr>
          <p:nvPr/>
        </p:nvSpPr>
        <p:spPr bwMode="auto">
          <a:xfrm>
            <a:off x="2335924" y="2161677"/>
            <a:ext cx="416369" cy="385345"/>
          </a:xfrm>
          <a:custGeom>
            <a:avLst/>
            <a:gdLst>
              <a:gd name="T0" fmla="*/ 136 w 216"/>
              <a:gd name="T1" fmla="*/ 44 h 200"/>
              <a:gd name="T2" fmla="*/ 84 w 216"/>
              <a:gd name="T3" fmla="*/ 16 h 200"/>
              <a:gd name="T4" fmla="*/ 92 w 216"/>
              <a:gd name="T5" fmla="*/ 24 h 200"/>
              <a:gd name="T6" fmla="*/ 128 w 216"/>
              <a:gd name="T7" fmla="*/ 36 h 200"/>
              <a:gd name="T8" fmla="*/ 92 w 216"/>
              <a:gd name="T9" fmla="*/ 24 h 200"/>
              <a:gd name="T10" fmla="*/ 152 w 216"/>
              <a:gd name="T11" fmla="*/ 36 h 200"/>
              <a:gd name="T12" fmla="*/ 132 w 216"/>
              <a:gd name="T13" fmla="*/ 0 h 200"/>
              <a:gd name="T14" fmla="*/ 68 w 216"/>
              <a:gd name="T15" fmla="*/ 20 h 200"/>
              <a:gd name="T16" fmla="*/ 56 w 216"/>
              <a:gd name="T17" fmla="*/ 36 h 200"/>
              <a:gd name="T18" fmla="*/ 20 w 216"/>
              <a:gd name="T19" fmla="*/ 24 h 200"/>
              <a:gd name="T20" fmla="*/ 0 w 216"/>
              <a:gd name="T21" fmla="*/ 56 h 200"/>
              <a:gd name="T22" fmla="*/ 20 w 216"/>
              <a:gd name="T23" fmla="*/ 172 h 200"/>
              <a:gd name="T24" fmla="*/ 109 w 216"/>
              <a:gd name="T25" fmla="*/ 200 h 200"/>
              <a:gd name="T26" fmla="*/ 196 w 216"/>
              <a:gd name="T27" fmla="*/ 172 h 200"/>
              <a:gd name="T28" fmla="*/ 216 w 216"/>
              <a:gd name="T29" fmla="*/ 56 h 200"/>
              <a:gd name="T30" fmla="*/ 28 w 216"/>
              <a:gd name="T31" fmla="*/ 32 h 200"/>
              <a:gd name="T32" fmla="*/ 48 w 216"/>
              <a:gd name="T33" fmla="*/ 36 h 200"/>
              <a:gd name="T34" fmla="*/ 28 w 216"/>
              <a:gd name="T35" fmla="*/ 32 h 200"/>
              <a:gd name="T36" fmla="*/ 162 w 216"/>
              <a:gd name="T37" fmla="*/ 144 h 200"/>
              <a:gd name="T38" fmla="*/ 62 w 216"/>
              <a:gd name="T39" fmla="*/ 165 h 200"/>
              <a:gd name="T40" fmla="*/ 60 w 216"/>
              <a:gd name="T41" fmla="*/ 161 h 200"/>
              <a:gd name="T42" fmla="*/ 58 w 216"/>
              <a:gd name="T43" fmla="*/ 155 h 200"/>
              <a:gd name="T44" fmla="*/ 56 w 216"/>
              <a:gd name="T45" fmla="*/ 151 h 200"/>
              <a:gd name="T46" fmla="*/ 55 w 216"/>
              <a:gd name="T47" fmla="*/ 145 h 200"/>
              <a:gd name="T48" fmla="*/ 55 w 216"/>
              <a:gd name="T49" fmla="*/ 138 h 200"/>
              <a:gd name="T50" fmla="*/ 163 w 216"/>
              <a:gd name="T51" fmla="*/ 138 h 200"/>
              <a:gd name="T52" fmla="*/ 208 w 216"/>
              <a:gd name="T53" fmla="*/ 152 h 200"/>
              <a:gd name="T54" fmla="*/ 165 w 216"/>
              <a:gd name="T55" fmla="*/ 164 h 200"/>
              <a:gd name="T56" fmla="*/ 171 w 216"/>
              <a:gd name="T57" fmla="*/ 138 h 200"/>
              <a:gd name="T58" fmla="*/ 47 w 216"/>
              <a:gd name="T59" fmla="*/ 138 h 200"/>
              <a:gd name="T60" fmla="*/ 52 w 216"/>
              <a:gd name="T61" fmla="*/ 164 h 200"/>
              <a:gd name="T62" fmla="*/ 8 w 216"/>
              <a:gd name="T63" fmla="*/ 152 h 200"/>
              <a:gd name="T64" fmla="*/ 208 w 216"/>
              <a:gd name="T65" fmla="*/ 64 h 200"/>
              <a:gd name="T66" fmla="*/ 208 w 216"/>
              <a:gd name="T67" fmla="*/ 56 h 200"/>
              <a:gd name="T68" fmla="*/ 8 w 216"/>
              <a:gd name="T69" fmla="*/ 56 h 200"/>
              <a:gd name="T70" fmla="*/ 76 w 216"/>
              <a:gd name="T71" fmla="*/ 44 h 200"/>
              <a:gd name="T72" fmla="*/ 88 w 216"/>
              <a:gd name="T73" fmla="*/ 8 h 200"/>
              <a:gd name="T74" fmla="*/ 144 w 216"/>
              <a:gd name="T75" fmla="*/ 20 h 200"/>
              <a:gd name="T76" fmla="*/ 196 w 216"/>
              <a:gd name="T77" fmla="*/ 44 h 200"/>
              <a:gd name="T78" fmla="*/ 109 w 216"/>
              <a:gd name="T79" fmla="*/ 98 h 200"/>
              <a:gd name="T80" fmla="*/ 109 w 216"/>
              <a:gd name="T81" fmla="*/ 181 h 200"/>
              <a:gd name="T82" fmla="*/ 109 w 216"/>
              <a:gd name="T83" fmla="*/ 98 h 200"/>
              <a:gd name="T84" fmla="*/ 76 w 216"/>
              <a:gd name="T85" fmla="*/ 139 h 200"/>
              <a:gd name="T86" fmla="*/ 143 w 216"/>
              <a:gd name="T87" fmla="*/ 139 h 200"/>
              <a:gd name="T88" fmla="*/ 176 w 216"/>
              <a:gd name="T89" fmla="*/ 88 h 200"/>
              <a:gd name="T90" fmla="*/ 196 w 216"/>
              <a:gd name="T91" fmla="*/ 84 h 200"/>
              <a:gd name="T92" fmla="*/ 176 w 216"/>
              <a:gd name="T93" fmla="*/ 80 h 200"/>
              <a:gd name="T94" fmla="*/ 176 w 216"/>
              <a:gd name="T95" fmla="*/ 88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16" h="200">
                <a:moveTo>
                  <a:pt x="84" y="44"/>
                </a:moveTo>
                <a:cubicBezTo>
                  <a:pt x="136" y="44"/>
                  <a:pt x="136" y="44"/>
                  <a:pt x="136" y="44"/>
                </a:cubicBezTo>
                <a:cubicBezTo>
                  <a:pt x="136" y="16"/>
                  <a:pt x="136" y="16"/>
                  <a:pt x="136" y="16"/>
                </a:cubicBezTo>
                <a:cubicBezTo>
                  <a:pt x="84" y="16"/>
                  <a:pt x="84" y="16"/>
                  <a:pt x="84" y="16"/>
                </a:cubicBezTo>
                <a:lnTo>
                  <a:pt x="84" y="44"/>
                </a:lnTo>
                <a:close/>
                <a:moveTo>
                  <a:pt x="92" y="24"/>
                </a:moveTo>
                <a:cubicBezTo>
                  <a:pt x="128" y="24"/>
                  <a:pt x="128" y="24"/>
                  <a:pt x="128" y="24"/>
                </a:cubicBezTo>
                <a:cubicBezTo>
                  <a:pt x="128" y="36"/>
                  <a:pt x="128" y="36"/>
                  <a:pt x="128" y="36"/>
                </a:cubicBezTo>
                <a:cubicBezTo>
                  <a:pt x="92" y="36"/>
                  <a:pt x="92" y="36"/>
                  <a:pt x="92" y="36"/>
                </a:cubicBezTo>
                <a:lnTo>
                  <a:pt x="92" y="24"/>
                </a:lnTo>
                <a:close/>
                <a:moveTo>
                  <a:pt x="196" y="36"/>
                </a:moveTo>
                <a:cubicBezTo>
                  <a:pt x="152" y="36"/>
                  <a:pt x="152" y="36"/>
                  <a:pt x="152" y="36"/>
                </a:cubicBezTo>
                <a:cubicBezTo>
                  <a:pt x="152" y="20"/>
                  <a:pt x="152" y="20"/>
                  <a:pt x="152" y="20"/>
                </a:cubicBezTo>
                <a:cubicBezTo>
                  <a:pt x="152" y="9"/>
                  <a:pt x="143" y="0"/>
                  <a:pt x="132" y="0"/>
                </a:cubicBezTo>
                <a:cubicBezTo>
                  <a:pt x="88" y="0"/>
                  <a:pt x="88" y="0"/>
                  <a:pt x="88" y="0"/>
                </a:cubicBezTo>
                <a:cubicBezTo>
                  <a:pt x="77" y="0"/>
                  <a:pt x="68" y="9"/>
                  <a:pt x="68" y="20"/>
                </a:cubicBezTo>
                <a:cubicBezTo>
                  <a:pt x="68" y="36"/>
                  <a:pt x="68" y="36"/>
                  <a:pt x="68" y="36"/>
                </a:cubicBezTo>
                <a:cubicBezTo>
                  <a:pt x="56" y="36"/>
                  <a:pt x="56" y="36"/>
                  <a:pt x="56" y="36"/>
                </a:cubicBezTo>
                <a:cubicBezTo>
                  <a:pt x="56" y="24"/>
                  <a:pt x="56" y="24"/>
                  <a:pt x="56" y="24"/>
                </a:cubicBezTo>
                <a:cubicBezTo>
                  <a:pt x="20" y="24"/>
                  <a:pt x="20" y="24"/>
                  <a:pt x="20" y="24"/>
                </a:cubicBezTo>
                <a:cubicBezTo>
                  <a:pt x="20" y="36"/>
                  <a:pt x="20" y="36"/>
                  <a:pt x="20" y="36"/>
                </a:cubicBezTo>
                <a:cubicBezTo>
                  <a:pt x="9" y="36"/>
                  <a:pt x="0" y="45"/>
                  <a:pt x="0" y="56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63"/>
                  <a:pt x="9" y="172"/>
                  <a:pt x="20" y="172"/>
                </a:cubicBezTo>
                <a:cubicBezTo>
                  <a:pt x="57" y="172"/>
                  <a:pt x="57" y="172"/>
                  <a:pt x="57" y="172"/>
                </a:cubicBezTo>
                <a:cubicBezTo>
                  <a:pt x="68" y="189"/>
                  <a:pt x="87" y="200"/>
                  <a:pt x="109" y="200"/>
                </a:cubicBezTo>
                <a:cubicBezTo>
                  <a:pt x="130" y="200"/>
                  <a:pt x="149" y="189"/>
                  <a:pt x="160" y="172"/>
                </a:cubicBezTo>
                <a:cubicBezTo>
                  <a:pt x="196" y="172"/>
                  <a:pt x="196" y="172"/>
                  <a:pt x="196" y="172"/>
                </a:cubicBezTo>
                <a:cubicBezTo>
                  <a:pt x="207" y="172"/>
                  <a:pt x="216" y="163"/>
                  <a:pt x="216" y="152"/>
                </a:cubicBezTo>
                <a:cubicBezTo>
                  <a:pt x="216" y="56"/>
                  <a:pt x="216" y="56"/>
                  <a:pt x="216" y="56"/>
                </a:cubicBezTo>
                <a:cubicBezTo>
                  <a:pt x="216" y="45"/>
                  <a:pt x="207" y="36"/>
                  <a:pt x="196" y="36"/>
                </a:cubicBezTo>
                <a:close/>
                <a:moveTo>
                  <a:pt x="28" y="32"/>
                </a:moveTo>
                <a:cubicBezTo>
                  <a:pt x="48" y="32"/>
                  <a:pt x="48" y="32"/>
                  <a:pt x="48" y="32"/>
                </a:cubicBezTo>
                <a:cubicBezTo>
                  <a:pt x="48" y="36"/>
                  <a:pt x="48" y="36"/>
                  <a:pt x="48" y="36"/>
                </a:cubicBezTo>
                <a:cubicBezTo>
                  <a:pt x="28" y="36"/>
                  <a:pt x="28" y="36"/>
                  <a:pt x="28" y="36"/>
                </a:cubicBezTo>
                <a:lnTo>
                  <a:pt x="28" y="32"/>
                </a:lnTo>
                <a:close/>
                <a:moveTo>
                  <a:pt x="163" y="143"/>
                </a:moveTo>
                <a:cubicBezTo>
                  <a:pt x="162" y="144"/>
                  <a:pt x="162" y="144"/>
                  <a:pt x="162" y="144"/>
                </a:cubicBezTo>
                <a:cubicBezTo>
                  <a:pt x="159" y="171"/>
                  <a:pt x="137" y="192"/>
                  <a:pt x="109" y="192"/>
                </a:cubicBezTo>
                <a:cubicBezTo>
                  <a:pt x="89" y="192"/>
                  <a:pt x="72" y="181"/>
                  <a:pt x="62" y="165"/>
                </a:cubicBezTo>
                <a:cubicBezTo>
                  <a:pt x="62" y="164"/>
                  <a:pt x="61" y="163"/>
                  <a:pt x="61" y="163"/>
                </a:cubicBezTo>
                <a:cubicBezTo>
                  <a:pt x="61" y="162"/>
                  <a:pt x="60" y="162"/>
                  <a:pt x="60" y="161"/>
                </a:cubicBezTo>
                <a:cubicBezTo>
                  <a:pt x="60" y="160"/>
                  <a:pt x="59" y="158"/>
                  <a:pt x="58" y="157"/>
                </a:cubicBezTo>
                <a:cubicBezTo>
                  <a:pt x="58" y="156"/>
                  <a:pt x="58" y="156"/>
                  <a:pt x="58" y="155"/>
                </a:cubicBezTo>
                <a:cubicBezTo>
                  <a:pt x="58" y="155"/>
                  <a:pt x="57" y="154"/>
                  <a:pt x="57" y="153"/>
                </a:cubicBezTo>
                <a:cubicBezTo>
                  <a:pt x="57" y="152"/>
                  <a:pt x="57" y="151"/>
                  <a:pt x="56" y="151"/>
                </a:cubicBezTo>
                <a:cubicBezTo>
                  <a:pt x="56" y="150"/>
                  <a:pt x="56" y="149"/>
                  <a:pt x="56" y="148"/>
                </a:cubicBezTo>
                <a:cubicBezTo>
                  <a:pt x="56" y="147"/>
                  <a:pt x="56" y="146"/>
                  <a:pt x="55" y="145"/>
                </a:cubicBezTo>
                <a:cubicBezTo>
                  <a:pt x="55" y="144"/>
                  <a:pt x="55" y="144"/>
                  <a:pt x="55" y="143"/>
                </a:cubicBezTo>
                <a:cubicBezTo>
                  <a:pt x="55" y="142"/>
                  <a:pt x="55" y="140"/>
                  <a:pt x="55" y="138"/>
                </a:cubicBezTo>
                <a:cubicBezTo>
                  <a:pt x="55" y="109"/>
                  <a:pt x="79" y="85"/>
                  <a:pt x="109" y="85"/>
                </a:cubicBezTo>
                <a:cubicBezTo>
                  <a:pt x="139" y="85"/>
                  <a:pt x="163" y="109"/>
                  <a:pt x="163" y="138"/>
                </a:cubicBezTo>
                <a:cubicBezTo>
                  <a:pt x="163" y="140"/>
                  <a:pt x="163" y="142"/>
                  <a:pt x="163" y="143"/>
                </a:cubicBezTo>
                <a:close/>
                <a:moveTo>
                  <a:pt x="208" y="152"/>
                </a:moveTo>
                <a:cubicBezTo>
                  <a:pt x="208" y="159"/>
                  <a:pt x="203" y="164"/>
                  <a:pt x="196" y="164"/>
                </a:cubicBezTo>
                <a:cubicBezTo>
                  <a:pt x="165" y="164"/>
                  <a:pt x="165" y="164"/>
                  <a:pt x="165" y="164"/>
                </a:cubicBezTo>
                <a:cubicBezTo>
                  <a:pt x="168" y="158"/>
                  <a:pt x="170" y="151"/>
                  <a:pt x="170" y="145"/>
                </a:cubicBezTo>
                <a:cubicBezTo>
                  <a:pt x="171" y="143"/>
                  <a:pt x="171" y="140"/>
                  <a:pt x="171" y="138"/>
                </a:cubicBezTo>
                <a:cubicBezTo>
                  <a:pt x="171" y="104"/>
                  <a:pt x="143" y="77"/>
                  <a:pt x="109" y="77"/>
                </a:cubicBezTo>
                <a:cubicBezTo>
                  <a:pt x="75" y="77"/>
                  <a:pt x="47" y="104"/>
                  <a:pt x="47" y="138"/>
                </a:cubicBezTo>
                <a:cubicBezTo>
                  <a:pt x="47" y="140"/>
                  <a:pt x="47" y="143"/>
                  <a:pt x="47" y="145"/>
                </a:cubicBezTo>
                <a:cubicBezTo>
                  <a:pt x="48" y="151"/>
                  <a:pt x="50" y="158"/>
                  <a:pt x="52" y="164"/>
                </a:cubicBezTo>
                <a:cubicBezTo>
                  <a:pt x="20" y="164"/>
                  <a:pt x="20" y="164"/>
                  <a:pt x="20" y="164"/>
                </a:cubicBezTo>
                <a:cubicBezTo>
                  <a:pt x="13" y="164"/>
                  <a:pt x="8" y="159"/>
                  <a:pt x="8" y="152"/>
                </a:cubicBezTo>
                <a:cubicBezTo>
                  <a:pt x="8" y="64"/>
                  <a:pt x="8" y="64"/>
                  <a:pt x="8" y="64"/>
                </a:cubicBezTo>
                <a:cubicBezTo>
                  <a:pt x="208" y="64"/>
                  <a:pt x="208" y="64"/>
                  <a:pt x="208" y="64"/>
                </a:cubicBezTo>
                <a:lnTo>
                  <a:pt x="208" y="152"/>
                </a:lnTo>
                <a:close/>
                <a:moveTo>
                  <a:pt x="208" y="56"/>
                </a:moveTo>
                <a:cubicBezTo>
                  <a:pt x="8" y="56"/>
                  <a:pt x="8" y="56"/>
                  <a:pt x="8" y="56"/>
                </a:cubicBezTo>
                <a:cubicBezTo>
                  <a:pt x="8" y="56"/>
                  <a:pt x="8" y="56"/>
                  <a:pt x="8" y="56"/>
                </a:cubicBezTo>
                <a:cubicBezTo>
                  <a:pt x="8" y="49"/>
                  <a:pt x="13" y="44"/>
                  <a:pt x="20" y="44"/>
                </a:cubicBezTo>
                <a:cubicBezTo>
                  <a:pt x="76" y="44"/>
                  <a:pt x="76" y="44"/>
                  <a:pt x="76" y="44"/>
                </a:cubicBezTo>
                <a:cubicBezTo>
                  <a:pt x="76" y="20"/>
                  <a:pt x="76" y="20"/>
                  <a:pt x="76" y="20"/>
                </a:cubicBezTo>
                <a:cubicBezTo>
                  <a:pt x="76" y="13"/>
                  <a:pt x="81" y="8"/>
                  <a:pt x="88" y="8"/>
                </a:cubicBezTo>
                <a:cubicBezTo>
                  <a:pt x="132" y="8"/>
                  <a:pt x="132" y="8"/>
                  <a:pt x="132" y="8"/>
                </a:cubicBezTo>
                <a:cubicBezTo>
                  <a:pt x="139" y="8"/>
                  <a:pt x="144" y="13"/>
                  <a:pt x="144" y="20"/>
                </a:cubicBezTo>
                <a:cubicBezTo>
                  <a:pt x="144" y="44"/>
                  <a:pt x="144" y="44"/>
                  <a:pt x="144" y="44"/>
                </a:cubicBezTo>
                <a:cubicBezTo>
                  <a:pt x="196" y="44"/>
                  <a:pt x="196" y="44"/>
                  <a:pt x="196" y="44"/>
                </a:cubicBezTo>
                <a:cubicBezTo>
                  <a:pt x="203" y="44"/>
                  <a:pt x="208" y="49"/>
                  <a:pt x="208" y="56"/>
                </a:cubicBezTo>
                <a:close/>
                <a:moveTo>
                  <a:pt x="109" y="98"/>
                </a:moveTo>
                <a:cubicBezTo>
                  <a:pt x="86" y="98"/>
                  <a:pt x="68" y="116"/>
                  <a:pt x="68" y="139"/>
                </a:cubicBezTo>
                <a:cubicBezTo>
                  <a:pt x="68" y="162"/>
                  <a:pt x="86" y="181"/>
                  <a:pt x="109" y="181"/>
                </a:cubicBezTo>
                <a:cubicBezTo>
                  <a:pt x="132" y="181"/>
                  <a:pt x="151" y="162"/>
                  <a:pt x="151" y="139"/>
                </a:cubicBezTo>
                <a:cubicBezTo>
                  <a:pt x="151" y="116"/>
                  <a:pt x="132" y="98"/>
                  <a:pt x="109" y="98"/>
                </a:cubicBezTo>
                <a:close/>
                <a:moveTo>
                  <a:pt x="109" y="173"/>
                </a:moveTo>
                <a:cubicBezTo>
                  <a:pt x="91" y="173"/>
                  <a:pt x="76" y="158"/>
                  <a:pt x="76" y="139"/>
                </a:cubicBezTo>
                <a:cubicBezTo>
                  <a:pt x="76" y="121"/>
                  <a:pt x="91" y="106"/>
                  <a:pt x="109" y="106"/>
                </a:cubicBezTo>
                <a:cubicBezTo>
                  <a:pt x="128" y="106"/>
                  <a:pt x="143" y="121"/>
                  <a:pt x="143" y="139"/>
                </a:cubicBezTo>
                <a:cubicBezTo>
                  <a:pt x="143" y="158"/>
                  <a:pt x="128" y="173"/>
                  <a:pt x="109" y="173"/>
                </a:cubicBezTo>
                <a:close/>
                <a:moveTo>
                  <a:pt x="176" y="88"/>
                </a:moveTo>
                <a:cubicBezTo>
                  <a:pt x="192" y="88"/>
                  <a:pt x="192" y="88"/>
                  <a:pt x="192" y="88"/>
                </a:cubicBezTo>
                <a:cubicBezTo>
                  <a:pt x="194" y="88"/>
                  <a:pt x="196" y="87"/>
                  <a:pt x="196" y="84"/>
                </a:cubicBezTo>
                <a:cubicBezTo>
                  <a:pt x="196" y="82"/>
                  <a:pt x="194" y="80"/>
                  <a:pt x="192" y="80"/>
                </a:cubicBezTo>
                <a:cubicBezTo>
                  <a:pt x="176" y="80"/>
                  <a:pt x="176" y="80"/>
                  <a:pt x="176" y="80"/>
                </a:cubicBezTo>
                <a:cubicBezTo>
                  <a:pt x="174" y="80"/>
                  <a:pt x="172" y="82"/>
                  <a:pt x="172" y="84"/>
                </a:cubicBezTo>
                <a:cubicBezTo>
                  <a:pt x="172" y="87"/>
                  <a:pt x="174" y="88"/>
                  <a:pt x="176" y="8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j-lt"/>
            </a:endParaRPr>
          </a:p>
        </p:txBody>
      </p:sp>
      <p:sp>
        <p:nvSpPr>
          <p:cNvPr id="9" name="TextBox 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0F7503BE-1B6F-4AFC-9A36-FDFE9FA1C147}"/>
              </a:ext>
            </a:extLst>
          </p:cNvPr>
          <p:cNvSpPr txBox="1"/>
          <p:nvPr/>
        </p:nvSpPr>
        <p:spPr>
          <a:xfrm>
            <a:off x="1626337" y="2734944"/>
            <a:ext cx="1835543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en-US" sz="1600" b="1" dirty="0">
                <a:latin typeface="+mj-lt"/>
                <a:ea typeface="Liberation Sans" panose="020B0604020202020204" pitchFamily="34" charset="0"/>
                <a:cs typeface="Segoe UI" panose="020B0502040204020203" pitchFamily="34" charset="0"/>
              </a:rPr>
              <a:t>Photograph</a:t>
            </a:r>
          </a:p>
        </p:txBody>
      </p:sp>
      <p:sp>
        <p:nvSpPr>
          <p:cNvPr id="10" name="Rectangle 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A58332A7-5AC5-4E4E-A1C3-7CB356FEE163}"/>
              </a:ext>
            </a:extLst>
          </p:cNvPr>
          <p:cNvSpPr/>
          <p:nvPr/>
        </p:nvSpPr>
        <p:spPr>
          <a:xfrm>
            <a:off x="1223173" y="3030597"/>
            <a:ext cx="2641871" cy="7383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dirty="0">
                <a:latin typeface="+mj-lt"/>
                <a:cs typeface="Segoe UI Light" panose="020B0502040204020203" pitchFamily="34" charset="0"/>
              </a:rPr>
              <a:t>Hey, hey, hey! It's Fat Company! Now I'm </a:t>
            </a:r>
            <a:r>
              <a:rPr lang="en-US" sz="1200" dirty="0" err="1">
                <a:latin typeface="+mj-lt"/>
                <a:cs typeface="Segoe UI Light" panose="020B0502040204020203" pitchFamily="34" charset="0"/>
              </a:rPr>
              <a:t>gonna</a:t>
            </a:r>
            <a:r>
              <a:rPr lang="en-US" sz="1200" dirty="0">
                <a:latin typeface="+mj-lt"/>
                <a:cs typeface="Segoe UI Light" panose="020B0502040204020203" pitchFamily="34" charset="0"/>
              </a:rPr>
              <a:t> sing a song for you, </a:t>
            </a:r>
          </a:p>
        </p:txBody>
      </p:sp>
      <p:sp>
        <p:nvSpPr>
          <p:cNvPr id="12" name="Rectangle: Rounded Corners 1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8F59BFBA-1DA7-40F3-A838-99D094848F86}"/>
              </a:ext>
            </a:extLst>
          </p:cNvPr>
          <p:cNvSpPr/>
          <p:nvPr/>
        </p:nvSpPr>
        <p:spPr>
          <a:xfrm>
            <a:off x="4388119" y="1833311"/>
            <a:ext cx="3405298" cy="1935590"/>
          </a:xfrm>
          <a:prstGeom prst="roundRect">
            <a:avLst>
              <a:gd name="adj" fmla="val 712"/>
            </a:avLst>
          </a:prstGeom>
          <a:solidFill>
            <a:schemeClr val="tx1">
              <a:alpha val="27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" name="Freeform 2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36BA6FA8-4496-46A4-A475-2EF5ADB2B08F}"/>
              </a:ext>
            </a:extLst>
          </p:cNvPr>
          <p:cNvSpPr>
            <a:spLocks noEditPoints="1"/>
          </p:cNvSpPr>
          <p:nvPr/>
        </p:nvSpPr>
        <p:spPr bwMode="auto">
          <a:xfrm>
            <a:off x="5825485" y="2142153"/>
            <a:ext cx="532098" cy="423203"/>
          </a:xfrm>
          <a:custGeom>
            <a:avLst/>
            <a:gdLst>
              <a:gd name="T0" fmla="*/ 200 w 236"/>
              <a:gd name="T1" fmla="*/ 93 h 188"/>
              <a:gd name="T2" fmla="*/ 90 w 236"/>
              <a:gd name="T3" fmla="*/ 76 h 188"/>
              <a:gd name="T4" fmla="*/ 47 w 236"/>
              <a:gd name="T5" fmla="*/ 106 h 188"/>
              <a:gd name="T6" fmla="*/ 8 w 236"/>
              <a:gd name="T7" fmla="*/ 148 h 188"/>
              <a:gd name="T8" fmla="*/ 43 w 236"/>
              <a:gd name="T9" fmla="*/ 188 h 188"/>
              <a:gd name="T10" fmla="*/ 199 w 236"/>
              <a:gd name="T11" fmla="*/ 188 h 188"/>
              <a:gd name="T12" fmla="*/ 236 w 236"/>
              <a:gd name="T13" fmla="*/ 144 h 188"/>
              <a:gd name="T14" fmla="*/ 195 w 236"/>
              <a:gd name="T15" fmla="*/ 180 h 188"/>
              <a:gd name="T16" fmla="*/ 47 w 236"/>
              <a:gd name="T17" fmla="*/ 180 h 188"/>
              <a:gd name="T18" fmla="*/ 47 w 236"/>
              <a:gd name="T19" fmla="*/ 115 h 188"/>
              <a:gd name="T20" fmla="*/ 56 w 236"/>
              <a:gd name="T21" fmla="*/ 117 h 188"/>
              <a:gd name="T22" fmla="*/ 55 w 236"/>
              <a:gd name="T23" fmla="*/ 106 h 188"/>
              <a:gd name="T24" fmla="*/ 91 w 236"/>
              <a:gd name="T25" fmla="*/ 86 h 188"/>
              <a:gd name="T26" fmla="*/ 97 w 236"/>
              <a:gd name="T27" fmla="*/ 83 h 188"/>
              <a:gd name="T28" fmla="*/ 192 w 236"/>
              <a:gd name="T29" fmla="*/ 93 h 188"/>
              <a:gd name="T30" fmla="*/ 189 w 236"/>
              <a:gd name="T31" fmla="*/ 109 h 188"/>
              <a:gd name="T32" fmla="*/ 229 w 236"/>
              <a:gd name="T33" fmla="*/ 144 h 188"/>
              <a:gd name="T34" fmla="*/ 25 w 236"/>
              <a:gd name="T35" fmla="*/ 26 h 188"/>
              <a:gd name="T36" fmla="*/ 32 w 236"/>
              <a:gd name="T37" fmla="*/ 20 h 188"/>
              <a:gd name="T38" fmla="*/ 21 w 236"/>
              <a:gd name="T39" fmla="*/ 14 h 188"/>
              <a:gd name="T40" fmla="*/ 25 w 236"/>
              <a:gd name="T41" fmla="*/ 26 h 188"/>
              <a:gd name="T42" fmla="*/ 105 w 236"/>
              <a:gd name="T43" fmla="*/ 29 h 188"/>
              <a:gd name="T44" fmla="*/ 99 w 236"/>
              <a:gd name="T45" fmla="*/ 21 h 188"/>
              <a:gd name="T46" fmla="*/ 93 w 236"/>
              <a:gd name="T47" fmla="*/ 33 h 188"/>
              <a:gd name="T48" fmla="*/ 63 w 236"/>
              <a:gd name="T49" fmla="*/ 17 h 188"/>
              <a:gd name="T50" fmla="*/ 69 w 236"/>
              <a:gd name="T51" fmla="*/ 6 h 188"/>
              <a:gd name="T52" fmla="*/ 60 w 236"/>
              <a:gd name="T53" fmla="*/ 5 h 188"/>
              <a:gd name="T54" fmla="*/ 63 w 236"/>
              <a:gd name="T55" fmla="*/ 17 h 188"/>
              <a:gd name="T56" fmla="*/ 12 w 236"/>
              <a:gd name="T57" fmla="*/ 51 h 188"/>
              <a:gd name="T58" fmla="*/ 0 w 236"/>
              <a:gd name="T59" fmla="*/ 55 h 188"/>
              <a:gd name="T60" fmla="*/ 11 w 236"/>
              <a:gd name="T61" fmla="*/ 61 h 188"/>
              <a:gd name="T62" fmla="*/ 31 w 236"/>
              <a:gd name="T63" fmla="*/ 37 h 188"/>
              <a:gd name="T64" fmla="*/ 26 w 236"/>
              <a:gd name="T65" fmla="*/ 45 h 188"/>
              <a:gd name="T66" fmla="*/ 25 w 236"/>
              <a:gd name="T67" fmla="*/ 48 h 188"/>
              <a:gd name="T68" fmla="*/ 23 w 236"/>
              <a:gd name="T69" fmla="*/ 52 h 188"/>
              <a:gd name="T70" fmla="*/ 23 w 236"/>
              <a:gd name="T71" fmla="*/ 57 h 188"/>
              <a:gd name="T72" fmla="*/ 25 w 236"/>
              <a:gd name="T73" fmla="*/ 73 h 188"/>
              <a:gd name="T74" fmla="*/ 25 w 236"/>
              <a:gd name="T75" fmla="*/ 74 h 188"/>
              <a:gd name="T76" fmla="*/ 26 w 236"/>
              <a:gd name="T77" fmla="*/ 77 h 188"/>
              <a:gd name="T78" fmla="*/ 27 w 236"/>
              <a:gd name="T79" fmla="*/ 78 h 188"/>
              <a:gd name="T80" fmla="*/ 28 w 236"/>
              <a:gd name="T81" fmla="*/ 80 h 188"/>
              <a:gd name="T82" fmla="*/ 31 w 236"/>
              <a:gd name="T83" fmla="*/ 84 h 188"/>
              <a:gd name="T84" fmla="*/ 41 w 236"/>
              <a:gd name="T85" fmla="*/ 85 h 188"/>
              <a:gd name="T86" fmla="*/ 32 w 236"/>
              <a:gd name="T87" fmla="*/ 58 h 188"/>
              <a:gd name="T88" fmla="*/ 85 w 236"/>
              <a:gd name="T89" fmla="*/ 50 h 188"/>
              <a:gd name="T90" fmla="*/ 88 w 236"/>
              <a:gd name="T91" fmla="*/ 49 h 188"/>
              <a:gd name="T92" fmla="*/ 93 w 236"/>
              <a:gd name="T93" fmla="*/ 46 h 188"/>
              <a:gd name="T94" fmla="*/ 90 w 236"/>
              <a:gd name="T95" fmla="*/ 40 h 188"/>
              <a:gd name="T96" fmla="*/ 88 w 236"/>
              <a:gd name="T97" fmla="*/ 37 h 188"/>
              <a:gd name="T98" fmla="*/ 80 w 236"/>
              <a:gd name="T99" fmla="*/ 29 h 188"/>
              <a:gd name="T100" fmla="*/ 63 w 236"/>
              <a:gd name="T101" fmla="*/ 23 h 188"/>
              <a:gd name="T102" fmla="*/ 52 w 236"/>
              <a:gd name="T103" fmla="*/ 24 h 188"/>
              <a:gd name="T104" fmla="*/ 36 w 236"/>
              <a:gd name="T105" fmla="*/ 32 h 188"/>
              <a:gd name="T106" fmla="*/ 33 w 236"/>
              <a:gd name="T107" fmla="*/ 35 h 188"/>
              <a:gd name="T108" fmla="*/ 13 w 236"/>
              <a:gd name="T109" fmla="*/ 99 h 188"/>
              <a:gd name="T110" fmla="*/ 25 w 236"/>
              <a:gd name="T111" fmla="*/ 95 h 188"/>
              <a:gd name="T112" fmla="*/ 19 w 236"/>
              <a:gd name="T113" fmla="*/ 87 h 188"/>
              <a:gd name="T114" fmla="*/ 13 w 236"/>
              <a:gd name="T115" fmla="*/ 99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36" h="188">
                <a:moveTo>
                  <a:pt x="199" y="101"/>
                </a:moveTo>
                <a:cubicBezTo>
                  <a:pt x="199" y="99"/>
                  <a:pt x="200" y="96"/>
                  <a:pt x="200" y="93"/>
                </a:cubicBezTo>
                <a:cubicBezTo>
                  <a:pt x="200" y="61"/>
                  <a:pt x="175" y="36"/>
                  <a:pt x="144" y="36"/>
                </a:cubicBezTo>
                <a:cubicBezTo>
                  <a:pt x="119" y="36"/>
                  <a:pt x="97" y="53"/>
                  <a:pt x="90" y="76"/>
                </a:cubicBezTo>
                <a:cubicBezTo>
                  <a:pt x="86" y="75"/>
                  <a:pt x="82" y="74"/>
                  <a:pt x="78" y="74"/>
                </a:cubicBezTo>
                <a:cubicBezTo>
                  <a:pt x="61" y="74"/>
                  <a:pt x="47" y="88"/>
                  <a:pt x="47" y="106"/>
                </a:cubicBezTo>
                <a:cubicBezTo>
                  <a:pt x="47" y="106"/>
                  <a:pt x="47" y="107"/>
                  <a:pt x="47" y="107"/>
                </a:cubicBezTo>
                <a:cubicBezTo>
                  <a:pt x="26" y="108"/>
                  <a:pt x="8" y="125"/>
                  <a:pt x="8" y="148"/>
                </a:cubicBezTo>
                <a:cubicBezTo>
                  <a:pt x="8" y="168"/>
                  <a:pt x="23" y="185"/>
                  <a:pt x="43" y="187"/>
                </a:cubicBezTo>
                <a:cubicBezTo>
                  <a:pt x="43" y="188"/>
                  <a:pt x="43" y="188"/>
                  <a:pt x="43" y="188"/>
                </a:cubicBezTo>
                <a:cubicBezTo>
                  <a:pt x="195" y="188"/>
                  <a:pt x="195" y="188"/>
                  <a:pt x="195" y="188"/>
                </a:cubicBezTo>
                <a:cubicBezTo>
                  <a:pt x="199" y="188"/>
                  <a:pt x="199" y="188"/>
                  <a:pt x="199" y="188"/>
                </a:cubicBezTo>
                <a:cubicBezTo>
                  <a:pt x="199" y="187"/>
                  <a:pt x="199" y="187"/>
                  <a:pt x="199" y="187"/>
                </a:cubicBezTo>
                <a:cubicBezTo>
                  <a:pt x="220" y="185"/>
                  <a:pt x="236" y="167"/>
                  <a:pt x="236" y="144"/>
                </a:cubicBezTo>
                <a:cubicBezTo>
                  <a:pt x="236" y="122"/>
                  <a:pt x="220" y="104"/>
                  <a:pt x="199" y="101"/>
                </a:cubicBezTo>
                <a:close/>
                <a:moveTo>
                  <a:pt x="195" y="180"/>
                </a:moveTo>
                <a:cubicBezTo>
                  <a:pt x="48" y="180"/>
                  <a:pt x="48" y="180"/>
                  <a:pt x="48" y="180"/>
                </a:cubicBezTo>
                <a:cubicBezTo>
                  <a:pt x="47" y="180"/>
                  <a:pt x="47" y="180"/>
                  <a:pt x="47" y="180"/>
                </a:cubicBezTo>
                <a:cubicBezTo>
                  <a:pt x="30" y="179"/>
                  <a:pt x="16" y="165"/>
                  <a:pt x="16" y="148"/>
                </a:cubicBezTo>
                <a:cubicBezTo>
                  <a:pt x="16" y="130"/>
                  <a:pt x="30" y="115"/>
                  <a:pt x="47" y="115"/>
                </a:cubicBezTo>
                <a:cubicBezTo>
                  <a:pt x="48" y="115"/>
                  <a:pt x="49" y="116"/>
                  <a:pt x="51" y="116"/>
                </a:cubicBezTo>
                <a:cubicBezTo>
                  <a:pt x="56" y="117"/>
                  <a:pt x="56" y="117"/>
                  <a:pt x="56" y="117"/>
                </a:cubicBezTo>
                <a:cubicBezTo>
                  <a:pt x="55" y="111"/>
                  <a:pt x="55" y="111"/>
                  <a:pt x="55" y="111"/>
                </a:cubicBezTo>
                <a:cubicBezTo>
                  <a:pt x="55" y="109"/>
                  <a:pt x="55" y="107"/>
                  <a:pt x="55" y="106"/>
                </a:cubicBezTo>
                <a:cubicBezTo>
                  <a:pt x="55" y="93"/>
                  <a:pt x="65" y="82"/>
                  <a:pt x="78" y="82"/>
                </a:cubicBezTo>
                <a:cubicBezTo>
                  <a:pt x="82" y="82"/>
                  <a:pt x="87" y="83"/>
                  <a:pt x="91" y="86"/>
                </a:cubicBezTo>
                <a:cubicBezTo>
                  <a:pt x="96" y="89"/>
                  <a:pt x="96" y="89"/>
                  <a:pt x="96" y="89"/>
                </a:cubicBezTo>
                <a:cubicBezTo>
                  <a:pt x="97" y="83"/>
                  <a:pt x="97" y="83"/>
                  <a:pt x="97" y="83"/>
                </a:cubicBezTo>
                <a:cubicBezTo>
                  <a:pt x="101" y="60"/>
                  <a:pt x="121" y="44"/>
                  <a:pt x="144" y="44"/>
                </a:cubicBezTo>
                <a:cubicBezTo>
                  <a:pt x="170" y="44"/>
                  <a:pt x="192" y="66"/>
                  <a:pt x="192" y="93"/>
                </a:cubicBezTo>
                <a:cubicBezTo>
                  <a:pt x="192" y="97"/>
                  <a:pt x="191" y="100"/>
                  <a:pt x="190" y="104"/>
                </a:cubicBezTo>
                <a:cubicBezTo>
                  <a:pt x="189" y="109"/>
                  <a:pt x="189" y="109"/>
                  <a:pt x="189" y="109"/>
                </a:cubicBezTo>
                <a:cubicBezTo>
                  <a:pt x="194" y="109"/>
                  <a:pt x="194" y="109"/>
                  <a:pt x="194" y="109"/>
                </a:cubicBezTo>
                <a:cubicBezTo>
                  <a:pt x="213" y="109"/>
                  <a:pt x="229" y="125"/>
                  <a:pt x="229" y="144"/>
                </a:cubicBezTo>
                <a:cubicBezTo>
                  <a:pt x="229" y="164"/>
                  <a:pt x="213" y="179"/>
                  <a:pt x="195" y="180"/>
                </a:cubicBezTo>
                <a:close/>
                <a:moveTo>
                  <a:pt x="25" y="26"/>
                </a:moveTo>
                <a:cubicBezTo>
                  <a:pt x="27" y="28"/>
                  <a:pt x="30" y="28"/>
                  <a:pt x="32" y="27"/>
                </a:cubicBezTo>
                <a:cubicBezTo>
                  <a:pt x="34" y="25"/>
                  <a:pt x="34" y="22"/>
                  <a:pt x="32" y="20"/>
                </a:cubicBezTo>
                <a:cubicBezTo>
                  <a:pt x="28" y="15"/>
                  <a:pt x="28" y="15"/>
                  <a:pt x="28" y="15"/>
                </a:cubicBezTo>
                <a:cubicBezTo>
                  <a:pt x="26" y="13"/>
                  <a:pt x="23" y="12"/>
                  <a:pt x="21" y="14"/>
                </a:cubicBezTo>
                <a:cubicBezTo>
                  <a:pt x="19" y="16"/>
                  <a:pt x="19" y="19"/>
                  <a:pt x="21" y="21"/>
                </a:cubicBezTo>
                <a:lnTo>
                  <a:pt x="25" y="26"/>
                </a:lnTo>
                <a:close/>
                <a:moveTo>
                  <a:pt x="100" y="33"/>
                </a:moveTo>
                <a:cubicBezTo>
                  <a:pt x="105" y="29"/>
                  <a:pt x="105" y="29"/>
                  <a:pt x="105" y="29"/>
                </a:cubicBezTo>
                <a:cubicBezTo>
                  <a:pt x="107" y="27"/>
                  <a:pt x="107" y="24"/>
                  <a:pt x="105" y="22"/>
                </a:cubicBezTo>
                <a:cubicBezTo>
                  <a:pt x="104" y="20"/>
                  <a:pt x="101" y="20"/>
                  <a:pt x="99" y="21"/>
                </a:cubicBezTo>
                <a:cubicBezTo>
                  <a:pt x="93" y="26"/>
                  <a:pt x="93" y="26"/>
                  <a:pt x="93" y="26"/>
                </a:cubicBezTo>
                <a:cubicBezTo>
                  <a:pt x="91" y="27"/>
                  <a:pt x="91" y="30"/>
                  <a:pt x="93" y="33"/>
                </a:cubicBezTo>
                <a:cubicBezTo>
                  <a:pt x="94" y="35"/>
                  <a:pt x="98" y="35"/>
                  <a:pt x="100" y="33"/>
                </a:cubicBezTo>
                <a:close/>
                <a:moveTo>
                  <a:pt x="63" y="17"/>
                </a:moveTo>
                <a:cubicBezTo>
                  <a:pt x="66" y="17"/>
                  <a:pt x="68" y="15"/>
                  <a:pt x="69" y="13"/>
                </a:cubicBezTo>
                <a:cubicBezTo>
                  <a:pt x="69" y="6"/>
                  <a:pt x="69" y="6"/>
                  <a:pt x="69" y="6"/>
                </a:cubicBezTo>
                <a:cubicBezTo>
                  <a:pt x="70" y="3"/>
                  <a:pt x="68" y="1"/>
                  <a:pt x="65" y="1"/>
                </a:cubicBezTo>
                <a:cubicBezTo>
                  <a:pt x="62" y="0"/>
                  <a:pt x="60" y="2"/>
                  <a:pt x="60" y="5"/>
                </a:cubicBezTo>
                <a:cubicBezTo>
                  <a:pt x="59" y="12"/>
                  <a:pt x="59" y="12"/>
                  <a:pt x="59" y="12"/>
                </a:cubicBezTo>
                <a:cubicBezTo>
                  <a:pt x="59" y="14"/>
                  <a:pt x="61" y="17"/>
                  <a:pt x="63" y="17"/>
                </a:cubicBezTo>
                <a:close/>
                <a:moveTo>
                  <a:pt x="16" y="56"/>
                </a:moveTo>
                <a:cubicBezTo>
                  <a:pt x="17" y="54"/>
                  <a:pt x="15" y="51"/>
                  <a:pt x="12" y="51"/>
                </a:cubicBezTo>
                <a:cubicBezTo>
                  <a:pt x="5" y="50"/>
                  <a:pt x="5" y="50"/>
                  <a:pt x="5" y="50"/>
                </a:cubicBezTo>
                <a:cubicBezTo>
                  <a:pt x="2" y="50"/>
                  <a:pt x="0" y="52"/>
                  <a:pt x="0" y="55"/>
                </a:cubicBezTo>
                <a:cubicBezTo>
                  <a:pt x="0" y="57"/>
                  <a:pt x="2" y="60"/>
                  <a:pt x="4" y="60"/>
                </a:cubicBezTo>
                <a:cubicBezTo>
                  <a:pt x="11" y="61"/>
                  <a:pt x="11" y="61"/>
                  <a:pt x="11" y="61"/>
                </a:cubicBezTo>
                <a:cubicBezTo>
                  <a:pt x="14" y="61"/>
                  <a:pt x="16" y="59"/>
                  <a:pt x="16" y="56"/>
                </a:cubicBezTo>
                <a:close/>
                <a:moveTo>
                  <a:pt x="31" y="37"/>
                </a:moveTo>
                <a:cubicBezTo>
                  <a:pt x="30" y="38"/>
                  <a:pt x="29" y="39"/>
                  <a:pt x="29" y="40"/>
                </a:cubicBezTo>
                <a:cubicBezTo>
                  <a:pt x="28" y="41"/>
                  <a:pt x="27" y="43"/>
                  <a:pt x="26" y="45"/>
                </a:cubicBezTo>
                <a:cubicBezTo>
                  <a:pt x="26" y="45"/>
                  <a:pt x="26" y="45"/>
                  <a:pt x="26" y="45"/>
                </a:cubicBezTo>
                <a:cubicBezTo>
                  <a:pt x="25" y="46"/>
                  <a:pt x="25" y="47"/>
                  <a:pt x="25" y="48"/>
                </a:cubicBezTo>
                <a:cubicBezTo>
                  <a:pt x="24" y="49"/>
                  <a:pt x="24" y="49"/>
                  <a:pt x="24" y="49"/>
                </a:cubicBezTo>
                <a:cubicBezTo>
                  <a:pt x="24" y="50"/>
                  <a:pt x="24" y="51"/>
                  <a:pt x="23" y="52"/>
                </a:cubicBezTo>
                <a:cubicBezTo>
                  <a:pt x="23" y="52"/>
                  <a:pt x="23" y="53"/>
                  <a:pt x="23" y="53"/>
                </a:cubicBezTo>
                <a:cubicBezTo>
                  <a:pt x="23" y="54"/>
                  <a:pt x="23" y="56"/>
                  <a:pt x="23" y="57"/>
                </a:cubicBezTo>
                <a:cubicBezTo>
                  <a:pt x="22" y="63"/>
                  <a:pt x="23" y="68"/>
                  <a:pt x="25" y="73"/>
                </a:cubicBezTo>
                <a:cubicBezTo>
                  <a:pt x="25" y="73"/>
                  <a:pt x="25" y="73"/>
                  <a:pt x="25" y="73"/>
                </a:cubicBezTo>
                <a:cubicBezTo>
                  <a:pt x="25" y="73"/>
                  <a:pt x="25" y="73"/>
                  <a:pt x="25" y="73"/>
                </a:cubicBezTo>
                <a:cubicBezTo>
                  <a:pt x="25" y="74"/>
                  <a:pt x="25" y="74"/>
                  <a:pt x="25" y="74"/>
                </a:cubicBezTo>
                <a:cubicBezTo>
                  <a:pt x="25" y="75"/>
                  <a:pt x="26" y="75"/>
                  <a:pt x="26" y="76"/>
                </a:cubicBezTo>
                <a:cubicBezTo>
                  <a:pt x="26" y="76"/>
                  <a:pt x="26" y="76"/>
                  <a:pt x="26" y="77"/>
                </a:cubicBezTo>
                <a:cubicBezTo>
                  <a:pt x="27" y="77"/>
                  <a:pt x="27" y="77"/>
                  <a:pt x="27" y="77"/>
                </a:cubicBezTo>
                <a:cubicBezTo>
                  <a:pt x="27" y="77"/>
                  <a:pt x="27" y="78"/>
                  <a:pt x="27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28" y="79"/>
                  <a:pt x="28" y="79"/>
                  <a:pt x="28" y="80"/>
                </a:cubicBezTo>
                <a:cubicBezTo>
                  <a:pt x="28" y="80"/>
                  <a:pt x="29" y="80"/>
                  <a:pt x="29" y="81"/>
                </a:cubicBezTo>
                <a:cubicBezTo>
                  <a:pt x="29" y="82"/>
                  <a:pt x="30" y="83"/>
                  <a:pt x="31" y="84"/>
                </a:cubicBezTo>
                <a:cubicBezTo>
                  <a:pt x="33" y="86"/>
                  <a:pt x="35" y="87"/>
                  <a:pt x="36" y="89"/>
                </a:cubicBezTo>
                <a:cubicBezTo>
                  <a:pt x="38" y="87"/>
                  <a:pt x="40" y="86"/>
                  <a:pt x="41" y="85"/>
                </a:cubicBezTo>
                <a:cubicBezTo>
                  <a:pt x="42" y="84"/>
                  <a:pt x="43" y="83"/>
                  <a:pt x="43" y="83"/>
                </a:cubicBezTo>
                <a:cubicBezTo>
                  <a:pt x="35" y="77"/>
                  <a:pt x="31" y="68"/>
                  <a:pt x="32" y="58"/>
                </a:cubicBezTo>
                <a:cubicBezTo>
                  <a:pt x="33" y="43"/>
                  <a:pt x="46" y="31"/>
                  <a:pt x="62" y="33"/>
                </a:cubicBezTo>
                <a:cubicBezTo>
                  <a:pt x="72" y="34"/>
                  <a:pt x="81" y="41"/>
                  <a:pt x="85" y="50"/>
                </a:cubicBezTo>
                <a:cubicBezTo>
                  <a:pt x="85" y="50"/>
                  <a:pt x="86" y="50"/>
                  <a:pt x="86" y="50"/>
                </a:cubicBezTo>
                <a:cubicBezTo>
                  <a:pt x="87" y="49"/>
                  <a:pt x="87" y="49"/>
                  <a:pt x="88" y="49"/>
                </a:cubicBezTo>
                <a:cubicBezTo>
                  <a:pt x="90" y="48"/>
                  <a:pt x="92" y="47"/>
                  <a:pt x="93" y="46"/>
                </a:cubicBezTo>
                <a:cubicBezTo>
                  <a:pt x="93" y="46"/>
                  <a:pt x="93" y="46"/>
                  <a:pt x="93" y="46"/>
                </a:cubicBezTo>
                <a:cubicBezTo>
                  <a:pt x="93" y="45"/>
                  <a:pt x="92" y="44"/>
                  <a:pt x="92" y="42"/>
                </a:cubicBezTo>
                <a:cubicBezTo>
                  <a:pt x="91" y="42"/>
                  <a:pt x="91" y="41"/>
                  <a:pt x="90" y="40"/>
                </a:cubicBezTo>
                <a:cubicBezTo>
                  <a:pt x="90" y="40"/>
                  <a:pt x="89" y="39"/>
                  <a:pt x="89" y="39"/>
                </a:cubicBezTo>
                <a:cubicBezTo>
                  <a:pt x="89" y="38"/>
                  <a:pt x="88" y="37"/>
                  <a:pt x="88" y="37"/>
                </a:cubicBezTo>
                <a:cubicBezTo>
                  <a:pt x="85" y="34"/>
                  <a:pt x="83" y="31"/>
                  <a:pt x="80" y="29"/>
                </a:cubicBezTo>
                <a:cubicBezTo>
                  <a:pt x="80" y="29"/>
                  <a:pt x="80" y="29"/>
                  <a:pt x="80" y="29"/>
                </a:cubicBezTo>
                <a:cubicBezTo>
                  <a:pt x="79" y="29"/>
                  <a:pt x="79" y="29"/>
                  <a:pt x="78" y="28"/>
                </a:cubicBezTo>
                <a:cubicBezTo>
                  <a:pt x="74" y="26"/>
                  <a:pt x="68" y="24"/>
                  <a:pt x="63" y="23"/>
                </a:cubicBezTo>
                <a:cubicBezTo>
                  <a:pt x="59" y="23"/>
                  <a:pt x="55" y="23"/>
                  <a:pt x="52" y="24"/>
                </a:cubicBezTo>
                <a:cubicBezTo>
                  <a:pt x="52" y="24"/>
                  <a:pt x="52" y="24"/>
                  <a:pt x="52" y="24"/>
                </a:cubicBezTo>
                <a:cubicBezTo>
                  <a:pt x="51" y="24"/>
                  <a:pt x="51" y="24"/>
                  <a:pt x="50" y="24"/>
                </a:cubicBezTo>
                <a:cubicBezTo>
                  <a:pt x="45" y="26"/>
                  <a:pt x="40" y="28"/>
                  <a:pt x="36" y="32"/>
                </a:cubicBezTo>
                <a:cubicBezTo>
                  <a:pt x="35" y="32"/>
                  <a:pt x="35" y="33"/>
                  <a:pt x="34" y="34"/>
                </a:cubicBezTo>
                <a:cubicBezTo>
                  <a:pt x="34" y="34"/>
                  <a:pt x="33" y="34"/>
                  <a:pt x="33" y="35"/>
                </a:cubicBezTo>
                <a:cubicBezTo>
                  <a:pt x="32" y="35"/>
                  <a:pt x="32" y="36"/>
                  <a:pt x="31" y="37"/>
                </a:cubicBezTo>
                <a:close/>
                <a:moveTo>
                  <a:pt x="13" y="99"/>
                </a:moveTo>
                <a:cubicBezTo>
                  <a:pt x="15" y="101"/>
                  <a:pt x="18" y="101"/>
                  <a:pt x="20" y="99"/>
                </a:cubicBezTo>
                <a:cubicBezTo>
                  <a:pt x="25" y="95"/>
                  <a:pt x="25" y="95"/>
                  <a:pt x="25" y="95"/>
                </a:cubicBezTo>
                <a:cubicBezTo>
                  <a:pt x="27" y="93"/>
                  <a:pt x="28" y="90"/>
                  <a:pt x="26" y="88"/>
                </a:cubicBezTo>
                <a:cubicBezTo>
                  <a:pt x="24" y="86"/>
                  <a:pt x="21" y="86"/>
                  <a:pt x="19" y="87"/>
                </a:cubicBezTo>
                <a:cubicBezTo>
                  <a:pt x="14" y="92"/>
                  <a:pt x="14" y="92"/>
                  <a:pt x="14" y="92"/>
                </a:cubicBezTo>
                <a:cubicBezTo>
                  <a:pt x="12" y="93"/>
                  <a:pt x="12" y="97"/>
                  <a:pt x="13" y="9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j-lt"/>
            </a:endParaRPr>
          </a:p>
        </p:txBody>
      </p:sp>
      <p:sp>
        <p:nvSpPr>
          <p:cNvPr id="14" name="TextBox 1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FFB98236-68F2-4A2D-A371-2D85A165D86D}"/>
              </a:ext>
            </a:extLst>
          </p:cNvPr>
          <p:cNvSpPr txBox="1"/>
          <p:nvPr/>
        </p:nvSpPr>
        <p:spPr>
          <a:xfrm>
            <a:off x="5173764" y="2734943"/>
            <a:ext cx="1835543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en-US" sz="1600" b="1" dirty="0">
                <a:latin typeface="+mj-lt"/>
                <a:ea typeface="Liberation Sans" panose="020B0604020202020204" pitchFamily="34" charset="0"/>
                <a:cs typeface="Segoe UI" panose="020B0502040204020203" pitchFamily="34" charset="0"/>
              </a:rPr>
              <a:t>Weather</a:t>
            </a:r>
          </a:p>
        </p:txBody>
      </p:sp>
      <p:sp>
        <p:nvSpPr>
          <p:cNvPr id="15" name="Rectangle 1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5E48C245-9C4E-4C44-82A9-8CD224E597C9}"/>
              </a:ext>
            </a:extLst>
          </p:cNvPr>
          <p:cNvSpPr/>
          <p:nvPr/>
        </p:nvSpPr>
        <p:spPr>
          <a:xfrm>
            <a:off x="4769832" y="3030597"/>
            <a:ext cx="2641871" cy="7383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dirty="0">
                <a:latin typeface="+mj-lt"/>
                <a:cs typeface="Segoe UI Light" panose="020B0502040204020203" pitchFamily="34" charset="0"/>
              </a:rPr>
              <a:t>Hey, hey, hey! It's Fat Company! Now I'm </a:t>
            </a:r>
            <a:r>
              <a:rPr lang="en-US" sz="1200" dirty="0" err="1">
                <a:latin typeface="+mj-lt"/>
                <a:cs typeface="Segoe UI Light" panose="020B0502040204020203" pitchFamily="34" charset="0"/>
              </a:rPr>
              <a:t>gonna</a:t>
            </a:r>
            <a:r>
              <a:rPr lang="en-US" sz="1200" dirty="0">
                <a:latin typeface="+mj-lt"/>
                <a:cs typeface="Segoe UI Light" panose="020B0502040204020203" pitchFamily="34" charset="0"/>
              </a:rPr>
              <a:t> sing a song for you, </a:t>
            </a:r>
          </a:p>
        </p:txBody>
      </p:sp>
      <p:sp>
        <p:nvSpPr>
          <p:cNvPr id="22" name="Rectangle: Rounded Corners 2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3CB81F0F-74B2-4CAF-8861-01350B11413F}"/>
              </a:ext>
            </a:extLst>
          </p:cNvPr>
          <p:cNvSpPr/>
          <p:nvPr/>
        </p:nvSpPr>
        <p:spPr>
          <a:xfrm>
            <a:off x="841460" y="3898345"/>
            <a:ext cx="3405298" cy="1935590"/>
          </a:xfrm>
          <a:prstGeom prst="roundRect">
            <a:avLst>
              <a:gd name="adj" fmla="val 712"/>
            </a:avLst>
          </a:prstGeom>
          <a:solidFill>
            <a:schemeClr val="tx1">
              <a:alpha val="27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Freeform 7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2BE4CA17-6009-4FFF-96AE-C53323A5CA8C}"/>
              </a:ext>
            </a:extLst>
          </p:cNvPr>
          <p:cNvSpPr>
            <a:spLocks noEditPoints="1"/>
          </p:cNvSpPr>
          <p:nvPr/>
        </p:nvSpPr>
        <p:spPr bwMode="auto">
          <a:xfrm>
            <a:off x="2311353" y="4182161"/>
            <a:ext cx="465512" cy="315277"/>
          </a:xfrm>
          <a:custGeom>
            <a:avLst/>
            <a:gdLst>
              <a:gd name="T0" fmla="*/ 221 w 223"/>
              <a:gd name="T1" fmla="*/ 88 h 152"/>
              <a:gd name="T2" fmla="*/ 139 w 223"/>
              <a:gd name="T3" fmla="*/ 1 h 152"/>
              <a:gd name="T4" fmla="*/ 25 w 223"/>
              <a:gd name="T5" fmla="*/ 0 h 152"/>
              <a:gd name="T6" fmla="*/ 0 w 223"/>
              <a:gd name="T7" fmla="*/ 73 h 152"/>
              <a:gd name="T8" fmla="*/ 8 w 223"/>
              <a:gd name="T9" fmla="*/ 117 h 152"/>
              <a:gd name="T10" fmla="*/ 34 w 223"/>
              <a:gd name="T11" fmla="*/ 104 h 152"/>
              <a:gd name="T12" fmla="*/ 59 w 223"/>
              <a:gd name="T13" fmla="*/ 139 h 152"/>
              <a:gd name="T14" fmla="*/ 150 w 223"/>
              <a:gd name="T15" fmla="*/ 144 h 152"/>
              <a:gd name="T16" fmla="*/ 148 w 223"/>
              <a:gd name="T17" fmla="*/ 130 h 152"/>
              <a:gd name="T18" fmla="*/ 206 w 223"/>
              <a:gd name="T19" fmla="*/ 130 h 152"/>
              <a:gd name="T20" fmla="*/ 204 w 223"/>
              <a:gd name="T21" fmla="*/ 140 h 152"/>
              <a:gd name="T22" fmla="*/ 217 w 223"/>
              <a:gd name="T23" fmla="*/ 135 h 152"/>
              <a:gd name="T24" fmla="*/ 212 w 223"/>
              <a:gd name="T25" fmla="*/ 118 h 152"/>
              <a:gd name="T26" fmla="*/ 139 w 223"/>
              <a:gd name="T27" fmla="*/ 130 h 152"/>
              <a:gd name="T28" fmla="*/ 68 w 223"/>
              <a:gd name="T29" fmla="*/ 136 h 152"/>
              <a:gd name="T30" fmla="*/ 34 w 223"/>
              <a:gd name="T31" fmla="*/ 96 h 152"/>
              <a:gd name="T32" fmla="*/ 8 w 223"/>
              <a:gd name="T33" fmla="*/ 75 h 152"/>
              <a:gd name="T34" fmla="*/ 36 w 223"/>
              <a:gd name="T35" fmla="*/ 8 h 152"/>
              <a:gd name="T36" fmla="*/ 186 w 223"/>
              <a:gd name="T37" fmla="*/ 65 h 152"/>
              <a:gd name="T38" fmla="*/ 212 w 223"/>
              <a:gd name="T39" fmla="*/ 118 h 152"/>
              <a:gd name="T40" fmla="*/ 32 w 223"/>
              <a:gd name="T41" fmla="*/ 60 h 152"/>
              <a:gd name="T42" fmla="*/ 60 w 223"/>
              <a:gd name="T43" fmla="*/ 20 h 152"/>
              <a:gd name="T44" fmla="*/ 72 w 223"/>
              <a:gd name="T45" fmla="*/ 20 h 152"/>
              <a:gd name="T46" fmla="*/ 176 w 223"/>
              <a:gd name="T47" fmla="*/ 68 h 152"/>
              <a:gd name="T48" fmla="*/ 72 w 223"/>
              <a:gd name="T49" fmla="*/ 20 h 152"/>
              <a:gd name="T50" fmla="*/ 76 w 223"/>
              <a:gd name="T51" fmla="*/ 28 h 152"/>
              <a:gd name="T52" fmla="*/ 158 w 223"/>
              <a:gd name="T53" fmla="*/ 60 h 152"/>
              <a:gd name="T54" fmla="*/ 176 w 223"/>
              <a:gd name="T55" fmla="*/ 112 h 152"/>
              <a:gd name="T56" fmla="*/ 176 w 223"/>
              <a:gd name="T57" fmla="*/ 152 h 152"/>
              <a:gd name="T58" fmla="*/ 176 w 223"/>
              <a:gd name="T59" fmla="*/ 112 h 152"/>
              <a:gd name="T60" fmla="*/ 163 w 223"/>
              <a:gd name="T61" fmla="*/ 132 h 152"/>
              <a:gd name="T62" fmla="*/ 189 w 223"/>
              <a:gd name="T63" fmla="*/ 132 h 152"/>
              <a:gd name="T64" fmla="*/ 32 w 223"/>
              <a:gd name="T65" fmla="*/ 112 h 152"/>
              <a:gd name="T66" fmla="*/ 32 w 223"/>
              <a:gd name="T67" fmla="*/ 152 h 152"/>
              <a:gd name="T68" fmla="*/ 32 w 223"/>
              <a:gd name="T69" fmla="*/ 112 h 152"/>
              <a:gd name="T70" fmla="*/ 19 w 223"/>
              <a:gd name="T71" fmla="*/ 132 h 152"/>
              <a:gd name="T72" fmla="*/ 45 w 223"/>
              <a:gd name="T73" fmla="*/ 132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3" h="152">
                <a:moveTo>
                  <a:pt x="221" y="89"/>
                </a:moveTo>
                <a:cubicBezTo>
                  <a:pt x="221" y="88"/>
                  <a:pt x="221" y="88"/>
                  <a:pt x="221" y="88"/>
                </a:cubicBezTo>
                <a:cubicBezTo>
                  <a:pt x="193" y="62"/>
                  <a:pt x="193" y="62"/>
                  <a:pt x="193" y="62"/>
                </a:cubicBezTo>
                <a:cubicBezTo>
                  <a:pt x="180" y="31"/>
                  <a:pt x="141" y="2"/>
                  <a:pt x="139" y="1"/>
                </a:cubicBezTo>
                <a:cubicBezTo>
                  <a:pt x="138" y="0"/>
                  <a:pt x="138" y="0"/>
                  <a:pt x="138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30" y="14"/>
                  <a:pt x="30" y="14"/>
                  <a:pt x="30" y="14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113"/>
                  <a:pt x="0" y="113"/>
                  <a:pt x="0" y="113"/>
                </a:cubicBezTo>
                <a:cubicBezTo>
                  <a:pt x="8" y="117"/>
                  <a:pt x="8" y="117"/>
                  <a:pt x="8" y="117"/>
                </a:cubicBezTo>
                <a:cubicBezTo>
                  <a:pt x="10" y="114"/>
                  <a:pt x="10" y="114"/>
                  <a:pt x="10" y="114"/>
                </a:cubicBezTo>
                <a:cubicBezTo>
                  <a:pt x="15" y="106"/>
                  <a:pt x="24" y="104"/>
                  <a:pt x="34" y="104"/>
                </a:cubicBezTo>
                <a:cubicBezTo>
                  <a:pt x="51" y="104"/>
                  <a:pt x="61" y="114"/>
                  <a:pt x="61" y="130"/>
                </a:cubicBezTo>
                <a:cubicBezTo>
                  <a:pt x="61" y="133"/>
                  <a:pt x="60" y="136"/>
                  <a:pt x="59" y="139"/>
                </a:cubicBezTo>
                <a:cubicBezTo>
                  <a:pt x="58" y="144"/>
                  <a:pt x="58" y="144"/>
                  <a:pt x="58" y="144"/>
                </a:cubicBezTo>
                <a:cubicBezTo>
                  <a:pt x="150" y="144"/>
                  <a:pt x="150" y="144"/>
                  <a:pt x="150" y="144"/>
                </a:cubicBezTo>
                <a:cubicBezTo>
                  <a:pt x="149" y="139"/>
                  <a:pt x="149" y="139"/>
                  <a:pt x="149" y="139"/>
                </a:cubicBezTo>
                <a:cubicBezTo>
                  <a:pt x="148" y="136"/>
                  <a:pt x="148" y="133"/>
                  <a:pt x="148" y="130"/>
                </a:cubicBezTo>
                <a:cubicBezTo>
                  <a:pt x="148" y="114"/>
                  <a:pt x="161" y="104"/>
                  <a:pt x="177" y="104"/>
                </a:cubicBezTo>
                <a:cubicBezTo>
                  <a:pt x="193" y="104"/>
                  <a:pt x="206" y="114"/>
                  <a:pt x="206" y="130"/>
                </a:cubicBezTo>
                <a:cubicBezTo>
                  <a:pt x="206" y="131"/>
                  <a:pt x="206" y="132"/>
                  <a:pt x="206" y="133"/>
                </a:cubicBezTo>
                <a:cubicBezTo>
                  <a:pt x="204" y="140"/>
                  <a:pt x="204" y="140"/>
                  <a:pt x="204" y="140"/>
                </a:cubicBezTo>
                <a:cubicBezTo>
                  <a:pt x="216" y="140"/>
                  <a:pt x="216" y="140"/>
                  <a:pt x="216" y="140"/>
                </a:cubicBezTo>
                <a:cubicBezTo>
                  <a:pt x="217" y="135"/>
                  <a:pt x="217" y="135"/>
                  <a:pt x="217" y="135"/>
                </a:cubicBezTo>
                <a:cubicBezTo>
                  <a:pt x="223" y="111"/>
                  <a:pt x="219" y="90"/>
                  <a:pt x="221" y="89"/>
                </a:cubicBezTo>
                <a:close/>
                <a:moveTo>
                  <a:pt x="212" y="118"/>
                </a:moveTo>
                <a:cubicBezTo>
                  <a:pt x="207" y="104"/>
                  <a:pt x="193" y="96"/>
                  <a:pt x="177" y="96"/>
                </a:cubicBezTo>
                <a:cubicBezTo>
                  <a:pt x="157" y="96"/>
                  <a:pt x="139" y="110"/>
                  <a:pt x="139" y="130"/>
                </a:cubicBezTo>
                <a:cubicBezTo>
                  <a:pt x="139" y="132"/>
                  <a:pt x="140" y="134"/>
                  <a:pt x="140" y="136"/>
                </a:cubicBezTo>
                <a:cubicBezTo>
                  <a:pt x="68" y="136"/>
                  <a:pt x="68" y="136"/>
                  <a:pt x="68" y="136"/>
                </a:cubicBezTo>
                <a:cubicBezTo>
                  <a:pt x="69" y="134"/>
                  <a:pt x="69" y="132"/>
                  <a:pt x="69" y="130"/>
                </a:cubicBezTo>
                <a:cubicBezTo>
                  <a:pt x="69" y="110"/>
                  <a:pt x="55" y="96"/>
                  <a:pt x="34" y="96"/>
                </a:cubicBezTo>
                <a:cubicBezTo>
                  <a:pt x="24" y="96"/>
                  <a:pt x="15" y="97"/>
                  <a:pt x="8" y="103"/>
                </a:cubicBezTo>
                <a:cubicBezTo>
                  <a:pt x="8" y="75"/>
                  <a:pt x="8" y="75"/>
                  <a:pt x="8" y="75"/>
                </a:cubicBezTo>
                <a:cubicBezTo>
                  <a:pt x="38" y="14"/>
                  <a:pt x="38" y="14"/>
                  <a:pt x="38" y="14"/>
                </a:cubicBezTo>
                <a:cubicBezTo>
                  <a:pt x="36" y="8"/>
                  <a:pt x="36" y="8"/>
                  <a:pt x="36" y="8"/>
                </a:cubicBezTo>
                <a:cubicBezTo>
                  <a:pt x="135" y="8"/>
                  <a:pt x="135" y="8"/>
                  <a:pt x="135" y="8"/>
                </a:cubicBezTo>
                <a:cubicBezTo>
                  <a:pt x="142" y="13"/>
                  <a:pt x="175" y="39"/>
                  <a:pt x="186" y="65"/>
                </a:cubicBezTo>
                <a:cubicBezTo>
                  <a:pt x="212" y="92"/>
                  <a:pt x="212" y="92"/>
                  <a:pt x="212" y="92"/>
                </a:cubicBezTo>
                <a:cubicBezTo>
                  <a:pt x="213" y="95"/>
                  <a:pt x="213" y="106"/>
                  <a:pt x="212" y="118"/>
                </a:cubicBezTo>
                <a:close/>
                <a:moveTo>
                  <a:pt x="52" y="20"/>
                </a:moveTo>
                <a:cubicBezTo>
                  <a:pt x="32" y="60"/>
                  <a:pt x="32" y="60"/>
                  <a:pt x="32" y="60"/>
                </a:cubicBezTo>
                <a:cubicBezTo>
                  <a:pt x="40" y="60"/>
                  <a:pt x="40" y="60"/>
                  <a:pt x="40" y="60"/>
                </a:cubicBezTo>
                <a:cubicBezTo>
                  <a:pt x="60" y="20"/>
                  <a:pt x="60" y="20"/>
                  <a:pt x="60" y="20"/>
                </a:cubicBezTo>
                <a:lnTo>
                  <a:pt x="52" y="20"/>
                </a:lnTo>
                <a:close/>
                <a:moveTo>
                  <a:pt x="72" y="20"/>
                </a:moveTo>
                <a:cubicBezTo>
                  <a:pt x="55" y="58"/>
                  <a:pt x="55" y="58"/>
                  <a:pt x="55" y="58"/>
                </a:cubicBezTo>
                <a:cubicBezTo>
                  <a:pt x="176" y="68"/>
                  <a:pt x="176" y="68"/>
                  <a:pt x="176" y="68"/>
                </a:cubicBezTo>
                <a:cubicBezTo>
                  <a:pt x="136" y="20"/>
                  <a:pt x="136" y="20"/>
                  <a:pt x="136" y="20"/>
                </a:cubicBezTo>
                <a:lnTo>
                  <a:pt x="72" y="20"/>
                </a:lnTo>
                <a:close/>
                <a:moveTo>
                  <a:pt x="66" y="51"/>
                </a:moveTo>
                <a:cubicBezTo>
                  <a:pt x="76" y="28"/>
                  <a:pt x="76" y="28"/>
                  <a:pt x="76" y="28"/>
                </a:cubicBezTo>
                <a:cubicBezTo>
                  <a:pt x="132" y="28"/>
                  <a:pt x="132" y="28"/>
                  <a:pt x="132" y="28"/>
                </a:cubicBezTo>
                <a:cubicBezTo>
                  <a:pt x="158" y="60"/>
                  <a:pt x="158" y="60"/>
                  <a:pt x="158" y="60"/>
                </a:cubicBezTo>
                <a:lnTo>
                  <a:pt x="66" y="51"/>
                </a:lnTo>
                <a:close/>
                <a:moveTo>
                  <a:pt x="176" y="112"/>
                </a:moveTo>
                <a:cubicBezTo>
                  <a:pt x="165" y="112"/>
                  <a:pt x="156" y="121"/>
                  <a:pt x="156" y="132"/>
                </a:cubicBezTo>
                <a:cubicBezTo>
                  <a:pt x="156" y="143"/>
                  <a:pt x="165" y="152"/>
                  <a:pt x="176" y="152"/>
                </a:cubicBezTo>
                <a:cubicBezTo>
                  <a:pt x="187" y="152"/>
                  <a:pt x="196" y="143"/>
                  <a:pt x="196" y="132"/>
                </a:cubicBezTo>
                <a:cubicBezTo>
                  <a:pt x="196" y="121"/>
                  <a:pt x="187" y="112"/>
                  <a:pt x="176" y="112"/>
                </a:cubicBezTo>
                <a:close/>
                <a:moveTo>
                  <a:pt x="176" y="145"/>
                </a:moveTo>
                <a:cubicBezTo>
                  <a:pt x="169" y="145"/>
                  <a:pt x="163" y="139"/>
                  <a:pt x="163" y="132"/>
                </a:cubicBezTo>
                <a:cubicBezTo>
                  <a:pt x="163" y="125"/>
                  <a:pt x="169" y="119"/>
                  <a:pt x="176" y="119"/>
                </a:cubicBezTo>
                <a:cubicBezTo>
                  <a:pt x="183" y="119"/>
                  <a:pt x="189" y="125"/>
                  <a:pt x="189" y="132"/>
                </a:cubicBezTo>
                <a:cubicBezTo>
                  <a:pt x="189" y="139"/>
                  <a:pt x="183" y="145"/>
                  <a:pt x="176" y="145"/>
                </a:cubicBezTo>
                <a:close/>
                <a:moveTo>
                  <a:pt x="32" y="112"/>
                </a:moveTo>
                <a:cubicBezTo>
                  <a:pt x="21" y="112"/>
                  <a:pt x="12" y="121"/>
                  <a:pt x="12" y="132"/>
                </a:cubicBezTo>
                <a:cubicBezTo>
                  <a:pt x="12" y="143"/>
                  <a:pt x="21" y="152"/>
                  <a:pt x="32" y="152"/>
                </a:cubicBezTo>
                <a:cubicBezTo>
                  <a:pt x="43" y="152"/>
                  <a:pt x="52" y="143"/>
                  <a:pt x="52" y="132"/>
                </a:cubicBezTo>
                <a:cubicBezTo>
                  <a:pt x="52" y="121"/>
                  <a:pt x="43" y="112"/>
                  <a:pt x="32" y="112"/>
                </a:cubicBezTo>
                <a:close/>
                <a:moveTo>
                  <a:pt x="32" y="145"/>
                </a:moveTo>
                <a:cubicBezTo>
                  <a:pt x="25" y="145"/>
                  <a:pt x="19" y="139"/>
                  <a:pt x="19" y="132"/>
                </a:cubicBezTo>
                <a:cubicBezTo>
                  <a:pt x="19" y="125"/>
                  <a:pt x="25" y="119"/>
                  <a:pt x="32" y="119"/>
                </a:cubicBezTo>
                <a:cubicBezTo>
                  <a:pt x="39" y="119"/>
                  <a:pt x="45" y="125"/>
                  <a:pt x="45" y="132"/>
                </a:cubicBezTo>
                <a:cubicBezTo>
                  <a:pt x="45" y="139"/>
                  <a:pt x="39" y="145"/>
                  <a:pt x="32" y="14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j-lt"/>
            </a:endParaRPr>
          </a:p>
        </p:txBody>
      </p:sp>
      <p:sp>
        <p:nvSpPr>
          <p:cNvPr id="24" name="TextBox 2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55B8D015-38B1-48F2-B409-350F63C6A538}"/>
              </a:ext>
            </a:extLst>
          </p:cNvPr>
          <p:cNvSpPr txBox="1"/>
          <p:nvPr/>
        </p:nvSpPr>
        <p:spPr>
          <a:xfrm>
            <a:off x="1626337" y="4753295"/>
            <a:ext cx="1835543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en-US" sz="1600" b="1" dirty="0">
                <a:latin typeface="+mj-lt"/>
                <a:ea typeface="Liberation Sans" panose="020B0604020202020204" pitchFamily="34" charset="0"/>
                <a:cs typeface="Segoe UI" panose="020B0502040204020203" pitchFamily="34" charset="0"/>
              </a:rPr>
              <a:t>Driving</a:t>
            </a:r>
          </a:p>
        </p:txBody>
      </p:sp>
      <p:sp>
        <p:nvSpPr>
          <p:cNvPr id="25" name="Rectangle 2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06C5E499-07E2-4C1A-AA37-A69924774CED}"/>
              </a:ext>
            </a:extLst>
          </p:cNvPr>
          <p:cNvSpPr/>
          <p:nvPr/>
        </p:nvSpPr>
        <p:spPr>
          <a:xfrm>
            <a:off x="1223173" y="5055364"/>
            <a:ext cx="2641871" cy="7383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dirty="0">
                <a:latin typeface="+mj-lt"/>
                <a:cs typeface="Segoe UI Light" panose="020B0502040204020203" pitchFamily="34" charset="0"/>
              </a:rPr>
              <a:t>Hey, hey, hey! It's Fat Company! Now I'm </a:t>
            </a:r>
            <a:r>
              <a:rPr lang="en-US" sz="1200" dirty="0" err="1">
                <a:latin typeface="+mj-lt"/>
                <a:cs typeface="Segoe UI Light" panose="020B0502040204020203" pitchFamily="34" charset="0"/>
              </a:rPr>
              <a:t>gonna</a:t>
            </a:r>
            <a:r>
              <a:rPr lang="en-US" sz="1200" dirty="0">
                <a:latin typeface="+mj-lt"/>
                <a:cs typeface="Segoe UI Light" panose="020B0502040204020203" pitchFamily="34" charset="0"/>
              </a:rPr>
              <a:t> sing a song for you, </a:t>
            </a:r>
          </a:p>
        </p:txBody>
      </p:sp>
      <p:sp>
        <p:nvSpPr>
          <p:cNvPr id="27" name="Rectangle: Rounded Corners 2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DCF565A-009D-4B90-991D-9741B79AB090}"/>
              </a:ext>
            </a:extLst>
          </p:cNvPr>
          <p:cNvSpPr/>
          <p:nvPr/>
        </p:nvSpPr>
        <p:spPr>
          <a:xfrm>
            <a:off x="4388119" y="3898345"/>
            <a:ext cx="3405298" cy="1935590"/>
          </a:xfrm>
          <a:prstGeom prst="roundRect">
            <a:avLst>
              <a:gd name="adj" fmla="val 712"/>
            </a:avLst>
          </a:prstGeom>
          <a:solidFill>
            <a:schemeClr val="tx1">
              <a:alpha val="27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8" name="Freeform 4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0697ED50-D219-4028-AEAC-171E1A4AEE56}"/>
              </a:ext>
            </a:extLst>
          </p:cNvPr>
          <p:cNvSpPr>
            <a:spLocks noEditPoints="1"/>
          </p:cNvSpPr>
          <p:nvPr/>
        </p:nvSpPr>
        <p:spPr bwMode="auto">
          <a:xfrm>
            <a:off x="5872641" y="4157289"/>
            <a:ext cx="437784" cy="365023"/>
          </a:xfrm>
          <a:custGeom>
            <a:avLst/>
            <a:gdLst>
              <a:gd name="T0" fmla="*/ 64 w 216"/>
              <a:gd name="T1" fmla="*/ 144 h 180"/>
              <a:gd name="T2" fmla="*/ 104 w 216"/>
              <a:gd name="T3" fmla="*/ 151 h 180"/>
              <a:gd name="T4" fmla="*/ 104 w 216"/>
              <a:gd name="T5" fmla="*/ 153 h 180"/>
              <a:gd name="T6" fmla="*/ 108 w 216"/>
              <a:gd name="T7" fmla="*/ 152 h 180"/>
              <a:gd name="T8" fmla="*/ 112 w 216"/>
              <a:gd name="T9" fmla="*/ 153 h 180"/>
              <a:gd name="T10" fmla="*/ 112 w 216"/>
              <a:gd name="T11" fmla="*/ 151 h 180"/>
              <a:gd name="T12" fmla="*/ 152 w 216"/>
              <a:gd name="T13" fmla="*/ 144 h 180"/>
              <a:gd name="T14" fmla="*/ 195 w 216"/>
              <a:gd name="T15" fmla="*/ 152 h 180"/>
              <a:gd name="T16" fmla="*/ 200 w 216"/>
              <a:gd name="T17" fmla="*/ 153 h 180"/>
              <a:gd name="T18" fmla="*/ 200 w 216"/>
              <a:gd name="T19" fmla="*/ 9 h 180"/>
              <a:gd name="T20" fmla="*/ 197 w 216"/>
              <a:gd name="T21" fmla="*/ 8 h 180"/>
              <a:gd name="T22" fmla="*/ 152 w 216"/>
              <a:gd name="T23" fmla="*/ 0 h 180"/>
              <a:gd name="T24" fmla="*/ 108 w 216"/>
              <a:gd name="T25" fmla="*/ 8 h 180"/>
              <a:gd name="T26" fmla="*/ 64 w 216"/>
              <a:gd name="T27" fmla="*/ 0 h 180"/>
              <a:gd name="T28" fmla="*/ 19 w 216"/>
              <a:gd name="T29" fmla="*/ 8 h 180"/>
              <a:gd name="T30" fmla="*/ 16 w 216"/>
              <a:gd name="T31" fmla="*/ 9 h 180"/>
              <a:gd name="T32" fmla="*/ 16 w 216"/>
              <a:gd name="T33" fmla="*/ 153 h 180"/>
              <a:gd name="T34" fmla="*/ 21 w 216"/>
              <a:gd name="T35" fmla="*/ 152 h 180"/>
              <a:gd name="T36" fmla="*/ 64 w 216"/>
              <a:gd name="T37" fmla="*/ 144 h 180"/>
              <a:gd name="T38" fmla="*/ 112 w 216"/>
              <a:gd name="T39" fmla="*/ 15 h 180"/>
              <a:gd name="T40" fmla="*/ 152 w 216"/>
              <a:gd name="T41" fmla="*/ 8 h 180"/>
              <a:gd name="T42" fmla="*/ 192 w 216"/>
              <a:gd name="T43" fmla="*/ 15 h 180"/>
              <a:gd name="T44" fmla="*/ 192 w 216"/>
              <a:gd name="T45" fmla="*/ 143 h 180"/>
              <a:gd name="T46" fmla="*/ 152 w 216"/>
              <a:gd name="T47" fmla="*/ 136 h 180"/>
              <a:gd name="T48" fmla="*/ 112 w 216"/>
              <a:gd name="T49" fmla="*/ 143 h 180"/>
              <a:gd name="T50" fmla="*/ 112 w 216"/>
              <a:gd name="T51" fmla="*/ 15 h 180"/>
              <a:gd name="T52" fmla="*/ 24 w 216"/>
              <a:gd name="T53" fmla="*/ 15 h 180"/>
              <a:gd name="T54" fmla="*/ 64 w 216"/>
              <a:gd name="T55" fmla="*/ 8 h 180"/>
              <a:gd name="T56" fmla="*/ 104 w 216"/>
              <a:gd name="T57" fmla="*/ 15 h 180"/>
              <a:gd name="T58" fmla="*/ 104 w 216"/>
              <a:gd name="T59" fmla="*/ 143 h 180"/>
              <a:gd name="T60" fmla="*/ 64 w 216"/>
              <a:gd name="T61" fmla="*/ 136 h 180"/>
              <a:gd name="T62" fmla="*/ 24 w 216"/>
              <a:gd name="T63" fmla="*/ 143 h 180"/>
              <a:gd name="T64" fmla="*/ 24 w 216"/>
              <a:gd name="T65" fmla="*/ 15 h 180"/>
              <a:gd name="T66" fmla="*/ 208 w 216"/>
              <a:gd name="T67" fmla="*/ 20 h 180"/>
              <a:gd name="T68" fmla="*/ 208 w 216"/>
              <a:gd name="T69" fmla="*/ 164 h 180"/>
              <a:gd name="T70" fmla="*/ 120 w 216"/>
              <a:gd name="T71" fmla="*/ 164 h 180"/>
              <a:gd name="T72" fmla="*/ 120 w 216"/>
              <a:gd name="T73" fmla="*/ 172 h 180"/>
              <a:gd name="T74" fmla="*/ 96 w 216"/>
              <a:gd name="T75" fmla="*/ 172 h 180"/>
              <a:gd name="T76" fmla="*/ 96 w 216"/>
              <a:gd name="T77" fmla="*/ 164 h 180"/>
              <a:gd name="T78" fmla="*/ 8 w 216"/>
              <a:gd name="T79" fmla="*/ 164 h 180"/>
              <a:gd name="T80" fmla="*/ 8 w 216"/>
              <a:gd name="T81" fmla="*/ 20 h 180"/>
              <a:gd name="T82" fmla="*/ 0 w 216"/>
              <a:gd name="T83" fmla="*/ 20 h 180"/>
              <a:gd name="T84" fmla="*/ 0 w 216"/>
              <a:gd name="T85" fmla="*/ 172 h 180"/>
              <a:gd name="T86" fmla="*/ 88 w 216"/>
              <a:gd name="T87" fmla="*/ 172 h 180"/>
              <a:gd name="T88" fmla="*/ 88 w 216"/>
              <a:gd name="T89" fmla="*/ 180 h 180"/>
              <a:gd name="T90" fmla="*/ 128 w 216"/>
              <a:gd name="T91" fmla="*/ 180 h 180"/>
              <a:gd name="T92" fmla="*/ 128 w 216"/>
              <a:gd name="T93" fmla="*/ 172 h 180"/>
              <a:gd name="T94" fmla="*/ 216 w 216"/>
              <a:gd name="T95" fmla="*/ 172 h 180"/>
              <a:gd name="T96" fmla="*/ 216 w 216"/>
              <a:gd name="T97" fmla="*/ 20 h 180"/>
              <a:gd name="T98" fmla="*/ 208 w 216"/>
              <a:gd name="T99" fmla="*/ 2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6" h="180">
                <a:moveTo>
                  <a:pt x="64" y="144"/>
                </a:moveTo>
                <a:cubicBezTo>
                  <a:pt x="73" y="144"/>
                  <a:pt x="96" y="149"/>
                  <a:pt x="104" y="151"/>
                </a:cubicBezTo>
                <a:cubicBezTo>
                  <a:pt x="104" y="153"/>
                  <a:pt x="104" y="153"/>
                  <a:pt x="104" y="153"/>
                </a:cubicBezTo>
                <a:cubicBezTo>
                  <a:pt x="108" y="152"/>
                  <a:pt x="108" y="152"/>
                  <a:pt x="108" y="152"/>
                </a:cubicBezTo>
                <a:cubicBezTo>
                  <a:pt x="112" y="153"/>
                  <a:pt x="112" y="153"/>
                  <a:pt x="112" y="153"/>
                </a:cubicBezTo>
                <a:cubicBezTo>
                  <a:pt x="112" y="151"/>
                  <a:pt x="112" y="151"/>
                  <a:pt x="112" y="151"/>
                </a:cubicBezTo>
                <a:cubicBezTo>
                  <a:pt x="120" y="149"/>
                  <a:pt x="144" y="144"/>
                  <a:pt x="152" y="144"/>
                </a:cubicBezTo>
                <a:cubicBezTo>
                  <a:pt x="163" y="144"/>
                  <a:pt x="195" y="152"/>
                  <a:pt x="195" y="152"/>
                </a:cubicBezTo>
                <a:cubicBezTo>
                  <a:pt x="200" y="153"/>
                  <a:pt x="200" y="153"/>
                  <a:pt x="200" y="153"/>
                </a:cubicBezTo>
                <a:cubicBezTo>
                  <a:pt x="200" y="9"/>
                  <a:pt x="200" y="9"/>
                  <a:pt x="200" y="9"/>
                </a:cubicBezTo>
                <a:cubicBezTo>
                  <a:pt x="197" y="8"/>
                  <a:pt x="197" y="8"/>
                  <a:pt x="197" y="8"/>
                </a:cubicBezTo>
                <a:cubicBezTo>
                  <a:pt x="196" y="8"/>
                  <a:pt x="164" y="0"/>
                  <a:pt x="152" y="0"/>
                </a:cubicBezTo>
                <a:cubicBezTo>
                  <a:pt x="142" y="0"/>
                  <a:pt x="114" y="7"/>
                  <a:pt x="108" y="8"/>
                </a:cubicBezTo>
                <a:cubicBezTo>
                  <a:pt x="103" y="7"/>
                  <a:pt x="75" y="0"/>
                  <a:pt x="64" y="0"/>
                </a:cubicBezTo>
                <a:cubicBezTo>
                  <a:pt x="53" y="0"/>
                  <a:pt x="21" y="8"/>
                  <a:pt x="19" y="8"/>
                </a:cubicBezTo>
                <a:cubicBezTo>
                  <a:pt x="16" y="9"/>
                  <a:pt x="16" y="9"/>
                  <a:pt x="16" y="9"/>
                </a:cubicBezTo>
                <a:cubicBezTo>
                  <a:pt x="16" y="153"/>
                  <a:pt x="16" y="153"/>
                  <a:pt x="16" y="153"/>
                </a:cubicBezTo>
                <a:cubicBezTo>
                  <a:pt x="21" y="152"/>
                  <a:pt x="21" y="152"/>
                  <a:pt x="21" y="152"/>
                </a:cubicBezTo>
                <a:cubicBezTo>
                  <a:pt x="21" y="152"/>
                  <a:pt x="54" y="144"/>
                  <a:pt x="64" y="144"/>
                </a:cubicBezTo>
                <a:close/>
                <a:moveTo>
                  <a:pt x="112" y="15"/>
                </a:moveTo>
                <a:cubicBezTo>
                  <a:pt x="121" y="13"/>
                  <a:pt x="144" y="8"/>
                  <a:pt x="152" y="8"/>
                </a:cubicBezTo>
                <a:cubicBezTo>
                  <a:pt x="161" y="8"/>
                  <a:pt x="184" y="13"/>
                  <a:pt x="192" y="15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82" y="141"/>
                  <a:pt x="161" y="136"/>
                  <a:pt x="152" y="136"/>
                </a:cubicBezTo>
                <a:cubicBezTo>
                  <a:pt x="143" y="136"/>
                  <a:pt x="122" y="141"/>
                  <a:pt x="112" y="143"/>
                </a:cubicBezTo>
                <a:lnTo>
                  <a:pt x="112" y="15"/>
                </a:lnTo>
                <a:close/>
                <a:moveTo>
                  <a:pt x="24" y="15"/>
                </a:moveTo>
                <a:cubicBezTo>
                  <a:pt x="33" y="13"/>
                  <a:pt x="56" y="8"/>
                  <a:pt x="64" y="8"/>
                </a:cubicBezTo>
                <a:cubicBezTo>
                  <a:pt x="73" y="8"/>
                  <a:pt x="96" y="13"/>
                  <a:pt x="104" y="15"/>
                </a:cubicBezTo>
                <a:cubicBezTo>
                  <a:pt x="104" y="143"/>
                  <a:pt x="104" y="143"/>
                  <a:pt x="104" y="143"/>
                </a:cubicBezTo>
                <a:cubicBezTo>
                  <a:pt x="94" y="141"/>
                  <a:pt x="73" y="136"/>
                  <a:pt x="64" y="136"/>
                </a:cubicBezTo>
                <a:cubicBezTo>
                  <a:pt x="55" y="136"/>
                  <a:pt x="34" y="141"/>
                  <a:pt x="24" y="143"/>
                </a:cubicBezTo>
                <a:lnTo>
                  <a:pt x="24" y="15"/>
                </a:lnTo>
                <a:close/>
                <a:moveTo>
                  <a:pt x="208" y="20"/>
                </a:moveTo>
                <a:cubicBezTo>
                  <a:pt x="208" y="164"/>
                  <a:pt x="208" y="164"/>
                  <a:pt x="208" y="164"/>
                </a:cubicBezTo>
                <a:cubicBezTo>
                  <a:pt x="120" y="164"/>
                  <a:pt x="120" y="164"/>
                  <a:pt x="120" y="164"/>
                </a:cubicBezTo>
                <a:cubicBezTo>
                  <a:pt x="120" y="172"/>
                  <a:pt x="120" y="172"/>
                  <a:pt x="120" y="172"/>
                </a:cubicBezTo>
                <a:cubicBezTo>
                  <a:pt x="96" y="172"/>
                  <a:pt x="96" y="172"/>
                  <a:pt x="96" y="172"/>
                </a:cubicBezTo>
                <a:cubicBezTo>
                  <a:pt x="96" y="164"/>
                  <a:pt x="96" y="164"/>
                  <a:pt x="96" y="164"/>
                </a:cubicBezTo>
                <a:cubicBezTo>
                  <a:pt x="8" y="164"/>
                  <a:pt x="8" y="164"/>
                  <a:pt x="8" y="164"/>
                </a:cubicBezTo>
                <a:cubicBezTo>
                  <a:pt x="8" y="20"/>
                  <a:pt x="8" y="20"/>
                  <a:pt x="8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2"/>
                  <a:pt x="0" y="172"/>
                  <a:pt x="0" y="172"/>
                </a:cubicBezTo>
                <a:cubicBezTo>
                  <a:pt x="88" y="172"/>
                  <a:pt x="88" y="172"/>
                  <a:pt x="88" y="172"/>
                </a:cubicBezTo>
                <a:cubicBezTo>
                  <a:pt x="88" y="180"/>
                  <a:pt x="88" y="180"/>
                  <a:pt x="88" y="180"/>
                </a:cubicBezTo>
                <a:cubicBezTo>
                  <a:pt x="128" y="180"/>
                  <a:pt x="128" y="180"/>
                  <a:pt x="128" y="180"/>
                </a:cubicBezTo>
                <a:cubicBezTo>
                  <a:pt x="128" y="172"/>
                  <a:pt x="128" y="172"/>
                  <a:pt x="128" y="172"/>
                </a:cubicBezTo>
                <a:cubicBezTo>
                  <a:pt x="216" y="172"/>
                  <a:pt x="216" y="172"/>
                  <a:pt x="216" y="172"/>
                </a:cubicBezTo>
                <a:cubicBezTo>
                  <a:pt x="216" y="20"/>
                  <a:pt x="216" y="20"/>
                  <a:pt x="216" y="20"/>
                </a:cubicBezTo>
                <a:lnTo>
                  <a:pt x="208" y="2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j-lt"/>
            </a:endParaRPr>
          </a:p>
        </p:txBody>
      </p:sp>
      <p:sp>
        <p:nvSpPr>
          <p:cNvPr id="29" name="TextBox 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2CFC09EB-F456-48E1-ACB6-800E0C08422E}"/>
              </a:ext>
            </a:extLst>
          </p:cNvPr>
          <p:cNvSpPr txBox="1"/>
          <p:nvPr/>
        </p:nvSpPr>
        <p:spPr>
          <a:xfrm>
            <a:off x="5173764" y="4753295"/>
            <a:ext cx="1835543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en-US" sz="1600" b="1" dirty="0">
                <a:latin typeface="+mj-lt"/>
                <a:ea typeface="Liberation Sans" panose="020B0604020202020204" pitchFamily="34" charset="0"/>
                <a:cs typeface="Segoe UI" panose="020B0502040204020203" pitchFamily="34" charset="0"/>
              </a:rPr>
              <a:t>Magazine</a:t>
            </a:r>
          </a:p>
        </p:txBody>
      </p:sp>
      <p:sp>
        <p:nvSpPr>
          <p:cNvPr id="30" name="Rectangle 2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7E329E2E-D388-40ED-ABF6-8102CFC7E2EC}"/>
              </a:ext>
            </a:extLst>
          </p:cNvPr>
          <p:cNvSpPr/>
          <p:nvPr/>
        </p:nvSpPr>
        <p:spPr>
          <a:xfrm>
            <a:off x="4769832" y="5055364"/>
            <a:ext cx="2641871" cy="7383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dirty="0">
                <a:latin typeface="+mj-lt"/>
                <a:cs typeface="Segoe UI Light" panose="020B0502040204020203" pitchFamily="34" charset="0"/>
              </a:rPr>
              <a:t>Hey, hey, hey! It's Fat Company! Now I'm </a:t>
            </a:r>
            <a:r>
              <a:rPr lang="en-US" sz="1200" dirty="0" err="1">
                <a:latin typeface="+mj-lt"/>
                <a:cs typeface="Segoe UI Light" panose="020B0502040204020203" pitchFamily="34" charset="0"/>
              </a:rPr>
              <a:t>gonna</a:t>
            </a:r>
            <a:r>
              <a:rPr lang="en-US" sz="1200" dirty="0">
                <a:latin typeface="+mj-lt"/>
                <a:cs typeface="Segoe UI Light" panose="020B0502040204020203" pitchFamily="34" charset="0"/>
              </a:rPr>
              <a:t> sing a song for you, </a:t>
            </a:r>
          </a:p>
        </p:txBody>
      </p:sp>
      <p:sp>
        <p:nvSpPr>
          <p:cNvPr id="32" name="Rectangle: Rounded Corners 3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DFA3A1E1-AA35-4C4C-AFEE-791950258124}"/>
              </a:ext>
            </a:extLst>
          </p:cNvPr>
          <p:cNvSpPr/>
          <p:nvPr/>
        </p:nvSpPr>
        <p:spPr>
          <a:xfrm>
            <a:off x="7945242" y="3898344"/>
            <a:ext cx="3405298" cy="1935590"/>
          </a:xfrm>
          <a:prstGeom prst="roundRect">
            <a:avLst>
              <a:gd name="adj" fmla="val 712"/>
            </a:avLst>
          </a:prstGeom>
          <a:solidFill>
            <a:schemeClr val="tx1">
              <a:alpha val="27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Freeform 3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59E033B1-2521-494B-949B-FCD6C25985B1}"/>
              </a:ext>
            </a:extLst>
          </p:cNvPr>
          <p:cNvSpPr>
            <a:spLocks noEditPoints="1"/>
          </p:cNvSpPr>
          <p:nvPr/>
        </p:nvSpPr>
        <p:spPr bwMode="auto">
          <a:xfrm>
            <a:off x="9427460" y="4174068"/>
            <a:ext cx="440860" cy="331463"/>
          </a:xfrm>
          <a:custGeom>
            <a:avLst/>
            <a:gdLst>
              <a:gd name="T0" fmla="*/ 212 w 228"/>
              <a:gd name="T1" fmla="*/ 19 h 172"/>
              <a:gd name="T2" fmla="*/ 19 w 228"/>
              <a:gd name="T3" fmla="*/ 0 h 172"/>
              <a:gd name="T4" fmla="*/ 0 w 228"/>
              <a:gd name="T5" fmla="*/ 121 h 172"/>
              <a:gd name="T6" fmla="*/ 86 w 228"/>
              <a:gd name="T7" fmla="*/ 140 h 172"/>
              <a:gd name="T8" fmla="*/ 72 w 228"/>
              <a:gd name="T9" fmla="*/ 164 h 172"/>
              <a:gd name="T10" fmla="*/ 72 w 228"/>
              <a:gd name="T11" fmla="*/ 172 h 172"/>
              <a:gd name="T12" fmla="*/ 144 w 228"/>
              <a:gd name="T13" fmla="*/ 168 h 172"/>
              <a:gd name="T14" fmla="*/ 128 w 228"/>
              <a:gd name="T15" fmla="*/ 164 h 172"/>
              <a:gd name="T16" fmla="*/ 156 w 228"/>
              <a:gd name="T17" fmla="*/ 140 h 172"/>
              <a:gd name="T18" fmla="*/ 175 w 228"/>
              <a:gd name="T19" fmla="*/ 172 h 172"/>
              <a:gd name="T20" fmla="*/ 228 w 228"/>
              <a:gd name="T21" fmla="*/ 153 h 172"/>
              <a:gd name="T22" fmla="*/ 212 w 228"/>
              <a:gd name="T23" fmla="*/ 40 h 172"/>
              <a:gd name="T24" fmla="*/ 94 w 228"/>
              <a:gd name="T25" fmla="*/ 140 h 172"/>
              <a:gd name="T26" fmla="*/ 120 w 228"/>
              <a:gd name="T27" fmla="*/ 164 h 172"/>
              <a:gd name="T28" fmla="*/ 156 w 228"/>
              <a:gd name="T29" fmla="*/ 132 h 172"/>
              <a:gd name="T30" fmla="*/ 8 w 228"/>
              <a:gd name="T31" fmla="*/ 121 h 172"/>
              <a:gd name="T32" fmla="*/ 156 w 228"/>
              <a:gd name="T33" fmla="*/ 120 h 172"/>
              <a:gd name="T34" fmla="*/ 156 w 228"/>
              <a:gd name="T35" fmla="*/ 59 h 172"/>
              <a:gd name="T36" fmla="*/ 8 w 228"/>
              <a:gd name="T37" fmla="*/ 112 h 172"/>
              <a:gd name="T38" fmla="*/ 19 w 228"/>
              <a:gd name="T39" fmla="*/ 8 h 172"/>
              <a:gd name="T40" fmla="*/ 204 w 228"/>
              <a:gd name="T41" fmla="*/ 19 h 172"/>
              <a:gd name="T42" fmla="*/ 175 w 228"/>
              <a:gd name="T43" fmla="*/ 40 h 172"/>
              <a:gd name="T44" fmla="*/ 220 w 228"/>
              <a:gd name="T45" fmla="*/ 153 h 172"/>
              <a:gd name="T46" fmla="*/ 175 w 228"/>
              <a:gd name="T47" fmla="*/ 164 h 172"/>
              <a:gd name="T48" fmla="*/ 164 w 228"/>
              <a:gd name="T49" fmla="*/ 59 h 172"/>
              <a:gd name="T50" fmla="*/ 209 w 228"/>
              <a:gd name="T51" fmla="*/ 48 h 172"/>
              <a:gd name="T52" fmla="*/ 220 w 228"/>
              <a:gd name="T53" fmla="*/ 153 h 172"/>
              <a:gd name="T54" fmla="*/ 188 w 228"/>
              <a:gd name="T55" fmla="*/ 56 h 172"/>
              <a:gd name="T56" fmla="*/ 188 w 228"/>
              <a:gd name="T57" fmla="*/ 64 h 172"/>
              <a:gd name="T58" fmla="*/ 200 w 228"/>
              <a:gd name="T59" fmla="*/ 60 h 172"/>
              <a:gd name="T60" fmla="*/ 193 w 228"/>
              <a:gd name="T61" fmla="*/ 140 h 172"/>
              <a:gd name="T62" fmla="*/ 184 w 228"/>
              <a:gd name="T63" fmla="*/ 148 h 172"/>
              <a:gd name="T64" fmla="*/ 192 w 228"/>
              <a:gd name="T65" fmla="*/ 156 h 172"/>
              <a:gd name="T66" fmla="*/ 200 w 228"/>
              <a:gd name="T67" fmla="*/ 149 h 172"/>
              <a:gd name="T68" fmla="*/ 193 w 228"/>
              <a:gd name="T69" fmla="*/ 14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28" h="172">
                <a:moveTo>
                  <a:pt x="212" y="40"/>
                </a:moveTo>
                <a:cubicBezTo>
                  <a:pt x="212" y="19"/>
                  <a:pt x="212" y="19"/>
                  <a:pt x="212" y="19"/>
                </a:cubicBezTo>
                <a:cubicBezTo>
                  <a:pt x="212" y="9"/>
                  <a:pt x="203" y="0"/>
                  <a:pt x="193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9" y="0"/>
                  <a:pt x="0" y="9"/>
                  <a:pt x="0" y="19"/>
                </a:cubicBezTo>
                <a:cubicBezTo>
                  <a:pt x="0" y="121"/>
                  <a:pt x="0" y="121"/>
                  <a:pt x="0" y="121"/>
                </a:cubicBezTo>
                <a:cubicBezTo>
                  <a:pt x="0" y="131"/>
                  <a:pt x="9" y="140"/>
                  <a:pt x="19" y="140"/>
                </a:cubicBezTo>
                <a:cubicBezTo>
                  <a:pt x="86" y="140"/>
                  <a:pt x="86" y="140"/>
                  <a:pt x="86" y="140"/>
                </a:cubicBezTo>
                <a:cubicBezTo>
                  <a:pt x="84" y="164"/>
                  <a:pt x="84" y="164"/>
                  <a:pt x="84" y="164"/>
                </a:cubicBezTo>
                <a:cubicBezTo>
                  <a:pt x="72" y="164"/>
                  <a:pt x="72" y="164"/>
                  <a:pt x="72" y="164"/>
                </a:cubicBezTo>
                <a:cubicBezTo>
                  <a:pt x="70" y="164"/>
                  <a:pt x="68" y="166"/>
                  <a:pt x="68" y="168"/>
                </a:cubicBezTo>
                <a:cubicBezTo>
                  <a:pt x="68" y="170"/>
                  <a:pt x="70" y="172"/>
                  <a:pt x="72" y="172"/>
                </a:cubicBezTo>
                <a:cubicBezTo>
                  <a:pt x="140" y="172"/>
                  <a:pt x="140" y="172"/>
                  <a:pt x="140" y="172"/>
                </a:cubicBezTo>
                <a:cubicBezTo>
                  <a:pt x="142" y="172"/>
                  <a:pt x="144" y="170"/>
                  <a:pt x="144" y="168"/>
                </a:cubicBezTo>
                <a:cubicBezTo>
                  <a:pt x="144" y="166"/>
                  <a:pt x="142" y="164"/>
                  <a:pt x="140" y="164"/>
                </a:cubicBezTo>
                <a:cubicBezTo>
                  <a:pt x="128" y="164"/>
                  <a:pt x="128" y="164"/>
                  <a:pt x="128" y="164"/>
                </a:cubicBezTo>
                <a:cubicBezTo>
                  <a:pt x="126" y="140"/>
                  <a:pt x="126" y="140"/>
                  <a:pt x="126" y="140"/>
                </a:cubicBezTo>
                <a:cubicBezTo>
                  <a:pt x="156" y="140"/>
                  <a:pt x="156" y="140"/>
                  <a:pt x="156" y="140"/>
                </a:cubicBezTo>
                <a:cubicBezTo>
                  <a:pt x="156" y="153"/>
                  <a:pt x="156" y="153"/>
                  <a:pt x="156" y="153"/>
                </a:cubicBezTo>
                <a:cubicBezTo>
                  <a:pt x="156" y="163"/>
                  <a:pt x="165" y="172"/>
                  <a:pt x="175" y="172"/>
                </a:cubicBezTo>
                <a:cubicBezTo>
                  <a:pt x="209" y="172"/>
                  <a:pt x="209" y="172"/>
                  <a:pt x="209" y="172"/>
                </a:cubicBezTo>
                <a:cubicBezTo>
                  <a:pt x="219" y="172"/>
                  <a:pt x="228" y="163"/>
                  <a:pt x="228" y="153"/>
                </a:cubicBezTo>
                <a:cubicBezTo>
                  <a:pt x="228" y="59"/>
                  <a:pt x="228" y="59"/>
                  <a:pt x="228" y="59"/>
                </a:cubicBezTo>
                <a:cubicBezTo>
                  <a:pt x="228" y="50"/>
                  <a:pt x="221" y="42"/>
                  <a:pt x="212" y="40"/>
                </a:cubicBezTo>
                <a:close/>
                <a:moveTo>
                  <a:pt x="92" y="164"/>
                </a:moveTo>
                <a:cubicBezTo>
                  <a:pt x="94" y="140"/>
                  <a:pt x="94" y="140"/>
                  <a:pt x="94" y="140"/>
                </a:cubicBezTo>
                <a:cubicBezTo>
                  <a:pt x="118" y="140"/>
                  <a:pt x="118" y="140"/>
                  <a:pt x="118" y="140"/>
                </a:cubicBezTo>
                <a:cubicBezTo>
                  <a:pt x="120" y="164"/>
                  <a:pt x="120" y="164"/>
                  <a:pt x="120" y="164"/>
                </a:cubicBezTo>
                <a:lnTo>
                  <a:pt x="92" y="164"/>
                </a:lnTo>
                <a:close/>
                <a:moveTo>
                  <a:pt x="156" y="132"/>
                </a:moveTo>
                <a:cubicBezTo>
                  <a:pt x="19" y="132"/>
                  <a:pt x="19" y="132"/>
                  <a:pt x="19" y="132"/>
                </a:cubicBezTo>
                <a:cubicBezTo>
                  <a:pt x="13" y="132"/>
                  <a:pt x="8" y="127"/>
                  <a:pt x="8" y="121"/>
                </a:cubicBezTo>
                <a:cubicBezTo>
                  <a:pt x="8" y="120"/>
                  <a:pt x="8" y="120"/>
                  <a:pt x="8" y="120"/>
                </a:cubicBezTo>
                <a:cubicBezTo>
                  <a:pt x="156" y="120"/>
                  <a:pt x="156" y="120"/>
                  <a:pt x="156" y="120"/>
                </a:cubicBezTo>
                <a:lnTo>
                  <a:pt x="156" y="132"/>
                </a:lnTo>
                <a:close/>
                <a:moveTo>
                  <a:pt x="156" y="59"/>
                </a:moveTo>
                <a:cubicBezTo>
                  <a:pt x="156" y="112"/>
                  <a:pt x="156" y="112"/>
                  <a:pt x="156" y="112"/>
                </a:cubicBezTo>
                <a:cubicBezTo>
                  <a:pt x="8" y="112"/>
                  <a:pt x="8" y="112"/>
                  <a:pt x="8" y="112"/>
                </a:cubicBezTo>
                <a:cubicBezTo>
                  <a:pt x="8" y="19"/>
                  <a:pt x="8" y="19"/>
                  <a:pt x="8" y="19"/>
                </a:cubicBezTo>
                <a:cubicBezTo>
                  <a:pt x="8" y="13"/>
                  <a:pt x="13" y="8"/>
                  <a:pt x="19" y="8"/>
                </a:cubicBezTo>
                <a:cubicBezTo>
                  <a:pt x="193" y="8"/>
                  <a:pt x="193" y="8"/>
                  <a:pt x="193" y="8"/>
                </a:cubicBezTo>
                <a:cubicBezTo>
                  <a:pt x="199" y="8"/>
                  <a:pt x="204" y="13"/>
                  <a:pt x="204" y="19"/>
                </a:cubicBezTo>
                <a:cubicBezTo>
                  <a:pt x="204" y="40"/>
                  <a:pt x="204" y="40"/>
                  <a:pt x="204" y="40"/>
                </a:cubicBezTo>
                <a:cubicBezTo>
                  <a:pt x="175" y="40"/>
                  <a:pt x="175" y="40"/>
                  <a:pt x="175" y="40"/>
                </a:cubicBezTo>
                <a:cubicBezTo>
                  <a:pt x="165" y="40"/>
                  <a:pt x="156" y="49"/>
                  <a:pt x="156" y="59"/>
                </a:cubicBezTo>
                <a:close/>
                <a:moveTo>
                  <a:pt x="220" y="153"/>
                </a:moveTo>
                <a:cubicBezTo>
                  <a:pt x="220" y="159"/>
                  <a:pt x="215" y="164"/>
                  <a:pt x="209" y="164"/>
                </a:cubicBezTo>
                <a:cubicBezTo>
                  <a:pt x="175" y="164"/>
                  <a:pt x="175" y="164"/>
                  <a:pt x="175" y="164"/>
                </a:cubicBezTo>
                <a:cubicBezTo>
                  <a:pt x="169" y="164"/>
                  <a:pt x="164" y="159"/>
                  <a:pt x="164" y="153"/>
                </a:cubicBezTo>
                <a:cubicBezTo>
                  <a:pt x="164" y="59"/>
                  <a:pt x="164" y="59"/>
                  <a:pt x="164" y="59"/>
                </a:cubicBezTo>
                <a:cubicBezTo>
                  <a:pt x="164" y="53"/>
                  <a:pt x="169" y="48"/>
                  <a:pt x="175" y="48"/>
                </a:cubicBezTo>
                <a:cubicBezTo>
                  <a:pt x="209" y="48"/>
                  <a:pt x="209" y="48"/>
                  <a:pt x="209" y="48"/>
                </a:cubicBezTo>
                <a:cubicBezTo>
                  <a:pt x="215" y="48"/>
                  <a:pt x="220" y="53"/>
                  <a:pt x="220" y="59"/>
                </a:cubicBezTo>
                <a:lnTo>
                  <a:pt x="220" y="153"/>
                </a:lnTo>
                <a:close/>
                <a:moveTo>
                  <a:pt x="196" y="56"/>
                </a:moveTo>
                <a:cubicBezTo>
                  <a:pt x="188" y="56"/>
                  <a:pt x="188" y="56"/>
                  <a:pt x="188" y="56"/>
                </a:cubicBezTo>
                <a:cubicBezTo>
                  <a:pt x="186" y="56"/>
                  <a:pt x="184" y="58"/>
                  <a:pt x="184" y="60"/>
                </a:cubicBezTo>
                <a:cubicBezTo>
                  <a:pt x="184" y="62"/>
                  <a:pt x="186" y="64"/>
                  <a:pt x="188" y="64"/>
                </a:cubicBezTo>
                <a:cubicBezTo>
                  <a:pt x="196" y="64"/>
                  <a:pt x="196" y="64"/>
                  <a:pt x="196" y="64"/>
                </a:cubicBezTo>
                <a:cubicBezTo>
                  <a:pt x="198" y="64"/>
                  <a:pt x="200" y="62"/>
                  <a:pt x="200" y="60"/>
                </a:cubicBezTo>
                <a:cubicBezTo>
                  <a:pt x="200" y="58"/>
                  <a:pt x="198" y="56"/>
                  <a:pt x="196" y="56"/>
                </a:cubicBezTo>
                <a:close/>
                <a:moveTo>
                  <a:pt x="193" y="140"/>
                </a:moveTo>
                <a:cubicBezTo>
                  <a:pt x="192" y="140"/>
                  <a:pt x="192" y="140"/>
                  <a:pt x="192" y="140"/>
                </a:cubicBezTo>
                <a:cubicBezTo>
                  <a:pt x="187" y="140"/>
                  <a:pt x="184" y="143"/>
                  <a:pt x="184" y="148"/>
                </a:cubicBezTo>
                <a:cubicBezTo>
                  <a:pt x="184" y="149"/>
                  <a:pt x="184" y="149"/>
                  <a:pt x="184" y="149"/>
                </a:cubicBezTo>
                <a:cubicBezTo>
                  <a:pt x="184" y="153"/>
                  <a:pt x="187" y="156"/>
                  <a:pt x="192" y="156"/>
                </a:cubicBezTo>
                <a:cubicBezTo>
                  <a:pt x="193" y="156"/>
                  <a:pt x="193" y="156"/>
                  <a:pt x="193" y="156"/>
                </a:cubicBezTo>
                <a:cubicBezTo>
                  <a:pt x="197" y="156"/>
                  <a:pt x="200" y="153"/>
                  <a:pt x="200" y="149"/>
                </a:cubicBezTo>
                <a:cubicBezTo>
                  <a:pt x="200" y="148"/>
                  <a:pt x="200" y="148"/>
                  <a:pt x="200" y="148"/>
                </a:cubicBezTo>
                <a:cubicBezTo>
                  <a:pt x="200" y="143"/>
                  <a:pt x="197" y="140"/>
                  <a:pt x="193" y="14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j-lt"/>
            </a:endParaRPr>
          </a:p>
        </p:txBody>
      </p:sp>
      <p:sp>
        <p:nvSpPr>
          <p:cNvPr id="34" name="TextBox 3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7A4738F2-8D43-4B5A-B857-B1CDB43ADD99}"/>
              </a:ext>
            </a:extLst>
          </p:cNvPr>
          <p:cNvSpPr txBox="1"/>
          <p:nvPr/>
        </p:nvSpPr>
        <p:spPr>
          <a:xfrm>
            <a:off x="8730119" y="4753294"/>
            <a:ext cx="1835543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en-US" sz="1600" b="1" dirty="0">
                <a:latin typeface="+mj-lt"/>
                <a:ea typeface="Liberation Sans" panose="020B0604020202020204" pitchFamily="34" charset="0"/>
                <a:cs typeface="Segoe UI" panose="020B0502040204020203" pitchFamily="34" charset="0"/>
              </a:rPr>
              <a:t>Desktop</a:t>
            </a:r>
          </a:p>
        </p:txBody>
      </p:sp>
      <p:sp>
        <p:nvSpPr>
          <p:cNvPr id="35" name="Rectangle 3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FB963E1-05A4-42F1-9832-191769FE11E3}"/>
              </a:ext>
            </a:extLst>
          </p:cNvPr>
          <p:cNvSpPr/>
          <p:nvPr/>
        </p:nvSpPr>
        <p:spPr>
          <a:xfrm>
            <a:off x="8326955" y="5055363"/>
            <a:ext cx="2641871" cy="7383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dirty="0">
                <a:latin typeface="+mj-lt"/>
                <a:cs typeface="Segoe UI Light" panose="020B0502040204020203" pitchFamily="34" charset="0"/>
              </a:rPr>
              <a:t>Hey, hey, hey! It's Fat Company! Now I'm </a:t>
            </a:r>
            <a:r>
              <a:rPr lang="en-US" sz="1200" dirty="0" err="1">
                <a:latin typeface="+mj-lt"/>
                <a:cs typeface="Segoe UI Light" panose="020B0502040204020203" pitchFamily="34" charset="0"/>
              </a:rPr>
              <a:t>gonna</a:t>
            </a:r>
            <a:r>
              <a:rPr lang="en-US" sz="1200" dirty="0">
                <a:latin typeface="+mj-lt"/>
                <a:cs typeface="Segoe UI Light" panose="020B0502040204020203" pitchFamily="34" charset="0"/>
              </a:rPr>
              <a:t> sing a song for you, </a:t>
            </a:r>
          </a:p>
        </p:txBody>
      </p:sp>
      <p:sp>
        <p:nvSpPr>
          <p:cNvPr id="46" name="Isosceles Triangle 4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29040A03-3695-4467-81B4-5AEEF69C9967}"/>
              </a:ext>
            </a:extLst>
          </p:cNvPr>
          <p:cNvSpPr/>
          <p:nvPr/>
        </p:nvSpPr>
        <p:spPr>
          <a:xfrm rot="10800000">
            <a:off x="2383118" y="1829977"/>
            <a:ext cx="321982" cy="120431"/>
          </a:xfrm>
          <a:prstGeom prst="triangl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47" name="Isosceles Triangle 4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9EF1CEC6-7E8E-4A87-8D38-36B7C078097F}"/>
              </a:ext>
            </a:extLst>
          </p:cNvPr>
          <p:cNvSpPr/>
          <p:nvPr/>
        </p:nvSpPr>
        <p:spPr>
          <a:xfrm rot="10800000">
            <a:off x="5929777" y="1829977"/>
            <a:ext cx="321982" cy="120431"/>
          </a:xfrm>
          <a:prstGeom prst="triangl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51" name="Isosceles Triangle 5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E4FD5EA5-B19D-4CEC-9AEF-A42AB09582F5}"/>
              </a:ext>
            </a:extLst>
          </p:cNvPr>
          <p:cNvSpPr/>
          <p:nvPr/>
        </p:nvSpPr>
        <p:spPr>
          <a:xfrm rot="10800000">
            <a:off x="2383118" y="3898345"/>
            <a:ext cx="321982" cy="120431"/>
          </a:xfrm>
          <a:prstGeom prst="triangl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52" name="Isosceles Triangle 5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69247394-23E3-47C7-AE29-DDD3B9C24B3F}"/>
              </a:ext>
            </a:extLst>
          </p:cNvPr>
          <p:cNvSpPr/>
          <p:nvPr/>
        </p:nvSpPr>
        <p:spPr>
          <a:xfrm rot="10800000">
            <a:off x="5929777" y="3898345"/>
            <a:ext cx="321982" cy="120431"/>
          </a:xfrm>
          <a:prstGeom prst="triangl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53" name="Isosceles Triangle 5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155DE096-1B4D-4D7B-9FDF-E7FDB92E0CA5}"/>
              </a:ext>
            </a:extLst>
          </p:cNvPr>
          <p:cNvSpPr/>
          <p:nvPr/>
        </p:nvSpPr>
        <p:spPr>
          <a:xfrm rot="10800000">
            <a:off x="9486900" y="3898345"/>
            <a:ext cx="321982" cy="120431"/>
          </a:xfrm>
          <a:prstGeom prst="triangle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54" name="Group 5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244BD94B-B9E7-4784-8428-0EBC73C6ECAC}"/>
              </a:ext>
            </a:extLst>
          </p:cNvPr>
          <p:cNvGrpSpPr/>
          <p:nvPr/>
        </p:nvGrpSpPr>
        <p:grpSpPr>
          <a:xfrm>
            <a:off x="7717642" y="1700386"/>
            <a:ext cx="3860498" cy="2198108"/>
            <a:chOff x="7945242" y="1566506"/>
            <a:chExt cx="3405298" cy="1938925"/>
          </a:xfrm>
          <a:gradFill>
            <a:gsLst>
              <a:gs pos="100000">
                <a:schemeClr val="accent2">
                  <a:alpha val="80000"/>
                </a:schemeClr>
              </a:gs>
              <a:gs pos="0">
                <a:schemeClr val="accent3">
                  <a:alpha val="80000"/>
                </a:schemeClr>
              </a:gs>
            </a:gsLst>
            <a:lin ang="2700000" scaled="1"/>
          </a:gradFill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1C11EA0D-3614-4BD2-B2F6-9926CA1A26A1}"/>
                </a:ext>
              </a:extLst>
            </p:cNvPr>
            <p:cNvSpPr/>
            <p:nvPr/>
          </p:nvSpPr>
          <p:spPr>
            <a:xfrm>
              <a:off x="7945242" y="1569841"/>
              <a:ext cx="3405298" cy="1935590"/>
            </a:xfrm>
            <a:prstGeom prst="roundRect">
              <a:avLst>
                <a:gd name="adj" fmla="val 712"/>
              </a:avLst>
            </a:prstGeom>
            <a:grpFill/>
            <a:ln>
              <a:noFill/>
            </a:ln>
            <a:effectLst>
              <a:outerShdw blurRad="889000" dist="317500" dir="8100000" sx="95000" sy="95000" algn="tr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3206C47-0472-43D4-92D4-1A816B0A0FEB}"/>
                </a:ext>
              </a:extLst>
            </p:cNvPr>
            <p:cNvSpPr txBox="1"/>
            <p:nvPr/>
          </p:nvSpPr>
          <p:spPr>
            <a:xfrm>
              <a:off x="8730119" y="2471473"/>
              <a:ext cx="1835543" cy="298634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  <a:ea typeface="Liberation Sans" panose="020B0604020202020204" pitchFamily="34" charset="0"/>
                  <a:cs typeface="Segoe UI" panose="020B0502040204020203" pitchFamily="34" charset="0"/>
                </a:rPr>
                <a:t>Earth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5A76C17-A863-4605-991C-CCCAD161F6EE}"/>
                </a:ext>
              </a:extLst>
            </p:cNvPr>
            <p:cNvSpPr/>
            <p:nvPr/>
          </p:nvSpPr>
          <p:spPr>
            <a:xfrm>
              <a:off x="8326955" y="2767127"/>
              <a:ext cx="2641871" cy="4723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200" dirty="0" err="1">
                  <a:latin typeface="+mj-lt"/>
                  <a:cs typeface="Segoe UI Light" panose="020B0502040204020203" pitchFamily="34" charset="0"/>
                </a:rPr>
                <a:t>Ut</a:t>
              </a:r>
              <a:r>
                <a:rPr lang="en-US" sz="1200" dirty="0">
                  <a:latin typeface="+mj-lt"/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latin typeface="+mj-lt"/>
                  <a:cs typeface="Segoe UI Light" panose="020B0502040204020203" pitchFamily="34" charset="0"/>
                </a:rPr>
                <a:t>wisi</a:t>
              </a:r>
              <a:r>
                <a:rPr lang="en-US" sz="1200" dirty="0">
                  <a:latin typeface="+mj-lt"/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latin typeface="+mj-lt"/>
                  <a:cs typeface="Segoe UI Light" panose="020B0502040204020203" pitchFamily="34" charset="0"/>
                </a:rPr>
                <a:t>enim</a:t>
              </a:r>
              <a:r>
                <a:rPr lang="en-US" sz="1200" dirty="0">
                  <a:latin typeface="+mj-lt"/>
                  <a:cs typeface="Segoe UI Light" panose="020B0502040204020203" pitchFamily="34" charset="0"/>
                </a:rPr>
                <a:t> ad minim </a:t>
              </a:r>
              <a:r>
                <a:rPr lang="en-US" sz="1200" dirty="0" err="1">
                  <a:latin typeface="+mj-lt"/>
                  <a:cs typeface="Segoe UI Light" panose="020B0502040204020203" pitchFamily="34" charset="0"/>
                </a:rPr>
                <a:t>veniam</a:t>
              </a:r>
              <a:r>
                <a:rPr lang="en-US" sz="1200" dirty="0">
                  <a:latin typeface="+mj-lt"/>
                  <a:cs typeface="Segoe UI Light" panose="020B0502040204020203" pitchFamily="34" charset="0"/>
                </a:rPr>
                <a:t>, </a:t>
              </a:r>
              <a:r>
                <a:rPr lang="en-US" sz="1200" dirty="0" err="1">
                  <a:latin typeface="+mj-lt"/>
                  <a:cs typeface="Segoe UI Light" panose="020B0502040204020203" pitchFamily="34" charset="0"/>
                </a:rPr>
                <a:t>quis</a:t>
              </a:r>
              <a:r>
                <a:rPr lang="en-US" sz="1200" dirty="0">
                  <a:latin typeface="+mj-lt"/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latin typeface="+mj-lt"/>
                  <a:cs typeface="Segoe UI Light" panose="020B0502040204020203" pitchFamily="34" charset="0"/>
                </a:rPr>
                <a:t>nostrud</a:t>
              </a:r>
              <a:r>
                <a:rPr lang="en-US" sz="1200" dirty="0">
                  <a:latin typeface="+mj-lt"/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latin typeface="+mj-lt"/>
                  <a:cs typeface="Segoe UI Light" panose="020B0502040204020203" pitchFamily="34" charset="0"/>
                </a:rPr>
                <a:t>exerci</a:t>
              </a:r>
              <a:r>
                <a:rPr lang="en-US" sz="1200" dirty="0">
                  <a:latin typeface="+mj-lt"/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latin typeface="+mj-lt"/>
                  <a:cs typeface="Segoe UI Light" panose="020B0502040204020203" pitchFamily="34" charset="0"/>
                </a:rPr>
                <a:t>tation</a:t>
              </a:r>
              <a:r>
                <a:rPr lang="en-US" sz="1200" dirty="0">
                  <a:latin typeface="+mj-lt"/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latin typeface="+mj-lt"/>
                  <a:cs typeface="Segoe UI Light" panose="020B0502040204020203" pitchFamily="34" charset="0"/>
                </a:rPr>
                <a:t>ullamcorper</a:t>
              </a:r>
              <a:endParaRPr lang="en-US" sz="1200" dirty="0"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48" name="Isosceles Triangle 47">
              <a:extLst>
                <a:ext uri="{FF2B5EF4-FFF2-40B4-BE49-F238E27FC236}">
                  <a16:creationId xmlns:a16="http://schemas.microsoft.com/office/drawing/2014/main" id="{2697C120-3CB6-42BA-9495-A61D776B4E9A}"/>
                </a:ext>
              </a:extLst>
            </p:cNvPr>
            <p:cNvSpPr/>
            <p:nvPr/>
          </p:nvSpPr>
          <p:spPr>
            <a:xfrm rot="10800000">
              <a:off x="9486900" y="1566506"/>
              <a:ext cx="321982" cy="120431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8" name="Freeform 24">
              <a:extLst>
                <a:ext uri="{FF2B5EF4-FFF2-40B4-BE49-F238E27FC236}">
                  <a16:creationId xmlns:a16="http://schemas.microsoft.com/office/drawing/2014/main" id="{737B9E0B-F3DB-4F28-A80E-A896D2837F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18343" y="1878682"/>
              <a:ext cx="659096" cy="568350"/>
            </a:xfrm>
            <a:custGeom>
              <a:avLst/>
              <a:gdLst>
                <a:gd name="T0" fmla="*/ 190 w 228"/>
                <a:gd name="T1" fmla="*/ 132 h 196"/>
                <a:gd name="T2" fmla="*/ 204 w 228"/>
                <a:gd name="T3" fmla="*/ 96 h 196"/>
                <a:gd name="T4" fmla="*/ 172 w 228"/>
                <a:gd name="T5" fmla="*/ 100 h 196"/>
                <a:gd name="T6" fmla="*/ 172 w 228"/>
                <a:gd name="T7" fmla="*/ 116 h 196"/>
                <a:gd name="T8" fmla="*/ 190 w 228"/>
                <a:gd name="T9" fmla="*/ 72 h 196"/>
                <a:gd name="T10" fmla="*/ 216 w 228"/>
                <a:gd name="T11" fmla="*/ 99 h 196"/>
                <a:gd name="T12" fmla="*/ 185 w 228"/>
                <a:gd name="T13" fmla="*/ 139 h 196"/>
                <a:gd name="T14" fmla="*/ 131 w 228"/>
                <a:gd name="T15" fmla="*/ 177 h 196"/>
                <a:gd name="T16" fmla="*/ 113 w 228"/>
                <a:gd name="T17" fmla="*/ 158 h 196"/>
                <a:gd name="T18" fmla="*/ 61 w 228"/>
                <a:gd name="T19" fmla="*/ 179 h 196"/>
                <a:gd name="T20" fmla="*/ 68 w 228"/>
                <a:gd name="T21" fmla="*/ 153 h 196"/>
                <a:gd name="T22" fmla="*/ 64 w 228"/>
                <a:gd name="T23" fmla="*/ 119 h 196"/>
                <a:gd name="T24" fmla="*/ 67 w 228"/>
                <a:gd name="T25" fmla="*/ 100 h 196"/>
                <a:gd name="T26" fmla="*/ 48 w 228"/>
                <a:gd name="T27" fmla="*/ 66 h 196"/>
                <a:gd name="T28" fmla="*/ 20 w 228"/>
                <a:gd name="T29" fmla="*/ 54 h 196"/>
                <a:gd name="T30" fmla="*/ 87 w 228"/>
                <a:gd name="T31" fmla="*/ 27 h 196"/>
                <a:gd name="T32" fmla="*/ 100 w 228"/>
                <a:gd name="T33" fmla="*/ 36 h 196"/>
                <a:gd name="T34" fmla="*/ 125 w 228"/>
                <a:gd name="T35" fmla="*/ 28 h 196"/>
                <a:gd name="T36" fmla="*/ 151 w 228"/>
                <a:gd name="T37" fmla="*/ 26 h 196"/>
                <a:gd name="T38" fmla="*/ 98 w 228"/>
                <a:gd name="T39" fmla="*/ 0 h 196"/>
                <a:gd name="T40" fmla="*/ 185 w 228"/>
                <a:gd name="T41" fmla="*/ 139 h 196"/>
                <a:gd name="T42" fmla="*/ 144 w 228"/>
                <a:gd name="T43" fmla="*/ 22 h 196"/>
                <a:gd name="T44" fmla="*/ 116 w 228"/>
                <a:gd name="T45" fmla="*/ 28 h 196"/>
                <a:gd name="T46" fmla="*/ 93 w 228"/>
                <a:gd name="T47" fmla="*/ 23 h 196"/>
                <a:gd name="T48" fmla="*/ 60 w 228"/>
                <a:gd name="T49" fmla="*/ 17 h 196"/>
                <a:gd name="T50" fmla="*/ 13 w 228"/>
                <a:gd name="T51" fmla="*/ 120 h 196"/>
                <a:gd name="T52" fmla="*/ 27 w 228"/>
                <a:gd name="T53" fmla="*/ 135 h 196"/>
                <a:gd name="T54" fmla="*/ 27 w 228"/>
                <a:gd name="T55" fmla="*/ 153 h 196"/>
                <a:gd name="T56" fmla="*/ 32 w 228"/>
                <a:gd name="T57" fmla="*/ 158 h 196"/>
                <a:gd name="T58" fmla="*/ 32 w 228"/>
                <a:gd name="T59" fmla="*/ 146 h 196"/>
                <a:gd name="T60" fmla="*/ 32 w 228"/>
                <a:gd name="T61" fmla="*/ 125 h 196"/>
                <a:gd name="T62" fmla="*/ 9 w 228"/>
                <a:gd name="T63" fmla="*/ 112 h 196"/>
                <a:gd name="T64" fmla="*/ 19 w 228"/>
                <a:gd name="T65" fmla="*/ 65 h 196"/>
                <a:gd name="T66" fmla="*/ 63 w 228"/>
                <a:gd name="T67" fmla="*/ 78 h 196"/>
                <a:gd name="T68" fmla="*/ 56 w 228"/>
                <a:gd name="T69" fmla="*/ 111 h 196"/>
                <a:gd name="T70" fmla="*/ 57 w 228"/>
                <a:gd name="T71" fmla="*/ 134 h 196"/>
                <a:gd name="T72" fmla="*/ 64 w 228"/>
                <a:gd name="T73" fmla="*/ 165 h 196"/>
                <a:gd name="T74" fmla="*/ 49 w 228"/>
                <a:gd name="T75" fmla="*/ 173 h 196"/>
                <a:gd name="T76" fmla="*/ 118 w 228"/>
                <a:gd name="T77" fmla="*/ 167 h 196"/>
                <a:gd name="T78" fmla="*/ 102 w 228"/>
                <a:gd name="T79" fmla="*/ 188 h 196"/>
                <a:gd name="T80" fmla="*/ 160 w 228"/>
                <a:gd name="T81" fmla="*/ 42 h 196"/>
                <a:gd name="T82" fmla="*/ 167 w 228"/>
                <a:gd name="T83" fmla="*/ 65 h 196"/>
                <a:gd name="T84" fmla="*/ 226 w 228"/>
                <a:gd name="T85" fmla="*/ 17 h 196"/>
                <a:gd name="T86" fmla="*/ 199 w 228"/>
                <a:gd name="T87" fmla="*/ 52 h 196"/>
                <a:gd name="T88" fmla="*/ 220 w 228"/>
                <a:gd name="T89" fmla="*/ 175 h 196"/>
                <a:gd name="T90" fmla="*/ 203 w 228"/>
                <a:gd name="T91" fmla="*/ 141 h 196"/>
                <a:gd name="T92" fmla="*/ 151 w 228"/>
                <a:gd name="T93" fmla="*/ 79 h 196"/>
                <a:gd name="T94" fmla="*/ 133 w 228"/>
                <a:gd name="T95" fmla="*/ 59 h 196"/>
                <a:gd name="T96" fmla="*/ 148 w 228"/>
                <a:gd name="T97" fmla="*/ 96 h 196"/>
                <a:gd name="T98" fmla="*/ 134 w 228"/>
                <a:gd name="T99" fmla="*/ 135 h 196"/>
                <a:gd name="T100" fmla="*/ 148 w 228"/>
                <a:gd name="T101" fmla="*/ 115 h 196"/>
                <a:gd name="T102" fmla="*/ 154 w 228"/>
                <a:gd name="T103" fmla="*/ 152 h 196"/>
                <a:gd name="T104" fmla="*/ 166 w 228"/>
                <a:gd name="T105" fmla="*/ 129 h 196"/>
                <a:gd name="T106" fmla="*/ 188 w 228"/>
                <a:gd name="T107" fmla="*/ 40 h 196"/>
                <a:gd name="T108" fmla="*/ 187 w 228"/>
                <a:gd name="T109" fmla="*/ 169 h 196"/>
                <a:gd name="T110" fmla="*/ 203 w 228"/>
                <a:gd name="T111" fmla="*/ 172 h 196"/>
                <a:gd name="T112" fmla="*/ 213 w 228"/>
                <a:gd name="T113" fmla="*/ 52 h 196"/>
                <a:gd name="T114" fmla="*/ 201 w 228"/>
                <a:gd name="T115" fmla="*/ 1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196">
                  <a:moveTo>
                    <a:pt x="224" y="98"/>
                  </a:moveTo>
                  <a:cubicBezTo>
                    <a:pt x="224" y="80"/>
                    <a:pt x="209" y="64"/>
                    <a:pt x="190" y="64"/>
                  </a:cubicBezTo>
                  <a:cubicBezTo>
                    <a:pt x="172" y="64"/>
                    <a:pt x="156" y="80"/>
                    <a:pt x="156" y="98"/>
                  </a:cubicBezTo>
                  <a:cubicBezTo>
                    <a:pt x="156" y="117"/>
                    <a:pt x="172" y="132"/>
                    <a:pt x="190" y="132"/>
                  </a:cubicBezTo>
                  <a:cubicBezTo>
                    <a:pt x="209" y="132"/>
                    <a:pt x="224" y="117"/>
                    <a:pt x="224" y="98"/>
                  </a:cubicBezTo>
                  <a:close/>
                  <a:moveTo>
                    <a:pt x="204" y="80"/>
                  </a:moveTo>
                  <a:cubicBezTo>
                    <a:pt x="209" y="80"/>
                    <a:pt x="212" y="84"/>
                    <a:pt x="212" y="88"/>
                  </a:cubicBezTo>
                  <a:cubicBezTo>
                    <a:pt x="212" y="93"/>
                    <a:pt x="209" y="96"/>
                    <a:pt x="204" y="96"/>
                  </a:cubicBezTo>
                  <a:cubicBezTo>
                    <a:pt x="200" y="96"/>
                    <a:pt x="196" y="93"/>
                    <a:pt x="196" y="88"/>
                  </a:cubicBezTo>
                  <a:cubicBezTo>
                    <a:pt x="196" y="84"/>
                    <a:pt x="200" y="80"/>
                    <a:pt x="204" y="80"/>
                  </a:cubicBezTo>
                  <a:close/>
                  <a:moveTo>
                    <a:pt x="168" y="104"/>
                  </a:moveTo>
                  <a:cubicBezTo>
                    <a:pt x="168" y="102"/>
                    <a:pt x="170" y="100"/>
                    <a:pt x="172" y="100"/>
                  </a:cubicBezTo>
                  <a:cubicBezTo>
                    <a:pt x="175" y="100"/>
                    <a:pt x="176" y="102"/>
                    <a:pt x="176" y="104"/>
                  </a:cubicBezTo>
                  <a:cubicBezTo>
                    <a:pt x="176" y="107"/>
                    <a:pt x="175" y="108"/>
                    <a:pt x="172" y="108"/>
                  </a:cubicBezTo>
                  <a:cubicBezTo>
                    <a:pt x="170" y="108"/>
                    <a:pt x="168" y="107"/>
                    <a:pt x="168" y="104"/>
                  </a:cubicBezTo>
                  <a:close/>
                  <a:moveTo>
                    <a:pt x="172" y="116"/>
                  </a:moveTo>
                  <a:cubicBezTo>
                    <a:pt x="179" y="116"/>
                    <a:pt x="184" y="111"/>
                    <a:pt x="184" y="104"/>
                  </a:cubicBezTo>
                  <a:cubicBezTo>
                    <a:pt x="184" y="98"/>
                    <a:pt x="179" y="92"/>
                    <a:pt x="172" y="92"/>
                  </a:cubicBezTo>
                  <a:cubicBezTo>
                    <a:pt x="169" y="92"/>
                    <a:pt x="167" y="94"/>
                    <a:pt x="164" y="95"/>
                  </a:cubicBezTo>
                  <a:cubicBezTo>
                    <a:pt x="166" y="82"/>
                    <a:pt x="177" y="72"/>
                    <a:pt x="190" y="72"/>
                  </a:cubicBezTo>
                  <a:cubicBezTo>
                    <a:pt x="193" y="72"/>
                    <a:pt x="196" y="73"/>
                    <a:pt x="198" y="74"/>
                  </a:cubicBezTo>
                  <a:cubicBezTo>
                    <a:pt x="192" y="76"/>
                    <a:pt x="188" y="82"/>
                    <a:pt x="188" y="88"/>
                  </a:cubicBezTo>
                  <a:cubicBezTo>
                    <a:pt x="188" y="97"/>
                    <a:pt x="196" y="104"/>
                    <a:pt x="204" y="104"/>
                  </a:cubicBezTo>
                  <a:cubicBezTo>
                    <a:pt x="209" y="104"/>
                    <a:pt x="213" y="102"/>
                    <a:pt x="216" y="99"/>
                  </a:cubicBezTo>
                  <a:cubicBezTo>
                    <a:pt x="216" y="113"/>
                    <a:pt x="205" y="124"/>
                    <a:pt x="190" y="124"/>
                  </a:cubicBezTo>
                  <a:cubicBezTo>
                    <a:pt x="183" y="124"/>
                    <a:pt x="176" y="121"/>
                    <a:pt x="172" y="116"/>
                  </a:cubicBezTo>
                  <a:cubicBezTo>
                    <a:pt x="172" y="116"/>
                    <a:pt x="172" y="116"/>
                    <a:pt x="172" y="116"/>
                  </a:cubicBezTo>
                  <a:close/>
                  <a:moveTo>
                    <a:pt x="185" y="139"/>
                  </a:moveTo>
                  <a:cubicBezTo>
                    <a:pt x="183" y="139"/>
                    <a:pt x="181" y="139"/>
                    <a:pt x="179" y="138"/>
                  </a:cubicBezTo>
                  <a:cubicBezTo>
                    <a:pt x="170" y="156"/>
                    <a:pt x="155" y="171"/>
                    <a:pt x="138" y="179"/>
                  </a:cubicBezTo>
                  <a:cubicBezTo>
                    <a:pt x="137" y="179"/>
                    <a:pt x="136" y="179"/>
                    <a:pt x="135" y="179"/>
                  </a:cubicBezTo>
                  <a:cubicBezTo>
                    <a:pt x="134" y="178"/>
                    <a:pt x="133" y="177"/>
                    <a:pt x="131" y="177"/>
                  </a:cubicBezTo>
                  <a:cubicBezTo>
                    <a:pt x="129" y="177"/>
                    <a:pt x="129" y="177"/>
                    <a:pt x="128" y="176"/>
                  </a:cubicBezTo>
                  <a:cubicBezTo>
                    <a:pt x="127" y="175"/>
                    <a:pt x="127" y="173"/>
                    <a:pt x="127" y="171"/>
                  </a:cubicBezTo>
                  <a:cubicBezTo>
                    <a:pt x="127" y="168"/>
                    <a:pt x="127" y="164"/>
                    <a:pt x="124" y="162"/>
                  </a:cubicBezTo>
                  <a:cubicBezTo>
                    <a:pt x="122" y="159"/>
                    <a:pt x="118" y="158"/>
                    <a:pt x="113" y="158"/>
                  </a:cubicBezTo>
                  <a:cubicBezTo>
                    <a:pt x="106" y="159"/>
                    <a:pt x="97" y="163"/>
                    <a:pt x="94" y="168"/>
                  </a:cubicBezTo>
                  <a:cubicBezTo>
                    <a:pt x="91" y="173"/>
                    <a:pt x="91" y="182"/>
                    <a:pt x="93" y="188"/>
                  </a:cubicBezTo>
                  <a:cubicBezTo>
                    <a:pt x="81" y="188"/>
                    <a:pt x="69" y="184"/>
                    <a:pt x="58" y="179"/>
                  </a:cubicBezTo>
                  <a:cubicBezTo>
                    <a:pt x="59" y="179"/>
                    <a:pt x="60" y="179"/>
                    <a:pt x="61" y="179"/>
                  </a:cubicBezTo>
                  <a:cubicBezTo>
                    <a:pt x="66" y="179"/>
                    <a:pt x="75" y="179"/>
                    <a:pt x="75" y="171"/>
                  </a:cubicBezTo>
                  <a:cubicBezTo>
                    <a:pt x="75" y="167"/>
                    <a:pt x="73" y="164"/>
                    <a:pt x="71" y="161"/>
                  </a:cubicBezTo>
                  <a:cubicBezTo>
                    <a:pt x="70" y="160"/>
                    <a:pt x="70" y="158"/>
                    <a:pt x="69" y="158"/>
                  </a:cubicBezTo>
                  <a:cubicBezTo>
                    <a:pt x="69" y="156"/>
                    <a:pt x="68" y="154"/>
                    <a:pt x="68" y="153"/>
                  </a:cubicBezTo>
                  <a:cubicBezTo>
                    <a:pt x="66" y="148"/>
                    <a:pt x="66" y="144"/>
                    <a:pt x="65" y="139"/>
                  </a:cubicBezTo>
                  <a:cubicBezTo>
                    <a:pt x="65" y="137"/>
                    <a:pt x="65" y="135"/>
                    <a:pt x="64" y="133"/>
                  </a:cubicBezTo>
                  <a:cubicBezTo>
                    <a:pt x="64" y="130"/>
                    <a:pt x="63" y="128"/>
                    <a:pt x="63" y="126"/>
                  </a:cubicBezTo>
                  <a:cubicBezTo>
                    <a:pt x="63" y="124"/>
                    <a:pt x="64" y="122"/>
                    <a:pt x="64" y="119"/>
                  </a:cubicBezTo>
                  <a:cubicBezTo>
                    <a:pt x="64" y="117"/>
                    <a:pt x="64" y="114"/>
                    <a:pt x="64" y="112"/>
                  </a:cubicBezTo>
                  <a:cubicBezTo>
                    <a:pt x="64" y="111"/>
                    <a:pt x="64" y="111"/>
                    <a:pt x="64" y="111"/>
                  </a:cubicBezTo>
                  <a:cubicBezTo>
                    <a:pt x="64" y="108"/>
                    <a:pt x="64" y="105"/>
                    <a:pt x="65" y="103"/>
                  </a:cubicBezTo>
                  <a:cubicBezTo>
                    <a:pt x="65" y="102"/>
                    <a:pt x="66" y="101"/>
                    <a:pt x="67" y="100"/>
                  </a:cubicBezTo>
                  <a:cubicBezTo>
                    <a:pt x="68" y="99"/>
                    <a:pt x="69" y="98"/>
                    <a:pt x="70" y="96"/>
                  </a:cubicBezTo>
                  <a:cubicBezTo>
                    <a:pt x="73" y="91"/>
                    <a:pt x="73" y="81"/>
                    <a:pt x="70" y="75"/>
                  </a:cubicBezTo>
                  <a:cubicBezTo>
                    <a:pt x="68" y="69"/>
                    <a:pt x="64" y="67"/>
                    <a:pt x="62" y="67"/>
                  </a:cubicBezTo>
                  <a:cubicBezTo>
                    <a:pt x="57" y="66"/>
                    <a:pt x="52" y="66"/>
                    <a:pt x="48" y="66"/>
                  </a:cubicBezTo>
                  <a:cubicBezTo>
                    <a:pt x="46" y="66"/>
                    <a:pt x="44" y="66"/>
                    <a:pt x="42" y="66"/>
                  </a:cubicBezTo>
                  <a:cubicBezTo>
                    <a:pt x="34" y="66"/>
                    <a:pt x="29" y="64"/>
                    <a:pt x="25" y="59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3" y="57"/>
                    <a:pt x="21" y="55"/>
                    <a:pt x="20" y="54"/>
                  </a:cubicBezTo>
                  <a:cubicBezTo>
                    <a:pt x="28" y="40"/>
                    <a:pt x="39" y="29"/>
                    <a:pt x="52" y="21"/>
                  </a:cubicBezTo>
                  <a:cubicBezTo>
                    <a:pt x="60" y="28"/>
                    <a:pt x="72" y="31"/>
                    <a:pt x="85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7"/>
                    <a:pt x="86" y="27"/>
                    <a:pt x="87" y="27"/>
                  </a:cubicBezTo>
                  <a:cubicBezTo>
                    <a:pt x="87" y="27"/>
                    <a:pt x="87" y="27"/>
                    <a:pt x="87" y="27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90" y="31"/>
                    <a:pt x="94" y="33"/>
                    <a:pt x="99" y="35"/>
                  </a:cubicBezTo>
                  <a:cubicBezTo>
                    <a:pt x="100" y="36"/>
                    <a:pt x="100" y="36"/>
                    <a:pt x="100" y="36"/>
                  </a:cubicBezTo>
                  <a:cubicBezTo>
                    <a:pt x="104" y="38"/>
                    <a:pt x="108" y="40"/>
                    <a:pt x="113" y="40"/>
                  </a:cubicBezTo>
                  <a:cubicBezTo>
                    <a:pt x="115" y="40"/>
                    <a:pt x="116" y="39"/>
                    <a:pt x="118" y="38"/>
                  </a:cubicBezTo>
                  <a:cubicBezTo>
                    <a:pt x="121" y="36"/>
                    <a:pt x="123" y="33"/>
                    <a:pt x="124" y="31"/>
                  </a:cubicBezTo>
                  <a:cubicBezTo>
                    <a:pt x="124" y="29"/>
                    <a:pt x="125" y="28"/>
                    <a:pt x="125" y="28"/>
                  </a:cubicBezTo>
                  <a:cubicBezTo>
                    <a:pt x="127" y="27"/>
                    <a:pt x="131" y="29"/>
                    <a:pt x="134" y="29"/>
                  </a:cubicBezTo>
                  <a:cubicBezTo>
                    <a:pt x="135" y="30"/>
                    <a:pt x="136" y="30"/>
                    <a:pt x="137" y="30"/>
                  </a:cubicBezTo>
                  <a:cubicBezTo>
                    <a:pt x="142" y="32"/>
                    <a:pt x="147" y="31"/>
                    <a:pt x="150" y="28"/>
                  </a:cubicBezTo>
                  <a:cubicBezTo>
                    <a:pt x="150" y="27"/>
                    <a:pt x="151" y="26"/>
                    <a:pt x="151" y="26"/>
                  </a:cubicBezTo>
                  <a:cubicBezTo>
                    <a:pt x="163" y="34"/>
                    <a:pt x="172" y="45"/>
                    <a:pt x="179" y="58"/>
                  </a:cubicBezTo>
                  <a:cubicBezTo>
                    <a:pt x="181" y="57"/>
                    <a:pt x="184" y="57"/>
                    <a:pt x="187" y="57"/>
                  </a:cubicBezTo>
                  <a:cubicBezTo>
                    <a:pt x="187" y="57"/>
                    <a:pt x="187" y="57"/>
                    <a:pt x="187" y="57"/>
                  </a:cubicBezTo>
                  <a:cubicBezTo>
                    <a:pt x="171" y="23"/>
                    <a:pt x="137" y="0"/>
                    <a:pt x="98" y="0"/>
                  </a:cubicBezTo>
                  <a:cubicBezTo>
                    <a:pt x="44" y="0"/>
                    <a:pt x="0" y="44"/>
                    <a:pt x="0" y="98"/>
                  </a:cubicBezTo>
                  <a:cubicBezTo>
                    <a:pt x="0" y="152"/>
                    <a:pt x="44" y="196"/>
                    <a:pt x="98" y="196"/>
                  </a:cubicBezTo>
                  <a:cubicBezTo>
                    <a:pt x="137" y="196"/>
                    <a:pt x="172" y="174"/>
                    <a:pt x="187" y="139"/>
                  </a:cubicBezTo>
                  <a:cubicBezTo>
                    <a:pt x="187" y="139"/>
                    <a:pt x="186" y="139"/>
                    <a:pt x="185" y="139"/>
                  </a:cubicBezTo>
                  <a:close/>
                  <a:moveTo>
                    <a:pt x="98" y="8"/>
                  </a:moveTo>
                  <a:cubicBezTo>
                    <a:pt x="115" y="8"/>
                    <a:pt x="131" y="13"/>
                    <a:pt x="144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22"/>
                    <a:pt x="144" y="22"/>
                    <a:pt x="144" y="22"/>
                  </a:cubicBezTo>
                  <a:cubicBezTo>
                    <a:pt x="143" y="24"/>
                    <a:pt x="140" y="23"/>
                    <a:pt x="139" y="23"/>
                  </a:cubicBezTo>
                  <a:cubicBezTo>
                    <a:pt x="138" y="22"/>
                    <a:pt x="137" y="22"/>
                    <a:pt x="137" y="22"/>
                  </a:cubicBezTo>
                  <a:cubicBezTo>
                    <a:pt x="132" y="20"/>
                    <a:pt x="127" y="19"/>
                    <a:pt x="122" y="21"/>
                  </a:cubicBezTo>
                  <a:cubicBezTo>
                    <a:pt x="118" y="22"/>
                    <a:pt x="117" y="26"/>
                    <a:pt x="116" y="28"/>
                  </a:cubicBezTo>
                  <a:cubicBezTo>
                    <a:pt x="115" y="30"/>
                    <a:pt x="115" y="31"/>
                    <a:pt x="114" y="31"/>
                  </a:cubicBezTo>
                  <a:cubicBezTo>
                    <a:pt x="112" y="33"/>
                    <a:pt x="107" y="30"/>
                    <a:pt x="104" y="29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98" y="26"/>
                    <a:pt x="95" y="25"/>
                    <a:pt x="93" y="23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89" y="19"/>
                    <a:pt x="88" y="19"/>
                    <a:pt x="84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78" y="21"/>
                    <a:pt x="67" y="22"/>
                    <a:pt x="60" y="17"/>
                  </a:cubicBezTo>
                  <a:cubicBezTo>
                    <a:pt x="71" y="11"/>
                    <a:pt x="84" y="8"/>
                    <a:pt x="98" y="8"/>
                  </a:cubicBezTo>
                  <a:close/>
                  <a:moveTo>
                    <a:pt x="27" y="153"/>
                  </a:moveTo>
                  <a:cubicBezTo>
                    <a:pt x="19" y="143"/>
                    <a:pt x="14" y="132"/>
                    <a:pt x="11" y="120"/>
                  </a:cubicBezTo>
                  <a:cubicBezTo>
                    <a:pt x="12" y="120"/>
                    <a:pt x="12" y="120"/>
                    <a:pt x="13" y="120"/>
                  </a:cubicBezTo>
                  <a:cubicBezTo>
                    <a:pt x="16" y="120"/>
                    <a:pt x="19" y="121"/>
                    <a:pt x="20" y="122"/>
                  </a:cubicBezTo>
                  <a:cubicBezTo>
                    <a:pt x="21" y="122"/>
                    <a:pt x="22" y="124"/>
                    <a:pt x="23" y="126"/>
                  </a:cubicBezTo>
                  <a:cubicBezTo>
                    <a:pt x="23" y="127"/>
                    <a:pt x="24" y="128"/>
                    <a:pt x="25" y="129"/>
                  </a:cubicBezTo>
                  <a:cubicBezTo>
                    <a:pt x="26" y="131"/>
                    <a:pt x="27" y="133"/>
                    <a:pt x="27" y="135"/>
                  </a:cubicBezTo>
                  <a:cubicBezTo>
                    <a:pt x="27" y="136"/>
                    <a:pt x="27" y="136"/>
                    <a:pt x="26" y="138"/>
                  </a:cubicBezTo>
                  <a:cubicBezTo>
                    <a:pt x="25" y="139"/>
                    <a:pt x="24" y="140"/>
                    <a:pt x="24" y="142"/>
                  </a:cubicBezTo>
                  <a:cubicBezTo>
                    <a:pt x="22" y="146"/>
                    <a:pt x="24" y="150"/>
                    <a:pt x="26" y="151"/>
                  </a:cubicBezTo>
                  <a:cubicBezTo>
                    <a:pt x="26" y="152"/>
                    <a:pt x="27" y="153"/>
                    <a:pt x="27" y="153"/>
                  </a:cubicBezTo>
                  <a:cubicBezTo>
                    <a:pt x="27" y="153"/>
                    <a:pt x="27" y="153"/>
                    <a:pt x="27" y="153"/>
                  </a:cubicBezTo>
                  <a:close/>
                  <a:moveTo>
                    <a:pt x="49" y="173"/>
                  </a:moveTo>
                  <a:cubicBezTo>
                    <a:pt x="42" y="169"/>
                    <a:pt x="36" y="164"/>
                    <a:pt x="31" y="159"/>
                  </a:cubicBezTo>
                  <a:cubicBezTo>
                    <a:pt x="32" y="158"/>
                    <a:pt x="32" y="158"/>
                    <a:pt x="32" y="158"/>
                  </a:cubicBezTo>
                  <a:cubicBezTo>
                    <a:pt x="33" y="159"/>
                    <a:pt x="33" y="159"/>
                    <a:pt x="32" y="159"/>
                  </a:cubicBezTo>
                  <a:cubicBezTo>
                    <a:pt x="33" y="159"/>
                    <a:pt x="33" y="158"/>
                    <a:pt x="33" y="158"/>
                  </a:cubicBezTo>
                  <a:cubicBezTo>
                    <a:pt x="34" y="157"/>
                    <a:pt x="35" y="156"/>
                    <a:pt x="35" y="154"/>
                  </a:cubicBezTo>
                  <a:cubicBezTo>
                    <a:pt x="36" y="150"/>
                    <a:pt x="33" y="148"/>
                    <a:pt x="32" y="146"/>
                  </a:cubicBezTo>
                  <a:cubicBezTo>
                    <a:pt x="32" y="146"/>
                    <a:pt x="31" y="145"/>
                    <a:pt x="31" y="144"/>
                  </a:cubicBezTo>
                  <a:cubicBezTo>
                    <a:pt x="31" y="144"/>
                    <a:pt x="32" y="143"/>
                    <a:pt x="32" y="142"/>
                  </a:cubicBezTo>
                  <a:cubicBezTo>
                    <a:pt x="33" y="141"/>
                    <a:pt x="35" y="138"/>
                    <a:pt x="35" y="134"/>
                  </a:cubicBezTo>
                  <a:cubicBezTo>
                    <a:pt x="34" y="130"/>
                    <a:pt x="33" y="128"/>
                    <a:pt x="32" y="125"/>
                  </a:cubicBezTo>
                  <a:cubicBezTo>
                    <a:pt x="31" y="124"/>
                    <a:pt x="31" y="123"/>
                    <a:pt x="30" y="123"/>
                  </a:cubicBezTo>
                  <a:cubicBezTo>
                    <a:pt x="29" y="120"/>
                    <a:pt x="28" y="117"/>
                    <a:pt x="24" y="115"/>
                  </a:cubicBezTo>
                  <a:cubicBezTo>
                    <a:pt x="21" y="113"/>
                    <a:pt x="17" y="113"/>
                    <a:pt x="14" y="112"/>
                  </a:cubicBezTo>
                  <a:cubicBezTo>
                    <a:pt x="12" y="112"/>
                    <a:pt x="10" y="112"/>
                    <a:pt x="9" y="112"/>
                  </a:cubicBezTo>
                  <a:cubicBezTo>
                    <a:pt x="8" y="107"/>
                    <a:pt x="8" y="103"/>
                    <a:pt x="8" y="98"/>
                  </a:cubicBezTo>
                  <a:cubicBezTo>
                    <a:pt x="8" y="85"/>
                    <a:pt x="11" y="73"/>
                    <a:pt x="16" y="62"/>
                  </a:cubicBezTo>
                  <a:cubicBezTo>
                    <a:pt x="17" y="62"/>
                    <a:pt x="17" y="63"/>
                    <a:pt x="18" y="64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26" y="72"/>
                    <a:pt x="35" y="74"/>
                    <a:pt x="41" y="74"/>
                  </a:cubicBezTo>
                  <a:cubicBezTo>
                    <a:pt x="43" y="74"/>
                    <a:pt x="46" y="74"/>
                    <a:pt x="48" y="74"/>
                  </a:cubicBezTo>
                  <a:cubicBezTo>
                    <a:pt x="52" y="74"/>
                    <a:pt x="56" y="74"/>
                    <a:pt x="60" y="75"/>
                  </a:cubicBezTo>
                  <a:cubicBezTo>
                    <a:pt x="61" y="75"/>
                    <a:pt x="62" y="77"/>
                    <a:pt x="63" y="78"/>
                  </a:cubicBezTo>
                  <a:cubicBezTo>
                    <a:pt x="65" y="82"/>
                    <a:pt x="64" y="90"/>
                    <a:pt x="63" y="92"/>
                  </a:cubicBezTo>
                  <a:cubicBezTo>
                    <a:pt x="62" y="93"/>
                    <a:pt x="62" y="94"/>
                    <a:pt x="61" y="95"/>
                  </a:cubicBezTo>
                  <a:cubicBezTo>
                    <a:pt x="59" y="96"/>
                    <a:pt x="58" y="98"/>
                    <a:pt x="57" y="101"/>
                  </a:cubicBezTo>
                  <a:cubicBezTo>
                    <a:pt x="56" y="104"/>
                    <a:pt x="56" y="108"/>
                    <a:pt x="56" y="111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6" y="114"/>
                    <a:pt x="56" y="116"/>
                    <a:pt x="56" y="118"/>
                  </a:cubicBezTo>
                  <a:cubicBezTo>
                    <a:pt x="56" y="121"/>
                    <a:pt x="55" y="124"/>
                    <a:pt x="55" y="126"/>
                  </a:cubicBezTo>
                  <a:cubicBezTo>
                    <a:pt x="55" y="129"/>
                    <a:pt x="56" y="132"/>
                    <a:pt x="57" y="134"/>
                  </a:cubicBezTo>
                  <a:cubicBezTo>
                    <a:pt x="57" y="136"/>
                    <a:pt x="57" y="138"/>
                    <a:pt x="57" y="140"/>
                  </a:cubicBezTo>
                  <a:cubicBezTo>
                    <a:pt x="58" y="145"/>
                    <a:pt x="59" y="150"/>
                    <a:pt x="60" y="155"/>
                  </a:cubicBezTo>
                  <a:cubicBezTo>
                    <a:pt x="60" y="157"/>
                    <a:pt x="61" y="159"/>
                    <a:pt x="62" y="161"/>
                  </a:cubicBezTo>
                  <a:cubicBezTo>
                    <a:pt x="62" y="162"/>
                    <a:pt x="63" y="163"/>
                    <a:pt x="64" y="165"/>
                  </a:cubicBezTo>
                  <a:cubicBezTo>
                    <a:pt x="65" y="167"/>
                    <a:pt x="67" y="169"/>
                    <a:pt x="67" y="170"/>
                  </a:cubicBezTo>
                  <a:cubicBezTo>
                    <a:pt x="67" y="171"/>
                    <a:pt x="63" y="171"/>
                    <a:pt x="61" y="171"/>
                  </a:cubicBezTo>
                  <a:cubicBezTo>
                    <a:pt x="60" y="171"/>
                    <a:pt x="58" y="171"/>
                    <a:pt x="57" y="171"/>
                  </a:cubicBezTo>
                  <a:cubicBezTo>
                    <a:pt x="54" y="171"/>
                    <a:pt x="51" y="173"/>
                    <a:pt x="49" y="173"/>
                  </a:cubicBezTo>
                  <a:close/>
                  <a:moveTo>
                    <a:pt x="102" y="188"/>
                  </a:moveTo>
                  <a:cubicBezTo>
                    <a:pt x="100" y="184"/>
                    <a:pt x="99" y="176"/>
                    <a:pt x="101" y="172"/>
                  </a:cubicBezTo>
                  <a:cubicBezTo>
                    <a:pt x="102" y="170"/>
                    <a:pt x="109" y="166"/>
                    <a:pt x="114" y="166"/>
                  </a:cubicBezTo>
                  <a:cubicBezTo>
                    <a:pt x="116" y="166"/>
                    <a:pt x="118" y="166"/>
                    <a:pt x="118" y="167"/>
                  </a:cubicBezTo>
                  <a:cubicBezTo>
                    <a:pt x="119" y="168"/>
                    <a:pt x="119" y="170"/>
                    <a:pt x="119" y="171"/>
                  </a:cubicBezTo>
                  <a:cubicBezTo>
                    <a:pt x="119" y="175"/>
                    <a:pt x="120" y="179"/>
                    <a:pt x="123" y="182"/>
                  </a:cubicBezTo>
                  <a:cubicBezTo>
                    <a:pt x="124" y="183"/>
                    <a:pt x="125" y="184"/>
                    <a:pt x="126" y="184"/>
                  </a:cubicBezTo>
                  <a:cubicBezTo>
                    <a:pt x="118" y="186"/>
                    <a:pt x="110" y="188"/>
                    <a:pt x="102" y="188"/>
                  </a:cubicBezTo>
                  <a:close/>
                  <a:moveTo>
                    <a:pt x="167" y="65"/>
                  </a:moveTo>
                  <a:cubicBezTo>
                    <a:pt x="168" y="65"/>
                    <a:pt x="169" y="65"/>
                    <a:pt x="169" y="64"/>
                  </a:cubicBezTo>
                  <a:cubicBezTo>
                    <a:pt x="171" y="63"/>
                    <a:pt x="172" y="61"/>
                    <a:pt x="171" y="59"/>
                  </a:cubicBezTo>
                  <a:cubicBezTo>
                    <a:pt x="160" y="42"/>
                    <a:pt x="160" y="42"/>
                    <a:pt x="160" y="42"/>
                  </a:cubicBezTo>
                  <a:cubicBezTo>
                    <a:pt x="159" y="40"/>
                    <a:pt x="156" y="40"/>
                    <a:pt x="154" y="41"/>
                  </a:cubicBezTo>
                  <a:cubicBezTo>
                    <a:pt x="152" y="42"/>
                    <a:pt x="152" y="45"/>
                    <a:pt x="153" y="46"/>
                  </a:cubicBezTo>
                  <a:cubicBezTo>
                    <a:pt x="164" y="63"/>
                    <a:pt x="164" y="63"/>
                    <a:pt x="164" y="63"/>
                  </a:cubicBezTo>
                  <a:cubicBezTo>
                    <a:pt x="165" y="64"/>
                    <a:pt x="166" y="65"/>
                    <a:pt x="167" y="65"/>
                  </a:cubicBezTo>
                  <a:close/>
                  <a:moveTo>
                    <a:pt x="199" y="52"/>
                  </a:moveTo>
                  <a:cubicBezTo>
                    <a:pt x="201" y="52"/>
                    <a:pt x="202" y="52"/>
                    <a:pt x="203" y="51"/>
                  </a:cubicBezTo>
                  <a:cubicBezTo>
                    <a:pt x="227" y="22"/>
                    <a:pt x="227" y="22"/>
                    <a:pt x="227" y="22"/>
                  </a:cubicBezTo>
                  <a:cubicBezTo>
                    <a:pt x="228" y="20"/>
                    <a:pt x="228" y="18"/>
                    <a:pt x="226" y="17"/>
                  </a:cubicBezTo>
                  <a:cubicBezTo>
                    <a:pt x="224" y="15"/>
                    <a:pt x="222" y="15"/>
                    <a:pt x="220" y="17"/>
                  </a:cubicBezTo>
                  <a:cubicBezTo>
                    <a:pt x="196" y="46"/>
                    <a:pt x="196" y="46"/>
                    <a:pt x="196" y="46"/>
                  </a:cubicBezTo>
                  <a:cubicBezTo>
                    <a:pt x="195" y="47"/>
                    <a:pt x="195" y="50"/>
                    <a:pt x="197" y="51"/>
                  </a:cubicBezTo>
                  <a:cubicBezTo>
                    <a:pt x="198" y="52"/>
                    <a:pt x="199" y="52"/>
                    <a:pt x="199" y="52"/>
                  </a:cubicBezTo>
                  <a:close/>
                  <a:moveTo>
                    <a:pt x="203" y="141"/>
                  </a:moveTo>
                  <a:cubicBezTo>
                    <a:pt x="201" y="139"/>
                    <a:pt x="199" y="139"/>
                    <a:pt x="197" y="141"/>
                  </a:cubicBezTo>
                  <a:cubicBezTo>
                    <a:pt x="195" y="142"/>
                    <a:pt x="195" y="144"/>
                    <a:pt x="196" y="146"/>
                  </a:cubicBezTo>
                  <a:cubicBezTo>
                    <a:pt x="220" y="175"/>
                    <a:pt x="220" y="175"/>
                    <a:pt x="220" y="175"/>
                  </a:cubicBezTo>
                  <a:cubicBezTo>
                    <a:pt x="221" y="176"/>
                    <a:pt x="222" y="176"/>
                    <a:pt x="223" y="176"/>
                  </a:cubicBezTo>
                  <a:cubicBezTo>
                    <a:pt x="224" y="176"/>
                    <a:pt x="225" y="176"/>
                    <a:pt x="226" y="175"/>
                  </a:cubicBezTo>
                  <a:cubicBezTo>
                    <a:pt x="228" y="174"/>
                    <a:pt x="228" y="171"/>
                    <a:pt x="227" y="170"/>
                  </a:cubicBezTo>
                  <a:lnTo>
                    <a:pt x="203" y="141"/>
                  </a:lnTo>
                  <a:close/>
                  <a:moveTo>
                    <a:pt x="133" y="59"/>
                  </a:moveTo>
                  <a:cubicBezTo>
                    <a:pt x="131" y="60"/>
                    <a:pt x="131" y="63"/>
                    <a:pt x="133" y="64"/>
                  </a:cubicBezTo>
                  <a:cubicBezTo>
                    <a:pt x="148" y="78"/>
                    <a:pt x="148" y="78"/>
                    <a:pt x="148" y="78"/>
                  </a:cubicBezTo>
                  <a:cubicBezTo>
                    <a:pt x="149" y="79"/>
                    <a:pt x="150" y="79"/>
                    <a:pt x="151" y="79"/>
                  </a:cubicBezTo>
                  <a:cubicBezTo>
                    <a:pt x="152" y="79"/>
                    <a:pt x="153" y="79"/>
                    <a:pt x="154" y="78"/>
                  </a:cubicBezTo>
                  <a:cubicBezTo>
                    <a:pt x="155" y="76"/>
                    <a:pt x="155" y="74"/>
                    <a:pt x="153" y="72"/>
                  </a:cubicBezTo>
                  <a:cubicBezTo>
                    <a:pt x="138" y="58"/>
                    <a:pt x="138" y="58"/>
                    <a:pt x="138" y="58"/>
                  </a:cubicBezTo>
                  <a:cubicBezTo>
                    <a:pt x="137" y="57"/>
                    <a:pt x="134" y="57"/>
                    <a:pt x="133" y="59"/>
                  </a:cubicBezTo>
                  <a:close/>
                  <a:moveTo>
                    <a:pt x="120" y="96"/>
                  </a:moveTo>
                  <a:cubicBezTo>
                    <a:pt x="120" y="99"/>
                    <a:pt x="122" y="100"/>
                    <a:pt x="124" y="100"/>
                  </a:cubicBezTo>
                  <a:cubicBezTo>
                    <a:pt x="144" y="100"/>
                    <a:pt x="144" y="100"/>
                    <a:pt x="144" y="100"/>
                  </a:cubicBezTo>
                  <a:cubicBezTo>
                    <a:pt x="146" y="100"/>
                    <a:pt x="148" y="99"/>
                    <a:pt x="148" y="96"/>
                  </a:cubicBezTo>
                  <a:cubicBezTo>
                    <a:pt x="148" y="94"/>
                    <a:pt x="146" y="92"/>
                    <a:pt x="144" y="92"/>
                  </a:cubicBezTo>
                  <a:cubicBezTo>
                    <a:pt x="124" y="92"/>
                    <a:pt x="124" y="92"/>
                    <a:pt x="124" y="92"/>
                  </a:cubicBezTo>
                  <a:cubicBezTo>
                    <a:pt x="122" y="92"/>
                    <a:pt x="120" y="94"/>
                    <a:pt x="120" y="96"/>
                  </a:cubicBezTo>
                  <a:close/>
                  <a:moveTo>
                    <a:pt x="134" y="135"/>
                  </a:moveTo>
                  <a:cubicBezTo>
                    <a:pt x="135" y="135"/>
                    <a:pt x="136" y="134"/>
                    <a:pt x="137" y="134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54" y="120"/>
                    <a:pt x="155" y="117"/>
                    <a:pt x="153" y="116"/>
                  </a:cubicBezTo>
                  <a:cubicBezTo>
                    <a:pt x="152" y="114"/>
                    <a:pt x="149" y="114"/>
                    <a:pt x="148" y="115"/>
                  </a:cubicBezTo>
                  <a:cubicBezTo>
                    <a:pt x="132" y="128"/>
                    <a:pt x="132" y="128"/>
                    <a:pt x="132" y="128"/>
                  </a:cubicBezTo>
                  <a:cubicBezTo>
                    <a:pt x="130" y="129"/>
                    <a:pt x="130" y="131"/>
                    <a:pt x="131" y="133"/>
                  </a:cubicBezTo>
                  <a:cubicBezTo>
                    <a:pt x="132" y="134"/>
                    <a:pt x="133" y="135"/>
                    <a:pt x="134" y="135"/>
                  </a:cubicBezTo>
                  <a:close/>
                  <a:moveTo>
                    <a:pt x="154" y="152"/>
                  </a:moveTo>
                  <a:cubicBezTo>
                    <a:pt x="155" y="152"/>
                    <a:pt x="156" y="152"/>
                    <a:pt x="156" y="152"/>
                  </a:cubicBezTo>
                  <a:cubicBezTo>
                    <a:pt x="158" y="152"/>
                    <a:pt x="159" y="152"/>
                    <a:pt x="160" y="150"/>
                  </a:cubicBezTo>
                  <a:cubicBezTo>
                    <a:pt x="168" y="134"/>
                    <a:pt x="168" y="134"/>
                    <a:pt x="168" y="134"/>
                  </a:cubicBezTo>
                  <a:cubicBezTo>
                    <a:pt x="169" y="132"/>
                    <a:pt x="168" y="130"/>
                    <a:pt x="166" y="129"/>
                  </a:cubicBezTo>
                  <a:cubicBezTo>
                    <a:pt x="164" y="128"/>
                    <a:pt x="162" y="129"/>
                    <a:pt x="161" y="131"/>
                  </a:cubicBezTo>
                  <a:cubicBezTo>
                    <a:pt x="153" y="147"/>
                    <a:pt x="153" y="147"/>
                    <a:pt x="153" y="147"/>
                  </a:cubicBezTo>
                  <a:cubicBezTo>
                    <a:pt x="152" y="149"/>
                    <a:pt x="153" y="151"/>
                    <a:pt x="154" y="152"/>
                  </a:cubicBezTo>
                  <a:close/>
                  <a:moveTo>
                    <a:pt x="188" y="40"/>
                  </a:moveTo>
                  <a:cubicBezTo>
                    <a:pt x="196" y="40"/>
                    <a:pt x="196" y="28"/>
                    <a:pt x="188" y="28"/>
                  </a:cubicBezTo>
                  <a:cubicBezTo>
                    <a:pt x="180" y="28"/>
                    <a:pt x="180" y="40"/>
                    <a:pt x="188" y="40"/>
                  </a:cubicBezTo>
                  <a:close/>
                  <a:moveTo>
                    <a:pt x="187" y="157"/>
                  </a:moveTo>
                  <a:cubicBezTo>
                    <a:pt x="180" y="157"/>
                    <a:pt x="180" y="169"/>
                    <a:pt x="187" y="169"/>
                  </a:cubicBezTo>
                  <a:cubicBezTo>
                    <a:pt x="195" y="169"/>
                    <a:pt x="195" y="157"/>
                    <a:pt x="187" y="157"/>
                  </a:cubicBezTo>
                  <a:close/>
                  <a:moveTo>
                    <a:pt x="203" y="172"/>
                  </a:moveTo>
                  <a:cubicBezTo>
                    <a:pt x="195" y="172"/>
                    <a:pt x="195" y="184"/>
                    <a:pt x="203" y="184"/>
                  </a:cubicBezTo>
                  <a:cubicBezTo>
                    <a:pt x="211" y="184"/>
                    <a:pt x="211" y="172"/>
                    <a:pt x="203" y="172"/>
                  </a:cubicBezTo>
                  <a:close/>
                  <a:moveTo>
                    <a:pt x="177" y="182"/>
                  </a:moveTo>
                  <a:cubicBezTo>
                    <a:pt x="169" y="182"/>
                    <a:pt x="169" y="194"/>
                    <a:pt x="177" y="194"/>
                  </a:cubicBezTo>
                  <a:cubicBezTo>
                    <a:pt x="185" y="194"/>
                    <a:pt x="185" y="182"/>
                    <a:pt x="177" y="182"/>
                  </a:cubicBezTo>
                  <a:close/>
                  <a:moveTo>
                    <a:pt x="213" y="52"/>
                  </a:moveTo>
                  <a:cubicBezTo>
                    <a:pt x="206" y="52"/>
                    <a:pt x="206" y="64"/>
                    <a:pt x="213" y="64"/>
                  </a:cubicBezTo>
                  <a:cubicBezTo>
                    <a:pt x="221" y="64"/>
                    <a:pt x="221" y="52"/>
                    <a:pt x="213" y="52"/>
                  </a:cubicBezTo>
                  <a:close/>
                  <a:moveTo>
                    <a:pt x="201" y="27"/>
                  </a:moveTo>
                  <a:cubicBezTo>
                    <a:pt x="209" y="27"/>
                    <a:pt x="209" y="15"/>
                    <a:pt x="201" y="15"/>
                  </a:cubicBezTo>
                  <a:cubicBezTo>
                    <a:pt x="194" y="15"/>
                    <a:pt x="194" y="27"/>
                    <a:pt x="201" y="2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+mj-lt"/>
              </a:endParaRPr>
            </a:p>
          </p:txBody>
        </p:sp>
      </p:grpSp>
      <p:sp>
        <p:nvSpPr>
          <p:cNvPr id="55" name="TextBox 5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04DAC2E2-F41D-42BB-BEF4-311E5ACF201A}"/>
              </a:ext>
            </a:extLst>
          </p:cNvPr>
          <p:cNvSpPr txBox="1"/>
          <p:nvPr/>
        </p:nvSpPr>
        <p:spPr>
          <a:xfrm>
            <a:off x="4170951" y="642163"/>
            <a:ext cx="38501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latin typeface="+mj-lt"/>
                <a:cs typeface="Lato Heavy" panose="020F0902020204030203" pitchFamily="34" charset="0"/>
              </a:rPr>
              <a:t>FULL</a:t>
            </a:r>
            <a:r>
              <a:rPr lang="id-ID" sz="4000" b="1" dirty="0">
                <a:latin typeface="+mj-lt"/>
                <a:cs typeface="Lato Heavy" panose="020F0902020204030203" pitchFamily="34" charset="0"/>
              </a:rPr>
              <a:t> </a:t>
            </a:r>
            <a:r>
              <a:rPr lang="en-US" sz="4000" b="1" dirty="0">
                <a:latin typeface="+mj-lt"/>
                <a:cs typeface="Lato Heavy" panose="020F0902020204030203" pitchFamily="34" charset="0"/>
              </a:rPr>
              <a:t>SERVICE</a:t>
            </a:r>
            <a:endParaRPr lang="id-ID" sz="4000" b="1" dirty="0">
              <a:latin typeface="+mj-lt"/>
              <a:cs typeface="Lato Heavy" panose="020F0902020204030203" pitchFamily="34" charset="0"/>
            </a:endParaRPr>
          </a:p>
        </p:txBody>
      </p:sp>
      <p:cxnSp>
        <p:nvCxnSpPr>
          <p:cNvPr id="57" name="Straight Connector 5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5F631CA8-A403-4968-BFD9-4D01B9593E6E}"/>
              </a:ext>
            </a:extLst>
          </p:cNvPr>
          <p:cNvCxnSpPr>
            <a:cxnSpLocks/>
          </p:cNvCxnSpPr>
          <p:nvPr/>
        </p:nvCxnSpPr>
        <p:spPr>
          <a:xfrm>
            <a:off x="5791200" y="654563"/>
            <a:ext cx="609600" cy="0"/>
          </a:xfrm>
          <a:prstGeom prst="line">
            <a:avLst/>
          </a:prstGeom>
          <a:ln w="444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组合 4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GrpSpPr/>
          <p:nvPr/>
        </p:nvGrpSpPr>
        <p:grpSpPr>
          <a:xfrm>
            <a:off x="5343081" y="293340"/>
            <a:ext cx="1553021" cy="257189"/>
            <a:chOff x="698021" y="1374188"/>
            <a:chExt cx="1553021" cy="257189"/>
          </a:xfrm>
        </p:grpSpPr>
        <p:sp>
          <p:nvSpPr>
            <p:cNvPr id="50" name="TextBox 26">
              <a:extLst>
                <a:ext uri="{FF2B5EF4-FFF2-40B4-BE49-F238E27FC236}">
                  <a16:creationId xmlns:a16="http://schemas.microsoft.com/office/drawing/2014/main" id="{098457CE-85C6-4570-8CFA-D98ADA36B6C3}"/>
                </a:ext>
              </a:extLst>
            </p:cNvPr>
            <p:cNvSpPr txBox="1"/>
            <p:nvPr/>
          </p:nvSpPr>
          <p:spPr>
            <a:xfrm>
              <a:off x="698021" y="1374188"/>
              <a:ext cx="77136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000" i="1" dirty="0">
                  <a:ea typeface="Roboto Medium" charset="0"/>
                  <a:cs typeface="Roboto Medium" charset="0"/>
                </a:rPr>
                <a:t>Company</a:t>
              </a:r>
              <a:endParaRPr lang="en-US" sz="1000" i="1" dirty="0">
                <a:ea typeface="Roboto Medium" charset="0"/>
                <a:cs typeface="Roboto Medium" charset="0"/>
              </a:endParaRPr>
            </a:p>
          </p:txBody>
        </p:sp>
        <p:cxnSp>
          <p:nvCxnSpPr>
            <p:cNvPr id="61" name="Straight Connector 27">
              <a:extLst>
                <a:ext uri="{FF2B5EF4-FFF2-40B4-BE49-F238E27FC236}">
                  <a16:creationId xmlns:a16="http://schemas.microsoft.com/office/drawing/2014/main" id="{8C13FF99-F030-4D42-80A7-05C63E49AB9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04402" y="1625027"/>
              <a:ext cx="1546640" cy="4619"/>
            </a:xfrm>
            <a:prstGeom prst="line">
              <a:avLst/>
            </a:prstGeom>
            <a:ln>
              <a:solidFill>
                <a:schemeClr val="bg2">
                  <a:lumMod val="25000"/>
                  <a:lumOff val="75000"/>
                  <a:alpha val="2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28">
              <a:extLst>
                <a:ext uri="{FF2B5EF4-FFF2-40B4-BE49-F238E27FC236}">
                  <a16:creationId xmlns:a16="http://schemas.microsoft.com/office/drawing/2014/main" id="{A0C95351-4DD3-4D0C-9529-B072A66C46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4402" y="1631377"/>
              <a:ext cx="265907" cy="0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Cross 29">
              <a:extLst>
                <a:ext uri="{FF2B5EF4-FFF2-40B4-BE49-F238E27FC236}">
                  <a16:creationId xmlns:a16="http://schemas.microsoft.com/office/drawing/2014/main" id="{610F54E0-9FA4-4339-8AF7-00CC7C22B4D4}"/>
                </a:ext>
              </a:extLst>
            </p:cNvPr>
            <p:cNvSpPr/>
            <p:nvPr/>
          </p:nvSpPr>
          <p:spPr>
            <a:xfrm flipH="1">
              <a:off x="2145024" y="1446712"/>
              <a:ext cx="106018" cy="106018"/>
            </a:xfrm>
            <a:prstGeom prst="plus">
              <a:avLst>
                <a:gd name="adj" fmla="val 375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72" name="TextBox 1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311CE91-0287-4141-9227-A254657467EE}"/>
              </a:ext>
            </a:extLst>
          </p:cNvPr>
          <p:cNvSpPr txBox="1"/>
          <p:nvPr/>
        </p:nvSpPr>
        <p:spPr>
          <a:xfrm>
            <a:off x="4331859" y="1281040"/>
            <a:ext cx="35418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+mj-ea"/>
                <a:ea typeface="+mj-ea"/>
              </a:rPr>
              <a:t>welcome to our </a:t>
            </a:r>
            <a:r>
              <a:rPr lang="en-US" altLang="zh-CN" sz="1400" dirty="0">
                <a:solidFill>
                  <a:schemeClr val="accent1"/>
                </a:solidFill>
                <a:latin typeface="+mj-ea"/>
                <a:ea typeface="+mj-ea"/>
              </a:rPr>
              <a:t>Company </a:t>
            </a:r>
            <a:r>
              <a:rPr lang="en-US" altLang="zh-CN" sz="1400" dirty="0">
                <a:solidFill>
                  <a:schemeClr val="accent1"/>
                </a:solidFill>
                <a:latin typeface="+mj-ea"/>
              </a:rPr>
              <a:t>presentation</a:t>
            </a:r>
          </a:p>
          <a:p>
            <a:pPr algn="ctr"/>
            <a:r>
              <a:rPr lang="en-US" altLang="zh-CN" sz="1400" dirty="0">
                <a:solidFill>
                  <a:schemeClr val="accent1"/>
                </a:solidFill>
                <a:latin typeface="+mj-ea"/>
                <a:ea typeface="+mj-ea"/>
              </a:rPr>
              <a:t> </a:t>
            </a:r>
            <a:endParaRPr lang="en-US" sz="1400" dirty="0">
              <a:solidFill>
                <a:schemeClr val="accent1"/>
              </a:solidFill>
              <a:latin typeface="+mj-ea"/>
              <a:ea typeface="+mj-ea"/>
            </a:endParaRP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 hidden="1"/>
          <p:cNvSpPr txBox="1"/>
          <p:nvPr/>
        </p:nvSpPr>
        <p:spPr>
          <a:xfrm>
            <a:off x="-355600" y="1803400"/>
            <a:ext cx="322909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346220559"/>
      </p:ext>
    </p:extLst>
  </p:cSld>
  <p:clrMapOvr>
    <a:masterClrMapping/>
  </p:clrMapOvr>
  <p:transition spd="med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decel="10000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decel="10000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decel="10000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decel="10000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decel="10000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4" decel="10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4" decel="10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4" decel="10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4" decel="10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4" decel="10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/>
      <p:bldP spid="12" grpId="0" animBg="1"/>
      <p:bldP spid="13" grpId="0" animBg="1"/>
      <p:bldP spid="14" grpId="0"/>
      <p:bldP spid="15" grpId="0"/>
      <p:bldP spid="22" grpId="0" animBg="1"/>
      <p:bldP spid="23" grpId="0" animBg="1"/>
      <p:bldP spid="24" grpId="0"/>
      <p:bldP spid="25" grpId="0"/>
      <p:bldP spid="27" grpId="0" animBg="1"/>
      <p:bldP spid="28" grpId="0" animBg="1"/>
      <p:bldP spid="29" grpId="0"/>
      <p:bldP spid="30" grpId="0"/>
      <p:bldP spid="32" grpId="0" animBg="1"/>
      <p:bldP spid="33" grpId="0" animBg="1"/>
      <p:bldP spid="34" grpId="0"/>
      <p:bldP spid="35" grpId="0"/>
      <p:bldP spid="46" grpId="0" animBg="1"/>
      <p:bldP spid="47" grpId="0" animBg="1"/>
      <p:bldP spid="51" grpId="0" animBg="1"/>
      <p:bldP spid="52" grpId="0" animBg="1"/>
      <p:bldP spid="53" grpId="0" animBg="1"/>
      <p:bldP spid="5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201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324FAC2F-F72A-487E-B9EE-64D79972789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3" name="矩形 1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74788602-BEF4-45FF-97B1-37905C7B002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6000">
                <a:srgbClr val="02010B">
                  <a:alpha val="61000"/>
                </a:srgbClr>
              </a:gs>
              <a:gs pos="0">
                <a:schemeClr val="accent2">
                  <a:lumMod val="50000"/>
                  <a:alpha val="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TextBox 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A5CCBCF9-0B28-4EE8-ACEF-7B85A580B4C3}"/>
              </a:ext>
            </a:extLst>
          </p:cNvPr>
          <p:cNvSpPr txBox="1"/>
          <p:nvPr/>
        </p:nvSpPr>
        <p:spPr>
          <a:xfrm>
            <a:off x="2266951" y="2497976"/>
            <a:ext cx="4477509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1500" b="1" spc="300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Rajdhani Bold" panose="02000000000000000000" pitchFamily="2" charset="0"/>
              </a:rPr>
              <a:t>PART </a:t>
            </a:r>
            <a:endParaRPr lang="en-US" sz="11500" b="1" spc="300" dirty="0">
              <a:ln w="50800">
                <a:solidFill>
                  <a:schemeClr val="bg1"/>
                </a:solidFill>
              </a:ln>
              <a:gradFill>
                <a:gsLst>
                  <a:gs pos="0">
                    <a:schemeClr val="accent1">
                      <a:alpha val="64000"/>
                    </a:schemeClr>
                  </a:gs>
                  <a:gs pos="100000">
                    <a:schemeClr val="accent2"/>
                  </a:gs>
                </a:gsLst>
                <a:lin ang="8100000" scaled="1"/>
              </a:gradFill>
              <a:latin typeface="+mj-lt"/>
              <a:ea typeface="Open Sans" panose="020B0606030504020204" pitchFamily="34" charset="0"/>
              <a:cs typeface="Rajdhani Bold" panose="02000000000000000000" pitchFamily="2" charset="0"/>
            </a:endParaRPr>
          </a:p>
        </p:txBody>
      </p:sp>
      <p:sp>
        <p:nvSpPr>
          <p:cNvPr id="9" name="文本框 8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74081CA7-D296-42A5-994C-E1042423C014}"/>
              </a:ext>
            </a:extLst>
          </p:cNvPr>
          <p:cNvSpPr txBox="1"/>
          <p:nvPr/>
        </p:nvSpPr>
        <p:spPr>
          <a:xfrm>
            <a:off x="2390774" y="4022802"/>
            <a:ext cx="75342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id-ID" altLang="zh-CN" sz="1600" b="1" dirty="0">
                <a:solidFill>
                  <a:schemeClr val="bg1"/>
                </a:solidFill>
                <a:latin typeface="+mj-lt"/>
                <a:cs typeface="Poppins" panose="00000500000000000000" pitchFamily="50" charset="0"/>
              </a:rPr>
              <a:t>Technology Presentation Template</a:t>
            </a:r>
          </a:p>
          <a:p>
            <a:pPr algn="dist"/>
            <a:endParaRPr lang="zh-CN" altLang="en-US" sz="1600" b="1" dirty="0">
              <a:latin typeface="+mj-lt"/>
            </a:endParaRPr>
          </a:p>
        </p:txBody>
      </p:sp>
      <p:sp>
        <p:nvSpPr>
          <p:cNvPr id="10" name="Freeform 6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3CA62E72-B97B-4DDB-B6D7-A140DAF6C715}"/>
              </a:ext>
            </a:extLst>
          </p:cNvPr>
          <p:cNvSpPr>
            <a:spLocks noEditPoints="1"/>
          </p:cNvSpPr>
          <p:nvPr/>
        </p:nvSpPr>
        <p:spPr bwMode="auto">
          <a:xfrm>
            <a:off x="4921287" y="6468579"/>
            <a:ext cx="137450" cy="135137"/>
          </a:xfrm>
          <a:custGeom>
            <a:avLst/>
            <a:gdLst>
              <a:gd name="T0" fmla="*/ 92739 w 55"/>
              <a:gd name="T1" fmla="*/ 185737 h 54"/>
              <a:gd name="T2" fmla="*/ 0 w 55"/>
              <a:gd name="T3" fmla="*/ 92869 h 54"/>
              <a:gd name="T4" fmla="*/ 92739 w 55"/>
              <a:gd name="T5" fmla="*/ 0 h 54"/>
              <a:gd name="T6" fmla="*/ 188913 w 55"/>
              <a:gd name="T7" fmla="*/ 92869 h 54"/>
              <a:gd name="T8" fmla="*/ 92739 w 55"/>
              <a:gd name="T9" fmla="*/ 185737 h 54"/>
              <a:gd name="T10" fmla="*/ 13739 w 55"/>
              <a:gd name="T11" fmla="*/ 92869 h 54"/>
              <a:gd name="T12" fmla="*/ 92739 w 55"/>
              <a:gd name="T13" fmla="*/ 171979 h 54"/>
              <a:gd name="T14" fmla="*/ 171739 w 55"/>
              <a:gd name="T15" fmla="*/ 92869 h 54"/>
              <a:gd name="T16" fmla="*/ 92739 w 55"/>
              <a:gd name="T17" fmla="*/ 13758 h 54"/>
              <a:gd name="T18" fmla="*/ 13739 w 55"/>
              <a:gd name="T19" fmla="*/ 92869 h 54"/>
              <a:gd name="T20" fmla="*/ 140826 w 55"/>
              <a:gd name="T21" fmla="*/ 127264 h 54"/>
              <a:gd name="T22" fmla="*/ 96174 w 55"/>
              <a:gd name="T23" fmla="*/ 151341 h 54"/>
              <a:gd name="T24" fmla="*/ 37783 w 55"/>
              <a:gd name="T25" fmla="*/ 92869 h 54"/>
              <a:gd name="T26" fmla="*/ 96174 w 55"/>
              <a:gd name="T27" fmla="*/ 34396 h 54"/>
              <a:gd name="T28" fmla="*/ 137391 w 55"/>
              <a:gd name="T29" fmla="*/ 58473 h 54"/>
              <a:gd name="T30" fmla="*/ 137391 w 55"/>
              <a:gd name="T31" fmla="*/ 72231 h 54"/>
              <a:gd name="T32" fmla="*/ 137391 w 55"/>
              <a:gd name="T33" fmla="*/ 72231 h 54"/>
              <a:gd name="T34" fmla="*/ 123652 w 55"/>
              <a:gd name="T35" fmla="*/ 72231 h 54"/>
              <a:gd name="T36" fmla="*/ 120217 w 55"/>
              <a:gd name="T37" fmla="*/ 72231 h 54"/>
              <a:gd name="T38" fmla="*/ 120217 w 55"/>
              <a:gd name="T39" fmla="*/ 61912 h 54"/>
              <a:gd name="T40" fmla="*/ 96174 w 55"/>
              <a:gd name="T41" fmla="*/ 51594 h 54"/>
              <a:gd name="T42" fmla="*/ 54957 w 55"/>
              <a:gd name="T43" fmla="*/ 92869 h 54"/>
              <a:gd name="T44" fmla="*/ 96174 w 55"/>
              <a:gd name="T45" fmla="*/ 134143 h 54"/>
              <a:gd name="T46" fmla="*/ 120217 w 55"/>
              <a:gd name="T47" fmla="*/ 123825 h 54"/>
              <a:gd name="T48" fmla="*/ 120217 w 55"/>
              <a:gd name="T49" fmla="*/ 113506 h 54"/>
              <a:gd name="T50" fmla="*/ 123652 w 55"/>
              <a:gd name="T51" fmla="*/ 113506 h 54"/>
              <a:gd name="T52" fmla="*/ 137391 w 55"/>
              <a:gd name="T53" fmla="*/ 113506 h 54"/>
              <a:gd name="T54" fmla="*/ 140826 w 55"/>
              <a:gd name="T55" fmla="*/ 113506 h 54"/>
              <a:gd name="T56" fmla="*/ 140826 w 55"/>
              <a:gd name="T57" fmla="*/ 127264 h 5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55" h="54">
                <a:moveTo>
                  <a:pt x="27" y="54"/>
                </a:moveTo>
                <a:cubicBezTo>
                  <a:pt x="12" y="54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4"/>
                  <a:pt x="27" y="54"/>
                </a:cubicBezTo>
                <a:close/>
                <a:moveTo>
                  <a:pt x="4" y="27"/>
                </a:moveTo>
                <a:cubicBezTo>
                  <a:pt x="4" y="40"/>
                  <a:pt x="15" y="50"/>
                  <a:pt x="27" y="50"/>
                </a:cubicBezTo>
                <a:cubicBezTo>
                  <a:pt x="40" y="50"/>
                  <a:pt x="50" y="40"/>
                  <a:pt x="50" y="27"/>
                </a:cubicBezTo>
                <a:cubicBezTo>
                  <a:pt x="50" y="14"/>
                  <a:pt x="40" y="4"/>
                  <a:pt x="27" y="4"/>
                </a:cubicBezTo>
                <a:cubicBezTo>
                  <a:pt x="15" y="4"/>
                  <a:pt x="4" y="14"/>
                  <a:pt x="4" y="27"/>
                </a:cubicBezTo>
                <a:close/>
                <a:moveTo>
                  <a:pt x="41" y="37"/>
                </a:moveTo>
                <a:cubicBezTo>
                  <a:pt x="41" y="42"/>
                  <a:pt x="33" y="44"/>
                  <a:pt x="28" y="44"/>
                </a:cubicBezTo>
                <a:cubicBezTo>
                  <a:pt x="18" y="44"/>
                  <a:pt x="11" y="37"/>
                  <a:pt x="11" y="27"/>
                </a:cubicBezTo>
                <a:cubicBezTo>
                  <a:pt x="11" y="17"/>
                  <a:pt x="18" y="10"/>
                  <a:pt x="28" y="10"/>
                </a:cubicBezTo>
                <a:cubicBezTo>
                  <a:pt x="31" y="10"/>
                  <a:pt x="40" y="11"/>
                  <a:pt x="40" y="17"/>
                </a:cubicBezTo>
                <a:cubicBezTo>
                  <a:pt x="40" y="21"/>
                  <a:pt x="40" y="21"/>
                  <a:pt x="40" y="21"/>
                </a:cubicBezTo>
                <a:cubicBezTo>
                  <a:pt x="40" y="21"/>
                  <a:pt x="40" y="21"/>
                  <a:pt x="40" y="21"/>
                </a:cubicBezTo>
                <a:cubicBezTo>
                  <a:pt x="36" y="21"/>
                  <a:pt x="36" y="21"/>
                  <a:pt x="36" y="21"/>
                </a:cubicBezTo>
                <a:cubicBezTo>
                  <a:pt x="35" y="21"/>
                  <a:pt x="35" y="21"/>
                  <a:pt x="35" y="21"/>
                </a:cubicBezTo>
                <a:cubicBezTo>
                  <a:pt x="35" y="18"/>
                  <a:pt x="35" y="18"/>
                  <a:pt x="35" y="18"/>
                </a:cubicBezTo>
                <a:cubicBezTo>
                  <a:pt x="35" y="16"/>
                  <a:pt x="31" y="15"/>
                  <a:pt x="28" y="15"/>
                </a:cubicBezTo>
                <a:cubicBezTo>
                  <a:pt x="21" y="15"/>
                  <a:pt x="16" y="20"/>
                  <a:pt x="16" y="27"/>
                </a:cubicBezTo>
                <a:cubicBezTo>
                  <a:pt x="16" y="34"/>
                  <a:pt x="21" y="39"/>
                  <a:pt x="28" y="39"/>
                </a:cubicBezTo>
                <a:cubicBezTo>
                  <a:pt x="31" y="39"/>
                  <a:pt x="35" y="38"/>
                  <a:pt x="35" y="36"/>
                </a:cubicBezTo>
                <a:cubicBezTo>
                  <a:pt x="35" y="33"/>
                  <a:pt x="35" y="33"/>
                  <a:pt x="35" y="33"/>
                </a:cubicBezTo>
                <a:cubicBezTo>
                  <a:pt x="35" y="33"/>
                  <a:pt x="36" y="33"/>
                  <a:pt x="36" y="33"/>
                </a:cubicBezTo>
                <a:cubicBezTo>
                  <a:pt x="40" y="33"/>
                  <a:pt x="40" y="33"/>
                  <a:pt x="40" y="33"/>
                </a:cubicBezTo>
                <a:cubicBezTo>
                  <a:pt x="41" y="33"/>
                  <a:pt x="41" y="33"/>
                  <a:pt x="41" y="33"/>
                </a:cubicBezTo>
                <a:lnTo>
                  <a:pt x="41" y="3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>
            <a:ext uri="{91240B29-F687-4f45-9708-019B960494DF}">
              <a14:hiddenLine xmlns="" xmlns:a16="http://schemas.microsoft.com/office/drawing/2014/main" xmlns:mc="http://schemas.openxmlformats.org/markup-compatibility/2006" xmlns:am3d="http://schemas.microsoft.com/office/drawing/2017/model3d" xmlns:p14="http://schemas.microsoft.com/office/powerpoint/2010/main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l"/>
            <a:endParaRPr lang="en-US" sz="1000" dirty="0">
              <a:solidFill>
                <a:schemeClr val="bg1">
                  <a:lumMod val="7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</a:endParaRPr>
          </a:p>
        </p:txBody>
      </p:sp>
      <p:sp>
        <p:nvSpPr>
          <p:cNvPr id="11" name="TextBox 4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B4A507AC-2CB1-42EC-AE9E-677BA8552EDF}"/>
              </a:ext>
            </a:extLst>
          </p:cNvPr>
          <p:cNvSpPr txBox="1"/>
          <p:nvPr/>
        </p:nvSpPr>
        <p:spPr>
          <a:xfrm>
            <a:off x="5096275" y="6409189"/>
            <a:ext cx="22028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spc="300" dirty="0" err="1">
                <a:solidFill>
                  <a:schemeClr val="bg1">
                    <a:lumMod val="75000"/>
                  </a:schemeClr>
                </a:solidFill>
                <a:latin typeface="Nexa Light" panose="02000000000000000000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Company.ALL</a:t>
            </a:r>
            <a:r>
              <a:rPr lang="en-US" sz="1000" spc="300" dirty="0">
                <a:solidFill>
                  <a:schemeClr val="bg1">
                    <a:lumMod val="75000"/>
                  </a:schemeClr>
                </a:solidFill>
                <a:latin typeface="Nexa Light" panose="02000000000000000000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 RIGHTS</a:t>
            </a:r>
            <a:endParaRPr lang="id-ID" sz="1000" spc="300" dirty="0">
              <a:solidFill>
                <a:schemeClr val="bg1">
                  <a:lumMod val="75000"/>
                </a:schemeClr>
              </a:solidFill>
              <a:latin typeface="Nexa Light" panose="02000000000000000000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12" name="TextBox 4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C0388E9F-9307-4172-9E01-C1C4B15BF2BF}"/>
              </a:ext>
            </a:extLst>
          </p:cNvPr>
          <p:cNvSpPr txBox="1"/>
          <p:nvPr/>
        </p:nvSpPr>
        <p:spPr>
          <a:xfrm>
            <a:off x="6564885" y="2497976"/>
            <a:ext cx="3324949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1500" b="1" spc="300" dirty="0">
                <a:ln w="50800">
                  <a:solidFill>
                    <a:schemeClr val="bg1"/>
                  </a:solidFill>
                </a:ln>
                <a:gradFill>
                  <a:gsLst>
                    <a:gs pos="0">
                      <a:schemeClr val="accent1">
                        <a:alpha val="64000"/>
                      </a:schemeClr>
                    </a:gs>
                    <a:gs pos="100000">
                      <a:schemeClr val="accent2"/>
                    </a:gs>
                  </a:gsLst>
                  <a:lin ang="8100000" scaled="1"/>
                </a:gradFill>
                <a:latin typeface="+mj-lt"/>
                <a:ea typeface="Open Sans" panose="020B0606030504020204" pitchFamily="34" charset="0"/>
                <a:cs typeface="Rajdhani Bold" panose="02000000000000000000" pitchFamily="2" charset="0"/>
              </a:rPr>
              <a:t>ONE</a:t>
            </a:r>
            <a:endParaRPr lang="en-US" sz="11500" b="1" spc="300" dirty="0">
              <a:ln w="50800">
                <a:solidFill>
                  <a:schemeClr val="bg1"/>
                </a:solidFill>
              </a:ln>
              <a:gradFill>
                <a:gsLst>
                  <a:gs pos="0">
                    <a:schemeClr val="accent1">
                      <a:alpha val="64000"/>
                    </a:schemeClr>
                  </a:gs>
                  <a:gs pos="100000">
                    <a:schemeClr val="accent2"/>
                  </a:gs>
                </a:gsLst>
                <a:lin ang="8100000" scaled="1"/>
              </a:gradFill>
              <a:latin typeface="+mj-lt"/>
              <a:ea typeface="Open Sans" panose="020B0606030504020204" pitchFamily="34" charset="0"/>
              <a:cs typeface="Rajdhani Bold" panose="02000000000000000000" pitchFamily="2" charset="0"/>
            </a:endParaRPr>
          </a:p>
        </p:txBody>
      </p:sp>
      <p:pic>
        <p:nvPicPr>
          <p:cNvPr id="8" name="3D Model 2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E27C3F1C-5793-41A7-AA8D-FB0241A9F4E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0173" y="2624068"/>
            <a:ext cx="517858" cy="536689"/>
          </a:xfrm>
          <a:prstGeom prst="rect">
            <a:avLst/>
          </a:prstGeom>
        </p:spPr>
      </p:pic>
      <p:sp>
        <p:nvSpPr>
          <p:cNvPr id="2" name="e7d195523061f1c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84BEA2B79408FB094EB53969616FE837C4DDA931FB4B50B287CB9E976CD8A286A6B09202195C1175A3DD2481D60CC400D4B189D647C2854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154341904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306D0910-AEDA-492F-B997-16529CE7953F}"/>
              </a:ext>
            </a:extLst>
          </p:cNvPr>
          <p:cNvSpPr/>
          <p:nvPr/>
        </p:nvSpPr>
        <p:spPr>
          <a:xfrm>
            <a:off x="8323582" y="331719"/>
            <a:ext cx="3564610" cy="6194562"/>
          </a:xfrm>
          <a:prstGeom prst="rect">
            <a:avLst/>
          </a:prstGeom>
          <a:solidFill>
            <a:srgbClr val="061A24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Rectangle 1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E5B4B53E-4CC0-418B-9CC5-6FA1B742323D}"/>
              </a:ext>
            </a:extLst>
          </p:cNvPr>
          <p:cNvSpPr/>
          <p:nvPr/>
        </p:nvSpPr>
        <p:spPr>
          <a:xfrm>
            <a:off x="5052448" y="2703442"/>
            <a:ext cx="3105150" cy="2586288"/>
          </a:xfrm>
          <a:prstGeom prst="rect">
            <a:avLst/>
          </a:prstGeom>
          <a:gradFill>
            <a:gsLst>
              <a:gs pos="100000">
                <a:schemeClr val="accent2">
                  <a:alpha val="80000"/>
                </a:schemeClr>
              </a:gs>
              <a:gs pos="0">
                <a:schemeClr val="accent3">
                  <a:alpha val="80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5" name="Rectangle 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9B3B698A-A5DE-44FE-A54C-F767A8D6BC90}"/>
              </a:ext>
            </a:extLst>
          </p:cNvPr>
          <p:cNvSpPr/>
          <p:nvPr/>
        </p:nvSpPr>
        <p:spPr>
          <a:xfrm>
            <a:off x="1947298" y="331719"/>
            <a:ext cx="3105150" cy="23717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1">
                  <a:lumMod val="50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Rectangle 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F085C780-0000-4B25-A8DC-FB24D3BC181B}"/>
              </a:ext>
            </a:extLst>
          </p:cNvPr>
          <p:cNvSpPr/>
          <p:nvPr/>
        </p:nvSpPr>
        <p:spPr>
          <a:xfrm>
            <a:off x="5052448" y="331719"/>
            <a:ext cx="3105150" cy="2371725"/>
          </a:xfrm>
          <a:prstGeom prst="rect">
            <a:avLst/>
          </a:prstGeom>
          <a:solidFill>
            <a:srgbClr val="061A24"/>
          </a:solidFill>
          <a:ln>
            <a:noFill/>
          </a:ln>
          <a:effectLst>
            <a:outerShdw blurRad="2032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7" name="Rectangle 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7F207FA-61D0-41A1-897F-678E84D2CFFA}"/>
              </a:ext>
            </a:extLst>
          </p:cNvPr>
          <p:cNvSpPr/>
          <p:nvPr/>
        </p:nvSpPr>
        <p:spPr>
          <a:xfrm>
            <a:off x="1947298" y="2703442"/>
            <a:ext cx="3129213" cy="2586288"/>
          </a:xfrm>
          <a:prstGeom prst="rect">
            <a:avLst/>
          </a:prstGeom>
          <a:solidFill>
            <a:srgbClr val="061A24"/>
          </a:solidFill>
          <a:ln>
            <a:noFill/>
          </a:ln>
          <a:effectLst>
            <a:outerShdw blurRad="406400" sx="102000" sy="102000" algn="ctr" rotWithShape="0">
              <a:prstClr val="black">
                <a:alpha val="5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TextBox 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19115823-1C57-4E01-A56E-1813BFED4366}"/>
              </a:ext>
            </a:extLst>
          </p:cNvPr>
          <p:cNvSpPr txBox="1"/>
          <p:nvPr/>
        </p:nvSpPr>
        <p:spPr>
          <a:xfrm>
            <a:off x="2376752" y="825083"/>
            <a:ext cx="224624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pc="-150" dirty="0">
                <a:latin typeface="+mj-lt"/>
              </a:rPr>
              <a:t>We Create Design For Your Next Project </a:t>
            </a:r>
          </a:p>
        </p:txBody>
      </p:sp>
      <p:graphicFrame>
        <p:nvGraphicFramePr>
          <p:cNvPr id="15" name="Chart 1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5AE60931-31C7-4EC3-85E7-D47C92FAA05F}"/>
              </a:ext>
            </a:extLst>
          </p:cNvPr>
          <p:cNvGraphicFramePr/>
          <p:nvPr/>
        </p:nvGraphicFramePr>
        <p:xfrm>
          <a:off x="5183976" y="624285"/>
          <a:ext cx="2850344" cy="1786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4" name="TextBox 3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72997346-30D9-4DE5-94AF-4F0809175548}"/>
              </a:ext>
            </a:extLst>
          </p:cNvPr>
          <p:cNvSpPr txBox="1"/>
          <p:nvPr/>
        </p:nvSpPr>
        <p:spPr>
          <a:xfrm>
            <a:off x="2150746" y="5718405"/>
            <a:ext cx="15280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j-lt"/>
              </a:rPr>
              <a:t>287</a:t>
            </a:r>
          </a:p>
        </p:txBody>
      </p:sp>
      <p:sp>
        <p:nvSpPr>
          <p:cNvPr id="35" name="TextBox 3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BB520923-DE44-459D-B084-118D18C928CB}"/>
              </a:ext>
            </a:extLst>
          </p:cNvPr>
          <p:cNvSpPr txBox="1"/>
          <p:nvPr/>
        </p:nvSpPr>
        <p:spPr>
          <a:xfrm>
            <a:off x="2287069" y="6005860"/>
            <a:ext cx="13002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j-lt"/>
              </a:rPr>
              <a:t>Subtitle Here</a:t>
            </a:r>
          </a:p>
        </p:txBody>
      </p:sp>
      <p:sp>
        <p:nvSpPr>
          <p:cNvPr id="36" name="TextBox 3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8D45DAB6-9B1D-41CD-8631-74507AB0AE16}"/>
              </a:ext>
            </a:extLst>
          </p:cNvPr>
          <p:cNvSpPr txBox="1"/>
          <p:nvPr/>
        </p:nvSpPr>
        <p:spPr>
          <a:xfrm>
            <a:off x="4288426" y="5738781"/>
            <a:ext cx="15280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j-lt"/>
              </a:rPr>
              <a:t>287</a:t>
            </a:r>
          </a:p>
        </p:txBody>
      </p:sp>
      <p:sp>
        <p:nvSpPr>
          <p:cNvPr id="37" name="TextBox 3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D62637D6-AA39-46F0-A426-062F7B4F598C}"/>
              </a:ext>
            </a:extLst>
          </p:cNvPr>
          <p:cNvSpPr txBox="1"/>
          <p:nvPr/>
        </p:nvSpPr>
        <p:spPr>
          <a:xfrm>
            <a:off x="4424749" y="6026236"/>
            <a:ext cx="13002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j-lt"/>
              </a:rPr>
              <a:t>Subtitle Here</a:t>
            </a:r>
          </a:p>
        </p:txBody>
      </p:sp>
      <p:sp>
        <p:nvSpPr>
          <p:cNvPr id="38" name="TextBox 3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18E228E0-E67A-406F-A998-6E3B93BA5ACD}"/>
              </a:ext>
            </a:extLst>
          </p:cNvPr>
          <p:cNvSpPr txBox="1"/>
          <p:nvPr/>
        </p:nvSpPr>
        <p:spPr>
          <a:xfrm>
            <a:off x="6306004" y="5738781"/>
            <a:ext cx="15280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j-lt"/>
              </a:rPr>
              <a:t>287</a:t>
            </a:r>
          </a:p>
        </p:txBody>
      </p:sp>
      <p:sp>
        <p:nvSpPr>
          <p:cNvPr id="39" name="TextBox 3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8F042A7A-57D8-4A57-AA4F-F014C43DC2E6}"/>
              </a:ext>
            </a:extLst>
          </p:cNvPr>
          <p:cNvSpPr txBox="1"/>
          <p:nvPr/>
        </p:nvSpPr>
        <p:spPr>
          <a:xfrm>
            <a:off x="6442327" y="6026236"/>
            <a:ext cx="13002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j-lt"/>
              </a:rPr>
              <a:t>Subtitle Here</a:t>
            </a:r>
          </a:p>
        </p:txBody>
      </p:sp>
      <p:sp>
        <p:nvSpPr>
          <p:cNvPr id="46" name="Shape 77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2519945" y="4285273"/>
            <a:ext cx="1348603" cy="5909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7708" rIns="27708">
            <a:spAutoFit/>
          </a:bodyPr>
          <a:lstStyle/>
          <a:p>
            <a:pPr>
              <a:lnSpc>
                <a:spcPct val="120000"/>
              </a:lnSpc>
              <a:defRPr sz="18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600" dirty="0">
                <a:latin typeface="+mj-lt"/>
              </a:rPr>
              <a:t>17,805$ </a:t>
            </a:r>
            <a:r>
              <a:rPr sz="1600" dirty="0" err="1">
                <a:latin typeface="+mj-lt"/>
              </a:rPr>
              <a:t>Bn</a:t>
            </a:r>
            <a:endParaRPr sz="1600" dirty="0">
              <a:latin typeface="+mj-lt"/>
            </a:endParaRPr>
          </a:p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100" dirty="0">
                <a:latin typeface="+mj-lt"/>
              </a:rPr>
              <a:t>Business Strategies</a:t>
            </a:r>
          </a:p>
        </p:txBody>
      </p:sp>
      <p:sp>
        <p:nvSpPr>
          <p:cNvPr id="47" name="Shape 68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2523644" y="3170766"/>
            <a:ext cx="812723" cy="4062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100" dirty="0">
                <a:latin typeface="+mj-lt"/>
              </a:rPr>
              <a:t>25%</a:t>
            </a:r>
          </a:p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100" dirty="0">
                <a:latin typeface="+mj-lt"/>
              </a:rPr>
              <a:t>Description </a:t>
            </a:r>
          </a:p>
        </p:txBody>
      </p:sp>
      <p:sp>
        <p:nvSpPr>
          <p:cNvPr id="48" name="Shape 68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2518110" y="3675324"/>
            <a:ext cx="1143816" cy="282512"/>
          </a:xfrm>
          <a:prstGeom prst="rect">
            <a:avLst/>
          </a:prstGeom>
          <a:gradFill>
            <a:gsLst>
              <a:gs pos="1000">
                <a:schemeClr val="accent2"/>
              </a:gs>
              <a:gs pos="100000">
                <a:schemeClr val="accent3"/>
              </a:gs>
            </a:gsLst>
            <a:lin ang="20498872" scaled="0"/>
          </a:gradFill>
          <a:ln w="12700">
            <a:miter lim="400000"/>
          </a:ln>
        </p:spPr>
        <p:txBody>
          <a:bodyPr lIns="45719" rIns="45719" anchor="ctr"/>
          <a:lstStyle/>
          <a:p>
            <a:endParaRPr>
              <a:latin typeface="+mj-lt"/>
            </a:endParaRPr>
          </a:p>
        </p:txBody>
      </p:sp>
      <p:sp>
        <p:nvSpPr>
          <p:cNvPr id="49" name="Shape 69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3018570" y="3746762"/>
            <a:ext cx="142894" cy="1396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38901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>
              <a:latin typeface="+mj-lt"/>
            </a:endParaRPr>
          </a:p>
        </p:txBody>
      </p:sp>
      <p:sp>
        <p:nvSpPr>
          <p:cNvPr id="50" name="Shape 76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5688036" y="3419505"/>
            <a:ext cx="1858037" cy="1384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algn="ctr"/>
            <a:r>
              <a:rPr lang="zh-CN" altLang="en-US" sz="1000" i="1" dirty="0"/>
              <a:t>Hey, hey, hey! It's Fat </a:t>
            </a:r>
            <a:r>
              <a:rPr lang="en-US" altLang="zh-CN" sz="1000" i="1" dirty="0"/>
              <a:t>Company</a:t>
            </a:r>
            <a:r>
              <a:rPr lang="zh-CN" altLang="en-US" sz="1000" i="1" dirty="0"/>
              <a:t>! Now I'm gonna sing a song for you, and this is gonna show you a thing or two. You'll have some fun now With me and the gang, learning from each other While we do our thing.</a:t>
            </a:r>
            <a:r>
              <a:rPr lang="en-US" altLang="zh-CN" sz="1000" i="1" dirty="0"/>
              <a:t> Hey, hey, hey! It's Fat Company! </a:t>
            </a:r>
          </a:p>
        </p:txBody>
      </p:sp>
      <p:pic>
        <p:nvPicPr>
          <p:cNvPr id="3" name="图片占位符 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10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2" name="TextBox 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6450849A-B830-4274-A335-EB64289B7E89}"/>
              </a:ext>
            </a:extLst>
          </p:cNvPr>
          <p:cNvSpPr txBox="1"/>
          <p:nvPr/>
        </p:nvSpPr>
        <p:spPr>
          <a:xfrm rot="5400000">
            <a:off x="-2830700" y="3051997"/>
            <a:ext cx="677494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b="1" dirty="0">
                <a:solidFill>
                  <a:schemeClr val="tx1">
                    <a:alpha val="23000"/>
                  </a:schemeClr>
                </a:solidFill>
                <a:latin typeface="+mj-ea"/>
                <a:ea typeface="+mj-ea"/>
              </a:rPr>
              <a:t>Company</a:t>
            </a:r>
            <a:endParaRPr lang="en-US" sz="8000" b="1" dirty="0">
              <a:solidFill>
                <a:schemeClr val="tx1">
                  <a:alpha val="23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 hidden="1"/>
          <p:cNvSpPr txBox="1"/>
          <p:nvPr/>
        </p:nvSpPr>
        <p:spPr>
          <a:xfrm>
            <a:off x="-355600" y="1803400"/>
            <a:ext cx="322909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43928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2" name="Shape 81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797016" y="3781694"/>
            <a:ext cx="372534" cy="372534"/>
          </a:xfrm>
          <a:prstGeom prst="ellipse">
            <a:avLst/>
          </a:prstGeom>
          <a:solidFill>
            <a:schemeClr val="accent4">
              <a:alpha val="30000"/>
            </a:schemeClr>
          </a:solidFill>
          <a:ln w="12700">
            <a:miter lim="400000"/>
          </a:ln>
        </p:spPr>
        <p:txBody>
          <a:bodyPr lIns="27708" rIns="27708" anchor="ctr"/>
          <a:lstStyle/>
          <a:p>
            <a:endParaRPr sz="1200">
              <a:latin typeface="+mj-lt"/>
            </a:endParaRPr>
          </a:p>
        </p:txBody>
      </p:sp>
      <p:sp>
        <p:nvSpPr>
          <p:cNvPr id="821" name="Shape 82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905544" y="3890221"/>
            <a:ext cx="155479" cy="155479"/>
          </a:xfrm>
          <a:prstGeom prst="ellipse">
            <a:avLst/>
          </a:prstGeom>
          <a:solidFill>
            <a:schemeClr val="accent4"/>
          </a:solidFill>
          <a:ln w="12700">
            <a:miter lim="400000"/>
          </a:ln>
          <a:effectLst>
            <a:outerShdw blurRad="127000" dist="25400" dir="3679049" rotWithShape="0">
              <a:srgbClr val="000000">
                <a:alpha val="41912"/>
              </a:srgbClr>
            </a:outerShdw>
          </a:effectLst>
        </p:spPr>
        <p:txBody>
          <a:bodyPr lIns="27708" rIns="27708" anchor="ctr"/>
          <a:lstStyle/>
          <a:p>
            <a:endParaRPr sz="1200">
              <a:latin typeface="+mj-lt"/>
            </a:endParaRPr>
          </a:p>
        </p:txBody>
      </p:sp>
      <p:sp>
        <p:nvSpPr>
          <p:cNvPr id="822" name="Shape 82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905544" y="4776607"/>
            <a:ext cx="155479" cy="155479"/>
          </a:xfrm>
          <a:prstGeom prst="ellipse">
            <a:avLst/>
          </a:prstGeom>
          <a:gradFill>
            <a:gsLst>
              <a:gs pos="0">
                <a:srgbClr val="414A57"/>
              </a:gs>
              <a:gs pos="100000">
                <a:srgbClr val="353740"/>
              </a:gs>
            </a:gsLst>
            <a:lin ang="2499458"/>
          </a:gradFill>
          <a:ln w="12700">
            <a:miter lim="400000"/>
          </a:ln>
          <a:effectLst>
            <a:outerShdw blurRad="127000" dist="25400" dir="3679049" rotWithShape="0">
              <a:srgbClr val="000000">
                <a:alpha val="41912"/>
              </a:srgbClr>
            </a:outerShdw>
          </a:effectLst>
        </p:spPr>
        <p:txBody>
          <a:bodyPr lIns="27708" rIns="27708" anchor="ctr"/>
          <a:lstStyle/>
          <a:p>
            <a:endParaRPr sz="1200">
              <a:latin typeface="+mj-lt"/>
            </a:endParaRPr>
          </a:p>
        </p:txBody>
      </p:sp>
      <p:sp>
        <p:nvSpPr>
          <p:cNvPr id="823" name="Shape 82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905544" y="5662992"/>
            <a:ext cx="155479" cy="155479"/>
          </a:xfrm>
          <a:prstGeom prst="ellipse">
            <a:avLst/>
          </a:prstGeom>
          <a:gradFill>
            <a:gsLst>
              <a:gs pos="0">
                <a:srgbClr val="414A57"/>
              </a:gs>
              <a:gs pos="100000">
                <a:srgbClr val="353740"/>
              </a:gs>
            </a:gsLst>
            <a:lin ang="2499458"/>
          </a:gradFill>
          <a:ln w="12700">
            <a:miter lim="400000"/>
          </a:ln>
          <a:effectLst>
            <a:outerShdw blurRad="127000" dist="25400" dir="3679049" rotWithShape="0">
              <a:srgbClr val="000000">
                <a:alpha val="41912"/>
              </a:srgbClr>
            </a:outerShdw>
          </a:effectLst>
        </p:spPr>
        <p:txBody>
          <a:bodyPr lIns="27708" rIns="27708" anchor="ctr"/>
          <a:lstStyle/>
          <a:p>
            <a:endParaRPr sz="1200">
              <a:latin typeface="+mj-lt"/>
            </a:endParaRPr>
          </a:p>
        </p:txBody>
      </p:sp>
      <p:sp>
        <p:nvSpPr>
          <p:cNvPr id="824" name="Shape 82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 flipV="1">
            <a:off x="1002525" y="4314556"/>
            <a:ext cx="1" cy="301722"/>
          </a:xfrm>
          <a:prstGeom prst="line">
            <a:avLst/>
          </a:prstGeom>
          <a:ln w="12700">
            <a:solidFill>
              <a:srgbClr val="B9C6D1">
                <a:alpha val="33494"/>
              </a:srgbClr>
            </a:solidFill>
            <a:custDash>
              <a:ds d="200000" sp="200000"/>
            </a:custDash>
            <a:miter lim="400000"/>
            <a:headEnd type="oval"/>
            <a:tailEnd type="oval"/>
          </a:ln>
        </p:spPr>
        <p:txBody>
          <a:bodyPr lIns="27708" rIns="27708"/>
          <a:lstStyle/>
          <a:p>
            <a:endParaRPr sz="1200">
              <a:latin typeface="+mj-lt"/>
            </a:endParaRPr>
          </a:p>
        </p:txBody>
      </p:sp>
      <p:sp>
        <p:nvSpPr>
          <p:cNvPr id="825" name="Shape 82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 flipV="1">
            <a:off x="983283" y="5146677"/>
            <a:ext cx="1" cy="301722"/>
          </a:xfrm>
          <a:prstGeom prst="line">
            <a:avLst/>
          </a:prstGeom>
          <a:ln w="12700">
            <a:solidFill>
              <a:srgbClr val="B9C6D1">
                <a:alpha val="33494"/>
              </a:srgbClr>
            </a:solidFill>
            <a:custDash>
              <a:ds d="200000" sp="200000"/>
            </a:custDash>
            <a:miter lim="400000"/>
            <a:headEnd type="oval"/>
            <a:tailEnd type="oval"/>
          </a:ln>
        </p:spPr>
        <p:txBody>
          <a:bodyPr lIns="27708" rIns="27708"/>
          <a:lstStyle/>
          <a:p>
            <a:endParaRPr sz="1200">
              <a:latin typeface="+mj-lt"/>
            </a:endParaRPr>
          </a:p>
        </p:txBody>
      </p:sp>
      <p:sp>
        <p:nvSpPr>
          <p:cNvPr id="826" name="Shape 82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1341171" y="3804785"/>
            <a:ext cx="1426525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7708" rIns="27708">
            <a:spAutoFit/>
          </a:bodyPr>
          <a:lstStyle/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000">
                <a:latin typeface="+mj-lt"/>
              </a:rPr>
              <a:t>Best Team</a:t>
            </a:r>
          </a:p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000">
                <a:latin typeface="+mj-lt"/>
              </a:rPr>
              <a:t>Business &amp; Consulting</a:t>
            </a:r>
          </a:p>
        </p:txBody>
      </p:sp>
      <p:sp>
        <p:nvSpPr>
          <p:cNvPr id="827" name="Shape 82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1341171" y="4691170"/>
            <a:ext cx="1426525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7708" rIns="27708">
            <a:spAutoFit/>
          </a:bodyPr>
          <a:lstStyle/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000">
                <a:latin typeface="+mj-lt"/>
              </a:rPr>
              <a:t>Awwards</a:t>
            </a:r>
          </a:p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000">
                <a:latin typeface="+mj-lt"/>
              </a:rPr>
              <a:t>Business &amp; Consulting</a:t>
            </a:r>
          </a:p>
        </p:txBody>
      </p:sp>
      <p:sp>
        <p:nvSpPr>
          <p:cNvPr id="828" name="Shape 8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1341171" y="5577556"/>
            <a:ext cx="1426525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7708" rIns="27708">
            <a:spAutoFit/>
          </a:bodyPr>
          <a:lstStyle/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000">
                <a:latin typeface="+mj-lt"/>
              </a:rPr>
              <a:t>Consulting</a:t>
            </a:r>
          </a:p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000">
                <a:latin typeface="+mj-lt"/>
              </a:rPr>
              <a:t>Business &amp; Consulting</a:t>
            </a:r>
          </a:p>
        </p:txBody>
      </p:sp>
      <p:sp>
        <p:nvSpPr>
          <p:cNvPr id="28" name="Shape 81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3107731" y="3781694"/>
            <a:ext cx="372534" cy="372534"/>
          </a:xfrm>
          <a:prstGeom prst="ellipse">
            <a:avLst/>
          </a:prstGeom>
          <a:solidFill>
            <a:schemeClr val="accent3">
              <a:alpha val="30000"/>
            </a:schemeClr>
          </a:solidFill>
          <a:ln w="12700">
            <a:miter lim="400000"/>
          </a:ln>
        </p:spPr>
        <p:txBody>
          <a:bodyPr lIns="27708" rIns="27708" anchor="ctr"/>
          <a:lstStyle/>
          <a:p>
            <a:endParaRPr sz="1200">
              <a:latin typeface="+mj-lt"/>
            </a:endParaRPr>
          </a:p>
        </p:txBody>
      </p:sp>
      <p:sp>
        <p:nvSpPr>
          <p:cNvPr id="29" name="Shape 82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3216259" y="3890221"/>
            <a:ext cx="155479" cy="155479"/>
          </a:xfrm>
          <a:prstGeom prst="ellipse">
            <a:avLst/>
          </a:prstGeom>
          <a:solidFill>
            <a:schemeClr val="accent3"/>
          </a:solidFill>
          <a:ln w="12700">
            <a:miter lim="400000"/>
          </a:ln>
          <a:effectLst>
            <a:outerShdw blurRad="127000" dist="25400" dir="3679049" rotWithShape="0">
              <a:srgbClr val="000000">
                <a:alpha val="41912"/>
              </a:srgbClr>
            </a:outerShdw>
          </a:effectLst>
        </p:spPr>
        <p:txBody>
          <a:bodyPr lIns="27708" rIns="27708" anchor="ctr"/>
          <a:lstStyle/>
          <a:p>
            <a:endParaRPr sz="1200">
              <a:latin typeface="+mj-lt"/>
            </a:endParaRPr>
          </a:p>
        </p:txBody>
      </p:sp>
      <p:sp>
        <p:nvSpPr>
          <p:cNvPr id="30" name="Shape 82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3216259" y="4776607"/>
            <a:ext cx="155479" cy="155479"/>
          </a:xfrm>
          <a:prstGeom prst="ellipse">
            <a:avLst/>
          </a:prstGeom>
          <a:gradFill>
            <a:gsLst>
              <a:gs pos="0">
                <a:srgbClr val="414A57"/>
              </a:gs>
              <a:gs pos="100000">
                <a:srgbClr val="353740"/>
              </a:gs>
            </a:gsLst>
            <a:lin ang="2499458"/>
          </a:gradFill>
          <a:ln w="12700">
            <a:miter lim="400000"/>
          </a:ln>
          <a:effectLst>
            <a:outerShdw blurRad="127000" dist="25400" dir="3679049" rotWithShape="0">
              <a:srgbClr val="000000">
                <a:alpha val="41912"/>
              </a:srgbClr>
            </a:outerShdw>
          </a:effectLst>
        </p:spPr>
        <p:txBody>
          <a:bodyPr lIns="27708" rIns="27708" anchor="ctr"/>
          <a:lstStyle/>
          <a:p>
            <a:endParaRPr sz="1200">
              <a:latin typeface="+mj-lt"/>
            </a:endParaRPr>
          </a:p>
        </p:txBody>
      </p:sp>
      <p:sp>
        <p:nvSpPr>
          <p:cNvPr id="31" name="Shape 82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3216259" y="5662992"/>
            <a:ext cx="155479" cy="155479"/>
          </a:xfrm>
          <a:prstGeom prst="ellipse">
            <a:avLst/>
          </a:prstGeom>
          <a:gradFill>
            <a:gsLst>
              <a:gs pos="0">
                <a:srgbClr val="414A57"/>
              </a:gs>
              <a:gs pos="100000">
                <a:srgbClr val="353740"/>
              </a:gs>
            </a:gsLst>
            <a:lin ang="2499458"/>
          </a:gradFill>
          <a:ln w="12700">
            <a:miter lim="400000"/>
          </a:ln>
          <a:effectLst>
            <a:outerShdw blurRad="127000" dist="25400" dir="3679049" rotWithShape="0">
              <a:srgbClr val="000000">
                <a:alpha val="41912"/>
              </a:srgbClr>
            </a:outerShdw>
          </a:effectLst>
        </p:spPr>
        <p:txBody>
          <a:bodyPr lIns="27708" rIns="27708" anchor="ctr"/>
          <a:lstStyle/>
          <a:p>
            <a:endParaRPr sz="1200">
              <a:latin typeface="+mj-lt"/>
            </a:endParaRPr>
          </a:p>
        </p:txBody>
      </p:sp>
      <p:sp>
        <p:nvSpPr>
          <p:cNvPr id="32" name="Shape 82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 flipV="1">
            <a:off x="3313240" y="4314556"/>
            <a:ext cx="1" cy="301722"/>
          </a:xfrm>
          <a:prstGeom prst="line">
            <a:avLst/>
          </a:prstGeom>
          <a:ln w="12700">
            <a:solidFill>
              <a:srgbClr val="B9C6D1">
                <a:alpha val="33494"/>
              </a:srgbClr>
            </a:solidFill>
            <a:custDash>
              <a:ds d="200000" sp="200000"/>
            </a:custDash>
            <a:miter lim="400000"/>
            <a:headEnd type="oval"/>
            <a:tailEnd type="oval"/>
          </a:ln>
        </p:spPr>
        <p:txBody>
          <a:bodyPr lIns="27708" rIns="27708"/>
          <a:lstStyle/>
          <a:p>
            <a:endParaRPr sz="1200">
              <a:latin typeface="+mj-lt"/>
            </a:endParaRPr>
          </a:p>
        </p:txBody>
      </p:sp>
      <p:sp>
        <p:nvSpPr>
          <p:cNvPr id="33" name="Shape 82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 flipV="1">
            <a:off x="3293998" y="5146677"/>
            <a:ext cx="1" cy="301722"/>
          </a:xfrm>
          <a:prstGeom prst="line">
            <a:avLst/>
          </a:prstGeom>
          <a:ln w="12700">
            <a:solidFill>
              <a:srgbClr val="B9C6D1">
                <a:alpha val="33494"/>
              </a:srgbClr>
            </a:solidFill>
            <a:custDash>
              <a:ds d="200000" sp="200000"/>
            </a:custDash>
            <a:miter lim="400000"/>
            <a:headEnd type="oval"/>
            <a:tailEnd type="oval"/>
          </a:ln>
        </p:spPr>
        <p:txBody>
          <a:bodyPr lIns="27708" rIns="27708"/>
          <a:lstStyle/>
          <a:p>
            <a:endParaRPr sz="1200">
              <a:latin typeface="+mj-lt"/>
            </a:endParaRPr>
          </a:p>
        </p:txBody>
      </p:sp>
      <p:sp>
        <p:nvSpPr>
          <p:cNvPr id="34" name="Shape 82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3651886" y="3804785"/>
            <a:ext cx="1426525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7708" rIns="27708">
            <a:spAutoFit/>
          </a:bodyPr>
          <a:lstStyle/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000">
                <a:latin typeface="+mj-lt"/>
              </a:rPr>
              <a:t>Best Team</a:t>
            </a:r>
          </a:p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000">
                <a:latin typeface="+mj-lt"/>
              </a:rPr>
              <a:t>Business &amp; Consulting</a:t>
            </a:r>
          </a:p>
        </p:txBody>
      </p:sp>
      <p:sp>
        <p:nvSpPr>
          <p:cNvPr id="35" name="Shape 82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3651886" y="4691170"/>
            <a:ext cx="1426525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7708" rIns="27708">
            <a:spAutoFit/>
          </a:bodyPr>
          <a:lstStyle/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000">
                <a:latin typeface="+mj-lt"/>
              </a:rPr>
              <a:t>Awwards</a:t>
            </a:r>
          </a:p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000">
                <a:latin typeface="+mj-lt"/>
              </a:rPr>
              <a:t>Business &amp; Consulting</a:t>
            </a:r>
          </a:p>
        </p:txBody>
      </p:sp>
      <p:sp>
        <p:nvSpPr>
          <p:cNvPr id="36" name="Shape 8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3651886" y="5577556"/>
            <a:ext cx="1426525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7708" rIns="27708">
            <a:spAutoFit/>
          </a:bodyPr>
          <a:lstStyle/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000">
                <a:latin typeface="+mj-lt"/>
              </a:rPr>
              <a:t>Consulting</a:t>
            </a:r>
          </a:p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000">
                <a:latin typeface="+mj-lt"/>
              </a:rPr>
              <a:t>Business &amp; Consulting</a:t>
            </a:r>
          </a:p>
        </p:txBody>
      </p:sp>
      <p:sp>
        <p:nvSpPr>
          <p:cNvPr id="40" name="Shape 81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5584531" y="3781694"/>
            <a:ext cx="372534" cy="372534"/>
          </a:xfrm>
          <a:prstGeom prst="ellipse">
            <a:avLst/>
          </a:prstGeom>
          <a:solidFill>
            <a:schemeClr val="accent1">
              <a:alpha val="30000"/>
            </a:schemeClr>
          </a:solidFill>
          <a:ln w="12700">
            <a:miter lim="400000"/>
          </a:ln>
        </p:spPr>
        <p:txBody>
          <a:bodyPr lIns="27708" rIns="27708" anchor="ctr"/>
          <a:lstStyle/>
          <a:p>
            <a:endParaRPr sz="1200">
              <a:latin typeface="+mj-lt"/>
            </a:endParaRPr>
          </a:p>
        </p:txBody>
      </p:sp>
      <p:sp>
        <p:nvSpPr>
          <p:cNvPr id="41" name="Shape 82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5693059" y="3890221"/>
            <a:ext cx="155479" cy="155479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  <a:effectLst>
            <a:outerShdw blurRad="127000" dist="25400" dir="3679049" rotWithShape="0">
              <a:srgbClr val="000000">
                <a:alpha val="41912"/>
              </a:srgbClr>
            </a:outerShdw>
          </a:effectLst>
        </p:spPr>
        <p:txBody>
          <a:bodyPr lIns="27708" rIns="27708" anchor="ctr"/>
          <a:lstStyle/>
          <a:p>
            <a:endParaRPr sz="1200">
              <a:latin typeface="+mj-lt"/>
            </a:endParaRPr>
          </a:p>
        </p:txBody>
      </p:sp>
      <p:sp>
        <p:nvSpPr>
          <p:cNvPr id="42" name="Shape 82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5693059" y="4776607"/>
            <a:ext cx="155479" cy="155479"/>
          </a:xfrm>
          <a:prstGeom prst="ellipse">
            <a:avLst/>
          </a:prstGeom>
          <a:gradFill>
            <a:gsLst>
              <a:gs pos="0">
                <a:srgbClr val="414A57"/>
              </a:gs>
              <a:gs pos="100000">
                <a:srgbClr val="353740"/>
              </a:gs>
            </a:gsLst>
            <a:lin ang="2499458"/>
          </a:gradFill>
          <a:ln w="12700">
            <a:miter lim="400000"/>
          </a:ln>
          <a:effectLst>
            <a:outerShdw blurRad="127000" dist="25400" dir="3679049" rotWithShape="0">
              <a:srgbClr val="000000">
                <a:alpha val="41912"/>
              </a:srgbClr>
            </a:outerShdw>
          </a:effectLst>
        </p:spPr>
        <p:txBody>
          <a:bodyPr lIns="27708" rIns="27708" anchor="ctr"/>
          <a:lstStyle/>
          <a:p>
            <a:endParaRPr sz="1200">
              <a:latin typeface="+mj-lt"/>
            </a:endParaRPr>
          </a:p>
        </p:txBody>
      </p:sp>
      <p:sp>
        <p:nvSpPr>
          <p:cNvPr id="43" name="Shape 82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5693059" y="5662992"/>
            <a:ext cx="155479" cy="155479"/>
          </a:xfrm>
          <a:prstGeom prst="ellipse">
            <a:avLst/>
          </a:prstGeom>
          <a:gradFill>
            <a:gsLst>
              <a:gs pos="0">
                <a:srgbClr val="414A57"/>
              </a:gs>
              <a:gs pos="100000">
                <a:srgbClr val="353740"/>
              </a:gs>
            </a:gsLst>
            <a:lin ang="2499458"/>
          </a:gradFill>
          <a:ln w="12700">
            <a:miter lim="400000"/>
          </a:ln>
          <a:effectLst>
            <a:outerShdw blurRad="127000" dist="25400" dir="3679049" rotWithShape="0">
              <a:srgbClr val="000000">
                <a:alpha val="41912"/>
              </a:srgbClr>
            </a:outerShdw>
          </a:effectLst>
        </p:spPr>
        <p:txBody>
          <a:bodyPr lIns="27708" rIns="27708" anchor="ctr"/>
          <a:lstStyle/>
          <a:p>
            <a:endParaRPr sz="1200">
              <a:latin typeface="+mj-lt"/>
            </a:endParaRPr>
          </a:p>
        </p:txBody>
      </p:sp>
      <p:sp>
        <p:nvSpPr>
          <p:cNvPr id="44" name="Shape 82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 flipV="1">
            <a:off x="5790040" y="4314556"/>
            <a:ext cx="1" cy="301722"/>
          </a:xfrm>
          <a:prstGeom prst="line">
            <a:avLst/>
          </a:prstGeom>
          <a:ln w="12700">
            <a:solidFill>
              <a:srgbClr val="B9C6D1">
                <a:alpha val="33494"/>
              </a:srgbClr>
            </a:solidFill>
            <a:custDash>
              <a:ds d="200000" sp="200000"/>
            </a:custDash>
            <a:miter lim="400000"/>
            <a:headEnd type="oval"/>
            <a:tailEnd type="oval"/>
          </a:ln>
        </p:spPr>
        <p:txBody>
          <a:bodyPr lIns="27708" rIns="27708"/>
          <a:lstStyle/>
          <a:p>
            <a:endParaRPr sz="1200">
              <a:latin typeface="+mj-lt"/>
            </a:endParaRPr>
          </a:p>
        </p:txBody>
      </p:sp>
      <p:sp>
        <p:nvSpPr>
          <p:cNvPr id="45" name="Shape 82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 flipV="1">
            <a:off x="5770798" y="5146677"/>
            <a:ext cx="1" cy="301722"/>
          </a:xfrm>
          <a:prstGeom prst="line">
            <a:avLst/>
          </a:prstGeom>
          <a:ln w="12700">
            <a:solidFill>
              <a:srgbClr val="B9C6D1">
                <a:alpha val="33494"/>
              </a:srgbClr>
            </a:solidFill>
            <a:custDash>
              <a:ds d="200000" sp="200000"/>
            </a:custDash>
            <a:miter lim="400000"/>
            <a:headEnd type="oval"/>
            <a:tailEnd type="oval"/>
          </a:ln>
        </p:spPr>
        <p:txBody>
          <a:bodyPr lIns="27708" rIns="27708"/>
          <a:lstStyle/>
          <a:p>
            <a:endParaRPr sz="1200">
              <a:latin typeface="+mj-lt"/>
            </a:endParaRPr>
          </a:p>
        </p:txBody>
      </p:sp>
      <p:sp>
        <p:nvSpPr>
          <p:cNvPr id="46" name="Shape 82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6128686" y="3804785"/>
            <a:ext cx="1426525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7708" rIns="27708">
            <a:spAutoFit/>
          </a:bodyPr>
          <a:lstStyle/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000">
                <a:latin typeface="+mj-lt"/>
              </a:rPr>
              <a:t>Best Team</a:t>
            </a:r>
          </a:p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000">
                <a:latin typeface="+mj-lt"/>
              </a:rPr>
              <a:t>Business &amp; Consulting</a:t>
            </a:r>
          </a:p>
        </p:txBody>
      </p:sp>
      <p:sp>
        <p:nvSpPr>
          <p:cNvPr id="47" name="Shape 82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6128686" y="4691170"/>
            <a:ext cx="1426525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7708" rIns="27708">
            <a:spAutoFit/>
          </a:bodyPr>
          <a:lstStyle/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000">
                <a:latin typeface="+mj-lt"/>
              </a:rPr>
              <a:t>Awwards</a:t>
            </a:r>
          </a:p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000">
                <a:latin typeface="+mj-lt"/>
              </a:rPr>
              <a:t>Business &amp; Consulting</a:t>
            </a:r>
          </a:p>
        </p:txBody>
      </p:sp>
      <p:sp>
        <p:nvSpPr>
          <p:cNvPr id="48" name="Shape 8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6128686" y="5577556"/>
            <a:ext cx="1426525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7708" rIns="27708">
            <a:spAutoFit/>
          </a:bodyPr>
          <a:lstStyle/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Bold"/>
                <a:ea typeface="San Francisco Display Bold"/>
                <a:cs typeface="San Francisco Display Bold"/>
                <a:sym typeface="San Francisco Display Bold"/>
              </a:defRPr>
            </a:pPr>
            <a:r>
              <a:rPr sz="1000">
                <a:latin typeface="+mj-lt"/>
              </a:rPr>
              <a:t>Consulting</a:t>
            </a:r>
          </a:p>
          <a:p>
            <a:pPr>
              <a:lnSpc>
                <a:spcPct val="120000"/>
              </a:lnSpc>
              <a:defRPr sz="1400">
                <a:solidFill>
                  <a:srgbClr val="FFFFFF"/>
                </a:solidFill>
                <a:latin typeface="San Francisco Display Light"/>
                <a:ea typeface="San Francisco Display Light"/>
                <a:cs typeface="San Francisco Display Light"/>
                <a:sym typeface="San Francisco Display Light"/>
              </a:defRPr>
            </a:pPr>
            <a:r>
              <a:rPr sz="1000">
                <a:latin typeface="+mj-lt"/>
              </a:rPr>
              <a:t>Business &amp; Consulting</a:t>
            </a:r>
          </a:p>
        </p:txBody>
      </p:sp>
      <p:sp>
        <p:nvSpPr>
          <p:cNvPr id="56" name="Rounded Rectangle 5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8518036" y="5919363"/>
            <a:ext cx="1622187" cy="357442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+mj-lt"/>
              </a:rPr>
              <a:t>Find out more :</a:t>
            </a:r>
          </a:p>
        </p:txBody>
      </p:sp>
      <p:pic>
        <p:nvPicPr>
          <p:cNvPr id="57" name="图片占位符 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58" name="图片占位符 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2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59" name="图片占位符 2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25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0" name="Isosceles Triangle 7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EA9D7881-7699-4BE1-85C0-7EF92D007325}"/>
              </a:ext>
            </a:extLst>
          </p:cNvPr>
          <p:cNvSpPr/>
          <p:nvPr/>
        </p:nvSpPr>
        <p:spPr>
          <a:xfrm rot="1800000">
            <a:off x="7622352" y="1699881"/>
            <a:ext cx="394295" cy="339910"/>
          </a:xfrm>
          <a:prstGeom prst="triangle">
            <a:avLst/>
          </a:prstGeom>
          <a:gradFill>
            <a:gsLst>
              <a:gs pos="0">
                <a:schemeClr val="accent5">
                  <a:lumMod val="40000"/>
                  <a:lumOff val="60000"/>
                </a:schemeClr>
              </a:gs>
              <a:gs pos="69000">
                <a:schemeClr val="accent1"/>
              </a:gs>
            </a:gsLst>
            <a:path path="circle">
              <a:fillToRect r="100000" b="100000"/>
            </a:path>
          </a:gradFill>
          <a:ln w="98425">
            <a:solidFill>
              <a:schemeClr val="bg1">
                <a:alpha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61" name="Rounded Rectangle 2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2111C91F-F875-4D01-A21E-0162506ED2FA}"/>
              </a:ext>
            </a:extLst>
          </p:cNvPr>
          <p:cNvSpPr/>
          <p:nvPr/>
        </p:nvSpPr>
        <p:spPr>
          <a:xfrm rot="18900000">
            <a:off x="2414336" y="1014180"/>
            <a:ext cx="354436" cy="354436"/>
          </a:xfrm>
          <a:prstGeom prst="roundRect">
            <a:avLst/>
          </a:prstGeom>
          <a:gradFill>
            <a:gsLst>
              <a:gs pos="0">
                <a:schemeClr val="accent5">
                  <a:lumMod val="40000"/>
                  <a:lumOff val="60000"/>
                </a:schemeClr>
              </a:gs>
              <a:gs pos="69000">
                <a:schemeClr val="accent1"/>
              </a:gs>
            </a:gsLst>
            <a:path path="circle">
              <a:fillToRect r="100000" b="100000"/>
            </a:path>
          </a:gradFill>
          <a:ln w="98425">
            <a:solidFill>
              <a:schemeClr val="bg1">
                <a:alpha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62" name="TextBox 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6450849A-B830-4274-A335-EB64289B7E89}"/>
              </a:ext>
            </a:extLst>
          </p:cNvPr>
          <p:cNvSpPr txBox="1"/>
          <p:nvPr/>
        </p:nvSpPr>
        <p:spPr>
          <a:xfrm>
            <a:off x="8342605" y="1707204"/>
            <a:ext cx="45499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solidFill>
                  <a:schemeClr val="bg1"/>
                </a:solidFill>
                <a:ea typeface="Gotham Black" charset="0"/>
                <a:cs typeface="Gotham Black" charset="0"/>
              </a:rPr>
              <a:t>Services</a:t>
            </a:r>
          </a:p>
        </p:txBody>
      </p:sp>
      <p:sp>
        <p:nvSpPr>
          <p:cNvPr id="63" name="TextBox 2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098457CE-85C6-4570-8CFA-D98ADA36B6C3}"/>
              </a:ext>
            </a:extLst>
          </p:cNvPr>
          <p:cNvSpPr txBox="1"/>
          <p:nvPr/>
        </p:nvSpPr>
        <p:spPr>
          <a:xfrm>
            <a:off x="8469497" y="1454266"/>
            <a:ext cx="7713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i="1" dirty="0">
                <a:ea typeface="Roboto Medium" charset="0"/>
                <a:cs typeface="Roboto Medium" charset="0"/>
              </a:rPr>
              <a:t>Company</a:t>
            </a:r>
            <a:endParaRPr lang="en-US" sz="1000" i="1" dirty="0">
              <a:ea typeface="Roboto Medium" charset="0"/>
              <a:cs typeface="Roboto Medium" charset="0"/>
            </a:endParaRPr>
          </a:p>
        </p:txBody>
      </p:sp>
      <p:cxnSp>
        <p:nvCxnSpPr>
          <p:cNvPr id="64" name="Straight Connector 2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8C13FF99-F030-4D42-80A7-05C63E49AB99}"/>
              </a:ext>
            </a:extLst>
          </p:cNvPr>
          <p:cNvCxnSpPr>
            <a:cxnSpLocks/>
          </p:cNvCxnSpPr>
          <p:nvPr/>
        </p:nvCxnSpPr>
        <p:spPr>
          <a:xfrm flipH="1" flipV="1">
            <a:off x="8509541" y="1705105"/>
            <a:ext cx="1546640" cy="4619"/>
          </a:xfrm>
          <a:prstGeom prst="line">
            <a:avLst/>
          </a:prstGeom>
          <a:ln>
            <a:solidFill>
              <a:schemeClr val="bg2">
                <a:lumMod val="25000"/>
                <a:lumOff val="75000"/>
                <a:alpha val="28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A0C95351-4DD3-4D0C-9529-B072A66C46E8}"/>
              </a:ext>
            </a:extLst>
          </p:cNvPr>
          <p:cNvCxnSpPr>
            <a:cxnSpLocks/>
          </p:cNvCxnSpPr>
          <p:nvPr/>
        </p:nvCxnSpPr>
        <p:spPr>
          <a:xfrm flipH="1">
            <a:off x="8509541" y="1711455"/>
            <a:ext cx="265907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Cross 2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610F54E0-9FA4-4339-8AF7-00CC7C22B4D4}"/>
              </a:ext>
            </a:extLst>
          </p:cNvPr>
          <p:cNvSpPr/>
          <p:nvPr/>
        </p:nvSpPr>
        <p:spPr>
          <a:xfrm flipH="1">
            <a:off x="9950163" y="1526790"/>
            <a:ext cx="106018" cy="106018"/>
          </a:xfrm>
          <a:prstGeom prst="plus">
            <a:avLst>
              <a:gd name="adj" fmla="val 375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7" name="Shape 76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8321824" y="2965442"/>
            <a:ext cx="2514790" cy="13542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zh-CN" altLang="en-US" sz="1100" i="1" dirty="0">
                <a:solidFill>
                  <a:schemeClr val="bg1"/>
                </a:solidFill>
              </a:rPr>
              <a:t>Hey, hey, hey! It's Fat </a:t>
            </a:r>
            <a:r>
              <a:rPr lang="en-US" altLang="zh-CN" sz="1100" i="1" dirty="0">
                <a:solidFill>
                  <a:schemeClr val="bg1"/>
                </a:solidFill>
              </a:rPr>
              <a:t>Company</a:t>
            </a:r>
            <a:r>
              <a:rPr lang="zh-CN" altLang="en-US" sz="1100" i="1" dirty="0">
                <a:solidFill>
                  <a:schemeClr val="bg1"/>
                </a:solidFill>
              </a:rPr>
              <a:t>! Now I'm gonna sing a song for you, and this is gonna show you a thing or two. You'll have some fun now With me and the gang, learning from each other While we do our thing.</a:t>
            </a:r>
            <a:r>
              <a:rPr lang="en-US" altLang="zh-CN" sz="1100" i="1" dirty="0">
                <a:solidFill>
                  <a:schemeClr val="bg1"/>
                </a:solidFill>
              </a:rPr>
              <a:t> Hey, hey, hey! It's Fat Company! </a:t>
            </a:r>
          </a:p>
        </p:txBody>
      </p:sp>
      <p:sp>
        <p:nvSpPr>
          <p:cNvPr id="68" name="Freeform 4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9667703B-A096-483B-9EDC-0733FBF30ED5}"/>
              </a:ext>
            </a:extLst>
          </p:cNvPr>
          <p:cNvSpPr>
            <a:spLocks noEditPoints="1"/>
          </p:cNvSpPr>
          <p:nvPr/>
        </p:nvSpPr>
        <p:spPr bwMode="auto">
          <a:xfrm>
            <a:off x="8596722" y="4431346"/>
            <a:ext cx="200928" cy="200928"/>
          </a:xfrm>
          <a:custGeom>
            <a:avLst/>
            <a:gdLst>
              <a:gd name="T0" fmla="*/ 92739 w 55"/>
              <a:gd name="T1" fmla="*/ 188912 h 55"/>
              <a:gd name="T2" fmla="*/ 0 w 55"/>
              <a:gd name="T3" fmla="*/ 92739 h 55"/>
              <a:gd name="T4" fmla="*/ 92739 w 55"/>
              <a:gd name="T5" fmla="*/ 0 h 55"/>
              <a:gd name="T6" fmla="*/ 188912 w 55"/>
              <a:gd name="T7" fmla="*/ 92739 h 55"/>
              <a:gd name="T8" fmla="*/ 92739 w 55"/>
              <a:gd name="T9" fmla="*/ 188912 h 55"/>
              <a:gd name="T10" fmla="*/ 154564 w 55"/>
              <a:gd name="T11" fmla="*/ 68695 h 55"/>
              <a:gd name="T12" fmla="*/ 144260 w 55"/>
              <a:gd name="T13" fmla="*/ 58391 h 55"/>
              <a:gd name="T14" fmla="*/ 137391 w 55"/>
              <a:gd name="T15" fmla="*/ 54956 h 55"/>
              <a:gd name="T16" fmla="*/ 130521 w 55"/>
              <a:gd name="T17" fmla="*/ 58391 h 55"/>
              <a:gd name="T18" fmla="*/ 82434 w 55"/>
              <a:gd name="T19" fmla="*/ 106478 h 55"/>
              <a:gd name="T20" fmla="*/ 54956 w 55"/>
              <a:gd name="T21" fmla="*/ 79000 h 55"/>
              <a:gd name="T22" fmla="*/ 48087 w 55"/>
              <a:gd name="T23" fmla="*/ 75565 h 55"/>
              <a:gd name="T24" fmla="*/ 44652 w 55"/>
              <a:gd name="T25" fmla="*/ 79000 h 55"/>
              <a:gd name="T26" fmla="*/ 30913 w 55"/>
              <a:gd name="T27" fmla="*/ 89304 h 55"/>
              <a:gd name="T28" fmla="*/ 30913 w 55"/>
              <a:gd name="T29" fmla="*/ 96173 h 55"/>
              <a:gd name="T30" fmla="*/ 30913 w 55"/>
              <a:gd name="T31" fmla="*/ 103043 h 55"/>
              <a:gd name="T32" fmla="*/ 75565 w 55"/>
              <a:gd name="T33" fmla="*/ 147695 h 55"/>
              <a:gd name="T34" fmla="*/ 82434 w 55"/>
              <a:gd name="T35" fmla="*/ 147695 h 55"/>
              <a:gd name="T36" fmla="*/ 89304 w 55"/>
              <a:gd name="T37" fmla="*/ 147695 h 55"/>
              <a:gd name="T38" fmla="*/ 154564 w 55"/>
              <a:gd name="T39" fmla="*/ 79000 h 55"/>
              <a:gd name="T40" fmla="*/ 157999 w 55"/>
              <a:gd name="T41" fmla="*/ 75565 h 55"/>
              <a:gd name="T42" fmla="*/ 154564 w 55"/>
              <a:gd name="T43" fmla="*/ 68695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25" dirty="0">
              <a:latin typeface="+mj-lt"/>
            </a:endParaRPr>
          </a:p>
        </p:txBody>
      </p:sp>
      <p:sp>
        <p:nvSpPr>
          <p:cNvPr id="69" name="Rectangle 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D106328-90A8-465A-B3EF-4BF5550774D8}"/>
              </a:ext>
            </a:extLst>
          </p:cNvPr>
          <p:cNvSpPr/>
          <p:nvPr/>
        </p:nvSpPr>
        <p:spPr>
          <a:xfrm>
            <a:off x="8906613" y="4408720"/>
            <a:ext cx="3020866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id-ID" sz="1125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Insert Text in This Text Placeholder</a:t>
            </a:r>
            <a:endParaRPr lang="en-US" sz="1125" dirty="0">
              <a:solidFill>
                <a:schemeClr val="bg1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70" name="Rectangle 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E86892E3-32BF-4BA6-8EF0-CBD9C4333C6D}"/>
              </a:ext>
            </a:extLst>
          </p:cNvPr>
          <p:cNvSpPr/>
          <p:nvPr/>
        </p:nvSpPr>
        <p:spPr>
          <a:xfrm>
            <a:off x="8906613" y="4852944"/>
            <a:ext cx="3020866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id-ID" sz="1125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Insert Some Text in This Text Placeholder</a:t>
            </a:r>
            <a:endParaRPr lang="en-US" sz="1125" dirty="0">
              <a:solidFill>
                <a:schemeClr val="bg1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71" name="Rectangle 1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FD5AAED7-FD6C-4125-82CD-7B8FE82203F0}"/>
              </a:ext>
            </a:extLst>
          </p:cNvPr>
          <p:cNvSpPr/>
          <p:nvPr/>
        </p:nvSpPr>
        <p:spPr>
          <a:xfrm>
            <a:off x="8906613" y="5297168"/>
            <a:ext cx="3020866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id-ID" sz="1125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Insert a text in Here</a:t>
            </a:r>
            <a:endParaRPr lang="en-US" sz="1125" dirty="0">
              <a:solidFill>
                <a:schemeClr val="bg1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72" name="Freeform 4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1E08C367-AFC7-46A1-89D1-B199DD82171F}"/>
              </a:ext>
            </a:extLst>
          </p:cNvPr>
          <p:cNvSpPr>
            <a:spLocks noEditPoints="1"/>
          </p:cNvSpPr>
          <p:nvPr/>
        </p:nvSpPr>
        <p:spPr bwMode="auto">
          <a:xfrm>
            <a:off x="8596722" y="4875570"/>
            <a:ext cx="200928" cy="200928"/>
          </a:xfrm>
          <a:custGeom>
            <a:avLst/>
            <a:gdLst>
              <a:gd name="T0" fmla="*/ 92739 w 55"/>
              <a:gd name="T1" fmla="*/ 188912 h 55"/>
              <a:gd name="T2" fmla="*/ 0 w 55"/>
              <a:gd name="T3" fmla="*/ 92739 h 55"/>
              <a:gd name="T4" fmla="*/ 92739 w 55"/>
              <a:gd name="T5" fmla="*/ 0 h 55"/>
              <a:gd name="T6" fmla="*/ 188912 w 55"/>
              <a:gd name="T7" fmla="*/ 92739 h 55"/>
              <a:gd name="T8" fmla="*/ 92739 w 55"/>
              <a:gd name="T9" fmla="*/ 188912 h 55"/>
              <a:gd name="T10" fmla="*/ 154564 w 55"/>
              <a:gd name="T11" fmla="*/ 68695 h 55"/>
              <a:gd name="T12" fmla="*/ 144260 w 55"/>
              <a:gd name="T13" fmla="*/ 58391 h 55"/>
              <a:gd name="T14" fmla="*/ 137391 w 55"/>
              <a:gd name="T15" fmla="*/ 54956 h 55"/>
              <a:gd name="T16" fmla="*/ 130521 w 55"/>
              <a:gd name="T17" fmla="*/ 58391 h 55"/>
              <a:gd name="T18" fmla="*/ 82434 w 55"/>
              <a:gd name="T19" fmla="*/ 106478 h 55"/>
              <a:gd name="T20" fmla="*/ 54956 w 55"/>
              <a:gd name="T21" fmla="*/ 79000 h 55"/>
              <a:gd name="T22" fmla="*/ 48087 w 55"/>
              <a:gd name="T23" fmla="*/ 75565 h 55"/>
              <a:gd name="T24" fmla="*/ 44652 w 55"/>
              <a:gd name="T25" fmla="*/ 79000 h 55"/>
              <a:gd name="T26" fmla="*/ 30913 w 55"/>
              <a:gd name="T27" fmla="*/ 89304 h 55"/>
              <a:gd name="T28" fmla="*/ 30913 w 55"/>
              <a:gd name="T29" fmla="*/ 96173 h 55"/>
              <a:gd name="T30" fmla="*/ 30913 w 55"/>
              <a:gd name="T31" fmla="*/ 103043 h 55"/>
              <a:gd name="T32" fmla="*/ 75565 w 55"/>
              <a:gd name="T33" fmla="*/ 147695 h 55"/>
              <a:gd name="T34" fmla="*/ 82434 w 55"/>
              <a:gd name="T35" fmla="*/ 147695 h 55"/>
              <a:gd name="T36" fmla="*/ 89304 w 55"/>
              <a:gd name="T37" fmla="*/ 147695 h 55"/>
              <a:gd name="T38" fmla="*/ 154564 w 55"/>
              <a:gd name="T39" fmla="*/ 79000 h 55"/>
              <a:gd name="T40" fmla="*/ 157999 w 55"/>
              <a:gd name="T41" fmla="*/ 75565 h 55"/>
              <a:gd name="T42" fmla="*/ 154564 w 55"/>
              <a:gd name="T43" fmla="*/ 68695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25" dirty="0">
              <a:latin typeface="+mj-lt"/>
            </a:endParaRPr>
          </a:p>
        </p:txBody>
      </p:sp>
      <p:sp>
        <p:nvSpPr>
          <p:cNvPr id="73" name="Freeform 45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32185273-F6F6-4921-82A6-053D38BC5F13}"/>
              </a:ext>
            </a:extLst>
          </p:cNvPr>
          <p:cNvSpPr>
            <a:spLocks noEditPoints="1"/>
          </p:cNvSpPr>
          <p:nvPr/>
        </p:nvSpPr>
        <p:spPr bwMode="auto">
          <a:xfrm>
            <a:off x="8596722" y="5319795"/>
            <a:ext cx="200928" cy="200928"/>
          </a:xfrm>
          <a:custGeom>
            <a:avLst/>
            <a:gdLst>
              <a:gd name="T0" fmla="*/ 92739 w 55"/>
              <a:gd name="T1" fmla="*/ 188912 h 55"/>
              <a:gd name="T2" fmla="*/ 0 w 55"/>
              <a:gd name="T3" fmla="*/ 92739 h 55"/>
              <a:gd name="T4" fmla="*/ 92739 w 55"/>
              <a:gd name="T5" fmla="*/ 0 h 55"/>
              <a:gd name="T6" fmla="*/ 188912 w 55"/>
              <a:gd name="T7" fmla="*/ 92739 h 55"/>
              <a:gd name="T8" fmla="*/ 92739 w 55"/>
              <a:gd name="T9" fmla="*/ 188912 h 55"/>
              <a:gd name="T10" fmla="*/ 154564 w 55"/>
              <a:gd name="T11" fmla="*/ 68695 h 55"/>
              <a:gd name="T12" fmla="*/ 144260 w 55"/>
              <a:gd name="T13" fmla="*/ 58391 h 55"/>
              <a:gd name="T14" fmla="*/ 137391 w 55"/>
              <a:gd name="T15" fmla="*/ 54956 h 55"/>
              <a:gd name="T16" fmla="*/ 130521 w 55"/>
              <a:gd name="T17" fmla="*/ 58391 h 55"/>
              <a:gd name="T18" fmla="*/ 82434 w 55"/>
              <a:gd name="T19" fmla="*/ 106478 h 55"/>
              <a:gd name="T20" fmla="*/ 54956 w 55"/>
              <a:gd name="T21" fmla="*/ 79000 h 55"/>
              <a:gd name="T22" fmla="*/ 48087 w 55"/>
              <a:gd name="T23" fmla="*/ 75565 h 55"/>
              <a:gd name="T24" fmla="*/ 44652 w 55"/>
              <a:gd name="T25" fmla="*/ 79000 h 55"/>
              <a:gd name="T26" fmla="*/ 30913 w 55"/>
              <a:gd name="T27" fmla="*/ 89304 h 55"/>
              <a:gd name="T28" fmla="*/ 30913 w 55"/>
              <a:gd name="T29" fmla="*/ 96173 h 55"/>
              <a:gd name="T30" fmla="*/ 30913 w 55"/>
              <a:gd name="T31" fmla="*/ 103043 h 55"/>
              <a:gd name="T32" fmla="*/ 75565 w 55"/>
              <a:gd name="T33" fmla="*/ 147695 h 55"/>
              <a:gd name="T34" fmla="*/ 82434 w 55"/>
              <a:gd name="T35" fmla="*/ 147695 h 55"/>
              <a:gd name="T36" fmla="*/ 89304 w 55"/>
              <a:gd name="T37" fmla="*/ 147695 h 55"/>
              <a:gd name="T38" fmla="*/ 154564 w 55"/>
              <a:gd name="T39" fmla="*/ 79000 h 55"/>
              <a:gd name="T40" fmla="*/ 157999 w 55"/>
              <a:gd name="T41" fmla="*/ 75565 h 55"/>
              <a:gd name="T42" fmla="*/ 154564 w 55"/>
              <a:gd name="T43" fmla="*/ 68695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125" dirty="0">
              <a:latin typeface="+mj-lt"/>
            </a:endParaRP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 hidden="1"/>
          <p:cNvSpPr txBox="1"/>
          <p:nvPr/>
        </p:nvSpPr>
        <p:spPr>
          <a:xfrm>
            <a:off x="-355600" y="1803400"/>
            <a:ext cx="322909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1445963017"/>
      </p:ext>
    </p:extLst>
  </p:cSld>
  <p:clrMapOvr>
    <a:masterClrMapping/>
  </p:clrMapOvr>
  <p:transition spd="slow">
    <p:wip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EEAF10CE-5E14-49EB-AE7B-F3105B1D8A8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文本框 5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DE89C456-5175-46A0-8429-E01576ABB173}"/>
              </a:ext>
            </a:extLst>
          </p:cNvPr>
          <p:cNvSpPr txBox="1"/>
          <p:nvPr/>
        </p:nvSpPr>
        <p:spPr>
          <a:xfrm>
            <a:off x="1803694" y="4022802"/>
            <a:ext cx="85064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id-ID" altLang="zh-CN" sz="1600" b="1" dirty="0">
                <a:solidFill>
                  <a:schemeClr val="bg1"/>
                </a:solidFill>
                <a:latin typeface="+mj-lt"/>
                <a:cs typeface="Poppins" panose="00000500000000000000" pitchFamily="50" charset="0"/>
              </a:rPr>
              <a:t>Technology Presentation Template</a:t>
            </a:r>
          </a:p>
          <a:p>
            <a:pPr algn="dist"/>
            <a:endParaRPr lang="zh-CN" altLang="en-US" sz="1600" b="1" dirty="0">
              <a:latin typeface="+mj-lt"/>
            </a:endParaRPr>
          </a:p>
        </p:txBody>
      </p:sp>
      <p:sp>
        <p:nvSpPr>
          <p:cNvPr id="7" name="Freeform 62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0872F0D9-2968-4BB9-8777-CD0279D98186}"/>
              </a:ext>
            </a:extLst>
          </p:cNvPr>
          <p:cNvSpPr>
            <a:spLocks noEditPoints="1"/>
          </p:cNvSpPr>
          <p:nvPr/>
        </p:nvSpPr>
        <p:spPr bwMode="auto">
          <a:xfrm>
            <a:off x="4921287" y="6468579"/>
            <a:ext cx="137450" cy="135137"/>
          </a:xfrm>
          <a:custGeom>
            <a:avLst/>
            <a:gdLst>
              <a:gd name="T0" fmla="*/ 92739 w 55"/>
              <a:gd name="T1" fmla="*/ 185737 h 54"/>
              <a:gd name="T2" fmla="*/ 0 w 55"/>
              <a:gd name="T3" fmla="*/ 92869 h 54"/>
              <a:gd name="T4" fmla="*/ 92739 w 55"/>
              <a:gd name="T5" fmla="*/ 0 h 54"/>
              <a:gd name="T6" fmla="*/ 188913 w 55"/>
              <a:gd name="T7" fmla="*/ 92869 h 54"/>
              <a:gd name="T8" fmla="*/ 92739 w 55"/>
              <a:gd name="T9" fmla="*/ 185737 h 54"/>
              <a:gd name="T10" fmla="*/ 13739 w 55"/>
              <a:gd name="T11" fmla="*/ 92869 h 54"/>
              <a:gd name="T12" fmla="*/ 92739 w 55"/>
              <a:gd name="T13" fmla="*/ 171979 h 54"/>
              <a:gd name="T14" fmla="*/ 171739 w 55"/>
              <a:gd name="T15" fmla="*/ 92869 h 54"/>
              <a:gd name="T16" fmla="*/ 92739 w 55"/>
              <a:gd name="T17" fmla="*/ 13758 h 54"/>
              <a:gd name="T18" fmla="*/ 13739 w 55"/>
              <a:gd name="T19" fmla="*/ 92869 h 54"/>
              <a:gd name="T20" fmla="*/ 140826 w 55"/>
              <a:gd name="T21" fmla="*/ 127264 h 54"/>
              <a:gd name="T22" fmla="*/ 96174 w 55"/>
              <a:gd name="T23" fmla="*/ 151341 h 54"/>
              <a:gd name="T24" fmla="*/ 37783 w 55"/>
              <a:gd name="T25" fmla="*/ 92869 h 54"/>
              <a:gd name="T26" fmla="*/ 96174 w 55"/>
              <a:gd name="T27" fmla="*/ 34396 h 54"/>
              <a:gd name="T28" fmla="*/ 137391 w 55"/>
              <a:gd name="T29" fmla="*/ 58473 h 54"/>
              <a:gd name="T30" fmla="*/ 137391 w 55"/>
              <a:gd name="T31" fmla="*/ 72231 h 54"/>
              <a:gd name="T32" fmla="*/ 137391 w 55"/>
              <a:gd name="T33" fmla="*/ 72231 h 54"/>
              <a:gd name="T34" fmla="*/ 123652 w 55"/>
              <a:gd name="T35" fmla="*/ 72231 h 54"/>
              <a:gd name="T36" fmla="*/ 120217 w 55"/>
              <a:gd name="T37" fmla="*/ 72231 h 54"/>
              <a:gd name="T38" fmla="*/ 120217 w 55"/>
              <a:gd name="T39" fmla="*/ 61912 h 54"/>
              <a:gd name="T40" fmla="*/ 96174 w 55"/>
              <a:gd name="T41" fmla="*/ 51594 h 54"/>
              <a:gd name="T42" fmla="*/ 54957 w 55"/>
              <a:gd name="T43" fmla="*/ 92869 h 54"/>
              <a:gd name="T44" fmla="*/ 96174 w 55"/>
              <a:gd name="T45" fmla="*/ 134143 h 54"/>
              <a:gd name="T46" fmla="*/ 120217 w 55"/>
              <a:gd name="T47" fmla="*/ 123825 h 54"/>
              <a:gd name="T48" fmla="*/ 120217 w 55"/>
              <a:gd name="T49" fmla="*/ 113506 h 54"/>
              <a:gd name="T50" fmla="*/ 123652 w 55"/>
              <a:gd name="T51" fmla="*/ 113506 h 54"/>
              <a:gd name="T52" fmla="*/ 137391 w 55"/>
              <a:gd name="T53" fmla="*/ 113506 h 54"/>
              <a:gd name="T54" fmla="*/ 140826 w 55"/>
              <a:gd name="T55" fmla="*/ 113506 h 54"/>
              <a:gd name="T56" fmla="*/ 140826 w 55"/>
              <a:gd name="T57" fmla="*/ 127264 h 5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55" h="54">
                <a:moveTo>
                  <a:pt x="27" y="54"/>
                </a:moveTo>
                <a:cubicBezTo>
                  <a:pt x="12" y="54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4"/>
                  <a:pt x="27" y="54"/>
                </a:cubicBezTo>
                <a:close/>
                <a:moveTo>
                  <a:pt x="4" y="27"/>
                </a:moveTo>
                <a:cubicBezTo>
                  <a:pt x="4" y="40"/>
                  <a:pt x="15" y="50"/>
                  <a:pt x="27" y="50"/>
                </a:cubicBezTo>
                <a:cubicBezTo>
                  <a:pt x="40" y="50"/>
                  <a:pt x="50" y="40"/>
                  <a:pt x="50" y="27"/>
                </a:cubicBezTo>
                <a:cubicBezTo>
                  <a:pt x="50" y="14"/>
                  <a:pt x="40" y="4"/>
                  <a:pt x="27" y="4"/>
                </a:cubicBezTo>
                <a:cubicBezTo>
                  <a:pt x="15" y="4"/>
                  <a:pt x="4" y="14"/>
                  <a:pt x="4" y="27"/>
                </a:cubicBezTo>
                <a:close/>
                <a:moveTo>
                  <a:pt x="41" y="37"/>
                </a:moveTo>
                <a:cubicBezTo>
                  <a:pt x="41" y="42"/>
                  <a:pt x="33" y="44"/>
                  <a:pt x="28" y="44"/>
                </a:cubicBezTo>
                <a:cubicBezTo>
                  <a:pt x="18" y="44"/>
                  <a:pt x="11" y="37"/>
                  <a:pt x="11" y="27"/>
                </a:cubicBezTo>
                <a:cubicBezTo>
                  <a:pt x="11" y="17"/>
                  <a:pt x="18" y="10"/>
                  <a:pt x="28" y="10"/>
                </a:cubicBezTo>
                <a:cubicBezTo>
                  <a:pt x="31" y="10"/>
                  <a:pt x="40" y="11"/>
                  <a:pt x="40" y="17"/>
                </a:cubicBezTo>
                <a:cubicBezTo>
                  <a:pt x="40" y="21"/>
                  <a:pt x="40" y="21"/>
                  <a:pt x="40" y="21"/>
                </a:cubicBezTo>
                <a:cubicBezTo>
                  <a:pt x="40" y="21"/>
                  <a:pt x="40" y="21"/>
                  <a:pt x="40" y="21"/>
                </a:cubicBezTo>
                <a:cubicBezTo>
                  <a:pt x="36" y="21"/>
                  <a:pt x="36" y="21"/>
                  <a:pt x="36" y="21"/>
                </a:cubicBezTo>
                <a:cubicBezTo>
                  <a:pt x="35" y="21"/>
                  <a:pt x="35" y="21"/>
                  <a:pt x="35" y="21"/>
                </a:cubicBezTo>
                <a:cubicBezTo>
                  <a:pt x="35" y="18"/>
                  <a:pt x="35" y="18"/>
                  <a:pt x="35" y="18"/>
                </a:cubicBezTo>
                <a:cubicBezTo>
                  <a:pt x="35" y="16"/>
                  <a:pt x="31" y="15"/>
                  <a:pt x="28" y="15"/>
                </a:cubicBezTo>
                <a:cubicBezTo>
                  <a:pt x="21" y="15"/>
                  <a:pt x="16" y="20"/>
                  <a:pt x="16" y="27"/>
                </a:cubicBezTo>
                <a:cubicBezTo>
                  <a:pt x="16" y="34"/>
                  <a:pt x="21" y="39"/>
                  <a:pt x="28" y="39"/>
                </a:cubicBezTo>
                <a:cubicBezTo>
                  <a:pt x="31" y="39"/>
                  <a:pt x="35" y="38"/>
                  <a:pt x="35" y="36"/>
                </a:cubicBezTo>
                <a:cubicBezTo>
                  <a:pt x="35" y="33"/>
                  <a:pt x="35" y="33"/>
                  <a:pt x="35" y="33"/>
                </a:cubicBezTo>
                <a:cubicBezTo>
                  <a:pt x="35" y="33"/>
                  <a:pt x="36" y="33"/>
                  <a:pt x="36" y="33"/>
                </a:cubicBezTo>
                <a:cubicBezTo>
                  <a:pt x="40" y="33"/>
                  <a:pt x="40" y="33"/>
                  <a:pt x="40" y="33"/>
                </a:cubicBezTo>
                <a:cubicBezTo>
                  <a:pt x="41" y="33"/>
                  <a:pt x="41" y="33"/>
                  <a:pt x="41" y="33"/>
                </a:cubicBezTo>
                <a:lnTo>
                  <a:pt x="41" y="3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>
            <a:ext uri="{91240B29-F687-4f45-9708-019B960494DF}">
              <a14:hiddenLine xmlns="" xmlns:a16="http://schemas.microsoft.com/office/drawing/2014/main" xmlns:mc="http://schemas.openxmlformats.org/markup-compatibility/2006" xmlns:am3d="http://schemas.microsoft.com/office/drawing/2017/model3d" xmlns:p14="http://schemas.microsoft.com/office/powerpoint/2010/main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l"/>
            <a:endParaRPr lang="en-US" sz="1000" dirty="0">
              <a:solidFill>
                <a:schemeClr val="bg1">
                  <a:lumMod val="7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</a:endParaRPr>
          </a:p>
        </p:txBody>
      </p:sp>
      <p:sp>
        <p:nvSpPr>
          <p:cNvPr id="8" name="TextBox 4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17E4B238-A3E3-4F75-8BBF-4ED869E1CA9B}"/>
              </a:ext>
            </a:extLst>
          </p:cNvPr>
          <p:cNvSpPr txBox="1"/>
          <p:nvPr/>
        </p:nvSpPr>
        <p:spPr>
          <a:xfrm>
            <a:off x="5096275" y="6409189"/>
            <a:ext cx="22028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spc="300" dirty="0" err="1">
                <a:solidFill>
                  <a:schemeClr val="bg1">
                    <a:lumMod val="75000"/>
                  </a:schemeClr>
                </a:solidFill>
                <a:latin typeface="Nexa Light" panose="02000000000000000000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Company.ALL</a:t>
            </a:r>
            <a:r>
              <a:rPr lang="en-US" sz="1000" spc="300" dirty="0">
                <a:solidFill>
                  <a:schemeClr val="bg1">
                    <a:lumMod val="75000"/>
                  </a:schemeClr>
                </a:solidFill>
                <a:latin typeface="Nexa Light" panose="02000000000000000000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 RIGHTS</a:t>
            </a:r>
            <a:endParaRPr lang="id-ID" sz="1000" spc="300" dirty="0">
              <a:solidFill>
                <a:schemeClr val="bg1">
                  <a:lumMod val="75000"/>
                </a:schemeClr>
              </a:solidFill>
              <a:latin typeface="Nexa Light" panose="02000000000000000000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11" name="组合 1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0972C5FE-CF17-4648-AEEF-DC55BA9EAA44}"/>
              </a:ext>
            </a:extLst>
          </p:cNvPr>
          <p:cNvGrpSpPr/>
          <p:nvPr/>
        </p:nvGrpSpPr>
        <p:grpSpPr>
          <a:xfrm>
            <a:off x="1564590" y="2483864"/>
            <a:ext cx="8823717" cy="1866602"/>
            <a:chOff x="1564590" y="2483864"/>
            <a:chExt cx="8823717" cy="1866602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5F516CD-7307-4C25-B06A-99BCD5AAFE6C}"/>
                </a:ext>
              </a:extLst>
            </p:cNvPr>
            <p:cNvSpPr txBox="1"/>
            <p:nvPr/>
          </p:nvSpPr>
          <p:spPr>
            <a:xfrm>
              <a:off x="1564590" y="2483864"/>
              <a:ext cx="5793574" cy="1862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1500" b="1" spc="300" dirty="0">
                  <a:solidFill>
                    <a:schemeClr val="bg1"/>
                  </a:solidFill>
                  <a:latin typeface="+mj-lt"/>
                  <a:ea typeface="Open Sans" panose="020B0606030504020204" pitchFamily="34" charset="0"/>
                  <a:cs typeface="Rajdhani Bold" panose="02000000000000000000" pitchFamily="2" charset="0"/>
                </a:rPr>
                <a:t>THANK </a:t>
              </a:r>
              <a:endParaRPr lang="en-US" sz="11500" b="1" spc="300" dirty="0">
                <a:ln w="50800">
                  <a:solidFill>
                    <a:schemeClr val="bg1"/>
                  </a:solidFill>
                </a:ln>
                <a:gradFill>
                  <a:gsLst>
                    <a:gs pos="0">
                      <a:schemeClr val="accent1">
                        <a:alpha val="64000"/>
                      </a:schemeClr>
                    </a:gs>
                    <a:gs pos="100000">
                      <a:schemeClr val="accent2"/>
                    </a:gs>
                  </a:gsLst>
                  <a:lin ang="8100000" scaled="1"/>
                </a:gradFill>
                <a:latin typeface="+mj-lt"/>
                <a:ea typeface="Open Sans" panose="020B0606030504020204" pitchFamily="34" charset="0"/>
                <a:cs typeface="Rajdhani Bold" panose="02000000000000000000" pitchFamily="2" charset="0"/>
              </a:endParaRPr>
            </a:p>
          </p:txBody>
        </p:sp>
        <p:sp>
          <p:nvSpPr>
            <p:cNvPr id="9" name="TextBox 4">
              <a:extLst>
                <a:ext uri="{FF2B5EF4-FFF2-40B4-BE49-F238E27FC236}">
                  <a16:creationId xmlns:a16="http://schemas.microsoft.com/office/drawing/2014/main" id="{B960DB1A-00D5-4A78-B4BF-2BB6EB12D53F}"/>
                </a:ext>
              </a:extLst>
            </p:cNvPr>
            <p:cNvSpPr txBox="1"/>
            <p:nvPr/>
          </p:nvSpPr>
          <p:spPr>
            <a:xfrm>
              <a:off x="6965574" y="2488418"/>
              <a:ext cx="3422733" cy="1862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1500" b="1" spc="300" dirty="0">
                  <a:ln w="50800">
                    <a:solidFill>
                      <a:schemeClr val="bg1"/>
                    </a:solidFill>
                  </a:ln>
                  <a:gradFill>
                    <a:gsLst>
                      <a:gs pos="0">
                        <a:schemeClr val="accent1">
                          <a:alpha val="64000"/>
                        </a:schemeClr>
                      </a:gs>
                      <a:gs pos="100000">
                        <a:schemeClr val="accent2"/>
                      </a:gs>
                    </a:gsLst>
                    <a:lin ang="8100000" scaled="1"/>
                  </a:gradFill>
                  <a:latin typeface="+mj-lt"/>
                  <a:ea typeface="Open Sans" panose="020B0606030504020204" pitchFamily="34" charset="0"/>
                  <a:cs typeface="Rajdhani Bold" panose="02000000000000000000" pitchFamily="2" charset="0"/>
                </a:rPr>
                <a:t>YOU</a:t>
              </a:r>
              <a:endParaRPr lang="en-US" sz="11500" b="1" spc="300" dirty="0">
                <a:ln w="50800">
                  <a:solidFill>
                    <a:schemeClr val="bg1"/>
                  </a:solidFill>
                </a:ln>
                <a:gradFill>
                  <a:gsLst>
                    <a:gs pos="0">
                      <a:schemeClr val="accent1">
                        <a:alpha val="64000"/>
                      </a:schemeClr>
                    </a:gs>
                    <a:gs pos="100000">
                      <a:schemeClr val="accent2"/>
                    </a:gs>
                  </a:gsLst>
                  <a:lin ang="8100000" scaled="1"/>
                </a:gradFill>
                <a:latin typeface="+mj-lt"/>
                <a:ea typeface="Open Sans" panose="020B0606030504020204" pitchFamily="34" charset="0"/>
                <a:cs typeface="Rajdhani Bold" panose="02000000000000000000" pitchFamily="2" charset="0"/>
              </a:endParaRPr>
            </a:p>
          </p:txBody>
        </p:sp>
      </p:grpSp>
      <p:pic>
        <p:nvPicPr>
          <p:cNvPr id="10" name="3D Model 23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>
            <a:extLst>
              <a:ext uri="{FF2B5EF4-FFF2-40B4-BE49-F238E27FC236}">
                <a16:creationId xmlns:a16="http://schemas.microsoft.com/office/drawing/2014/main" id="{3B2C1326-B95F-455D-BA31-692516A6231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8011" y="2483864"/>
            <a:ext cx="517857" cy="536690"/>
          </a:xfrm>
          <a:prstGeom prst="rect">
            <a:avLst/>
          </a:prstGeom>
        </p:spPr>
      </p:pic>
      <p:sp>
        <p:nvSpPr>
          <p:cNvPr id="2" name="e7d195523061f1c0" descr="e7d195523061f1c03a90ee8e42cb24248e56383cd534985688F9F494128731F165EE95AB4B0C0A38076AAEA07667B1565C446FC45FF01DFB0E885BCDBDF3A284F3DB14DA61DD97F0BAB2E6C668FB493184BEA2B79408FB094EB53969616FE837C4DDA931FB4B50B287CB9E976CD8A286A6B09202195C1175A3DD2481D60CC400D4B189D647C28541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84BEA2B79408FB094EB53969616FE837C4DDA931FB4B50B287CB9E976CD8A286A6B09202195C1175A3DD2481D60CC400D4B189D647C2854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35099788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矩形 3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115051" y="762000"/>
            <a:ext cx="5486400" cy="2305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3" name="图片 3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13152" y="4359286"/>
            <a:ext cx="2674198" cy="3030300"/>
          </a:xfrm>
          <a:prstGeom prst="rect">
            <a:avLst/>
          </a:prstGeom>
        </p:spPr>
      </p:pic>
      <p:grpSp>
        <p:nvGrpSpPr>
          <p:cNvPr id="13" name="Group 1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C8E66797-B372-4173-B7EB-2A328F4BE5F7}"/>
              </a:ext>
            </a:extLst>
          </p:cNvPr>
          <p:cNvGrpSpPr/>
          <p:nvPr/>
        </p:nvGrpSpPr>
        <p:grpSpPr>
          <a:xfrm>
            <a:off x="1066800" y="3257550"/>
            <a:ext cx="2374491" cy="2506540"/>
            <a:chOff x="1066800" y="3257550"/>
            <a:chExt cx="2374491" cy="250654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2C2A56C0-2512-4531-8809-1EA27760C859}"/>
                </a:ext>
              </a:extLst>
            </p:cNvPr>
            <p:cNvSpPr/>
            <p:nvPr/>
          </p:nvSpPr>
          <p:spPr>
            <a:xfrm>
              <a:off x="1066800" y="3257550"/>
              <a:ext cx="2374491" cy="2506540"/>
            </a:xfrm>
            <a:prstGeom prst="roundRect">
              <a:avLst>
                <a:gd name="adj" fmla="val 486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885A3AF3-7223-4CC0-8E9C-9FA2E58C6E8C}"/>
                </a:ext>
              </a:extLst>
            </p:cNvPr>
            <p:cNvGrpSpPr/>
            <p:nvPr/>
          </p:nvGrpSpPr>
          <p:grpSpPr>
            <a:xfrm>
              <a:off x="1174174" y="3583746"/>
              <a:ext cx="2159742" cy="2075766"/>
              <a:chOff x="1014674" y="3888088"/>
              <a:chExt cx="2159742" cy="2075766"/>
            </a:xfrm>
          </p:grpSpPr>
          <p:graphicFrame>
            <p:nvGraphicFramePr>
              <p:cNvPr id="3" name="Chart 2">
                <a:extLst>
                  <a:ext uri="{FF2B5EF4-FFF2-40B4-BE49-F238E27FC236}">
                    <a16:creationId xmlns:a16="http://schemas.microsoft.com/office/drawing/2014/main" id="{14F61EDC-04F2-4D1B-96A2-6A0325B70836}"/>
                  </a:ext>
                </a:extLst>
              </p:cNvPr>
              <p:cNvGraphicFramePr/>
              <p:nvPr/>
            </p:nvGraphicFramePr>
            <p:xfrm>
              <a:off x="1014674" y="3888088"/>
              <a:ext cx="2159742" cy="207576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4" name="Oval 3">
                <a:extLst>
                  <a:ext uri="{FF2B5EF4-FFF2-40B4-BE49-F238E27FC236}">
                    <a16:creationId xmlns:a16="http://schemas.microsoft.com/office/drawing/2014/main" id="{DCA0AF1F-CAE6-44A9-AFC1-7B3582174D1E}"/>
                  </a:ext>
                </a:extLst>
              </p:cNvPr>
              <p:cNvSpPr/>
              <p:nvPr/>
            </p:nvSpPr>
            <p:spPr>
              <a:xfrm>
                <a:off x="1681477" y="4243648"/>
                <a:ext cx="826138" cy="8261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cs typeface="Montserrat"/>
                  </a:rPr>
                  <a:t>66%</a:t>
                </a:r>
              </a:p>
            </p:txBody>
          </p:sp>
        </p:grpSp>
      </p:grpSp>
      <p:grpSp>
        <p:nvGrpSpPr>
          <p:cNvPr id="14" name="Group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F859B7C9-8AAF-4CD5-BF1E-B856AAFD5AF5}"/>
              </a:ext>
            </a:extLst>
          </p:cNvPr>
          <p:cNvGrpSpPr/>
          <p:nvPr/>
        </p:nvGrpSpPr>
        <p:grpSpPr>
          <a:xfrm>
            <a:off x="3544529" y="3257550"/>
            <a:ext cx="2374491" cy="2506540"/>
            <a:chOff x="3544529" y="3257550"/>
            <a:chExt cx="2374491" cy="250654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5C5F5F2-B3FB-4A3D-AE4A-31E47AB00AA0}"/>
                </a:ext>
              </a:extLst>
            </p:cNvPr>
            <p:cNvSpPr/>
            <p:nvPr/>
          </p:nvSpPr>
          <p:spPr>
            <a:xfrm>
              <a:off x="3544529" y="3257550"/>
              <a:ext cx="2374491" cy="2506540"/>
            </a:xfrm>
            <a:prstGeom prst="roundRect">
              <a:avLst>
                <a:gd name="adj" fmla="val 486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C953870D-B271-44BA-A9A2-9974D0B69ADA}"/>
                </a:ext>
              </a:extLst>
            </p:cNvPr>
            <p:cNvGrpSpPr/>
            <p:nvPr/>
          </p:nvGrpSpPr>
          <p:grpSpPr>
            <a:xfrm>
              <a:off x="3616474" y="3577136"/>
              <a:ext cx="2159742" cy="2075766"/>
              <a:chOff x="3646971" y="3881478"/>
              <a:chExt cx="2159742" cy="2075766"/>
            </a:xfrm>
          </p:grpSpPr>
          <p:graphicFrame>
            <p:nvGraphicFramePr>
              <p:cNvPr id="6" name="Chart 5">
                <a:extLst>
                  <a:ext uri="{FF2B5EF4-FFF2-40B4-BE49-F238E27FC236}">
                    <a16:creationId xmlns:a16="http://schemas.microsoft.com/office/drawing/2014/main" id="{EAC369CC-77F9-4BA7-8DAC-E8ADB2BD4706}"/>
                  </a:ext>
                </a:extLst>
              </p:cNvPr>
              <p:cNvGraphicFramePr/>
              <p:nvPr/>
            </p:nvGraphicFramePr>
            <p:xfrm>
              <a:off x="3646971" y="3881478"/>
              <a:ext cx="2159742" cy="207576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AFE4C51C-0B40-4563-9D41-BDB512E171A3}"/>
                  </a:ext>
                </a:extLst>
              </p:cNvPr>
              <p:cNvSpPr/>
              <p:nvPr/>
            </p:nvSpPr>
            <p:spPr>
              <a:xfrm>
                <a:off x="4313773" y="4237038"/>
                <a:ext cx="826138" cy="8261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cs typeface="Montserrat"/>
                  </a:rPr>
                  <a:t>82%</a:t>
                </a:r>
              </a:p>
            </p:txBody>
          </p:sp>
        </p:grpSp>
      </p:grpSp>
      <p:grpSp>
        <p:nvGrpSpPr>
          <p:cNvPr id="30" name="Group 2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CF017AEB-F810-4EDC-B58D-D63F20379D86}"/>
              </a:ext>
            </a:extLst>
          </p:cNvPr>
          <p:cNvGrpSpPr/>
          <p:nvPr/>
        </p:nvGrpSpPr>
        <p:grpSpPr>
          <a:xfrm>
            <a:off x="6132513" y="3257550"/>
            <a:ext cx="5487987" cy="2506540"/>
            <a:chOff x="6022258" y="3257550"/>
            <a:chExt cx="5232758" cy="2506540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19A4150-B3E5-4AD9-817C-EEB6D1A4C195}"/>
                </a:ext>
              </a:extLst>
            </p:cNvPr>
            <p:cNvSpPr/>
            <p:nvPr/>
          </p:nvSpPr>
          <p:spPr>
            <a:xfrm>
              <a:off x="6022258" y="3257550"/>
              <a:ext cx="5232758" cy="2506540"/>
            </a:xfrm>
            <a:prstGeom prst="roundRect">
              <a:avLst>
                <a:gd name="adj" fmla="val 486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8D655641-EDF3-4331-A10B-03B4121B7586}"/>
                </a:ext>
              </a:extLst>
            </p:cNvPr>
            <p:cNvGraphicFramePr/>
            <p:nvPr/>
          </p:nvGraphicFramePr>
          <p:xfrm>
            <a:off x="6201578" y="3551440"/>
            <a:ext cx="5053438" cy="21080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</p:grpSp>
      <p:sp>
        <p:nvSpPr>
          <p:cNvPr id="16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F28966F4-D54B-4CED-AE70-4BCE4D142CE8}"/>
              </a:ext>
            </a:extLst>
          </p:cNvPr>
          <p:cNvSpPr/>
          <p:nvPr/>
        </p:nvSpPr>
        <p:spPr>
          <a:xfrm>
            <a:off x="915448" y="2209116"/>
            <a:ext cx="45719" cy="7119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7" name="TextBox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F6B4F6FA-2DF6-4F51-A2E8-0FB7C38BDA9B}"/>
              </a:ext>
            </a:extLst>
          </p:cNvPr>
          <p:cNvSpPr txBox="1"/>
          <p:nvPr/>
        </p:nvSpPr>
        <p:spPr>
          <a:xfrm>
            <a:off x="748564" y="809474"/>
            <a:ext cx="3081293" cy="1175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id-ID" sz="4400" dirty="0">
                <a:solidFill>
                  <a:schemeClr val="accent1"/>
                </a:solidFill>
              </a:rPr>
              <a:t>Business </a:t>
            </a:r>
          </a:p>
          <a:p>
            <a:pPr>
              <a:lnSpc>
                <a:spcPct val="80000"/>
              </a:lnSpc>
            </a:pPr>
            <a:r>
              <a:rPr lang="id-ID" sz="4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art Slide</a:t>
            </a:r>
          </a:p>
        </p:txBody>
      </p:sp>
      <p:grpSp>
        <p:nvGrpSpPr>
          <p:cNvPr id="31" name="Group 3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C7DAB803-B9C8-42B3-9186-6A218265DA59}"/>
              </a:ext>
            </a:extLst>
          </p:cNvPr>
          <p:cNvGrpSpPr/>
          <p:nvPr/>
        </p:nvGrpSpPr>
        <p:grpSpPr>
          <a:xfrm>
            <a:off x="6246966" y="924971"/>
            <a:ext cx="5697384" cy="1983263"/>
            <a:chOff x="6246966" y="924971"/>
            <a:chExt cx="3700697" cy="1983263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23AE3BF-3028-40C8-A187-86D8EC485A2B}"/>
                </a:ext>
              </a:extLst>
            </p:cNvPr>
            <p:cNvGrpSpPr/>
            <p:nvPr/>
          </p:nvGrpSpPr>
          <p:grpSpPr>
            <a:xfrm>
              <a:off x="6246966" y="924971"/>
              <a:ext cx="3700697" cy="650234"/>
              <a:chOff x="6246966" y="924971"/>
              <a:chExt cx="3700697" cy="650234"/>
            </a:xfrm>
          </p:grpSpPr>
          <p:sp>
            <p:nvSpPr>
              <p:cNvPr id="19" name="Freeform 4642">
                <a:extLst>
                  <a:ext uri="{FF2B5EF4-FFF2-40B4-BE49-F238E27FC236}">
                    <a16:creationId xmlns:a16="http://schemas.microsoft.com/office/drawing/2014/main" id="{72BAF891-C718-4D4B-83D9-CD621C2EB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6473" y="1000038"/>
                <a:ext cx="165466" cy="261542"/>
              </a:xfrm>
              <a:custGeom>
                <a:avLst/>
                <a:gdLst>
                  <a:gd name="T0" fmla="*/ 58 w 125"/>
                  <a:gd name="T1" fmla="*/ 2 h 198"/>
                  <a:gd name="T2" fmla="*/ 3 w 125"/>
                  <a:gd name="T3" fmla="*/ 71 h 198"/>
                  <a:gd name="T4" fmla="*/ 6 w 125"/>
                  <a:gd name="T5" fmla="*/ 78 h 198"/>
                  <a:gd name="T6" fmla="*/ 33 w 125"/>
                  <a:gd name="T7" fmla="*/ 78 h 198"/>
                  <a:gd name="T8" fmla="*/ 37 w 125"/>
                  <a:gd name="T9" fmla="*/ 82 h 198"/>
                  <a:gd name="T10" fmla="*/ 37 w 125"/>
                  <a:gd name="T11" fmla="*/ 194 h 198"/>
                  <a:gd name="T12" fmla="*/ 41 w 125"/>
                  <a:gd name="T13" fmla="*/ 198 h 198"/>
                  <a:gd name="T14" fmla="*/ 85 w 125"/>
                  <a:gd name="T15" fmla="*/ 198 h 198"/>
                  <a:gd name="T16" fmla="*/ 89 w 125"/>
                  <a:gd name="T17" fmla="*/ 194 h 198"/>
                  <a:gd name="T18" fmla="*/ 89 w 125"/>
                  <a:gd name="T19" fmla="*/ 82 h 198"/>
                  <a:gd name="T20" fmla="*/ 93 w 125"/>
                  <a:gd name="T21" fmla="*/ 78 h 198"/>
                  <a:gd name="T22" fmla="*/ 119 w 125"/>
                  <a:gd name="T23" fmla="*/ 78 h 198"/>
                  <a:gd name="T24" fmla="*/ 123 w 125"/>
                  <a:gd name="T25" fmla="*/ 71 h 198"/>
                  <a:gd name="T26" fmla="*/ 65 w 125"/>
                  <a:gd name="T27" fmla="*/ 2 h 198"/>
                  <a:gd name="T28" fmla="*/ 58 w 125"/>
                  <a:gd name="T29" fmla="*/ 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" h="198">
                    <a:moveTo>
                      <a:pt x="58" y="2"/>
                    </a:moveTo>
                    <a:cubicBezTo>
                      <a:pt x="3" y="71"/>
                      <a:pt x="3" y="71"/>
                      <a:pt x="3" y="71"/>
                    </a:cubicBezTo>
                    <a:cubicBezTo>
                      <a:pt x="0" y="74"/>
                      <a:pt x="3" y="78"/>
                      <a:pt x="6" y="78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7" y="80"/>
                      <a:pt x="37" y="82"/>
                    </a:cubicBezTo>
                    <a:cubicBezTo>
                      <a:pt x="37" y="194"/>
                      <a:pt x="37" y="194"/>
                      <a:pt x="37" y="194"/>
                    </a:cubicBezTo>
                    <a:cubicBezTo>
                      <a:pt x="37" y="196"/>
                      <a:pt x="39" y="198"/>
                      <a:pt x="41" y="198"/>
                    </a:cubicBezTo>
                    <a:cubicBezTo>
                      <a:pt x="85" y="198"/>
                      <a:pt x="85" y="198"/>
                      <a:pt x="85" y="198"/>
                    </a:cubicBezTo>
                    <a:cubicBezTo>
                      <a:pt x="87" y="198"/>
                      <a:pt x="89" y="196"/>
                      <a:pt x="89" y="194"/>
                    </a:cubicBezTo>
                    <a:cubicBezTo>
                      <a:pt x="89" y="82"/>
                      <a:pt x="89" y="82"/>
                      <a:pt x="89" y="82"/>
                    </a:cubicBezTo>
                    <a:cubicBezTo>
                      <a:pt x="89" y="80"/>
                      <a:pt x="91" y="78"/>
                      <a:pt x="93" y="78"/>
                    </a:cubicBezTo>
                    <a:cubicBezTo>
                      <a:pt x="119" y="78"/>
                      <a:pt x="119" y="78"/>
                      <a:pt x="119" y="78"/>
                    </a:cubicBezTo>
                    <a:cubicBezTo>
                      <a:pt x="123" y="78"/>
                      <a:pt x="125" y="74"/>
                      <a:pt x="123" y="71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63" y="0"/>
                      <a:pt x="59" y="0"/>
                      <a:pt x="58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1D97C985-C125-4ED7-8B80-B0352E988207}"/>
                  </a:ext>
                </a:extLst>
              </p:cNvPr>
              <p:cNvSpPr txBox="1"/>
              <p:nvPr/>
            </p:nvSpPr>
            <p:spPr>
              <a:xfrm>
                <a:off x="6490156" y="924971"/>
                <a:ext cx="767894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2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3,250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3A4B54FA-0CC5-4089-8CC2-342F21A8D447}"/>
                  </a:ext>
                </a:extLst>
              </p:cNvPr>
              <p:cNvSpPr txBox="1"/>
              <p:nvPr/>
            </p:nvSpPr>
            <p:spPr>
              <a:xfrm>
                <a:off x="6246966" y="1267428"/>
                <a:ext cx="3700697" cy="307777"/>
              </a:xfrm>
              <a:prstGeom prst="rect">
                <a:avLst/>
              </a:prstGeom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chemeClr val="tx2"/>
                    </a:solidFill>
                    <a:cs typeface="Segoe UI Light" panose="020B0502040204020203" pitchFamily="34" charset="0"/>
                  </a:rPr>
                  <a:t>This is a sample text. insert your desired text here</a:t>
                </a:r>
                <a:r>
                  <a:rPr lang="en-IN" sz="1400" dirty="0">
                    <a:solidFill>
                      <a:schemeClr val="bg1">
                        <a:lumMod val="65000"/>
                      </a:schemeClr>
                    </a:solidFill>
                  </a:rPr>
                  <a:t>.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7D4652F9-7637-40AC-AB1A-BF6EA785602F}"/>
                </a:ext>
              </a:extLst>
            </p:cNvPr>
            <p:cNvGrpSpPr/>
            <p:nvPr/>
          </p:nvGrpSpPr>
          <p:grpSpPr>
            <a:xfrm>
              <a:off x="6246966" y="1578629"/>
              <a:ext cx="3700697" cy="650234"/>
              <a:chOff x="6246966" y="924971"/>
              <a:chExt cx="3700697" cy="650234"/>
            </a:xfrm>
          </p:grpSpPr>
          <p:sp>
            <p:nvSpPr>
              <p:cNvPr id="23" name="Freeform 4642">
                <a:extLst>
                  <a:ext uri="{FF2B5EF4-FFF2-40B4-BE49-F238E27FC236}">
                    <a16:creationId xmlns:a16="http://schemas.microsoft.com/office/drawing/2014/main" id="{6BCF1D6E-F927-4588-B582-D3EA6DA5B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6473" y="1000038"/>
                <a:ext cx="165466" cy="261542"/>
              </a:xfrm>
              <a:custGeom>
                <a:avLst/>
                <a:gdLst>
                  <a:gd name="T0" fmla="*/ 58 w 125"/>
                  <a:gd name="T1" fmla="*/ 2 h 198"/>
                  <a:gd name="T2" fmla="*/ 3 w 125"/>
                  <a:gd name="T3" fmla="*/ 71 h 198"/>
                  <a:gd name="T4" fmla="*/ 6 w 125"/>
                  <a:gd name="T5" fmla="*/ 78 h 198"/>
                  <a:gd name="T6" fmla="*/ 33 w 125"/>
                  <a:gd name="T7" fmla="*/ 78 h 198"/>
                  <a:gd name="T8" fmla="*/ 37 w 125"/>
                  <a:gd name="T9" fmla="*/ 82 h 198"/>
                  <a:gd name="T10" fmla="*/ 37 w 125"/>
                  <a:gd name="T11" fmla="*/ 194 h 198"/>
                  <a:gd name="T12" fmla="*/ 41 w 125"/>
                  <a:gd name="T13" fmla="*/ 198 h 198"/>
                  <a:gd name="T14" fmla="*/ 85 w 125"/>
                  <a:gd name="T15" fmla="*/ 198 h 198"/>
                  <a:gd name="T16" fmla="*/ 89 w 125"/>
                  <a:gd name="T17" fmla="*/ 194 h 198"/>
                  <a:gd name="T18" fmla="*/ 89 w 125"/>
                  <a:gd name="T19" fmla="*/ 82 h 198"/>
                  <a:gd name="T20" fmla="*/ 93 w 125"/>
                  <a:gd name="T21" fmla="*/ 78 h 198"/>
                  <a:gd name="T22" fmla="*/ 119 w 125"/>
                  <a:gd name="T23" fmla="*/ 78 h 198"/>
                  <a:gd name="T24" fmla="*/ 123 w 125"/>
                  <a:gd name="T25" fmla="*/ 71 h 198"/>
                  <a:gd name="T26" fmla="*/ 65 w 125"/>
                  <a:gd name="T27" fmla="*/ 2 h 198"/>
                  <a:gd name="T28" fmla="*/ 58 w 125"/>
                  <a:gd name="T29" fmla="*/ 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" h="198">
                    <a:moveTo>
                      <a:pt x="58" y="2"/>
                    </a:moveTo>
                    <a:cubicBezTo>
                      <a:pt x="3" y="71"/>
                      <a:pt x="3" y="71"/>
                      <a:pt x="3" y="71"/>
                    </a:cubicBezTo>
                    <a:cubicBezTo>
                      <a:pt x="0" y="74"/>
                      <a:pt x="3" y="78"/>
                      <a:pt x="6" y="78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7" y="80"/>
                      <a:pt x="37" y="82"/>
                    </a:cubicBezTo>
                    <a:cubicBezTo>
                      <a:pt x="37" y="194"/>
                      <a:pt x="37" y="194"/>
                      <a:pt x="37" y="194"/>
                    </a:cubicBezTo>
                    <a:cubicBezTo>
                      <a:pt x="37" y="196"/>
                      <a:pt x="39" y="198"/>
                      <a:pt x="41" y="198"/>
                    </a:cubicBezTo>
                    <a:cubicBezTo>
                      <a:pt x="85" y="198"/>
                      <a:pt x="85" y="198"/>
                      <a:pt x="85" y="198"/>
                    </a:cubicBezTo>
                    <a:cubicBezTo>
                      <a:pt x="87" y="198"/>
                      <a:pt x="89" y="196"/>
                      <a:pt x="89" y="194"/>
                    </a:cubicBezTo>
                    <a:cubicBezTo>
                      <a:pt x="89" y="82"/>
                      <a:pt x="89" y="82"/>
                      <a:pt x="89" y="82"/>
                    </a:cubicBezTo>
                    <a:cubicBezTo>
                      <a:pt x="89" y="80"/>
                      <a:pt x="91" y="78"/>
                      <a:pt x="93" y="78"/>
                    </a:cubicBezTo>
                    <a:cubicBezTo>
                      <a:pt x="119" y="78"/>
                      <a:pt x="119" y="78"/>
                      <a:pt x="119" y="78"/>
                    </a:cubicBezTo>
                    <a:cubicBezTo>
                      <a:pt x="123" y="78"/>
                      <a:pt x="125" y="74"/>
                      <a:pt x="123" y="71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63" y="0"/>
                      <a:pt x="59" y="0"/>
                      <a:pt x="58" y="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1BAD429B-27DB-4360-B664-722EE8753684}"/>
                  </a:ext>
                </a:extLst>
              </p:cNvPr>
              <p:cNvSpPr txBox="1"/>
              <p:nvPr/>
            </p:nvSpPr>
            <p:spPr>
              <a:xfrm>
                <a:off x="6490156" y="924971"/>
                <a:ext cx="767894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id-ID" sz="2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4,553</a:t>
                </a:r>
                <a:endParaRPr lang="en-US" sz="24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63F3C3DD-DF50-4E43-9C82-82F8E4DDA75D}"/>
                  </a:ext>
                </a:extLst>
              </p:cNvPr>
              <p:cNvSpPr txBox="1"/>
              <p:nvPr/>
            </p:nvSpPr>
            <p:spPr>
              <a:xfrm>
                <a:off x="6246966" y="1267428"/>
                <a:ext cx="3700697" cy="307777"/>
              </a:xfrm>
              <a:prstGeom prst="rect">
                <a:avLst/>
              </a:prstGeom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chemeClr val="tx2"/>
                    </a:solidFill>
                    <a:cs typeface="Segoe UI Light" panose="020B0502040204020203" pitchFamily="34" charset="0"/>
                  </a:rPr>
                  <a:t>This is a sample text. insert your desired text here</a:t>
                </a:r>
                <a:r>
                  <a:rPr lang="en-IN" sz="1400" dirty="0">
                    <a:solidFill>
                      <a:schemeClr val="bg1">
                        <a:lumMod val="65000"/>
                      </a:schemeClr>
                    </a:solidFill>
                  </a:rPr>
                  <a:t>.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C61B7E64-A306-4DA9-8494-E3CF915C55A1}"/>
                </a:ext>
              </a:extLst>
            </p:cNvPr>
            <p:cNvGrpSpPr/>
            <p:nvPr/>
          </p:nvGrpSpPr>
          <p:grpSpPr>
            <a:xfrm>
              <a:off x="6246966" y="2232288"/>
              <a:ext cx="3700697" cy="675946"/>
              <a:chOff x="6246966" y="924971"/>
              <a:chExt cx="3700697" cy="675946"/>
            </a:xfrm>
          </p:grpSpPr>
          <p:sp>
            <p:nvSpPr>
              <p:cNvPr id="27" name="Freeform 4642">
                <a:extLst>
                  <a:ext uri="{FF2B5EF4-FFF2-40B4-BE49-F238E27FC236}">
                    <a16:creationId xmlns:a16="http://schemas.microsoft.com/office/drawing/2014/main" id="{685F5BC3-A169-4498-86F4-1F766DFC916B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6306473" y="1000038"/>
                <a:ext cx="165466" cy="261542"/>
              </a:xfrm>
              <a:custGeom>
                <a:avLst/>
                <a:gdLst>
                  <a:gd name="T0" fmla="*/ 58 w 125"/>
                  <a:gd name="T1" fmla="*/ 2 h 198"/>
                  <a:gd name="T2" fmla="*/ 3 w 125"/>
                  <a:gd name="T3" fmla="*/ 71 h 198"/>
                  <a:gd name="T4" fmla="*/ 6 w 125"/>
                  <a:gd name="T5" fmla="*/ 78 h 198"/>
                  <a:gd name="T6" fmla="*/ 33 w 125"/>
                  <a:gd name="T7" fmla="*/ 78 h 198"/>
                  <a:gd name="T8" fmla="*/ 37 w 125"/>
                  <a:gd name="T9" fmla="*/ 82 h 198"/>
                  <a:gd name="T10" fmla="*/ 37 w 125"/>
                  <a:gd name="T11" fmla="*/ 194 h 198"/>
                  <a:gd name="T12" fmla="*/ 41 w 125"/>
                  <a:gd name="T13" fmla="*/ 198 h 198"/>
                  <a:gd name="T14" fmla="*/ 85 w 125"/>
                  <a:gd name="T15" fmla="*/ 198 h 198"/>
                  <a:gd name="T16" fmla="*/ 89 w 125"/>
                  <a:gd name="T17" fmla="*/ 194 h 198"/>
                  <a:gd name="T18" fmla="*/ 89 w 125"/>
                  <a:gd name="T19" fmla="*/ 82 h 198"/>
                  <a:gd name="T20" fmla="*/ 93 w 125"/>
                  <a:gd name="T21" fmla="*/ 78 h 198"/>
                  <a:gd name="T22" fmla="*/ 119 w 125"/>
                  <a:gd name="T23" fmla="*/ 78 h 198"/>
                  <a:gd name="T24" fmla="*/ 123 w 125"/>
                  <a:gd name="T25" fmla="*/ 71 h 198"/>
                  <a:gd name="T26" fmla="*/ 65 w 125"/>
                  <a:gd name="T27" fmla="*/ 2 h 198"/>
                  <a:gd name="T28" fmla="*/ 58 w 125"/>
                  <a:gd name="T29" fmla="*/ 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" h="198">
                    <a:moveTo>
                      <a:pt x="58" y="2"/>
                    </a:moveTo>
                    <a:cubicBezTo>
                      <a:pt x="3" y="71"/>
                      <a:pt x="3" y="71"/>
                      <a:pt x="3" y="71"/>
                    </a:cubicBezTo>
                    <a:cubicBezTo>
                      <a:pt x="0" y="74"/>
                      <a:pt x="3" y="78"/>
                      <a:pt x="6" y="78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7" y="80"/>
                      <a:pt x="37" y="82"/>
                    </a:cubicBezTo>
                    <a:cubicBezTo>
                      <a:pt x="37" y="194"/>
                      <a:pt x="37" y="194"/>
                      <a:pt x="37" y="194"/>
                    </a:cubicBezTo>
                    <a:cubicBezTo>
                      <a:pt x="37" y="196"/>
                      <a:pt x="39" y="198"/>
                      <a:pt x="41" y="198"/>
                    </a:cubicBezTo>
                    <a:cubicBezTo>
                      <a:pt x="85" y="198"/>
                      <a:pt x="85" y="198"/>
                      <a:pt x="85" y="198"/>
                    </a:cubicBezTo>
                    <a:cubicBezTo>
                      <a:pt x="87" y="198"/>
                      <a:pt x="89" y="196"/>
                      <a:pt x="89" y="194"/>
                    </a:cubicBezTo>
                    <a:cubicBezTo>
                      <a:pt x="89" y="82"/>
                      <a:pt x="89" y="82"/>
                      <a:pt x="89" y="82"/>
                    </a:cubicBezTo>
                    <a:cubicBezTo>
                      <a:pt x="89" y="80"/>
                      <a:pt x="91" y="78"/>
                      <a:pt x="93" y="78"/>
                    </a:cubicBezTo>
                    <a:cubicBezTo>
                      <a:pt x="119" y="78"/>
                      <a:pt x="119" y="78"/>
                      <a:pt x="119" y="78"/>
                    </a:cubicBezTo>
                    <a:cubicBezTo>
                      <a:pt x="123" y="78"/>
                      <a:pt x="125" y="74"/>
                      <a:pt x="123" y="71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63" y="0"/>
                      <a:pt x="59" y="0"/>
                      <a:pt x="58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3280C273-17B2-4AFF-B3FD-B5D46C6C79C0}"/>
                  </a:ext>
                </a:extLst>
              </p:cNvPr>
              <p:cNvSpPr txBox="1"/>
              <p:nvPr/>
            </p:nvSpPr>
            <p:spPr>
              <a:xfrm>
                <a:off x="6490156" y="924971"/>
                <a:ext cx="767894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id-ID" sz="2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6,121</a:t>
                </a:r>
                <a:endParaRPr lang="en-US" sz="24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67ADF85-9E4E-41B7-8F27-570F49882FFD}"/>
                  </a:ext>
                </a:extLst>
              </p:cNvPr>
              <p:cNvSpPr txBox="1"/>
              <p:nvPr/>
            </p:nvSpPr>
            <p:spPr>
              <a:xfrm>
                <a:off x="6246966" y="1267428"/>
                <a:ext cx="3700697" cy="333489"/>
              </a:xfrm>
              <a:prstGeom prst="rect">
                <a:avLst/>
              </a:prstGeom>
            </p:spPr>
            <p:txBody>
              <a:bodyPr wrap="square" rtlCol="0">
                <a:spAutoFit/>
              </a:bodyPr>
              <a:lstStyle/>
              <a:p>
                <a:pPr algn="just">
                  <a:lnSpc>
                    <a:spcPct val="120000"/>
                  </a:lnSpc>
                </a:pPr>
                <a:r>
                  <a:rPr lang="en-US" altLang="zh-CN" sz="1400" dirty="0">
                    <a:solidFill>
                      <a:schemeClr val="tx2"/>
                    </a:solidFill>
                    <a:cs typeface="Segoe UI Light" panose="020B0502040204020203" pitchFamily="34" charset="0"/>
                  </a:rPr>
                  <a:t>This is a sample text. insert your desired text here. </a:t>
                </a:r>
              </a:p>
            </p:txBody>
          </p:sp>
        </p:grpSp>
      </p:grpSp>
      <p:sp>
        <p:nvSpPr>
          <p:cNvPr id="32" name="Rectangle 3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E62DD645-1426-48EA-83CD-275842F9663D}"/>
              </a:ext>
            </a:extLst>
          </p:cNvPr>
          <p:cNvSpPr/>
          <p:nvPr/>
        </p:nvSpPr>
        <p:spPr>
          <a:xfrm>
            <a:off x="1050127" y="2140422"/>
            <a:ext cx="4607723" cy="1185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1200" dirty="0">
                <a:solidFill>
                  <a:schemeClr val="tx2"/>
                </a:solidFill>
                <a:cs typeface="Segoe UI Light" panose="020B0502040204020203" pitchFamily="34" charset="0"/>
              </a:rPr>
              <a:t>This is a sample text. insert your desired text here. Again. this is a dummy text. enter your own text here. </a:t>
            </a:r>
            <a:r>
              <a:rPr lang="en-US" altLang="zh-CN" sz="1200" dirty="0">
                <a:solidFill>
                  <a:schemeClr val="tx2"/>
                </a:solidFill>
                <a:cs typeface="Segoe UI Light" panose="020B0502040204020203" pitchFamily="34" charset="0"/>
              </a:rPr>
              <a:t>This is a sample text. insert your desired text here. Again. this is a dummy text. enter your own text here. </a:t>
            </a:r>
          </a:p>
          <a:p>
            <a:pPr algn="just">
              <a:lnSpc>
                <a:spcPct val="120000"/>
              </a:lnSpc>
            </a:pPr>
            <a:endParaRPr lang="en-US" sz="1200" dirty="0">
              <a:solidFill>
                <a:schemeClr val="tx2"/>
              </a:solidFill>
              <a:cs typeface="Segoe UI Light" panose="020B0502040204020203" pitchFamily="34" charset="0"/>
            </a:endParaRPr>
          </a:p>
        </p:txBody>
      </p:sp>
      <p:pic>
        <p:nvPicPr>
          <p:cNvPr id="34" name="图片 3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667385" y="-312362"/>
            <a:ext cx="1334770" cy="1512512"/>
          </a:xfrm>
          <a:prstGeom prst="rect">
            <a:avLst/>
          </a:prstGeom>
        </p:spPr>
      </p:pic>
      <p:sp>
        <p:nvSpPr>
          <p:cNvPr id="9" name="e7d195523061f1c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 hidden="1"/>
          <p:cNvSpPr txBox="1"/>
          <p:nvPr/>
        </p:nvSpPr>
        <p:spPr>
          <a:xfrm>
            <a:off x="-355600" y="1803400"/>
            <a:ext cx="329642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4093848676"/>
      </p:ext>
    </p:extLst>
  </p:cSld>
  <p:clrMapOvr>
    <a:masterClrMapping/>
  </p:clrMapOvr>
  <p:transition spd="slow">
    <p:push dir="d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图片 9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13152" y="4359286"/>
            <a:ext cx="2674198" cy="3030300"/>
          </a:xfrm>
          <a:prstGeom prst="rect">
            <a:avLst/>
          </a:prstGeom>
        </p:spPr>
      </p:pic>
      <p:pic>
        <p:nvPicPr>
          <p:cNvPr id="100" name="图片 9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667386" y="-312362"/>
            <a:ext cx="1849859" cy="2096192"/>
          </a:xfrm>
          <a:prstGeom prst="rect">
            <a:avLst/>
          </a:prstGeom>
        </p:spPr>
      </p:pic>
      <p:sp>
        <p:nvSpPr>
          <p:cNvPr id="41" name="Rectangle 4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52500" y="680484"/>
            <a:ext cx="2386123" cy="334925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688361" y="680484"/>
            <a:ext cx="91440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43" name="Rectangle 4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84077" y="1899850"/>
            <a:ext cx="2122967" cy="6639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PROJECT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srgbClr val="F39C12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PROCESS </a:t>
            </a:r>
          </a:p>
        </p:txBody>
      </p:sp>
      <p:sp>
        <p:nvSpPr>
          <p:cNvPr id="44" name="Rectangle 4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42905" y="680483"/>
            <a:ext cx="2386123" cy="549171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42904" y="680484"/>
            <a:ext cx="2386123" cy="5847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46" name="TextBox 4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127746" y="1600200"/>
            <a:ext cx="20164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AWESOME TEAM</a:t>
            </a:r>
          </a:p>
          <a:p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CREATIVE</a:t>
            </a:r>
          </a:p>
          <a:p>
            <a:endParaRPr lang="en-US" sz="900" dirty="0">
              <a:solidFill>
                <a:schemeClr val="bg1">
                  <a:lumMod val="6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Open Sans" panose="020B0606030504020204" pitchFamily="34" charset="0"/>
            </a:endParaRPr>
          </a:p>
        </p:txBody>
      </p:sp>
      <p:sp>
        <p:nvSpPr>
          <p:cNvPr id="47" name="TextBox 4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127746" y="2484681"/>
            <a:ext cx="20164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AWESOME TEAM</a:t>
            </a:r>
          </a:p>
          <a:p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CREATIVE</a:t>
            </a:r>
          </a:p>
          <a:p>
            <a:endParaRPr lang="en-US" sz="900" dirty="0">
              <a:solidFill>
                <a:schemeClr val="bg1">
                  <a:lumMod val="6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Open Sans" panose="020B0606030504020204" pitchFamily="34" charset="0"/>
            </a:endParaRPr>
          </a:p>
        </p:txBody>
      </p:sp>
      <p:sp>
        <p:nvSpPr>
          <p:cNvPr id="48" name="Rectangle 4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42904" y="4545309"/>
            <a:ext cx="1828800" cy="251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90%</a:t>
            </a:r>
          </a:p>
        </p:txBody>
      </p:sp>
      <p:sp>
        <p:nvSpPr>
          <p:cNvPr id="49" name="Rectangle 4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771703" y="4545309"/>
            <a:ext cx="557323" cy="251530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42904" y="4906816"/>
            <a:ext cx="1188720" cy="2515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50%</a:t>
            </a:r>
          </a:p>
        </p:txBody>
      </p:sp>
      <p:sp>
        <p:nvSpPr>
          <p:cNvPr id="51" name="Rectangle 5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131624" y="4906816"/>
            <a:ext cx="1197402" cy="251530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42904" y="5268323"/>
            <a:ext cx="457200" cy="2515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10%</a:t>
            </a:r>
          </a:p>
        </p:txBody>
      </p:sp>
      <p:sp>
        <p:nvSpPr>
          <p:cNvPr id="53" name="Rectangle 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400103" y="5268323"/>
            <a:ext cx="1928923" cy="251530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42904" y="5629830"/>
            <a:ext cx="1890822" cy="2515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92%</a:t>
            </a:r>
          </a:p>
        </p:txBody>
      </p:sp>
      <p:sp>
        <p:nvSpPr>
          <p:cNvPr id="55" name="Rectangle 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833726" y="5629830"/>
            <a:ext cx="495300" cy="251530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933309" y="680484"/>
            <a:ext cx="4229991" cy="334925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933308" y="680485"/>
            <a:ext cx="4229992" cy="30834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THE CREATIVE TEAM INFORMATION:</a:t>
            </a:r>
          </a:p>
        </p:txBody>
      </p:sp>
      <p:sp>
        <p:nvSpPr>
          <p:cNvPr id="58" name="Rectangle 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065704" y="1243204"/>
            <a:ext cx="4097596" cy="229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THE SUCCESS PROCESS</a:t>
            </a:r>
          </a:p>
        </p:txBody>
      </p:sp>
      <p:sp>
        <p:nvSpPr>
          <p:cNvPr id="59" name="Rectangle 5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52500" y="4552288"/>
            <a:ext cx="2386123" cy="16409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123405" y="3429000"/>
            <a:ext cx="20164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AWESOME TEAM</a:t>
            </a:r>
          </a:p>
          <a:p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CREATIVE</a:t>
            </a:r>
          </a:p>
          <a:p>
            <a:endParaRPr lang="en-US" sz="900" dirty="0">
              <a:solidFill>
                <a:schemeClr val="bg1">
                  <a:lumMod val="6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Open Sans" panose="020B0606030504020204" pitchFamily="34" charset="0"/>
            </a:endParaRPr>
          </a:p>
        </p:txBody>
      </p:sp>
      <p:graphicFrame>
        <p:nvGraphicFramePr>
          <p:cNvPr id="61" name="Chart 6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aphicFramePr/>
          <p:nvPr/>
        </p:nvGraphicFramePr>
        <p:xfrm>
          <a:off x="7040895" y="2632052"/>
          <a:ext cx="4122405" cy="1274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2" name="Oval 6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550027" y="4777207"/>
            <a:ext cx="1191066" cy="119106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60%</a:t>
            </a:r>
          </a:p>
        </p:txBody>
      </p:sp>
      <p:sp>
        <p:nvSpPr>
          <p:cNvPr id="63" name="Arc 6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550025" y="4777207"/>
            <a:ext cx="1191066" cy="1191066"/>
          </a:xfrm>
          <a:prstGeom prst="arc">
            <a:avLst>
              <a:gd name="adj1" fmla="val 16200000"/>
              <a:gd name="adj2" fmla="val 7882882"/>
            </a:avLst>
          </a:prstGeom>
          <a:noFill/>
          <a:ln w="76200" cap="rnd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933308" y="4541792"/>
            <a:ext cx="1371600" cy="16409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6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791700" y="4541792"/>
            <a:ext cx="1371600" cy="16409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362504" y="4541792"/>
            <a:ext cx="1371600" cy="16409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324782" y="4679671"/>
            <a:ext cx="588652" cy="588652"/>
          </a:xfrm>
          <a:prstGeom prst="ellipse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8" name="Oval 6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53978" y="4679671"/>
            <a:ext cx="588652" cy="588652"/>
          </a:xfrm>
          <a:prstGeom prst="ellipse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69" name="Oval 6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183174" y="4679671"/>
            <a:ext cx="588652" cy="588652"/>
          </a:xfrm>
          <a:prstGeom prst="ellipse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0" name="TextBox 6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114064" y="5457209"/>
            <a:ext cx="1010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INFOGRAPHIC </a:t>
            </a:r>
          </a:p>
          <a:p>
            <a:pPr algn="ctr"/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CREATIVE</a:t>
            </a:r>
            <a:endParaRPr lang="en-US" sz="900" dirty="0">
              <a:solidFill>
                <a:schemeClr val="bg1">
                  <a:lumMod val="6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Open Sans" panose="020B0606030504020204" pitchFamily="34" charset="0"/>
            </a:endParaRPr>
          </a:p>
        </p:txBody>
      </p:sp>
      <p:sp>
        <p:nvSpPr>
          <p:cNvPr id="71" name="TextBox 7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8543260" y="5457209"/>
            <a:ext cx="1010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INFOGRAPHIC </a:t>
            </a:r>
          </a:p>
          <a:p>
            <a:pPr algn="ctr"/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CREATIVE</a:t>
            </a:r>
            <a:endParaRPr lang="en-US" sz="900" dirty="0">
              <a:solidFill>
                <a:schemeClr val="bg1">
                  <a:lumMod val="6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Open Sans" panose="020B0606030504020204" pitchFamily="34" charset="0"/>
            </a:endParaRPr>
          </a:p>
        </p:txBody>
      </p:sp>
      <p:sp>
        <p:nvSpPr>
          <p:cNvPr id="72" name="TextBox 7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9972456" y="5457209"/>
            <a:ext cx="1010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INFOGRAPHIC </a:t>
            </a:r>
          </a:p>
          <a:p>
            <a:pPr algn="ctr"/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Open Sans" panose="020B0606030504020204" pitchFamily="34" charset="0"/>
              </a:rPr>
              <a:t>CREATIVE</a:t>
            </a:r>
            <a:endParaRPr lang="en-US" sz="900" dirty="0">
              <a:solidFill>
                <a:schemeClr val="bg1">
                  <a:lumMod val="6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Open Sans" panose="020B0606030504020204" pitchFamily="34" charset="0"/>
            </a:endParaRPr>
          </a:p>
        </p:txBody>
      </p:sp>
      <p:sp>
        <p:nvSpPr>
          <p:cNvPr id="2" name="矩形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091192" y="1955180"/>
            <a:ext cx="204132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tx2"/>
                </a:solidFill>
                <a:cs typeface="Segoe UI Light" panose="020B0502040204020203" pitchFamily="34" charset="0"/>
              </a:rPr>
              <a:t>This is a sample text. insert your desired text here</a:t>
            </a:r>
            <a:endParaRPr lang="zh-CN" altLang="en-US" sz="1100" dirty="0"/>
          </a:p>
        </p:txBody>
      </p:sp>
      <p:sp>
        <p:nvSpPr>
          <p:cNvPr id="35" name="矩形 3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091192" y="2827108"/>
            <a:ext cx="204132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tx2"/>
                </a:solidFill>
                <a:cs typeface="Segoe UI Light" panose="020B0502040204020203" pitchFamily="34" charset="0"/>
              </a:rPr>
              <a:t>This is a sample text. insert your desired text here</a:t>
            </a:r>
            <a:endParaRPr lang="zh-CN" altLang="en-US" sz="1100" dirty="0"/>
          </a:p>
        </p:txBody>
      </p:sp>
      <p:sp>
        <p:nvSpPr>
          <p:cNvPr id="36" name="矩形 3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091192" y="3758997"/>
            <a:ext cx="204132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tx2"/>
                </a:solidFill>
                <a:cs typeface="Segoe UI Light" panose="020B0502040204020203" pitchFamily="34" charset="0"/>
              </a:rPr>
              <a:t>This is a sample text. insert your desired text here</a:t>
            </a:r>
            <a:endParaRPr lang="zh-CN" altLang="en-US" sz="1100" dirty="0"/>
          </a:p>
        </p:txBody>
      </p:sp>
      <p:sp>
        <p:nvSpPr>
          <p:cNvPr id="37" name="Rectangle 3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E62DD645-1426-48EA-83CD-275842F9663D}"/>
              </a:ext>
            </a:extLst>
          </p:cNvPr>
          <p:cNvSpPr/>
          <p:nvPr/>
        </p:nvSpPr>
        <p:spPr>
          <a:xfrm>
            <a:off x="7076174" y="1435884"/>
            <a:ext cx="395658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1100" dirty="0">
                <a:solidFill>
                  <a:schemeClr val="tx2"/>
                </a:solidFill>
                <a:cs typeface="Segoe UI Light" panose="020B0502040204020203" pitchFamily="34" charset="0"/>
              </a:rPr>
              <a:t>This is a sample text. insert your desired text here. Again. this is a dummy text. enter your own text here. </a:t>
            </a:r>
            <a:r>
              <a:rPr lang="en-US" altLang="zh-CN" sz="1100" dirty="0">
                <a:solidFill>
                  <a:schemeClr val="tx2"/>
                </a:solidFill>
                <a:cs typeface="Segoe UI Light" panose="020B0502040204020203" pitchFamily="34" charset="0"/>
              </a:rPr>
              <a:t>This is a sample text. insert your desired text here. Again. this is a dummy text. enter your own text here. </a:t>
            </a:r>
          </a:p>
          <a:p>
            <a:pPr algn="just">
              <a:lnSpc>
                <a:spcPct val="120000"/>
              </a:lnSpc>
            </a:pPr>
            <a:endParaRPr lang="en-US" sz="1100" dirty="0">
              <a:solidFill>
                <a:schemeClr val="tx2"/>
              </a:solidFill>
              <a:cs typeface="Segoe UI Light" panose="020B0502040204020203" pitchFamily="34" charset="0"/>
            </a:endParaRPr>
          </a:p>
        </p:txBody>
      </p:sp>
      <p:sp>
        <p:nvSpPr>
          <p:cNvPr id="3" name="矩形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264171" y="2701101"/>
            <a:ext cx="17788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>
                <a:solidFill>
                  <a:schemeClr val="tx2"/>
                </a:solidFill>
                <a:cs typeface="Segoe UI Light" panose="020B0502040204020203" pitchFamily="34" charset="0"/>
              </a:rPr>
              <a:t>This is a sample text. insert your desired text here. Again. this is a dummy text. </a:t>
            </a:r>
            <a:endParaRPr lang="zh-CN" altLang="en-US" sz="1200" dirty="0"/>
          </a:p>
        </p:txBody>
      </p:sp>
      <p:sp>
        <p:nvSpPr>
          <p:cNvPr id="85" name="Freeform 2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EditPoints="1"/>
          </p:cNvSpPr>
          <p:nvPr/>
        </p:nvSpPr>
        <p:spPr bwMode="auto">
          <a:xfrm>
            <a:off x="1876773" y="886106"/>
            <a:ext cx="521654" cy="485311"/>
          </a:xfrm>
          <a:custGeom>
            <a:avLst/>
            <a:gdLst>
              <a:gd name="T0" fmla="*/ 494 w 933"/>
              <a:gd name="T1" fmla="*/ 8 h 868"/>
              <a:gd name="T2" fmla="*/ 466 w 933"/>
              <a:gd name="T3" fmla="*/ 0 h 868"/>
              <a:gd name="T4" fmla="*/ 439 w 933"/>
              <a:gd name="T5" fmla="*/ 8 h 868"/>
              <a:gd name="T6" fmla="*/ 14 w 933"/>
              <a:gd name="T7" fmla="*/ 431 h 868"/>
              <a:gd name="T8" fmla="*/ 1 w 933"/>
              <a:gd name="T9" fmla="*/ 456 h 868"/>
              <a:gd name="T10" fmla="*/ 4 w 933"/>
              <a:gd name="T11" fmla="*/ 485 h 868"/>
              <a:gd name="T12" fmla="*/ 14 w 933"/>
              <a:gd name="T13" fmla="*/ 501 h 868"/>
              <a:gd name="T14" fmla="*/ 40 w 933"/>
              <a:gd name="T15" fmla="*/ 514 h 868"/>
              <a:gd name="T16" fmla="*/ 68 w 933"/>
              <a:gd name="T17" fmla="*/ 511 h 868"/>
              <a:gd name="T18" fmla="*/ 107 w 933"/>
              <a:gd name="T19" fmla="*/ 478 h 868"/>
              <a:gd name="T20" fmla="*/ 108 w 933"/>
              <a:gd name="T21" fmla="*/ 750 h 868"/>
              <a:gd name="T22" fmla="*/ 118 w 933"/>
              <a:gd name="T23" fmla="*/ 788 h 868"/>
              <a:gd name="T24" fmla="*/ 137 w 933"/>
              <a:gd name="T25" fmla="*/ 820 h 868"/>
              <a:gd name="T26" fmla="*/ 165 w 933"/>
              <a:gd name="T27" fmla="*/ 845 h 868"/>
              <a:gd name="T28" fmla="*/ 199 w 933"/>
              <a:gd name="T29" fmla="*/ 862 h 868"/>
              <a:gd name="T30" fmla="*/ 238 w 933"/>
              <a:gd name="T31" fmla="*/ 868 h 868"/>
              <a:gd name="T32" fmla="*/ 708 w 933"/>
              <a:gd name="T33" fmla="*/ 868 h 868"/>
              <a:gd name="T34" fmla="*/ 746 w 933"/>
              <a:gd name="T35" fmla="*/ 857 h 868"/>
              <a:gd name="T36" fmla="*/ 778 w 933"/>
              <a:gd name="T37" fmla="*/ 838 h 868"/>
              <a:gd name="T38" fmla="*/ 803 w 933"/>
              <a:gd name="T39" fmla="*/ 810 h 868"/>
              <a:gd name="T40" fmla="*/ 820 w 933"/>
              <a:gd name="T41" fmla="*/ 776 h 868"/>
              <a:gd name="T42" fmla="*/ 826 w 933"/>
              <a:gd name="T43" fmla="*/ 737 h 868"/>
              <a:gd name="T44" fmla="*/ 849 w 933"/>
              <a:gd name="T45" fmla="*/ 501 h 868"/>
              <a:gd name="T46" fmla="*/ 874 w 933"/>
              <a:gd name="T47" fmla="*/ 514 h 868"/>
              <a:gd name="T48" fmla="*/ 893 w 933"/>
              <a:gd name="T49" fmla="*/ 514 h 868"/>
              <a:gd name="T50" fmla="*/ 919 w 933"/>
              <a:gd name="T51" fmla="*/ 501 h 868"/>
              <a:gd name="T52" fmla="*/ 929 w 933"/>
              <a:gd name="T53" fmla="*/ 485 h 868"/>
              <a:gd name="T54" fmla="*/ 932 w 933"/>
              <a:gd name="T55" fmla="*/ 456 h 868"/>
              <a:gd name="T56" fmla="*/ 919 w 933"/>
              <a:gd name="T57" fmla="*/ 431 h 868"/>
              <a:gd name="T58" fmla="*/ 760 w 933"/>
              <a:gd name="T59" fmla="*/ 737 h 868"/>
              <a:gd name="T60" fmla="*/ 749 w 933"/>
              <a:gd name="T61" fmla="*/ 773 h 868"/>
              <a:gd name="T62" fmla="*/ 720 w 933"/>
              <a:gd name="T63" fmla="*/ 797 h 868"/>
              <a:gd name="T64" fmla="*/ 238 w 933"/>
              <a:gd name="T65" fmla="*/ 803 h 868"/>
              <a:gd name="T66" fmla="*/ 213 w 933"/>
              <a:gd name="T67" fmla="*/ 797 h 868"/>
              <a:gd name="T68" fmla="*/ 184 w 933"/>
              <a:gd name="T69" fmla="*/ 773 h 868"/>
              <a:gd name="T70" fmla="*/ 173 w 933"/>
              <a:gd name="T71" fmla="*/ 737 h 868"/>
              <a:gd name="T72" fmla="*/ 760 w 933"/>
              <a:gd name="T73" fmla="*/ 413 h 868"/>
              <a:gd name="T74" fmla="*/ 313 w 933"/>
              <a:gd name="T75" fmla="*/ 712 h 868"/>
              <a:gd name="T76" fmla="*/ 318 w 933"/>
              <a:gd name="T77" fmla="*/ 724 h 868"/>
              <a:gd name="T78" fmla="*/ 604 w 933"/>
              <a:gd name="T79" fmla="*/ 729 h 868"/>
              <a:gd name="T80" fmla="*/ 615 w 933"/>
              <a:gd name="T81" fmla="*/ 724 h 868"/>
              <a:gd name="T82" fmla="*/ 620 w 933"/>
              <a:gd name="T83" fmla="*/ 438 h 868"/>
              <a:gd name="T84" fmla="*/ 615 w 933"/>
              <a:gd name="T85" fmla="*/ 426 h 868"/>
              <a:gd name="T86" fmla="*/ 329 w 933"/>
              <a:gd name="T87" fmla="*/ 421 h 868"/>
              <a:gd name="T88" fmla="*/ 318 w 933"/>
              <a:gd name="T89" fmla="*/ 426 h 868"/>
              <a:gd name="T90" fmla="*/ 313 w 933"/>
              <a:gd name="T91" fmla="*/ 438 h 868"/>
              <a:gd name="T92" fmla="*/ 587 w 933"/>
              <a:gd name="T93" fmla="*/ 696 h 8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33" h="868">
                <a:moveTo>
                  <a:pt x="501" y="14"/>
                </a:moveTo>
                <a:lnTo>
                  <a:pt x="501" y="14"/>
                </a:lnTo>
                <a:lnTo>
                  <a:pt x="494" y="8"/>
                </a:lnTo>
                <a:lnTo>
                  <a:pt x="485" y="4"/>
                </a:lnTo>
                <a:lnTo>
                  <a:pt x="476" y="1"/>
                </a:lnTo>
                <a:lnTo>
                  <a:pt x="466" y="0"/>
                </a:lnTo>
                <a:lnTo>
                  <a:pt x="457" y="1"/>
                </a:lnTo>
                <a:lnTo>
                  <a:pt x="448" y="4"/>
                </a:lnTo>
                <a:lnTo>
                  <a:pt x="439" y="8"/>
                </a:lnTo>
                <a:lnTo>
                  <a:pt x="432" y="14"/>
                </a:lnTo>
                <a:lnTo>
                  <a:pt x="14" y="431"/>
                </a:lnTo>
                <a:lnTo>
                  <a:pt x="14" y="431"/>
                </a:lnTo>
                <a:lnTo>
                  <a:pt x="8" y="439"/>
                </a:lnTo>
                <a:lnTo>
                  <a:pt x="4" y="448"/>
                </a:lnTo>
                <a:lnTo>
                  <a:pt x="1" y="456"/>
                </a:lnTo>
                <a:lnTo>
                  <a:pt x="0" y="466"/>
                </a:lnTo>
                <a:lnTo>
                  <a:pt x="1" y="475"/>
                </a:lnTo>
                <a:lnTo>
                  <a:pt x="4" y="485"/>
                </a:lnTo>
                <a:lnTo>
                  <a:pt x="8" y="493"/>
                </a:lnTo>
                <a:lnTo>
                  <a:pt x="14" y="501"/>
                </a:lnTo>
                <a:lnTo>
                  <a:pt x="14" y="501"/>
                </a:lnTo>
                <a:lnTo>
                  <a:pt x="23" y="507"/>
                </a:lnTo>
                <a:lnTo>
                  <a:pt x="31" y="511"/>
                </a:lnTo>
                <a:lnTo>
                  <a:pt x="40" y="514"/>
                </a:lnTo>
                <a:lnTo>
                  <a:pt x="49" y="515"/>
                </a:lnTo>
                <a:lnTo>
                  <a:pt x="59" y="514"/>
                </a:lnTo>
                <a:lnTo>
                  <a:pt x="68" y="511"/>
                </a:lnTo>
                <a:lnTo>
                  <a:pt x="77" y="507"/>
                </a:lnTo>
                <a:lnTo>
                  <a:pt x="84" y="501"/>
                </a:lnTo>
                <a:lnTo>
                  <a:pt x="107" y="478"/>
                </a:lnTo>
                <a:lnTo>
                  <a:pt x="107" y="737"/>
                </a:lnTo>
                <a:lnTo>
                  <a:pt x="107" y="737"/>
                </a:lnTo>
                <a:lnTo>
                  <a:pt x="108" y="750"/>
                </a:lnTo>
                <a:lnTo>
                  <a:pt x="109" y="764"/>
                </a:lnTo>
                <a:lnTo>
                  <a:pt x="113" y="776"/>
                </a:lnTo>
                <a:lnTo>
                  <a:pt x="118" y="788"/>
                </a:lnTo>
                <a:lnTo>
                  <a:pt x="122" y="800"/>
                </a:lnTo>
                <a:lnTo>
                  <a:pt x="130" y="810"/>
                </a:lnTo>
                <a:lnTo>
                  <a:pt x="137" y="820"/>
                </a:lnTo>
                <a:lnTo>
                  <a:pt x="145" y="830"/>
                </a:lnTo>
                <a:lnTo>
                  <a:pt x="155" y="838"/>
                </a:lnTo>
                <a:lnTo>
                  <a:pt x="165" y="845"/>
                </a:lnTo>
                <a:lnTo>
                  <a:pt x="175" y="852"/>
                </a:lnTo>
                <a:lnTo>
                  <a:pt x="187" y="857"/>
                </a:lnTo>
                <a:lnTo>
                  <a:pt x="199" y="862"/>
                </a:lnTo>
                <a:lnTo>
                  <a:pt x="211" y="866"/>
                </a:lnTo>
                <a:lnTo>
                  <a:pt x="225" y="868"/>
                </a:lnTo>
                <a:lnTo>
                  <a:pt x="238" y="868"/>
                </a:lnTo>
                <a:lnTo>
                  <a:pt x="695" y="868"/>
                </a:lnTo>
                <a:lnTo>
                  <a:pt x="695" y="868"/>
                </a:lnTo>
                <a:lnTo>
                  <a:pt x="708" y="868"/>
                </a:lnTo>
                <a:lnTo>
                  <a:pt x="722" y="866"/>
                </a:lnTo>
                <a:lnTo>
                  <a:pt x="734" y="862"/>
                </a:lnTo>
                <a:lnTo>
                  <a:pt x="746" y="857"/>
                </a:lnTo>
                <a:lnTo>
                  <a:pt x="758" y="852"/>
                </a:lnTo>
                <a:lnTo>
                  <a:pt x="768" y="845"/>
                </a:lnTo>
                <a:lnTo>
                  <a:pt x="778" y="838"/>
                </a:lnTo>
                <a:lnTo>
                  <a:pt x="788" y="830"/>
                </a:lnTo>
                <a:lnTo>
                  <a:pt x="796" y="820"/>
                </a:lnTo>
                <a:lnTo>
                  <a:pt x="803" y="810"/>
                </a:lnTo>
                <a:lnTo>
                  <a:pt x="811" y="800"/>
                </a:lnTo>
                <a:lnTo>
                  <a:pt x="815" y="788"/>
                </a:lnTo>
                <a:lnTo>
                  <a:pt x="820" y="776"/>
                </a:lnTo>
                <a:lnTo>
                  <a:pt x="824" y="764"/>
                </a:lnTo>
                <a:lnTo>
                  <a:pt x="825" y="750"/>
                </a:lnTo>
                <a:lnTo>
                  <a:pt x="826" y="737"/>
                </a:lnTo>
                <a:lnTo>
                  <a:pt x="826" y="478"/>
                </a:lnTo>
                <a:lnTo>
                  <a:pt x="849" y="501"/>
                </a:lnTo>
                <a:lnTo>
                  <a:pt x="849" y="501"/>
                </a:lnTo>
                <a:lnTo>
                  <a:pt x="856" y="507"/>
                </a:lnTo>
                <a:lnTo>
                  <a:pt x="865" y="511"/>
                </a:lnTo>
                <a:lnTo>
                  <a:pt x="874" y="514"/>
                </a:lnTo>
                <a:lnTo>
                  <a:pt x="884" y="515"/>
                </a:lnTo>
                <a:lnTo>
                  <a:pt x="884" y="515"/>
                </a:lnTo>
                <a:lnTo>
                  <a:pt x="893" y="514"/>
                </a:lnTo>
                <a:lnTo>
                  <a:pt x="902" y="511"/>
                </a:lnTo>
                <a:lnTo>
                  <a:pt x="910" y="507"/>
                </a:lnTo>
                <a:lnTo>
                  <a:pt x="919" y="501"/>
                </a:lnTo>
                <a:lnTo>
                  <a:pt x="919" y="501"/>
                </a:lnTo>
                <a:lnTo>
                  <a:pt x="925" y="493"/>
                </a:lnTo>
                <a:lnTo>
                  <a:pt x="929" y="485"/>
                </a:lnTo>
                <a:lnTo>
                  <a:pt x="932" y="475"/>
                </a:lnTo>
                <a:lnTo>
                  <a:pt x="933" y="466"/>
                </a:lnTo>
                <a:lnTo>
                  <a:pt x="932" y="456"/>
                </a:lnTo>
                <a:lnTo>
                  <a:pt x="929" y="448"/>
                </a:lnTo>
                <a:lnTo>
                  <a:pt x="925" y="439"/>
                </a:lnTo>
                <a:lnTo>
                  <a:pt x="919" y="431"/>
                </a:lnTo>
                <a:lnTo>
                  <a:pt x="501" y="14"/>
                </a:lnTo>
                <a:close/>
                <a:moveTo>
                  <a:pt x="760" y="737"/>
                </a:moveTo>
                <a:lnTo>
                  <a:pt x="760" y="737"/>
                </a:lnTo>
                <a:lnTo>
                  <a:pt x="759" y="750"/>
                </a:lnTo>
                <a:lnTo>
                  <a:pt x="755" y="762"/>
                </a:lnTo>
                <a:lnTo>
                  <a:pt x="749" y="773"/>
                </a:lnTo>
                <a:lnTo>
                  <a:pt x="741" y="784"/>
                </a:lnTo>
                <a:lnTo>
                  <a:pt x="731" y="791"/>
                </a:lnTo>
                <a:lnTo>
                  <a:pt x="720" y="797"/>
                </a:lnTo>
                <a:lnTo>
                  <a:pt x="708" y="801"/>
                </a:lnTo>
                <a:lnTo>
                  <a:pt x="695" y="803"/>
                </a:lnTo>
                <a:lnTo>
                  <a:pt x="238" y="803"/>
                </a:lnTo>
                <a:lnTo>
                  <a:pt x="238" y="803"/>
                </a:lnTo>
                <a:lnTo>
                  <a:pt x="225" y="801"/>
                </a:lnTo>
                <a:lnTo>
                  <a:pt x="213" y="797"/>
                </a:lnTo>
                <a:lnTo>
                  <a:pt x="202" y="791"/>
                </a:lnTo>
                <a:lnTo>
                  <a:pt x="192" y="784"/>
                </a:lnTo>
                <a:lnTo>
                  <a:pt x="184" y="773"/>
                </a:lnTo>
                <a:lnTo>
                  <a:pt x="178" y="762"/>
                </a:lnTo>
                <a:lnTo>
                  <a:pt x="174" y="750"/>
                </a:lnTo>
                <a:lnTo>
                  <a:pt x="173" y="737"/>
                </a:lnTo>
                <a:lnTo>
                  <a:pt x="173" y="413"/>
                </a:lnTo>
                <a:lnTo>
                  <a:pt x="466" y="119"/>
                </a:lnTo>
                <a:lnTo>
                  <a:pt x="760" y="413"/>
                </a:lnTo>
                <a:lnTo>
                  <a:pt x="760" y="737"/>
                </a:lnTo>
                <a:close/>
                <a:moveTo>
                  <a:pt x="313" y="438"/>
                </a:moveTo>
                <a:lnTo>
                  <a:pt x="313" y="712"/>
                </a:lnTo>
                <a:lnTo>
                  <a:pt x="313" y="712"/>
                </a:lnTo>
                <a:lnTo>
                  <a:pt x="315" y="719"/>
                </a:lnTo>
                <a:lnTo>
                  <a:pt x="318" y="724"/>
                </a:lnTo>
                <a:lnTo>
                  <a:pt x="323" y="728"/>
                </a:lnTo>
                <a:lnTo>
                  <a:pt x="329" y="729"/>
                </a:lnTo>
                <a:lnTo>
                  <a:pt x="604" y="729"/>
                </a:lnTo>
                <a:lnTo>
                  <a:pt x="604" y="729"/>
                </a:lnTo>
                <a:lnTo>
                  <a:pt x="610" y="728"/>
                </a:lnTo>
                <a:lnTo>
                  <a:pt x="615" y="724"/>
                </a:lnTo>
                <a:lnTo>
                  <a:pt x="618" y="719"/>
                </a:lnTo>
                <a:lnTo>
                  <a:pt x="620" y="712"/>
                </a:lnTo>
                <a:lnTo>
                  <a:pt x="620" y="438"/>
                </a:lnTo>
                <a:lnTo>
                  <a:pt x="620" y="438"/>
                </a:lnTo>
                <a:lnTo>
                  <a:pt x="618" y="432"/>
                </a:lnTo>
                <a:lnTo>
                  <a:pt x="615" y="426"/>
                </a:lnTo>
                <a:lnTo>
                  <a:pt x="610" y="423"/>
                </a:lnTo>
                <a:lnTo>
                  <a:pt x="604" y="421"/>
                </a:lnTo>
                <a:lnTo>
                  <a:pt x="329" y="421"/>
                </a:lnTo>
                <a:lnTo>
                  <a:pt x="329" y="421"/>
                </a:lnTo>
                <a:lnTo>
                  <a:pt x="323" y="423"/>
                </a:lnTo>
                <a:lnTo>
                  <a:pt x="318" y="426"/>
                </a:lnTo>
                <a:lnTo>
                  <a:pt x="315" y="432"/>
                </a:lnTo>
                <a:lnTo>
                  <a:pt x="313" y="438"/>
                </a:lnTo>
                <a:lnTo>
                  <a:pt x="313" y="438"/>
                </a:lnTo>
                <a:close/>
                <a:moveTo>
                  <a:pt x="346" y="455"/>
                </a:moveTo>
                <a:lnTo>
                  <a:pt x="587" y="455"/>
                </a:lnTo>
                <a:lnTo>
                  <a:pt x="587" y="696"/>
                </a:lnTo>
                <a:lnTo>
                  <a:pt x="346" y="696"/>
                </a:lnTo>
                <a:lnTo>
                  <a:pt x="346" y="45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微软雅黑 Light" panose="020B0502040204020203" pitchFamily="34" charset="-122"/>
              <a:ea typeface="微软雅黑 Light" panose="020B0502040204020203" pitchFamily="34" charset="-122"/>
              <a:sym typeface="微软雅黑 Light" panose="020B0502040204020203" pitchFamily="34" charset="-122"/>
            </a:endParaRPr>
          </a:p>
        </p:txBody>
      </p:sp>
      <p:grpSp>
        <p:nvGrpSpPr>
          <p:cNvPr id="86" name="Group 3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7420342" y="4799682"/>
            <a:ext cx="419513" cy="324366"/>
            <a:chOff x="10126663" y="4848225"/>
            <a:chExt cx="615950" cy="476250"/>
          </a:xfrm>
          <a:solidFill>
            <a:schemeClr val="tx2"/>
          </a:solidFill>
        </p:grpSpPr>
        <p:sp>
          <p:nvSpPr>
            <p:cNvPr id="87" name="Freeform 50"/>
            <p:cNvSpPr>
              <a:spLocks noEditPoints="1"/>
            </p:cNvSpPr>
            <p:nvPr/>
          </p:nvSpPr>
          <p:spPr bwMode="auto">
            <a:xfrm>
              <a:off x="10196513" y="4848225"/>
              <a:ext cx="476250" cy="298450"/>
            </a:xfrm>
            <a:custGeom>
              <a:avLst/>
              <a:gdLst>
                <a:gd name="T0" fmla="*/ 278 w 300"/>
                <a:gd name="T1" fmla="*/ 0 h 188"/>
                <a:gd name="T2" fmla="*/ 22 w 300"/>
                <a:gd name="T3" fmla="*/ 0 h 188"/>
                <a:gd name="T4" fmla="*/ 22 w 300"/>
                <a:gd name="T5" fmla="*/ 0 h 188"/>
                <a:gd name="T6" fmla="*/ 14 w 300"/>
                <a:gd name="T7" fmla="*/ 2 h 188"/>
                <a:gd name="T8" fmla="*/ 6 w 300"/>
                <a:gd name="T9" fmla="*/ 6 h 188"/>
                <a:gd name="T10" fmla="*/ 2 w 300"/>
                <a:gd name="T11" fmla="*/ 14 h 188"/>
                <a:gd name="T12" fmla="*/ 0 w 300"/>
                <a:gd name="T13" fmla="*/ 22 h 188"/>
                <a:gd name="T14" fmla="*/ 0 w 300"/>
                <a:gd name="T15" fmla="*/ 166 h 188"/>
                <a:gd name="T16" fmla="*/ 0 w 300"/>
                <a:gd name="T17" fmla="*/ 166 h 188"/>
                <a:gd name="T18" fmla="*/ 2 w 300"/>
                <a:gd name="T19" fmla="*/ 174 h 188"/>
                <a:gd name="T20" fmla="*/ 6 w 300"/>
                <a:gd name="T21" fmla="*/ 180 h 188"/>
                <a:gd name="T22" fmla="*/ 14 w 300"/>
                <a:gd name="T23" fmla="*/ 186 h 188"/>
                <a:gd name="T24" fmla="*/ 22 w 300"/>
                <a:gd name="T25" fmla="*/ 188 h 188"/>
                <a:gd name="T26" fmla="*/ 278 w 300"/>
                <a:gd name="T27" fmla="*/ 188 h 188"/>
                <a:gd name="T28" fmla="*/ 278 w 300"/>
                <a:gd name="T29" fmla="*/ 188 h 188"/>
                <a:gd name="T30" fmla="*/ 286 w 300"/>
                <a:gd name="T31" fmla="*/ 186 h 188"/>
                <a:gd name="T32" fmla="*/ 294 w 300"/>
                <a:gd name="T33" fmla="*/ 180 h 188"/>
                <a:gd name="T34" fmla="*/ 298 w 300"/>
                <a:gd name="T35" fmla="*/ 174 h 188"/>
                <a:gd name="T36" fmla="*/ 300 w 300"/>
                <a:gd name="T37" fmla="*/ 166 h 188"/>
                <a:gd name="T38" fmla="*/ 300 w 300"/>
                <a:gd name="T39" fmla="*/ 22 h 188"/>
                <a:gd name="T40" fmla="*/ 300 w 300"/>
                <a:gd name="T41" fmla="*/ 22 h 188"/>
                <a:gd name="T42" fmla="*/ 298 w 300"/>
                <a:gd name="T43" fmla="*/ 14 h 188"/>
                <a:gd name="T44" fmla="*/ 294 w 300"/>
                <a:gd name="T45" fmla="*/ 6 h 188"/>
                <a:gd name="T46" fmla="*/ 286 w 300"/>
                <a:gd name="T47" fmla="*/ 2 h 188"/>
                <a:gd name="T48" fmla="*/ 278 w 300"/>
                <a:gd name="T49" fmla="*/ 0 h 188"/>
                <a:gd name="T50" fmla="*/ 278 w 300"/>
                <a:gd name="T51" fmla="*/ 0 h 188"/>
                <a:gd name="T52" fmla="*/ 266 w 300"/>
                <a:gd name="T53" fmla="*/ 146 h 188"/>
                <a:gd name="T54" fmla="*/ 266 w 300"/>
                <a:gd name="T55" fmla="*/ 146 h 188"/>
                <a:gd name="T56" fmla="*/ 264 w 300"/>
                <a:gd name="T57" fmla="*/ 152 h 188"/>
                <a:gd name="T58" fmla="*/ 262 w 300"/>
                <a:gd name="T59" fmla="*/ 156 h 188"/>
                <a:gd name="T60" fmla="*/ 256 w 300"/>
                <a:gd name="T61" fmla="*/ 160 h 188"/>
                <a:gd name="T62" fmla="*/ 250 w 300"/>
                <a:gd name="T63" fmla="*/ 162 h 188"/>
                <a:gd name="T64" fmla="*/ 50 w 300"/>
                <a:gd name="T65" fmla="*/ 162 h 188"/>
                <a:gd name="T66" fmla="*/ 50 w 300"/>
                <a:gd name="T67" fmla="*/ 162 h 188"/>
                <a:gd name="T68" fmla="*/ 44 w 300"/>
                <a:gd name="T69" fmla="*/ 160 h 188"/>
                <a:gd name="T70" fmla="*/ 38 w 300"/>
                <a:gd name="T71" fmla="*/ 156 h 188"/>
                <a:gd name="T72" fmla="*/ 36 w 300"/>
                <a:gd name="T73" fmla="*/ 152 h 188"/>
                <a:gd name="T74" fmla="*/ 34 w 300"/>
                <a:gd name="T75" fmla="*/ 146 h 188"/>
                <a:gd name="T76" fmla="*/ 34 w 300"/>
                <a:gd name="T77" fmla="*/ 42 h 188"/>
                <a:gd name="T78" fmla="*/ 34 w 300"/>
                <a:gd name="T79" fmla="*/ 42 h 188"/>
                <a:gd name="T80" fmla="*/ 36 w 300"/>
                <a:gd name="T81" fmla="*/ 36 h 188"/>
                <a:gd name="T82" fmla="*/ 38 w 300"/>
                <a:gd name="T83" fmla="*/ 32 h 188"/>
                <a:gd name="T84" fmla="*/ 44 w 300"/>
                <a:gd name="T85" fmla="*/ 28 h 188"/>
                <a:gd name="T86" fmla="*/ 50 w 300"/>
                <a:gd name="T87" fmla="*/ 26 h 188"/>
                <a:gd name="T88" fmla="*/ 250 w 300"/>
                <a:gd name="T89" fmla="*/ 26 h 188"/>
                <a:gd name="T90" fmla="*/ 250 w 300"/>
                <a:gd name="T91" fmla="*/ 26 h 188"/>
                <a:gd name="T92" fmla="*/ 256 w 300"/>
                <a:gd name="T93" fmla="*/ 28 h 188"/>
                <a:gd name="T94" fmla="*/ 262 w 300"/>
                <a:gd name="T95" fmla="*/ 32 h 188"/>
                <a:gd name="T96" fmla="*/ 264 w 300"/>
                <a:gd name="T97" fmla="*/ 36 h 188"/>
                <a:gd name="T98" fmla="*/ 266 w 300"/>
                <a:gd name="T99" fmla="*/ 42 h 188"/>
                <a:gd name="T100" fmla="*/ 266 w 300"/>
                <a:gd name="T101" fmla="*/ 14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0" h="188">
                  <a:moveTo>
                    <a:pt x="278" y="0"/>
                  </a:moveTo>
                  <a:lnTo>
                    <a:pt x="22" y="0"/>
                  </a:lnTo>
                  <a:lnTo>
                    <a:pt x="22" y="0"/>
                  </a:lnTo>
                  <a:lnTo>
                    <a:pt x="14" y="2"/>
                  </a:lnTo>
                  <a:lnTo>
                    <a:pt x="6" y="6"/>
                  </a:lnTo>
                  <a:lnTo>
                    <a:pt x="2" y="14"/>
                  </a:lnTo>
                  <a:lnTo>
                    <a:pt x="0" y="22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2" y="174"/>
                  </a:lnTo>
                  <a:lnTo>
                    <a:pt x="6" y="180"/>
                  </a:lnTo>
                  <a:lnTo>
                    <a:pt x="14" y="186"/>
                  </a:lnTo>
                  <a:lnTo>
                    <a:pt x="22" y="188"/>
                  </a:lnTo>
                  <a:lnTo>
                    <a:pt x="278" y="188"/>
                  </a:lnTo>
                  <a:lnTo>
                    <a:pt x="278" y="188"/>
                  </a:lnTo>
                  <a:lnTo>
                    <a:pt x="286" y="186"/>
                  </a:lnTo>
                  <a:lnTo>
                    <a:pt x="294" y="180"/>
                  </a:lnTo>
                  <a:lnTo>
                    <a:pt x="298" y="174"/>
                  </a:lnTo>
                  <a:lnTo>
                    <a:pt x="300" y="166"/>
                  </a:lnTo>
                  <a:lnTo>
                    <a:pt x="300" y="22"/>
                  </a:lnTo>
                  <a:lnTo>
                    <a:pt x="300" y="22"/>
                  </a:lnTo>
                  <a:lnTo>
                    <a:pt x="298" y="14"/>
                  </a:lnTo>
                  <a:lnTo>
                    <a:pt x="294" y="6"/>
                  </a:lnTo>
                  <a:lnTo>
                    <a:pt x="286" y="2"/>
                  </a:lnTo>
                  <a:lnTo>
                    <a:pt x="278" y="0"/>
                  </a:lnTo>
                  <a:lnTo>
                    <a:pt x="278" y="0"/>
                  </a:lnTo>
                  <a:close/>
                  <a:moveTo>
                    <a:pt x="266" y="146"/>
                  </a:moveTo>
                  <a:lnTo>
                    <a:pt x="266" y="146"/>
                  </a:lnTo>
                  <a:lnTo>
                    <a:pt x="264" y="152"/>
                  </a:lnTo>
                  <a:lnTo>
                    <a:pt x="262" y="156"/>
                  </a:lnTo>
                  <a:lnTo>
                    <a:pt x="256" y="160"/>
                  </a:lnTo>
                  <a:lnTo>
                    <a:pt x="250" y="162"/>
                  </a:lnTo>
                  <a:lnTo>
                    <a:pt x="50" y="162"/>
                  </a:lnTo>
                  <a:lnTo>
                    <a:pt x="50" y="162"/>
                  </a:lnTo>
                  <a:lnTo>
                    <a:pt x="44" y="160"/>
                  </a:lnTo>
                  <a:lnTo>
                    <a:pt x="38" y="156"/>
                  </a:lnTo>
                  <a:lnTo>
                    <a:pt x="36" y="152"/>
                  </a:lnTo>
                  <a:lnTo>
                    <a:pt x="34" y="146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6" y="36"/>
                  </a:lnTo>
                  <a:lnTo>
                    <a:pt x="38" y="32"/>
                  </a:lnTo>
                  <a:lnTo>
                    <a:pt x="44" y="28"/>
                  </a:lnTo>
                  <a:lnTo>
                    <a:pt x="50" y="26"/>
                  </a:lnTo>
                  <a:lnTo>
                    <a:pt x="250" y="26"/>
                  </a:lnTo>
                  <a:lnTo>
                    <a:pt x="250" y="26"/>
                  </a:lnTo>
                  <a:lnTo>
                    <a:pt x="256" y="28"/>
                  </a:lnTo>
                  <a:lnTo>
                    <a:pt x="262" y="32"/>
                  </a:lnTo>
                  <a:lnTo>
                    <a:pt x="264" y="36"/>
                  </a:lnTo>
                  <a:lnTo>
                    <a:pt x="266" y="42"/>
                  </a:lnTo>
                  <a:lnTo>
                    <a:pt x="266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微软雅黑 Light" panose="020B0502040204020203" pitchFamily="34" charset="-122"/>
                <a:ea typeface="微软雅黑 Light" panose="020B0502040204020203" pitchFamily="34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88" name="Freeform 51"/>
            <p:cNvSpPr>
              <a:spLocks noEditPoints="1"/>
            </p:cNvSpPr>
            <p:nvPr/>
          </p:nvSpPr>
          <p:spPr bwMode="auto">
            <a:xfrm>
              <a:off x="10126663" y="5162550"/>
              <a:ext cx="615950" cy="161925"/>
            </a:xfrm>
            <a:custGeom>
              <a:avLst/>
              <a:gdLst>
                <a:gd name="T0" fmla="*/ 354 w 388"/>
                <a:gd name="T1" fmla="*/ 14 h 102"/>
                <a:gd name="T2" fmla="*/ 354 w 388"/>
                <a:gd name="T3" fmla="*/ 14 h 102"/>
                <a:gd name="T4" fmla="*/ 346 w 388"/>
                <a:gd name="T5" fmla="*/ 4 h 102"/>
                <a:gd name="T6" fmla="*/ 342 w 388"/>
                <a:gd name="T7" fmla="*/ 0 h 102"/>
                <a:gd name="T8" fmla="*/ 336 w 388"/>
                <a:gd name="T9" fmla="*/ 0 h 102"/>
                <a:gd name="T10" fmla="*/ 52 w 388"/>
                <a:gd name="T11" fmla="*/ 0 h 102"/>
                <a:gd name="T12" fmla="*/ 52 w 388"/>
                <a:gd name="T13" fmla="*/ 0 h 102"/>
                <a:gd name="T14" fmla="*/ 46 w 388"/>
                <a:gd name="T15" fmla="*/ 2 h 102"/>
                <a:gd name="T16" fmla="*/ 40 w 388"/>
                <a:gd name="T17" fmla="*/ 6 h 102"/>
                <a:gd name="T18" fmla="*/ 32 w 388"/>
                <a:gd name="T19" fmla="*/ 18 h 102"/>
                <a:gd name="T20" fmla="*/ 2 w 388"/>
                <a:gd name="T21" fmla="*/ 70 h 102"/>
                <a:gd name="T22" fmla="*/ 386 w 388"/>
                <a:gd name="T23" fmla="*/ 70 h 102"/>
                <a:gd name="T24" fmla="*/ 354 w 388"/>
                <a:gd name="T25" fmla="*/ 14 h 102"/>
                <a:gd name="T26" fmla="*/ 134 w 388"/>
                <a:gd name="T27" fmla="*/ 64 h 102"/>
                <a:gd name="T28" fmla="*/ 140 w 388"/>
                <a:gd name="T29" fmla="*/ 48 h 102"/>
                <a:gd name="T30" fmla="*/ 246 w 388"/>
                <a:gd name="T31" fmla="*/ 48 h 102"/>
                <a:gd name="T32" fmla="*/ 254 w 388"/>
                <a:gd name="T33" fmla="*/ 64 h 102"/>
                <a:gd name="T34" fmla="*/ 134 w 388"/>
                <a:gd name="T35" fmla="*/ 64 h 102"/>
                <a:gd name="T36" fmla="*/ 330 w 388"/>
                <a:gd name="T37" fmla="*/ 36 h 102"/>
                <a:gd name="T38" fmla="*/ 60 w 388"/>
                <a:gd name="T39" fmla="*/ 36 h 102"/>
                <a:gd name="T40" fmla="*/ 60 w 388"/>
                <a:gd name="T41" fmla="*/ 36 h 102"/>
                <a:gd name="T42" fmla="*/ 52 w 388"/>
                <a:gd name="T43" fmla="*/ 36 h 102"/>
                <a:gd name="T44" fmla="*/ 48 w 388"/>
                <a:gd name="T45" fmla="*/ 34 h 102"/>
                <a:gd name="T46" fmla="*/ 46 w 388"/>
                <a:gd name="T47" fmla="*/ 32 h 102"/>
                <a:gd name="T48" fmla="*/ 46 w 388"/>
                <a:gd name="T49" fmla="*/ 30 h 102"/>
                <a:gd name="T50" fmla="*/ 52 w 388"/>
                <a:gd name="T51" fmla="*/ 16 h 102"/>
                <a:gd name="T52" fmla="*/ 52 w 388"/>
                <a:gd name="T53" fmla="*/ 16 h 102"/>
                <a:gd name="T54" fmla="*/ 58 w 388"/>
                <a:gd name="T55" fmla="*/ 12 h 102"/>
                <a:gd name="T56" fmla="*/ 66 w 388"/>
                <a:gd name="T57" fmla="*/ 10 h 102"/>
                <a:gd name="T58" fmla="*/ 322 w 388"/>
                <a:gd name="T59" fmla="*/ 10 h 102"/>
                <a:gd name="T60" fmla="*/ 322 w 388"/>
                <a:gd name="T61" fmla="*/ 10 h 102"/>
                <a:gd name="T62" fmla="*/ 330 w 388"/>
                <a:gd name="T63" fmla="*/ 12 h 102"/>
                <a:gd name="T64" fmla="*/ 336 w 388"/>
                <a:gd name="T65" fmla="*/ 16 h 102"/>
                <a:gd name="T66" fmla="*/ 342 w 388"/>
                <a:gd name="T67" fmla="*/ 30 h 102"/>
                <a:gd name="T68" fmla="*/ 342 w 388"/>
                <a:gd name="T69" fmla="*/ 30 h 102"/>
                <a:gd name="T70" fmla="*/ 344 w 388"/>
                <a:gd name="T71" fmla="*/ 32 h 102"/>
                <a:gd name="T72" fmla="*/ 342 w 388"/>
                <a:gd name="T73" fmla="*/ 34 h 102"/>
                <a:gd name="T74" fmla="*/ 338 w 388"/>
                <a:gd name="T75" fmla="*/ 36 h 102"/>
                <a:gd name="T76" fmla="*/ 330 w 388"/>
                <a:gd name="T77" fmla="*/ 36 h 102"/>
                <a:gd name="T78" fmla="*/ 330 w 388"/>
                <a:gd name="T79" fmla="*/ 36 h 102"/>
                <a:gd name="T80" fmla="*/ 0 w 388"/>
                <a:gd name="T81" fmla="*/ 82 h 102"/>
                <a:gd name="T82" fmla="*/ 0 w 388"/>
                <a:gd name="T83" fmla="*/ 82 h 102"/>
                <a:gd name="T84" fmla="*/ 4 w 388"/>
                <a:gd name="T85" fmla="*/ 88 h 102"/>
                <a:gd name="T86" fmla="*/ 14 w 388"/>
                <a:gd name="T87" fmla="*/ 102 h 102"/>
                <a:gd name="T88" fmla="*/ 374 w 388"/>
                <a:gd name="T89" fmla="*/ 102 h 102"/>
                <a:gd name="T90" fmla="*/ 374 w 388"/>
                <a:gd name="T91" fmla="*/ 102 h 102"/>
                <a:gd name="T92" fmla="*/ 384 w 388"/>
                <a:gd name="T93" fmla="*/ 88 h 102"/>
                <a:gd name="T94" fmla="*/ 388 w 388"/>
                <a:gd name="T95" fmla="*/ 82 h 102"/>
                <a:gd name="T96" fmla="*/ 0 w 388"/>
                <a:gd name="T97" fmla="*/ 8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8" h="102">
                  <a:moveTo>
                    <a:pt x="354" y="14"/>
                  </a:moveTo>
                  <a:lnTo>
                    <a:pt x="354" y="14"/>
                  </a:lnTo>
                  <a:lnTo>
                    <a:pt x="346" y="4"/>
                  </a:lnTo>
                  <a:lnTo>
                    <a:pt x="342" y="0"/>
                  </a:lnTo>
                  <a:lnTo>
                    <a:pt x="336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6" y="2"/>
                  </a:lnTo>
                  <a:lnTo>
                    <a:pt x="40" y="6"/>
                  </a:lnTo>
                  <a:lnTo>
                    <a:pt x="32" y="18"/>
                  </a:lnTo>
                  <a:lnTo>
                    <a:pt x="2" y="70"/>
                  </a:lnTo>
                  <a:lnTo>
                    <a:pt x="386" y="70"/>
                  </a:lnTo>
                  <a:lnTo>
                    <a:pt x="354" y="14"/>
                  </a:lnTo>
                  <a:close/>
                  <a:moveTo>
                    <a:pt x="134" y="64"/>
                  </a:moveTo>
                  <a:lnTo>
                    <a:pt x="140" y="48"/>
                  </a:lnTo>
                  <a:lnTo>
                    <a:pt x="246" y="48"/>
                  </a:lnTo>
                  <a:lnTo>
                    <a:pt x="254" y="64"/>
                  </a:lnTo>
                  <a:lnTo>
                    <a:pt x="134" y="64"/>
                  </a:lnTo>
                  <a:close/>
                  <a:moveTo>
                    <a:pt x="330" y="36"/>
                  </a:moveTo>
                  <a:lnTo>
                    <a:pt x="60" y="36"/>
                  </a:lnTo>
                  <a:lnTo>
                    <a:pt x="60" y="36"/>
                  </a:lnTo>
                  <a:lnTo>
                    <a:pt x="52" y="36"/>
                  </a:lnTo>
                  <a:lnTo>
                    <a:pt x="48" y="34"/>
                  </a:lnTo>
                  <a:lnTo>
                    <a:pt x="46" y="32"/>
                  </a:lnTo>
                  <a:lnTo>
                    <a:pt x="46" y="3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8" y="12"/>
                  </a:lnTo>
                  <a:lnTo>
                    <a:pt x="66" y="10"/>
                  </a:lnTo>
                  <a:lnTo>
                    <a:pt x="322" y="10"/>
                  </a:lnTo>
                  <a:lnTo>
                    <a:pt x="322" y="10"/>
                  </a:lnTo>
                  <a:lnTo>
                    <a:pt x="330" y="12"/>
                  </a:lnTo>
                  <a:lnTo>
                    <a:pt x="336" y="16"/>
                  </a:lnTo>
                  <a:lnTo>
                    <a:pt x="342" y="30"/>
                  </a:lnTo>
                  <a:lnTo>
                    <a:pt x="342" y="30"/>
                  </a:lnTo>
                  <a:lnTo>
                    <a:pt x="344" y="32"/>
                  </a:lnTo>
                  <a:lnTo>
                    <a:pt x="342" y="34"/>
                  </a:lnTo>
                  <a:lnTo>
                    <a:pt x="338" y="36"/>
                  </a:lnTo>
                  <a:lnTo>
                    <a:pt x="330" y="36"/>
                  </a:lnTo>
                  <a:lnTo>
                    <a:pt x="330" y="36"/>
                  </a:lnTo>
                  <a:close/>
                  <a:moveTo>
                    <a:pt x="0" y="82"/>
                  </a:moveTo>
                  <a:lnTo>
                    <a:pt x="0" y="82"/>
                  </a:lnTo>
                  <a:lnTo>
                    <a:pt x="4" y="88"/>
                  </a:lnTo>
                  <a:lnTo>
                    <a:pt x="14" y="102"/>
                  </a:lnTo>
                  <a:lnTo>
                    <a:pt x="374" y="102"/>
                  </a:lnTo>
                  <a:lnTo>
                    <a:pt x="374" y="102"/>
                  </a:lnTo>
                  <a:lnTo>
                    <a:pt x="384" y="88"/>
                  </a:lnTo>
                  <a:lnTo>
                    <a:pt x="388" y="82"/>
                  </a:lnTo>
                  <a:lnTo>
                    <a:pt x="0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微软雅黑 Light" panose="020B0502040204020203" pitchFamily="34" charset="-122"/>
                <a:ea typeface="微软雅黑 Light" panose="020B0502040204020203" pitchFamily="34" charset="-122"/>
                <a:sym typeface="微软雅黑 Light" panose="020B0502040204020203" pitchFamily="34" charset="-122"/>
              </a:endParaRPr>
            </a:p>
          </p:txBody>
        </p:sp>
      </p:grpSp>
      <p:sp>
        <p:nvSpPr>
          <p:cNvPr id="89" name="Freeform 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EditPoints="1"/>
          </p:cNvSpPr>
          <p:nvPr/>
        </p:nvSpPr>
        <p:spPr bwMode="auto">
          <a:xfrm>
            <a:off x="4153950" y="781345"/>
            <a:ext cx="443607" cy="394027"/>
          </a:xfrm>
          <a:custGeom>
            <a:avLst/>
            <a:gdLst>
              <a:gd name="T0" fmla="*/ 128 w 340"/>
              <a:gd name="T1" fmla="*/ 46 h 302"/>
              <a:gd name="T2" fmla="*/ 116 w 340"/>
              <a:gd name="T3" fmla="*/ 48 h 302"/>
              <a:gd name="T4" fmla="*/ 106 w 340"/>
              <a:gd name="T5" fmla="*/ 56 h 302"/>
              <a:gd name="T6" fmla="*/ 98 w 340"/>
              <a:gd name="T7" fmla="*/ 66 h 302"/>
              <a:gd name="T8" fmla="*/ 96 w 340"/>
              <a:gd name="T9" fmla="*/ 78 h 302"/>
              <a:gd name="T10" fmla="*/ 96 w 340"/>
              <a:gd name="T11" fmla="*/ 86 h 302"/>
              <a:gd name="T12" fmla="*/ 102 w 340"/>
              <a:gd name="T13" fmla="*/ 96 h 302"/>
              <a:gd name="T14" fmla="*/ 110 w 340"/>
              <a:gd name="T15" fmla="*/ 106 h 302"/>
              <a:gd name="T16" fmla="*/ 122 w 340"/>
              <a:gd name="T17" fmla="*/ 110 h 302"/>
              <a:gd name="T18" fmla="*/ 128 w 340"/>
              <a:gd name="T19" fmla="*/ 110 h 302"/>
              <a:gd name="T20" fmla="*/ 142 w 340"/>
              <a:gd name="T21" fmla="*/ 108 h 302"/>
              <a:gd name="T22" fmla="*/ 152 w 340"/>
              <a:gd name="T23" fmla="*/ 102 h 302"/>
              <a:gd name="T24" fmla="*/ 158 w 340"/>
              <a:gd name="T25" fmla="*/ 92 h 302"/>
              <a:gd name="T26" fmla="*/ 160 w 340"/>
              <a:gd name="T27" fmla="*/ 78 h 302"/>
              <a:gd name="T28" fmla="*/ 160 w 340"/>
              <a:gd name="T29" fmla="*/ 72 h 302"/>
              <a:gd name="T30" fmla="*/ 156 w 340"/>
              <a:gd name="T31" fmla="*/ 60 h 302"/>
              <a:gd name="T32" fmla="*/ 146 w 340"/>
              <a:gd name="T33" fmla="*/ 52 h 302"/>
              <a:gd name="T34" fmla="*/ 134 w 340"/>
              <a:gd name="T35" fmla="*/ 48 h 302"/>
              <a:gd name="T36" fmla="*/ 128 w 340"/>
              <a:gd name="T37" fmla="*/ 46 h 302"/>
              <a:gd name="T38" fmla="*/ 48 w 340"/>
              <a:gd name="T39" fmla="*/ 0 h 302"/>
              <a:gd name="T40" fmla="*/ 38 w 340"/>
              <a:gd name="T41" fmla="*/ 2 h 302"/>
              <a:gd name="T42" fmla="*/ 20 w 340"/>
              <a:gd name="T43" fmla="*/ 8 h 302"/>
              <a:gd name="T44" fmla="*/ 8 w 340"/>
              <a:gd name="T45" fmla="*/ 22 h 302"/>
              <a:gd name="T46" fmla="*/ 0 w 340"/>
              <a:gd name="T47" fmla="*/ 38 h 302"/>
              <a:gd name="T48" fmla="*/ 0 w 340"/>
              <a:gd name="T49" fmla="*/ 210 h 302"/>
              <a:gd name="T50" fmla="*/ 0 w 340"/>
              <a:gd name="T51" fmla="*/ 220 h 302"/>
              <a:gd name="T52" fmla="*/ 8 w 340"/>
              <a:gd name="T53" fmla="*/ 238 h 302"/>
              <a:gd name="T54" fmla="*/ 20 w 340"/>
              <a:gd name="T55" fmla="*/ 250 h 302"/>
              <a:gd name="T56" fmla="*/ 38 w 340"/>
              <a:gd name="T57" fmla="*/ 258 h 302"/>
              <a:gd name="T58" fmla="*/ 130 w 340"/>
              <a:gd name="T59" fmla="*/ 258 h 302"/>
              <a:gd name="T60" fmla="*/ 210 w 340"/>
              <a:gd name="T61" fmla="*/ 284 h 302"/>
              <a:gd name="T62" fmla="*/ 292 w 340"/>
              <a:gd name="T63" fmla="*/ 258 h 302"/>
              <a:gd name="T64" fmla="*/ 302 w 340"/>
              <a:gd name="T65" fmla="*/ 258 h 302"/>
              <a:gd name="T66" fmla="*/ 320 w 340"/>
              <a:gd name="T67" fmla="*/ 250 h 302"/>
              <a:gd name="T68" fmla="*/ 332 w 340"/>
              <a:gd name="T69" fmla="*/ 238 h 302"/>
              <a:gd name="T70" fmla="*/ 340 w 340"/>
              <a:gd name="T71" fmla="*/ 220 h 302"/>
              <a:gd name="T72" fmla="*/ 340 w 340"/>
              <a:gd name="T73" fmla="*/ 48 h 302"/>
              <a:gd name="T74" fmla="*/ 340 w 340"/>
              <a:gd name="T75" fmla="*/ 38 h 302"/>
              <a:gd name="T76" fmla="*/ 332 w 340"/>
              <a:gd name="T77" fmla="*/ 22 h 302"/>
              <a:gd name="T78" fmla="*/ 320 w 340"/>
              <a:gd name="T79" fmla="*/ 8 h 302"/>
              <a:gd name="T80" fmla="*/ 302 w 340"/>
              <a:gd name="T81" fmla="*/ 2 h 302"/>
              <a:gd name="T82" fmla="*/ 292 w 340"/>
              <a:gd name="T83" fmla="*/ 0 h 302"/>
              <a:gd name="T84" fmla="*/ 240 w 340"/>
              <a:gd name="T85" fmla="*/ 102 h 302"/>
              <a:gd name="T86" fmla="*/ 94 w 340"/>
              <a:gd name="T87" fmla="*/ 152 h 302"/>
              <a:gd name="T88" fmla="*/ 24 w 340"/>
              <a:gd name="T89" fmla="*/ 222 h 302"/>
              <a:gd name="T90" fmla="*/ 22 w 340"/>
              <a:gd name="T91" fmla="*/ 210 h 302"/>
              <a:gd name="T92" fmla="*/ 22 w 340"/>
              <a:gd name="T93" fmla="*/ 48 h 302"/>
              <a:gd name="T94" fmla="*/ 30 w 340"/>
              <a:gd name="T95" fmla="*/ 30 h 302"/>
              <a:gd name="T96" fmla="*/ 48 w 340"/>
              <a:gd name="T97" fmla="*/ 22 h 302"/>
              <a:gd name="T98" fmla="*/ 292 w 340"/>
              <a:gd name="T99" fmla="*/ 22 h 302"/>
              <a:gd name="T100" fmla="*/ 312 w 340"/>
              <a:gd name="T101" fmla="*/ 30 h 302"/>
              <a:gd name="T102" fmla="*/ 318 w 340"/>
              <a:gd name="T103" fmla="*/ 48 h 302"/>
              <a:gd name="T104" fmla="*/ 96 w 340"/>
              <a:gd name="T105" fmla="*/ 302 h 302"/>
              <a:gd name="T106" fmla="*/ 244 w 340"/>
              <a:gd name="T107" fmla="*/ 294 h 302"/>
              <a:gd name="T108" fmla="*/ 96 w 340"/>
              <a:gd name="T109" fmla="*/ 302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40" h="302">
                <a:moveTo>
                  <a:pt x="128" y="46"/>
                </a:moveTo>
                <a:lnTo>
                  <a:pt x="128" y="46"/>
                </a:lnTo>
                <a:lnTo>
                  <a:pt x="122" y="48"/>
                </a:lnTo>
                <a:lnTo>
                  <a:pt x="116" y="48"/>
                </a:lnTo>
                <a:lnTo>
                  <a:pt x="110" y="52"/>
                </a:lnTo>
                <a:lnTo>
                  <a:pt x="106" y="56"/>
                </a:lnTo>
                <a:lnTo>
                  <a:pt x="102" y="60"/>
                </a:lnTo>
                <a:lnTo>
                  <a:pt x="98" y="66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6" y="86"/>
                </a:lnTo>
                <a:lnTo>
                  <a:pt x="98" y="92"/>
                </a:lnTo>
                <a:lnTo>
                  <a:pt x="102" y="96"/>
                </a:lnTo>
                <a:lnTo>
                  <a:pt x="106" y="102"/>
                </a:lnTo>
                <a:lnTo>
                  <a:pt x="110" y="106"/>
                </a:lnTo>
                <a:lnTo>
                  <a:pt x="116" y="108"/>
                </a:lnTo>
                <a:lnTo>
                  <a:pt x="122" y="110"/>
                </a:lnTo>
                <a:lnTo>
                  <a:pt x="128" y="110"/>
                </a:lnTo>
                <a:lnTo>
                  <a:pt x="128" y="110"/>
                </a:lnTo>
                <a:lnTo>
                  <a:pt x="134" y="110"/>
                </a:lnTo>
                <a:lnTo>
                  <a:pt x="142" y="108"/>
                </a:lnTo>
                <a:lnTo>
                  <a:pt x="146" y="106"/>
                </a:lnTo>
                <a:lnTo>
                  <a:pt x="152" y="102"/>
                </a:lnTo>
                <a:lnTo>
                  <a:pt x="156" y="96"/>
                </a:lnTo>
                <a:lnTo>
                  <a:pt x="158" y="92"/>
                </a:lnTo>
                <a:lnTo>
                  <a:pt x="160" y="86"/>
                </a:lnTo>
                <a:lnTo>
                  <a:pt x="160" y="78"/>
                </a:lnTo>
                <a:lnTo>
                  <a:pt x="160" y="78"/>
                </a:lnTo>
                <a:lnTo>
                  <a:pt x="160" y="72"/>
                </a:lnTo>
                <a:lnTo>
                  <a:pt x="158" y="66"/>
                </a:lnTo>
                <a:lnTo>
                  <a:pt x="156" y="60"/>
                </a:lnTo>
                <a:lnTo>
                  <a:pt x="152" y="56"/>
                </a:lnTo>
                <a:lnTo>
                  <a:pt x="146" y="52"/>
                </a:lnTo>
                <a:lnTo>
                  <a:pt x="142" y="48"/>
                </a:lnTo>
                <a:lnTo>
                  <a:pt x="134" y="48"/>
                </a:lnTo>
                <a:lnTo>
                  <a:pt x="128" y="46"/>
                </a:lnTo>
                <a:lnTo>
                  <a:pt x="128" y="46"/>
                </a:lnTo>
                <a:close/>
                <a:moveTo>
                  <a:pt x="292" y="0"/>
                </a:moveTo>
                <a:lnTo>
                  <a:pt x="48" y="0"/>
                </a:lnTo>
                <a:lnTo>
                  <a:pt x="48" y="0"/>
                </a:lnTo>
                <a:lnTo>
                  <a:pt x="38" y="2"/>
                </a:lnTo>
                <a:lnTo>
                  <a:pt x="28" y="4"/>
                </a:lnTo>
                <a:lnTo>
                  <a:pt x="20" y="8"/>
                </a:lnTo>
                <a:lnTo>
                  <a:pt x="14" y="14"/>
                </a:lnTo>
                <a:lnTo>
                  <a:pt x="8" y="22"/>
                </a:lnTo>
                <a:lnTo>
                  <a:pt x="4" y="30"/>
                </a:lnTo>
                <a:lnTo>
                  <a:pt x="0" y="38"/>
                </a:lnTo>
                <a:lnTo>
                  <a:pt x="0" y="48"/>
                </a:lnTo>
                <a:lnTo>
                  <a:pt x="0" y="210"/>
                </a:lnTo>
                <a:lnTo>
                  <a:pt x="0" y="210"/>
                </a:lnTo>
                <a:lnTo>
                  <a:pt x="0" y="220"/>
                </a:lnTo>
                <a:lnTo>
                  <a:pt x="4" y="230"/>
                </a:lnTo>
                <a:lnTo>
                  <a:pt x="8" y="238"/>
                </a:lnTo>
                <a:lnTo>
                  <a:pt x="14" y="244"/>
                </a:lnTo>
                <a:lnTo>
                  <a:pt x="20" y="250"/>
                </a:lnTo>
                <a:lnTo>
                  <a:pt x="28" y="256"/>
                </a:lnTo>
                <a:lnTo>
                  <a:pt x="38" y="258"/>
                </a:lnTo>
                <a:lnTo>
                  <a:pt x="48" y="258"/>
                </a:lnTo>
                <a:lnTo>
                  <a:pt x="130" y="258"/>
                </a:lnTo>
                <a:lnTo>
                  <a:pt x="130" y="284"/>
                </a:lnTo>
                <a:lnTo>
                  <a:pt x="210" y="284"/>
                </a:lnTo>
                <a:lnTo>
                  <a:pt x="210" y="258"/>
                </a:lnTo>
                <a:lnTo>
                  <a:pt x="292" y="258"/>
                </a:lnTo>
                <a:lnTo>
                  <a:pt x="292" y="258"/>
                </a:lnTo>
                <a:lnTo>
                  <a:pt x="302" y="258"/>
                </a:lnTo>
                <a:lnTo>
                  <a:pt x="312" y="256"/>
                </a:lnTo>
                <a:lnTo>
                  <a:pt x="320" y="250"/>
                </a:lnTo>
                <a:lnTo>
                  <a:pt x="326" y="244"/>
                </a:lnTo>
                <a:lnTo>
                  <a:pt x="332" y="238"/>
                </a:lnTo>
                <a:lnTo>
                  <a:pt x="336" y="230"/>
                </a:lnTo>
                <a:lnTo>
                  <a:pt x="340" y="220"/>
                </a:lnTo>
                <a:lnTo>
                  <a:pt x="340" y="210"/>
                </a:lnTo>
                <a:lnTo>
                  <a:pt x="340" y="48"/>
                </a:lnTo>
                <a:lnTo>
                  <a:pt x="340" y="48"/>
                </a:lnTo>
                <a:lnTo>
                  <a:pt x="340" y="38"/>
                </a:lnTo>
                <a:lnTo>
                  <a:pt x="336" y="30"/>
                </a:lnTo>
                <a:lnTo>
                  <a:pt x="332" y="22"/>
                </a:lnTo>
                <a:lnTo>
                  <a:pt x="326" y="14"/>
                </a:lnTo>
                <a:lnTo>
                  <a:pt x="320" y="8"/>
                </a:lnTo>
                <a:lnTo>
                  <a:pt x="312" y="4"/>
                </a:lnTo>
                <a:lnTo>
                  <a:pt x="302" y="2"/>
                </a:lnTo>
                <a:lnTo>
                  <a:pt x="292" y="0"/>
                </a:lnTo>
                <a:lnTo>
                  <a:pt x="292" y="0"/>
                </a:lnTo>
                <a:close/>
                <a:moveTo>
                  <a:pt x="318" y="182"/>
                </a:moveTo>
                <a:lnTo>
                  <a:pt x="240" y="102"/>
                </a:lnTo>
                <a:lnTo>
                  <a:pt x="142" y="200"/>
                </a:lnTo>
                <a:lnTo>
                  <a:pt x="94" y="152"/>
                </a:lnTo>
                <a:lnTo>
                  <a:pt x="24" y="222"/>
                </a:lnTo>
                <a:lnTo>
                  <a:pt x="24" y="222"/>
                </a:lnTo>
                <a:lnTo>
                  <a:pt x="22" y="216"/>
                </a:lnTo>
                <a:lnTo>
                  <a:pt x="22" y="210"/>
                </a:lnTo>
                <a:lnTo>
                  <a:pt x="22" y="48"/>
                </a:lnTo>
                <a:lnTo>
                  <a:pt x="22" y="48"/>
                </a:lnTo>
                <a:lnTo>
                  <a:pt x="24" y="38"/>
                </a:lnTo>
                <a:lnTo>
                  <a:pt x="30" y="30"/>
                </a:lnTo>
                <a:lnTo>
                  <a:pt x="38" y="24"/>
                </a:lnTo>
                <a:lnTo>
                  <a:pt x="48" y="22"/>
                </a:lnTo>
                <a:lnTo>
                  <a:pt x="292" y="22"/>
                </a:lnTo>
                <a:lnTo>
                  <a:pt x="292" y="22"/>
                </a:lnTo>
                <a:lnTo>
                  <a:pt x="302" y="24"/>
                </a:lnTo>
                <a:lnTo>
                  <a:pt x="312" y="30"/>
                </a:lnTo>
                <a:lnTo>
                  <a:pt x="316" y="38"/>
                </a:lnTo>
                <a:lnTo>
                  <a:pt x="318" y="48"/>
                </a:lnTo>
                <a:lnTo>
                  <a:pt x="318" y="182"/>
                </a:lnTo>
                <a:close/>
                <a:moveTo>
                  <a:pt x="96" y="302"/>
                </a:moveTo>
                <a:lnTo>
                  <a:pt x="244" y="302"/>
                </a:lnTo>
                <a:lnTo>
                  <a:pt x="244" y="294"/>
                </a:lnTo>
                <a:lnTo>
                  <a:pt x="96" y="294"/>
                </a:lnTo>
                <a:lnTo>
                  <a:pt x="96" y="3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微软雅黑 Light" panose="020B0502040204020203" pitchFamily="34" charset="-122"/>
              <a:ea typeface="微软雅黑 Light" panose="020B0502040204020203" pitchFamily="34" charset="-122"/>
              <a:sym typeface="微软雅黑 Light" panose="020B0502040204020203" pitchFamily="34" charset="-122"/>
            </a:endParaRPr>
          </a:p>
        </p:txBody>
      </p:sp>
      <p:grpSp>
        <p:nvGrpSpPr>
          <p:cNvPr id="90" name="Group 4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0283253" y="4794725"/>
            <a:ext cx="385719" cy="381002"/>
            <a:chOff x="5826734" y="3292170"/>
            <a:chExt cx="316282" cy="312413"/>
          </a:xfrm>
          <a:solidFill>
            <a:schemeClr val="tx2"/>
          </a:solidFill>
        </p:grpSpPr>
        <p:sp>
          <p:nvSpPr>
            <p:cNvPr id="91" name="Freeform 14"/>
            <p:cNvSpPr>
              <a:spLocks/>
            </p:cNvSpPr>
            <p:nvPr/>
          </p:nvSpPr>
          <p:spPr bwMode="auto">
            <a:xfrm>
              <a:off x="5941056" y="3551869"/>
              <a:ext cx="52714" cy="52714"/>
            </a:xfrm>
            <a:custGeom>
              <a:avLst/>
              <a:gdLst>
                <a:gd name="T0" fmla="*/ 0 w 46"/>
                <a:gd name="T1" fmla="*/ 22 h 46"/>
                <a:gd name="T2" fmla="*/ 0 w 46"/>
                <a:gd name="T3" fmla="*/ 22 h 46"/>
                <a:gd name="T4" fmla="*/ 2 w 46"/>
                <a:gd name="T5" fmla="*/ 14 h 46"/>
                <a:gd name="T6" fmla="*/ 6 w 46"/>
                <a:gd name="T7" fmla="*/ 6 h 46"/>
                <a:gd name="T8" fmla="*/ 14 w 46"/>
                <a:gd name="T9" fmla="*/ 0 h 46"/>
                <a:gd name="T10" fmla="*/ 22 w 46"/>
                <a:gd name="T11" fmla="*/ 0 h 46"/>
                <a:gd name="T12" fmla="*/ 22 w 46"/>
                <a:gd name="T13" fmla="*/ 0 h 46"/>
                <a:gd name="T14" fmla="*/ 32 w 46"/>
                <a:gd name="T15" fmla="*/ 0 h 46"/>
                <a:gd name="T16" fmla="*/ 38 w 46"/>
                <a:gd name="T17" fmla="*/ 6 h 46"/>
                <a:gd name="T18" fmla="*/ 44 w 46"/>
                <a:gd name="T19" fmla="*/ 14 h 46"/>
                <a:gd name="T20" fmla="*/ 46 w 46"/>
                <a:gd name="T21" fmla="*/ 22 h 46"/>
                <a:gd name="T22" fmla="*/ 46 w 46"/>
                <a:gd name="T23" fmla="*/ 22 h 46"/>
                <a:gd name="T24" fmla="*/ 44 w 46"/>
                <a:gd name="T25" fmla="*/ 32 h 46"/>
                <a:gd name="T26" fmla="*/ 38 w 46"/>
                <a:gd name="T27" fmla="*/ 40 h 46"/>
                <a:gd name="T28" fmla="*/ 32 w 46"/>
                <a:gd name="T29" fmla="*/ 44 h 46"/>
                <a:gd name="T30" fmla="*/ 22 w 46"/>
                <a:gd name="T31" fmla="*/ 46 h 46"/>
                <a:gd name="T32" fmla="*/ 22 w 46"/>
                <a:gd name="T33" fmla="*/ 46 h 46"/>
                <a:gd name="T34" fmla="*/ 14 w 46"/>
                <a:gd name="T35" fmla="*/ 44 h 46"/>
                <a:gd name="T36" fmla="*/ 6 w 46"/>
                <a:gd name="T37" fmla="*/ 40 h 46"/>
                <a:gd name="T38" fmla="*/ 2 w 46"/>
                <a:gd name="T39" fmla="*/ 32 h 46"/>
                <a:gd name="T40" fmla="*/ 0 w 46"/>
                <a:gd name="T41" fmla="*/ 22 h 46"/>
                <a:gd name="T42" fmla="*/ 0 w 46"/>
                <a:gd name="T43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6">
                  <a:moveTo>
                    <a:pt x="0" y="22"/>
                  </a:moveTo>
                  <a:lnTo>
                    <a:pt x="0" y="22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38" y="6"/>
                  </a:lnTo>
                  <a:lnTo>
                    <a:pt x="44" y="14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4" y="32"/>
                  </a:lnTo>
                  <a:lnTo>
                    <a:pt x="38" y="40"/>
                  </a:lnTo>
                  <a:lnTo>
                    <a:pt x="32" y="44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14" y="44"/>
                  </a:lnTo>
                  <a:lnTo>
                    <a:pt x="6" y="40"/>
                  </a:lnTo>
                  <a:lnTo>
                    <a:pt x="2" y="32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微软雅黑 Light" panose="020B0502040204020203" pitchFamily="34" charset="-122"/>
                <a:ea typeface="微软雅黑 Light" panose="020B0502040204020203" pitchFamily="34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92" name="Freeform 15"/>
            <p:cNvSpPr>
              <a:spLocks/>
            </p:cNvSpPr>
            <p:nvPr/>
          </p:nvSpPr>
          <p:spPr bwMode="auto">
            <a:xfrm>
              <a:off x="6073964" y="3551869"/>
              <a:ext cx="50422" cy="52714"/>
            </a:xfrm>
            <a:custGeom>
              <a:avLst/>
              <a:gdLst>
                <a:gd name="T0" fmla="*/ 0 w 44"/>
                <a:gd name="T1" fmla="*/ 22 h 46"/>
                <a:gd name="T2" fmla="*/ 0 w 44"/>
                <a:gd name="T3" fmla="*/ 22 h 46"/>
                <a:gd name="T4" fmla="*/ 0 w 44"/>
                <a:gd name="T5" fmla="*/ 14 h 46"/>
                <a:gd name="T6" fmla="*/ 6 w 44"/>
                <a:gd name="T7" fmla="*/ 6 h 46"/>
                <a:gd name="T8" fmla="*/ 14 w 44"/>
                <a:gd name="T9" fmla="*/ 0 h 46"/>
                <a:gd name="T10" fmla="*/ 22 w 44"/>
                <a:gd name="T11" fmla="*/ 0 h 46"/>
                <a:gd name="T12" fmla="*/ 22 w 44"/>
                <a:gd name="T13" fmla="*/ 0 h 46"/>
                <a:gd name="T14" fmla="*/ 30 w 44"/>
                <a:gd name="T15" fmla="*/ 0 h 46"/>
                <a:gd name="T16" fmla="*/ 38 w 44"/>
                <a:gd name="T17" fmla="*/ 6 h 46"/>
                <a:gd name="T18" fmla="*/ 44 w 44"/>
                <a:gd name="T19" fmla="*/ 14 h 46"/>
                <a:gd name="T20" fmla="*/ 44 w 44"/>
                <a:gd name="T21" fmla="*/ 22 h 46"/>
                <a:gd name="T22" fmla="*/ 44 w 44"/>
                <a:gd name="T23" fmla="*/ 22 h 46"/>
                <a:gd name="T24" fmla="*/ 44 w 44"/>
                <a:gd name="T25" fmla="*/ 32 h 46"/>
                <a:gd name="T26" fmla="*/ 38 w 44"/>
                <a:gd name="T27" fmla="*/ 40 h 46"/>
                <a:gd name="T28" fmla="*/ 30 w 44"/>
                <a:gd name="T29" fmla="*/ 44 h 46"/>
                <a:gd name="T30" fmla="*/ 22 w 44"/>
                <a:gd name="T31" fmla="*/ 46 h 46"/>
                <a:gd name="T32" fmla="*/ 22 w 44"/>
                <a:gd name="T33" fmla="*/ 46 h 46"/>
                <a:gd name="T34" fmla="*/ 14 w 44"/>
                <a:gd name="T35" fmla="*/ 44 h 46"/>
                <a:gd name="T36" fmla="*/ 6 w 44"/>
                <a:gd name="T37" fmla="*/ 40 h 46"/>
                <a:gd name="T38" fmla="*/ 0 w 44"/>
                <a:gd name="T39" fmla="*/ 32 h 46"/>
                <a:gd name="T40" fmla="*/ 0 w 44"/>
                <a:gd name="T41" fmla="*/ 22 h 46"/>
                <a:gd name="T42" fmla="*/ 0 w 44"/>
                <a:gd name="T43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46">
                  <a:moveTo>
                    <a:pt x="0" y="22"/>
                  </a:moveTo>
                  <a:lnTo>
                    <a:pt x="0" y="22"/>
                  </a:lnTo>
                  <a:lnTo>
                    <a:pt x="0" y="14"/>
                  </a:lnTo>
                  <a:lnTo>
                    <a:pt x="6" y="6"/>
                  </a:lnTo>
                  <a:lnTo>
                    <a:pt x="1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0" y="0"/>
                  </a:lnTo>
                  <a:lnTo>
                    <a:pt x="38" y="6"/>
                  </a:lnTo>
                  <a:lnTo>
                    <a:pt x="44" y="14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32"/>
                  </a:lnTo>
                  <a:lnTo>
                    <a:pt x="38" y="40"/>
                  </a:lnTo>
                  <a:lnTo>
                    <a:pt x="30" y="44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14" y="44"/>
                  </a:lnTo>
                  <a:lnTo>
                    <a:pt x="6" y="40"/>
                  </a:lnTo>
                  <a:lnTo>
                    <a:pt x="0" y="32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微软雅黑 Light" panose="020B0502040204020203" pitchFamily="34" charset="-122"/>
                <a:ea typeface="微软雅黑 Light" panose="020B0502040204020203" pitchFamily="34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93" name="Freeform 16"/>
            <p:cNvSpPr>
              <a:spLocks noEditPoints="1"/>
            </p:cNvSpPr>
            <p:nvPr/>
          </p:nvSpPr>
          <p:spPr bwMode="auto">
            <a:xfrm>
              <a:off x="5826734" y="3292170"/>
              <a:ext cx="316282" cy="187936"/>
            </a:xfrm>
            <a:custGeom>
              <a:avLst/>
              <a:gdLst>
                <a:gd name="T0" fmla="*/ 266 w 276"/>
                <a:gd name="T1" fmla="*/ 52 h 164"/>
                <a:gd name="T2" fmla="*/ 106 w 276"/>
                <a:gd name="T3" fmla="*/ 52 h 164"/>
                <a:gd name="T4" fmla="*/ 106 w 276"/>
                <a:gd name="T5" fmla="*/ 52 h 164"/>
                <a:gd name="T6" fmla="*/ 100 w 276"/>
                <a:gd name="T7" fmla="*/ 50 h 164"/>
                <a:gd name="T8" fmla="*/ 94 w 276"/>
                <a:gd name="T9" fmla="*/ 46 h 164"/>
                <a:gd name="T10" fmla="*/ 90 w 276"/>
                <a:gd name="T11" fmla="*/ 42 h 164"/>
                <a:gd name="T12" fmla="*/ 88 w 276"/>
                <a:gd name="T13" fmla="*/ 34 h 164"/>
                <a:gd name="T14" fmla="*/ 88 w 276"/>
                <a:gd name="T15" fmla="*/ 16 h 164"/>
                <a:gd name="T16" fmla="*/ 88 w 276"/>
                <a:gd name="T17" fmla="*/ 16 h 164"/>
                <a:gd name="T18" fmla="*/ 86 w 276"/>
                <a:gd name="T19" fmla="*/ 10 h 164"/>
                <a:gd name="T20" fmla="*/ 82 w 276"/>
                <a:gd name="T21" fmla="*/ 4 h 164"/>
                <a:gd name="T22" fmla="*/ 76 w 276"/>
                <a:gd name="T23" fmla="*/ 0 h 164"/>
                <a:gd name="T24" fmla="*/ 70 w 276"/>
                <a:gd name="T25" fmla="*/ 0 h 164"/>
                <a:gd name="T26" fmla="*/ 18 w 276"/>
                <a:gd name="T27" fmla="*/ 0 h 164"/>
                <a:gd name="T28" fmla="*/ 18 w 276"/>
                <a:gd name="T29" fmla="*/ 0 h 164"/>
                <a:gd name="T30" fmla="*/ 12 w 276"/>
                <a:gd name="T31" fmla="*/ 0 h 164"/>
                <a:gd name="T32" fmla="*/ 6 w 276"/>
                <a:gd name="T33" fmla="*/ 4 h 164"/>
                <a:gd name="T34" fmla="*/ 2 w 276"/>
                <a:gd name="T35" fmla="*/ 8 h 164"/>
                <a:gd name="T36" fmla="*/ 0 w 276"/>
                <a:gd name="T37" fmla="*/ 14 h 164"/>
                <a:gd name="T38" fmla="*/ 0 w 276"/>
                <a:gd name="T39" fmla="*/ 14 h 164"/>
                <a:gd name="T40" fmla="*/ 2 w 276"/>
                <a:gd name="T41" fmla="*/ 20 h 164"/>
                <a:gd name="T42" fmla="*/ 4 w 276"/>
                <a:gd name="T43" fmla="*/ 26 h 164"/>
                <a:gd name="T44" fmla="*/ 10 w 276"/>
                <a:gd name="T45" fmla="*/ 28 h 164"/>
                <a:gd name="T46" fmla="*/ 16 w 276"/>
                <a:gd name="T47" fmla="*/ 30 h 164"/>
                <a:gd name="T48" fmla="*/ 36 w 276"/>
                <a:gd name="T49" fmla="*/ 30 h 164"/>
                <a:gd name="T50" fmla="*/ 36 w 276"/>
                <a:gd name="T51" fmla="*/ 30 h 164"/>
                <a:gd name="T52" fmla="*/ 42 w 276"/>
                <a:gd name="T53" fmla="*/ 30 h 164"/>
                <a:gd name="T54" fmla="*/ 50 w 276"/>
                <a:gd name="T55" fmla="*/ 34 h 164"/>
                <a:gd name="T56" fmla="*/ 54 w 276"/>
                <a:gd name="T57" fmla="*/ 40 h 164"/>
                <a:gd name="T58" fmla="*/ 58 w 276"/>
                <a:gd name="T59" fmla="*/ 46 h 164"/>
                <a:gd name="T60" fmla="*/ 98 w 276"/>
                <a:gd name="T61" fmla="*/ 150 h 164"/>
                <a:gd name="T62" fmla="*/ 98 w 276"/>
                <a:gd name="T63" fmla="*/ 150 h 164"/>
                <a:gd name="T64" fmla="*/ 100 w 276"/>
                <a:gd name="T65" fmla="*/ 156 h 164"/>
                <a:gd name="T66" fmla="*/ 106 w 276"/>
                <a:gd name="T67" fmla="*/ 160 h 164"/>
                <a:gd name="T68" fmla="*/ 112 w 276"/>
                <a:gd name="T69" fmla="*/ 164 h 164"/>
                <a:gd name="T70" fmla="*/ 120 w 276"/>
                <a:gd name="T71" fmla="*/ 164 h 164"/>
                <a:gd name="T72" fmla="*/ 218 w 276"/>
                <a:gd name="T73" fmla="*/ 164 h 164"/>
                <a:gd name="T74" fmla="*/ 218 w 276"/>
                <a:gd name="T75" fmla="*/ 164 h 164"/>
                <a:gd name="T76" fmla="*/ 226 w 276"/>
                <a:gd name="T77" fmla="*/ 164 h 164"/>
                <a:gd name="T78" fmla="*/ 232 w 276"/>
                <a:gd name="T79" fmla="*/ 160 h 164"/>
                <a:gd name="T80" fmla="*/ 238 w 276"/>
                <a:gd name="T81" fmla="*/ 156 h 164"/>
                <a:gd name="T82" fmla="*/ 242 w 276"/>
                <a:gd name="T83" fmla="*/ 150 h 164"/>
                <a:gd name="T84" fmla="*/ 276 w 276"/>
                <a:gd name="T85" fmla="*/ 68 h 164"/>
                <a:gd name="T86" fmla="*/ 276 w 276"/>
                <a:gd name="T87" fmla="*/ 68 h 164"/>
                <a:gd name="T88" fmla="*/ 276 w 276"/>
                <a:gd name="T89" fmla="*/ 62 h 164"/>
                <a:gd name="T90" fmla="*/ 276 w 276"/>
                <a:gd name="T91" fmla="*/ 56 h 164"/>
                <a:gd name="T92" fmla="*/ 272 w 276"/>
                <a:gd name="T93" fmla="*/ 52 h 164"/>
                <a:gd name="T94" fmla="*/ 266 w 276"/>
                <a:gd name="T95" fmla="*/ 52 h 164"/>
                <a:gd name="T96" fmla="*/ 266 w 276"/>
                <a:gd name="T97" fmla="*/ 52 h 164"/>
                <a:gd name="T98" fmla="*/ 212 w 276"/>
                <a:gd name="T99" fmla="*/ 142 h 164"/>
                <a:gd name="T100" fmla="*/ 128 w 276"/>
                <a:gd name="T101" fmla="*/ 142 h 164"/>
                <a:gd name="T102" fmla="*/ 106 w 276"/>
                <a:gd name="T103" fmla="*/ 76 h 164"/>
                <a:gd name="T104" fmla="*/ 238 w 276"/>
                <a:gd name="T105" fmla="*/ 76 h 164"/>
                <a:gd name="T106" fmla="*/ 212 w 276"/>
                <a:gd name="T107" fmla="*/ 14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6" h="164">
                  <a:moveTo>
                    <a:pt x="266" y="52"/>
                  </a:moveTo>
                  <a:lnTo>
                    <a:pt x="106" y="52"/>
                  </a:lnTo>
                  <a:lnTo>
                    <a:pt x="106" y="52"/>
                  </a:lnTo>
                  <a:lnTo>
                    <a:pt x="100" y="50"/>
                  </a:lnTo>
                  <a:lnTo>
                    <a:pt x="94" y="46"/>
                  </a:lnTo>
                  <a:lnTo>
                    <a:pt x="90" y="42"/>
                  </a:lnTo>
                  <a:lnTo>
                    <a:pt x="88" y="34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6" y="10"/>
                  </a:lnTo>
                  <a:lnTo>
                    <a:pt x="82" y="4"/>
                  </a:lnTo>
                  <a:lnTo>
                    <a:pt x="76" y="0"/>
                  </a:lnTo>
                  <a:lnTo>
                    <a:pt x="7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4" y="26"/>
                  </a:lnTo>
                  <a:lnTo>
                    <a:pt x="10" y="28"/>
                  </a:lnTo>
                  <a:lnTo>
                    <a:pt x="1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50" y="34"/>
                  </a:lnTo>
                  <a:lnTo>
                    <a:pt x="54" y="40"/>
                  </a:lnTo>
                  <a:lnTo>
                    <a:pt x="58" y="46"/>
                  </a:lnTo>
                  <a:lnTo>
                    <a:pt x="98" y="150"/>
                  </a:lnTo>
                  <a:lnTo>
                    <a:pt x="98" y="150"/>
                  </a:lnTo>
                  <a:lnTo>
                    <a:pt x="100" y="156"/>
                  </a:lnTo>
                  <a:lnTo>
                    <a:pt x="106" y="160"/>
                  </a:lnTo>
                  <a:lnTo>
                    <a:pt x="112" y="164"/>
                  </a:lnTo>
                  <a:lnTo>
                    <a:pt x="120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26" y="164"/>
                  </a:lnTo>
                  <a:lnTo>
                    <a:pt x="232" y="160"/>
                  </a:lnTo>
                  <a:lnTo>
                    <a:pt x="238" y="156"/>
                  </a:lnTo>
                  <a:lnTo>
                    <a:pt x="242" y="150"/>
                  </a:lnTo>
                  <a:lnTo>
                    <a:pt x="276" y="68"/>
                  </a:lnTo>
                  <a:lnTo>
                    <a:pt x="276" y="68"/>
                  </a:lnTo>
                  <a:lnTo>
                    <a:pt x="276" y="62"/>
                  </a:lnTo>
                  <a:lnTo>
                    <a:pt x="276" y="56"/>
                  </a:lnTo>
                  <a:lnTo>
                    <a:pt x="272" y="52"/>
                  </a:lnTo>
                  <a:lnTo>
                    <a:pt x="266" y="52"/>
                  </a:lnTo>
                  <a:lnTo>
                    <a:pt x="266" y="52"/>
                  </a:lnTo>
                  <a:close/>
                  <a:moveTo>
                    <a:pt x="212" y="142"/>
                  </a:moveTo>
                  <a:lnTo>
                    <a:pt x="128" y="142"/>
                  </a:lnTo>
                  <a:lnTo>
                    <a:pt x="106" y="76"/>
                  </a:lnTo>
                  <a:lnTo>
                    <a:pt x="238" y="76"/>
                  </a:lnTo>
                  <a:lnTo>
                    <a:pt x="212" y="1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微软雅黑 Light" panose="020B0502040204020203" pitchFamily="34" charset="-122"/>
                <a:ea typeface="微软雅黑 Light" panose="020B0502040204020203" pitchFamily="34" charset="-122"/>
                <a:sym typeface="微软雅黑 Light" panose="020B0502040204020203" pitchFamily="34" charset="-122"/>
              </a:endParaRPr>
            </a:p>
          </p:txBody>
        </p:sp>
      </p:grpSp>
      <p:grpSp>
        <p:nvGrpSpPr>
          <p:cNvPr id="94" name="Group 4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8856841" y="4746948"/>
            <a:ext cx="392089" cy="392089"/>
            <a:chOff x="4543425" y="1855788"/>
            <a:chExt cx="244475" cy="244475"/>
          </a:xfrm>
          <a:solidFill>
            <a:schemeClr val="tx2"/>
          </a:solidFill>
        </p:grpSpPr>
        <p:sp>
          <p:nvSpPr>
            <p:cNvPr id="95" name="Freeform 132"/>
            <p:cNvSpPr>
              <a:spLocks noEditPoints="1"/>
            </p:cNvSpPr>
            <p:nvPr/>
          </p:nvSpPr>
          <p:spPr bwMode="auto">
            <a:xfrm>
              <a:off x="4559300" y="1995488"/>
              <a:ext cx="212725" cy="104775"/>
            </a:xfrm>
            <a:custGeom>
              <a:avLst/>
              <a:gdLst>
                <a:gd name="T0" fmla="*/ 14 w 134"/>
                <a:gd name="T1" fmla="*/ 66 h 66"/>
                <a:gd name="T2" fmla="*/ 4 w 134"/>
                <a:gd name="T3" fmla="*/ 60 h 66"/>
                <a:gd name="T4" fmla="*/ 134 w 134"/>
                <a:gd name="T5" fmla="*/ 0 h 66"/>
                <a:gd name="T6" fmla="*/ 130 w 134"/>
                <a:gd name="T7" fmla="*/ 56 h 66"/>
                <a:gd name="T8" fmla="*/ 122 w 134"/>
                <a:gd name="T9" fmla="*/ 66 h 66"/>
                <a:gd name="T10" fmla="*/ 4 w 134"/>
                <a:gd name="T11" fmla="*/ 4 h 66"/>
                <a:gd name="T12" fmla="*/ 10 w 134"/>
                <a:gd name="T13" fmla="*/ 60 h 66"/>
                <a:gd name="T14" fmla="*/ 118 w 134"/>
                <a:gd name="T15" fmla="*/ 62 h 66"/>
                <a:gd name="T16" fmla="*/ 130 w 134"/>
                <a:gd name="T17" fmla="*/ 4 h 66"/>
                <a:gd name="T18" fmla="*/ 104 w 134"/>
                <a:gd name="T19" fmla="*/ 56 h 66"/>
                <a:gd name="T20" fmla="*/ 98 w 134"/>
                <a:gd name="T21" fmla="*/ 20 h 66"/>
                <a:gd name="T22" fmla="*/ 104 w 134"/>
                <a:gd name="T23" fmla="*/ 14 h 66"/>
                <a:gd name="T24" fmla="*/ 110 w 134"/>
                <a:gd name="T25" fmla="*/ 20 h 66"/>
                <a:gd name="T26" fmla="*/ 108 w 134"/>
                <a:gd name="T27" fmla="*/ 54 h 66"/>
                <a:gd name="T28" fmla="*/ 104 w 134"/>
                <a:gd name="T29" fmla="*/ 18 h 66"/>
                <a:gd name="T30" fmla="*/ 102 w 134"/>
                <a:gd name="T31" fmla="*/ 20 h 66"/>
                <a:gd name="T32" fmla="*/ 104 w 134"/>
                <a:gd name="T33" fmla="*/ 50 h 66"/>
                <a:gd name="T34" fmla="*/ 106 w 134"/>
                <a:gd name="T35" fmla="*/ 50 h 66"/>
                <a:gd name="T36" fmla="*/ 106 w 134"/>
                <a:gd name="T37" fmla="*/ 20 h 66"/>
                <a:gd name="T38" fmla="*/ 104 w 134"/>
                <a:gd name="T39" fmla="*/ 18 h 66"/>
                <a:gd name="T40" fmla="*/ 76 w 134"/>
                <a:gd name="T41" fmla="*/ 54 h 66"/>
                <a:gd name="T42" fmla="*/ 74 w 134"/>
                <a:gd name="T43" fmla="*/ 20 h 66"/>
                <a:gd name="T44" fmla="*/ 80 w 134"/>
                <a:gd name="T45" fmla="*/ 14 h 66"/>
                <a:gd name="T46" fmla="*/ 84 w 134"/>
                <a:gd name="T47" fmla="*/ 48 h 66"/>
                <a:gd name="T48" fmla="*/ 80 w 134"/>
                <a:gd name="T49" fmla="*/ 56 h 66"/>
                <a:gd name="T50" fmla="*/ 80 w 134"/>
                <a:gd name="T51" fmla="*/ 18 h 66"/>
                <a:gd name="T52" fmla="*/ 78 w 134"/>
                <a:gd name="T53" fmla="*/ 48 h 66"/>
                <a:gd name="T54" fmla="*/ 80 w 134"/>
                <a:gd name="T55" fmla="*/ 52 h 66"/>
                <a:gd name="T56" fmla="*/ 80 w 134"/>
                <a:gd name="T57" fmla="*/ 48 h 66"/>
                <a:gd name="T58" fmla="*/ 80 w 134"/>
                <a:gd name="T59" fmla="*/ 18 h 66"/>
                <a:gd name="T60" fmla="*/ 54 w 134"/>
                <a:gd name="T61" fmla="*/ 56 h 66"/>
                <a:gd name="T62" fmla="*/ 48 w 134"/>
                <a:gd name="T63" fmla="*/ 48 h 66"/>
                <a:gd name="T64" fmla="*/ 50 w 134"/>
                <a:gd name="T65" fmla="*/ 16 h 66"/>
                <a:gd name="T66" fmla="*/ 58 w 134"/>
                <a:gd name="T67" fmla="*/ 16 h 66"/>
                <a:gd name="T68" fmla="*/ 60 w 134"/>
                <a:gd name="T69" fmla="*/ 48 h 66"/>
                <a:gd name="T70" fmla="*/ 54 w 134"/>
                <a:gd name="T71" fmla="*/ 56 h 66"/>
                <a:gd name="T72" fmla="*/ 52 w 134"/>
                <a:gd name="T73" fmla="*/ 18 h 66"/>
                <a:gd name="T74" fmla="*/ 52 w 134"/>
                <a:gd name="T75" fmla="*/ 48 h 66"/>
                <a:gd name="T76" fmla="*/ 54 w 134"/>
                <a:gd name="T77" fmla="*/ 52 h 66"/>
                <a:gd name="T78" fmla="*/ 56 w 134"/>
                <a:gd name="T79" fmla="*/ 20 h 66"/>
                <a:gd name="T80" fmla="*/ 54 w 134"/>
                <a:gd name="T81" fmla="*/ 18 h 66"/>
                <a:gd name="T82" fmla="*/ 28 w 134"/>
                <a:gd name="T83" fmla="*/ 56 h 66"/>
                <a:gd name="T84" fmla="*/ 24 w 134"/>
                <a:gd name="T85" fmla="*/ 20 h 66"/>
                <a:gd name="T86" fmla="*/ 28 w 134"/>
                <a:gd name="T87" fmla="*/ 14 h 66"/>
                <a:gd name="T88" fmla="*/ 34 w 134"/>
                <a:gd name="T89" fmla="*/ 20 h 66"/>
                <a:gd name="T90" fmla="*/ 32 w 134"/>
                <a:gd name="T91" fmla="*/ 54 h 66"/>
                <a:gd name="T92" fmla="*/ 28 w 134"/>
                <a:gd name="T93" fmla="*/ 18 h 66"/>
                <a:gd name="T94" fmla="*/ 28 w 134"/>
                <a:gd name="T95" fmla="*/ 20 h 66"/>
                <a:gd name="T96" fmla="*/ 28 w 134"/>
                <a:gd name="T97" fmla="*/ 50 h 66"/>
                <a:gd name="T98" fmla="*/ 30 w 134"/>
                <a:gd name="T99" fmla="*/ 50 h 66"/>
                <a:gd name="T100" fmla="*/ 30 w 134"/>
                <a:gd name="T101" fmla="*/ 20 h 66"/>
                <a:gd name="T102" fmla="*/ 28 w 134"/>
                <a:gd name="T103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4" h="66">
                  <a:moveTo>
                    <a:pt x="118" y="66"/>
                  </a:moveTo>
                  <a:lnTo>
                    <a:pt x="14" y="66"/>
                  </a:lnTo>
                  <a:lnTo>
                    <a:pt x="14" y="66"/>
                  </a:lnTo>
                  <a:lnTo>
                    <a:pt x="10" y="66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6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0" y="60"/>
                  </a:lnTo>
                  <a:lnTo>
                    <a:pt x="126" y="62"/>
                  </a:lnTo>
                  <a:lnTo>
                    <a:pt x="122" y="66"/>
                  </a:lnTo>
                  <a:lnTo>
                    <a:pt x="118" y="66"/>
                  </a:lnTo>
                  <a:lnTo>
                    <a:pt x="118" y="66"/>
                  </a:lnTo>
                  <a:close/>
                  <a:moveTo>
                    <a:pt x="4" y="4"/>
                  </a:moveTo>
                  <a:lnTo>
                    <a:pt x="6" y="54"/>
                  </a:lnTo>
                  <a:lnTo>
                    <a:pt x="6" y="54"/>
                  </a:lnTo>
                  <a:lnTo>
                    <a:pt x="10" y="60"/>
                  </a:lnTo>
                  <a:lnTo>
                    <a:pt x="14" y="62"/>
                  </a:lnTo>
                  <a:lnTo>
                    <a:pt x="118" y="62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26" y="54"/>
                  </a:lnTo>
                  <a:lnTo>
                    <a:pt x="130" y="4"/>
                  </a:lnTo>
                  <a:lnTo>
                    <a:pt x="4" y="4"/>
                  </a:lnTo>
                  <a:close/>
                  <a:moveTo>
                    <a:pt x="104" y="56"/>
                  </a:moveTo>
                  <a:lnTo>
                    <a:pt x="104" y="56"/>
                  </a:lnTo>
                  <a:lnTo>
                    <a:pt x="100" y="54"/>
                  </a:lnTo>
                  <a:lnTo>
                    <a:pt x="98" y="48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100" y="16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8" y="16"/>
                  </a:lnTo>
                  <a:lnTo>
                    <a:pt x="110" y="20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08" y="54"/>
                  </a:lnTo>
                  <a:lnTo>
                    <a:pt x="104" y="56"/>
                  </a:lnTo>
                  <a:lnTo>
                    <a:pt x="104" y="56"/>
                  </a:lnTo>
                  <a:close/>
                  <a:moveTo>
                    <a:pt x="104" y="18"/>
                  </a:moveTo>
                  <a:lnTo>
                    <a:pt x="104" y="18"/>
                  </a:lnTo>
                  <a:lnTo>
                    <a:pt x="104" y="18"/>
                  </a:lnTo>
                  <a:lnTo>
                    <a:pt x="102" y="20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6" y="50"/>
                  </a:lnTo>
                  <a:lnTo>
                    <a:pt x="106" y="48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18"/>
                  </a:lnTo>
                  <a:lnTo>
                    <a:pt x="104" y="18"/>
                  </a:lnTo>
                  <a:lnTo>
                    <a:pt x="104" y="18"/>
                  </a:lnTo>
                  <a:close/>
                  <a:moveTo>
                    <a:pt x="80" y="56"/>
                  </a:moveTo>
                  <a:lnTo>
                    <a:pt x="80" y="56"/>
                  </a:lnTo>
                  <a:lnTo>
                    <a:pt x="76" y="54"/>
                  </a:lnTo>
                  <a:lnTo>
                    <a:pt x="74" y="48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6" y="16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2" y="16"/>
                  </a:lnTo>
                  <a:lnTo>
                    <a:pt x="84" y="20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2" y="54"/>
                  </a:lnTo>
                  <a:lnTo>
                    <a:pt x="80" y="56"/>
                  </a:lnTo>
                  <a:lnTo>
                    <a:pt x="80" y="56"/>
                  </a:lnTo>
                  <a:close/>
                  <a:moveTo>
                    <a:pt x="80" y="18"/>
                  </a:moveTo>
                  <a:lnTo>
                    <a:pt x="80" y="18"/>
                  </a:lnTo>
                  <a:lnTo>
                    <a:pt x="78" y="18"/>
                  </a:lnTo>
                  <a:lnTo>
                    <a:pt x="78" y="20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50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0"/>
                  </a:lnTo>
                  <a:lnTo>
                    <a:pt x="80" y="48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close/>
                  <a:moveTo>
                    <a:pt x="54" y="56"/>
                  </a:moveTo>
                  <a:lnTo>
                    <a:pt x="54" y="56"/>
                  </a:lnTo>
                  <a:lnTo>
                    <a:pt x="50" y="54"/>
                  </a:lnTo>
                  <a:lnTo>
                    <a:pt x="48" y="48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0" y="16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8" y="16"/>
                  </a:lnTo>
                  <a:lnTo>
                    <a:pt x="60" y="20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8" y="54"/>
                  </a:lnTo>
                  <a:lnTo>
                    <a:pt x="54" y="56"/>
                  </a:lnTo>
                  <a:lnTo>
                    <a:pt x="54" y="56"/>
                  </a:lnTo>
                  <a:close/>
                  <a:moveTo>
                    <a:pt x="54" y="18"/>
                  </a:moveTo>
                  <a:lnTo>
                    <a:pt x="54" y="18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50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6" y="50"/>
                  </a:lnTo>
                  <a:lnTo>
                    <a:pt x="56" y="48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18"/>
                  </a:lnTo>
                  <a:lnTo>
                    <a:pt x="54" y="18"/>
                  </a:lnTo>
                  <a:lnTo>
                    <a:pt x="54" y="18"/>
                  </a:lnTo>
                  <a:close/>
                  <a:moveTo>
                    <a:pt x="28" y="56"/>
                  </a:moveTo>
                  <a:lnTo>
                    <a:pt x="28" y="56"/>
                  </a:lnTo>
                  <a:lnTo>
                    <a:pt x="26" y="54"/>
                  </a:lnTo>
                  <a:lnTo>
                    <a:pt x="24" y="48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6" y="1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32" y="16"/>
                  </a:lnTo>
                  <a:lnTo>
                    <a:pt x="34" y="20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2" y="54"/>
                  </a:lnTo>
                  <a:lnTo>
                    <a:pt x="28" y="56"/>
                  </a:lnTo>
                  <a:lnTo>
                    <a:pt x="28" y="56"/>
                  </a:lnTo>
                  <a:close/>
                  <a:moveTo>
                    <a:pt x="28" y="18"/>
                  </a:moveTo>
                  <a:lnTo>
                    <a:pt x="28" y="18"/>
                  </a:lnTo>
                  <a:lnTo>
                    <a:pt x="28" y="18"/>
                  </a:lnTo>
                  <a:lnTo>
                    <a:pt x="28" y="2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0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30" y="50"/>
                  </a:lnTo>
                  <a:lnTo>
                    <a:pt x="30" y="48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微软雅黑 Light" panose="020B0502040204020203" pitchFamily="34" charset="-122"/>
                <a:ea typeface="微软雅黑 Light" panose="020B0502040204020203" pitchFamily="34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96" name="Freeform 133"/>
            <p:cNvSpPr>
              <a:spLocks noEditPoints="1"/>
            </p:cNvSpPr>
            <p:nvPr/>
          </p:nvSpPr>
          <p:spPr bwMode="auto">
            <a:xfrm>
              <a:off x="4543425" y="1944688"/>
              <a:ext cx="123825" cy="50800"/>
            </a:xfrm>
            <a:custGeom>
              <a:avLst/>
              <a:gdLst>
                <a:gd name="T0" fmla="*/ 78 w 78"/>
                <a:gd name="T1" fmla="*/ 32 h 32"/>
                <a:gd name="T2" fmla="*/ 6 w 78"/>
                <a:gd name="T3" fmla="*/ 32 h 32"/>
                <a:gd name="T4" fmla="*/ 6 w 78"/>
                <a:gd name="T5" fmla="*/ 32 h 32"/>
                <a:gd name="T6" fmla="*/ 2 w 78"/>
                <a:gd name="T7" fmla="*/ 30 h 32"/>
                <a:gd name="T8" fmla="*/ 0 w 78"/>
                <a:gd name="T9" fmla="*/ 24 h 32"/>
                <a:gd name="T10" fmla="*/ 0 w 78"/>
                <a:gd name="T11" fmla="*/ 6 h 32"/>
                <a:gd name="T12" fmla="*/ 0 w 78"/>
                <a:gd name="T13" fmla="*/ 6 h 32"/>
                <a:gd name="T14" fmla="*/ 2 w 78"/>
                <a:gd name="T15" fmla="*/ 2 h 32"/>
                <a:gd name="T16" fmla="*/ 6 w 78"/>
                <a:gd name="T17" fmla="*/ 0 h 32"/>
                <a:gd name="T18" fmla="*/ 64 w 78"/>
                <a:gd name="T19" fmla="*/ 0 h 32"/>
                <a:gd name="T20" fmla="*/ 56 w 78"/>
                <a:gd name="T21" fmla="*/ 6 h 32"/>
                <a:gd name="T22" fmla="*/ 56 w 78"/>
                <a:gd name="T23" fmla="*/ 6 h 32"/>
                <a:gd name="T24" fmla="*/ 56 w 78"/>
                <a:gd name="T25" fmla="*/ 8 h 32"/>
                <a:gd name="T26" fmla="*/ 54 w 78"/>
                <a:gd name="T27" fmla="*/ 10 h 32"/>
                <a:gd name="T28" fmla="*/ 54 w 78"/>
                <a:gd name="T29" fmla="*/ 10 h 32"/>
                <a:gd name="T30" fmla="*/ 56 w 78"/>
                <a:gd name="T31" fmla="*/ 14 h 32"/>
                <a:gd name="T32" fmla="*/ 56 w 78"/>
                <a:gd name="T33" fmla="*/ 16 h 32"/>
                <a:gd name="T34" fmla="*/ 66 w 78"/>
                <a:gd name="T35" fmla="*/ 26 h 32"/>
                <a:gd name="T36" fmla="*/ 66 w 78"/>
                <a:gd name="T37" fmla="*/ 26 h 32"/>
                <a:gd name="T38" fmla="*/ 70 w 78"/>
                <a:gd name="T39" fmla="*/ 28 h 32"/>
                <a:gd name="T40" fmla="*/ 78 w 78"/>
                <a:gd name="T41" fmla="*/ 32 h 32"/>
                <a:gd name="T42" fmla="*/ 6 w 78"/>
                <a:gd name="T43" fmla="*/ 4 h 32"/>
                <a:gd name="T44" fmla="*/ 6 w 78"/>
                <a:gd name="T45" fmla="*/ 4 h 32"/>
                <a:gd name="T46" fmla="*/ 4 w 78"/>
                <a:gd name="T47" fmla="*/ 4 h 32"/>
                <a:gd name="T48" fmla="*/ 4 w 78"/>
                <a:gd name="T49" fmla="*/ 6 h 32"/>
                <a:gd name="T50" fmla="*/ 4 w 78"/>
                <a:gd name="T51" fmla="*/ 24 h 32"/>
                <a:gd name="T52" fmla="*/ 4 w 78"/>
                <a:gd name="T53" fmla="*/ 24 h 32"/>
                <a:gd name="T54" fmla="*/ 4 w 78"/>
                <a:gd name="T55" fmla="*/ 26 h 32"/>
                <a:gd name="T56" fmla="*/ 6 w 78"/>
                <a:gd name="T57" fmla="*/ 28 h 32"/>
                <a:gd name="T58" fmla="*/ 64 w 78"/>
                <a:gd name="T59" fmla="*/ 28 h 32"/>
                <a:gd name="T60" fmla="*/ 54 w 78"/>
                <a:gd name="T61" fmla="*/ 18 h 32"/>
                <a:gd name="T62" fmla="*/ 54 w 78"/>
                <a:gd name="T63" fmla="*/ 18 h 32"/>
                <a:gd name="T64" fmla="*/ 52 w 78"/>
                <a:gd name="T65" fmla="*/ 16 h 32"/>
                <a:gd name="T66" fmla="*/ 52 w 78"/>
                <a:gd name="T67" fmla="*/ 10 h 32"/>
                <a:gd name="T68" fmla="*/ 52 w 78"/>
                <a:gd name="T69" fmla="*/ 10 h 32"/>
                <a:gd name="T70" fmla="*/ 52 w 78"/>
                <a:gd name="T71" fmla="*/ 6 h 32"/>
                <a:gd name="T72" fmla="*/ 54 w 78"/>
                <a:gd name="T73" fmla="*/ 4 h 32"/>
                <a:gd name="T74" fmla="*/ 6 w 78"/>
                <a:gd name="T75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8" h="32">
                  <a:moveTo>
                    <a:pt x="78" y="32"/>
                  </a:moveTo>
                  <a:lnTo>
                    <a:pt x="6" y="32"/>
                  </a:lnTo>
                  <a:lnTo>
                    <a:pt x="6" y="32"/>
                  </a:lnTo>
                  <a:lnTo>
                    <a:pt x="2" y="30"/>
                  </a:lnTo>
                  <a:lnTo>
                    <a:pt x="0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4" y="0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8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6" y="14"/>
                  </a:lnTo>
                  <a:lnTo>
                    <a:pt x="56" y="1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70" y="28"/>
                  </a:lnTo>
                  <a:lnTo>
                    <a:pt x="78" y="32"/>
                  </a:lnTo>
                  <a:close/>
                  <a:moveTo>
                    <a:pt x="6" y="4"/>
                  </a:moveTo>
                  <a:lnTo>
                    <a:pt x="6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64" y="2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2" y="16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6"/>
                  </a:lnTo>
                  <a:lnTo>
                    <a:pt x="54" y="4"/>
                  </a:lnTo>
                  <a:lnTo>
                    <a:pt x="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微软雅黑 Light" panose="020B0502040204020203" pitchFamily="34" charset="-122"/>
                <a:ea typeface="微软雅黑 Light" panose="020B0502040204020203" pitchFamily="34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97" name="Freeform 134"/>
            <p:cNvSpPr>
              <a:spLocks noEditPoints="1"/>
            </p:cNvSpPr>
            <p:nvPr/>
          </p:nvSpPr>
          <p:spPr bwMode="auto">
            <a:xfrm>
              <a:off x="4648200" y="1944688"/>
              <a:ext cx="139700" cy="50800"/>
            </a:xfrm>
            <a:custGeom>
              <a:avLst/>
              <a:gdLst>
                <a:gd name="T0" fmla="*/ 82 w 88"/>
                <a:gd name="T1" fmla="*/ 32 h 32"/>
                <a:gd name="T2" fmla="*/ 0 w 88"/>
                <a:gd name="T3" fmla="*/ 32 h 32"/>
                <a:gd name="T4" fmla="*/ 10 w 88"/>
                <a:gd name="T5" fmla="*/ 28 h 32"/>
                <a:gd name="T6" fmla="*/ 10 w 88"/>
                <a:gd name="T7" fmla="*/ 28 h 32"/>
                <a:gd name="T8" fmla="*/ 12 w 88"/>
                <a:gd name="T9" fmla="*/ 26 h 32"/>
                <a:gd name="T10" fmla="*/ 38 w 88"/>
                <a:gd name="T11" fmla="*/ 0 h 32"/>
                <a:gd name="T12" fmla="*/ 82 w 88"/>
                <a:gd name="T13" fmla="*/ 0 h 32"/>
                <a:gd name="T14" fmla="*/ 82 w 88"/>
                <a:gd name="T15" fmla="*/ 0 h 32"/>
                <a:gd name="T16" fmla="*/ 86 w 88"/>
                <a:gd name="T17" fmla="*/ 2 h 32"/>
                <a:gd name="T18" fmla="*/ 88 w 88"/>
                <a:gd name="T19" fmla="*/ 6 h 32"/>
                <a:gd name="T20" fmla="*/ 88 w 88"/>
                <a:gd name="T21" fmla="*/ 24 h 32"/>
                <a:gd name="T22" fmla="*/ 88 w 88"/>
                <a:gd name="T23" fmla="*/ 24 h 32"/>
                <a:gd name="T24" fmla="*/ 86 w 88"/>
                <a:gd name="T25" fmla="*/ 30 h 32"/>
                <a:gd name="T26" fmla="*/ 82 w 88"/>
                <a:gd name="T27" fmla="*/ 32 h 32"/>
                <a:gd name="T28" fmla="*/ 82 w 88"/>
                <a:gd name="T29" fmla="*/ 32 h 32"/>
                <a:gd name="T30" fmla="*/ 16 w 88"/>
                <a:gd name="T31" fmla="*/ 28 h 32"/>
                <a:gd name="T32" fmla="*/ 82 w 88"/>
                <a:gd name="T33" fmla="*/ 28 h 32"/>
                <a:gd name="T34" fmla="*/ 82 w 88"/>
                <a:gd name="T35" fmla="*/ 28 h 32"/>
                <a:gd name="T36" fmla="*/ 84 w 88"/>
                <a:gd name="T37" fmla="*/ 26 h 32"/>
                <a:gd name="T38" fmla="*/ 84 w 88"/>
                <a:gd name="T39" fmla="*/ 24 h 32"/>
                <a:gd name="T40" fmla="*/ 84 w 88"/>
                <a:gd name="T41" fmla="*/ 6 h 32"/>
                <a:gd name="T42" fmla="*/ 84 w 88"/>
                <a:gd name="T43" fmla="*/ 6 h 32"/>
                <a:gd name="T44" fmla="*/ 84 w 88"/>
                <a:gd name="T45" fmla="*/ 4 h 32"/>
                <a:gd name="T46" fmla="*/ 82 w 88"/>
                <a:gd name="T47" fmla="*/ 4 h 32"/>
                <a:gd name="T48" fmla="*/ 40 w 88"/>
                <a:gd name="T49" fmla="*/ 4 h 32"/>
                <a:gd name="T50" fmla="*/ 16 w 88"/>
                <a:gd name="T51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8" h="32">
                  <a:moveTo>
                    <a:pt x="82" y="32"/>
                  </a:moveTo>
                  <a:lnTo>
                    <a:pt x="0" y="32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2" y="26"/>
                  </a:lnTo>
                  <a:lnTo>
                    <a:pt x="38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6" y="2"/>
                  </a:lnTo>
                  <a:lnTo>
                    <a:pt x="88" y="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6" y="30"/>
                  </a:lnTo>
                  <a:lnTo>
                    <a:pt x="82" y="32"/>
                  </a:lnTo>
                  <a:lnTo>
                    <a:pt x="82" y="32"/>
                  </a:lnTo>
                  <a:close/>
                  <a:moveTo>
                    <a:pt x="16" y="28"/>
                  </a:moveTo>
                  <a:lnTo>
                    <a:pt x="82" y="28"/>
                  </a:lnTo>
                  <a:lnTo>
                    <a:pt x="82" y="28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4" y="4"/>
                  </a:lnTo>
                  <a:lnTo>
                    <a:pt x="82" y="4"/>
                  </a:lnTo>
                  <a:lnTo>
                    <a:pt x="40" y="4"/>
                  </a:lnTo>
                  <a:lnTo>
                    <a:pt x="1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微软雅黑 Light" panose="020B0502040204020203" pitchFamily="34" charset="-122"/>
                <a:ea typeface="微软雅黑 Light" panose="020B0502040204020203" pitchFamily="34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98" name="Freeform 135"/>
            <p:cNvSpPr>
              <a:spLocks noEditPoints="1"/>
            </p:cNvSpPr>
            <p:nvPr/>
          </p:nvSpPr>
          <p:spPr bwMode="auto">
            <a:xfrm>
              <a:off x="4632325" y="1855788"/>
              <a:ext cx="130175" cy="133350"/>
            </a:xfrm>
            <a:custGeom>
              <a:avLst/>
              <a:gdLst>
                <a:gd name="T0" fmla="*/ 16 w 82"/>
                <a:gd name="T1" fmla="*/ 84 h 84"/>
                <a:gd name="T2" fmla="*/ 16 w 82"/>
                <a:gd name="T3" fmla="*/ 84 h 84"/>
                <a:gd name="T4" fmla="*/ 12 w 82"/>
                <a:gd name="T5" fmla="*/ 82 h 84"/>
                <a:gd name="T6" fmla="*/ 2 w 82"/>
                <a:gd name="T7" fmla="*/ 72 h 84"/>
                <a:gd name="T8" fmla="*/ 2 w 82"/>
                <a:gd name="T9" fmla="*/ 72 h 84"/>
                <a:gd name="T10" fmla="*/ 0 w 82"/>
                <a:gd name="T11" fmla="*/ 66 h 84"/>
                <a:gd name="T12" fmla="*/ 0 w 82"/>
                <a:gd name="T13" fmla="*/ 66 h 84"/>
                <a:gd name="T14" fmla="*/ 2 w 82"/>
                <a:gd name="T15" fmla="*/ 62 h 84"/>
                <a:gd name="T16" fmla="*/ 62 w 82"/>
                <a:gd name="T17" fmla="*/ 2 h 84"/>
                <a:gd name="T18" fmla="*/ 62 w 82"/>
                <a:gd name="T19" fmla="*/ 2 h 84"/>
                <a:gd name="T20" fmla="*/ 66 w 82"/>
                <a:gd name="T21" fmla="*/ 0 h 84"/>
                <a:gd name="T22" fmla="*/ 70 w 82"/>
                <a:gd name="T23" fmla="*/ 2 h 84"/>
                <a:gd name="T24" fmla="*/ 80 w 82"/>
                <a:gd name="T25" fmla="*/ 12 h 84"/>
                <a:gd name="T26" fmla="*/ 80 w 82"/>
                <a:gd name="T27" fmla="*/ 12 h 84"/>
                <a:gd name="T28" fmla="*/ 82 w 82"/>
                <a:gd name="T29" fmla="*/ 18 h 84"/>
                <a:gd name="T30" fmla="*/ 82 w 82"/>
                <a:gd name="T31" fmla="*/ 18 h 84"/>
                <a:gd name="T32" fmla="*/ 80 w 82"/>
                <a:gd name="T33" fmla="*/ 22 h 84"/>
                <a:gd name="T34" fmla="*/ 20 w 82"/>
                <a:gd name="T35" fmla="*/ 82 h 84"/>
                <a:gd name="T36" fmla="*/ 20 w 82"/>
                <a:gd name="T37" fmla="*/ 82 h 84"/>
                <a:gd name="T38" fmla="*/ 16 w 82"/>
                <a:gd name="T39" fmla="*/ 84 h 84"/>
                <a:gd name="T40" fmla="*/ 16 w 82"/>
                <a:gd name="T41" fmla="*/ 84 h 84"/>
                <a:gd name="T42" fmla="*/ 66 w 82"/>
                <a:gd name="T43" fmla="*/ 4 h 84"/>
                <a:gd name="T44" fmla="*/ 66 w 82"/>
                <a:gd name="T45" fmla="*/ 4 h 84"/>
                <a:gd name="T46" fmla="*/ 64 w 82"/>
                <a:gd name="T47" fmla="*/ 6 h 84"/>
                <a:gd name="T48" fmla="*/ 4 w 82"/>
                <a:gd name="T49" fmla="*/ 64 h 84"/>
                <a:gd name="T50" fmla="*/ 4 w 82"/>
                <a:gd name="T51" fmla="*/ 66 h 84"/>
                <a:gd name="T52" fmla="*/ 4 w 82"/>
                <a:gd name="T53" fmla="*/ 66 h 84"/>
                <a:gd name="T54" fmla="*/ 4 w 82"/>
                <a:gd name="T55" fmla="*/ 68 h 84"/>
                <a:gd name="T56" fmla="*/ 14 w 82"/>
                <a:gd name="T57" fmla="*/ 78 h 84"/>
                <a:gd name="T58" fmla="*/ 14 w 82"/>
                <a:gd name="T59" fmla="*/ 78 h 84"/>
                <a:gd name="T60" fmla="*/ 16 w 82"/>
                <a:gd name="T61" fmla="*/ 80 h 84"/>
                <a:gd name="T62" fmla="*/ 18 w 82"/>
                <a:gd name="T63" fmla="*/ 78 h 84"/>
                <a:gd name="T64" fmla="*/ 78 w 82"/>
                <a:gd name="T65" fmla="*/ 20 h 84"/>
                <a:gd name="T66" fmla="*/ 78 w 82"/>
                <a:gd name="T67" fmla="*/ 20 h 84"/>
                <a:gd name="T68" fmla="*/ 78 w 82"/>
                <a:gd name="T69" fmla="*/ 18 h 84"/>
                <a:gd name="T70" fmla="*/ 78 w 82"/>
                <a:gd name="T71" fmla="*/ 18 h 84"/>
                <a:gd name="T72" fmla="*/ 78 w 82"/>
                <a:gd name="T73" fmla="*/ 16 h 84"/>
                <a:gd name="T74" fmla="*/ 68 w 82"/>
                <a:gd name="T75" fmla="*/ 6 h 84"/>
                <a:gd name="T76" fmla="*/ 68 w 82"/>
                <a:gd name="T77" fmla="*/ 6 h 84"/>
                <a:gd name="T78" fmla="*/ 66 w 82"/>
                <a:gd name="T79" fmla="*/ 4 h 84"/>
                <a:gd name="T80" fmla="*/ 66 w 82"/>
                <a:gd name="T81" fmla="*/ 4 h 84"/>
                <a:gd name="T82" fmla="*/ 16 w 82"/>
                <a:gd name="T83" fmla="*/ 74 h 84"/>
                <a:gd name="T84" fmla="*/ 16 w 82"/>
                <a:gd name="T85" fmla="*/ 74 h 84"/>
                <a:gd name="T86" fmla="*/ 10 w 82"/>
                <a:gd name="T87" fmla="*/ 72 h 84"/>
                <a:gd name="T88" fmla="*/ 8 w 82"/>
                <a:gd name="T89" fmla="*/ 68 h 84"/>
                <a:gd name="T90" fmla="*/ 8 w 82"/>
                <a:gd name="T91" fmla="*/ 68 h 84"/>
                <a:gd name="T92" fmla="*/ 10 w 82"/>
                <a:gd name="T93" fmla="*/ 62 h 84"/>
                <a:gd name="T94" fmla="*/ 16 w 82"/>
                <a:gd name="T95" fmla="*/ 60 h 84"/>
                <a:gd name="T96" fmla="*/ 16 w 82"/>
                <a:gd name="T97" fmla="*/ 60 h 84"/>
                <a:gd name="T98" fmla="*/ 20 w 82"/>
                <a:gd name="T99" fmla="*/ 62 h 84"/>
                <a:gd name="T100" fmla="*/ 22 w 82"/>
                <a:gd name="T101" fmla="*/ 68 h 84"/>
                <a:gd name="T102" fmla="*/ 22 w 82"/>
                <a:gd name="T103" fmla="*/ 68 h 84"/>
                <a:gd name="T104" fmla="*/ 20 w 82"/>
                <a:gd name="T105" fmla="*/ 72 h 84"/>
                <a:gd name="T106" fmla="*/ 16 w 82"/>
                <a:gd name="T107" fmla="*/ 74 h 84"/>
                <a:gd name="T108" fmla="*/ 16 w 82"/>
                <a:gd name="T109" fmla="*/ 7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2" h="84">
                  <a:moveTo>
                    <a:pt x="16" y="84"/>
                  </a:moveTo>
                  <a:lnTo>
                    <a:pt x="16" y="84"/>
                  </a:lnTo>
                  <a:lnTo>
                    <a:pt x="12" y="8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6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6" y="0"/>
                  </a:lnTo>
                  <a:lnTo>
                    <a:pt x="70" y="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0" y="2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16" y="84"/>
                  </a:lnTo>
                  <a:lnTo>
                    <a:pt x="16" y="84"/>
                  </a:lnTo>
                  <a:close/>
                  <a:moveTo>
                    <a:pt x="66" y="4"/>
                  </a:moveTo>
                  <a:lnTo>
                    <a:pt x="66" y="4"/>
                  </a:lnTo>
                  <a:lnTo>
                    <a:pt x="64" y="6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6" y="80"/>
                  </a:lnTo>
                  <a:lnTo>
                    <a:pt x="18" y="78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6" y="4"/>
                  </a:lnTo>
                  <a:close/>
                  <a:moveTo>
                    <a:pt x="16" y="74"/>
                  </a:moveTo>
                  <a:lnTo>
                    <a:pt x="16" y="74"/>
                  </a:lnTo>
                  <a:lnTo>
                    <a:pt x="10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10" y="62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0" y="72"/>
                  </a:lnTo>
                  <a:lnTo>
                    <a:pt x="16" y="74"/>
                  </a:lnTo>
                  <a:lnTo>
                    <a:pt x="16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微软雅黑 Light" panose="020B0502040204020203" pitchFamily="34" charset="-122"/>
                <a:ea typeface="微软雅黑 Light" panose="020B0502040204020203" pitchFamily="34" charset="-122"/>
                <a:sym typeface="微软雅黑 Light" panose="020B0502040204020203" pitchFamily="34" charset="-122"/>
              </a:endParaRPr>
            </a:p>
          </p:txBody>
        </p:sp>
      </p:grpSp>
      <p:sp>
        <p:nvSpPr>
          <p:cNvPr id="4" name="e7d195523061f1c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 hidden="1"/>
          <p:cNvSpPr txBox="1"/>
          <p:nvPr/>
        </p:nvSpPr>
        <p:spPr>
          <a:xfrm>
            <a:off x="-355600" y="1803400"/>
            <a:ext cx="329642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239397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onal Stripe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8D1CDC14-3663-4CB2-8648-2C291317155C}"/>
              </a:ext>
            </a:extLst>
          </p:cNvPr>
          <p:cNvSpPr/>
          <p:nvPr/>
        </p:nvSpPr>
        <p:spPr>
          <a:xfrm>
            <a:off x="5740699" y="-1"/>
            <a:ext cx="5985569" cy="5985569"/>
          </a:xfrm>
          <a:prstGeom prst="diagStripe">
            <a:avLst/>
          </a:prstGeom>
          <a:solidFill>
            <a:schemeClr val="tx1">
              <a:alpha val="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tx1"/>
              </a:solidFill>
            </a:endParaRPr>
          </a:p>
        </p:txBody>
      </p:sp>
      <p:grpSp>
        <p:nvGrpSpPr>
          <p:cNvPr id="2" name="Group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E241404B-B974-4A5A-996A-20A994283808}"/>
              </a:ext>
            </a:extLst>
          </p:cNvPr>
          <p:cNvGrpSpPr/>
          <p:nvPr/>
        </p:nvGrpSpPr>
        <p:grpSpPr>
          <a:xfrm flipH="1">
            <a:off x="6505148" y="1594635"/>
            <a:ext cx="5686852" cy="3941701"/>
            <a:chOff x="0" y="2235623"/>
            <a:chExt cx="5686852" cy="3941701"/>
          </a:xfrm>
        </p:grpSpPr>
        <p:grpSp>
          <p:nvGrpSpPr>
            <p:cNvPr id="25" name="Group 24"/>
            <p:cNvGrpSpPr/>
            <p:nvPr/>
          </p:nvGrpSpPr>
          <p:grpSpPr>
            <a:xfrm>
              <a:off x="0" y="2235623"/>
              <a:ext cx="4586514" cy="3941701"/>
              <a:chOff x="0" y="1721931"/>
              <a:chExt cx="4781022" cy="4108863"/>
            </a:xfrm>
          </p:grpSpPr>
          <p:sp>
            <p:nvSpPr>
              <p:cNvPr id="14" name="Freeform 5"/>
              <p:cNvSpPr>
                <a:spLocks noEditPoints="1"/>
              </p:cNvSpPr>
              <p:nvPr/>
            </p:nvSpPr>
            <p:spPr bwMode="auto">
              <a:xfrm rot="5400000">
                <a:off x="1338760" y="383171"/>
                <a:ext cx="2103501" cy="4781022"/>
              </a:xfrm>
              <a:custGeom>
                <a:avLst/>
                <a:gdLst>
                  <a:gd name="T0" fmla="*/ 61 w 1007"/>
                  <a:gd name="T1" fmla="*/ 146 h 2288"/>
                  <a:gd name="T2" fmla="*/ 147 w 1007"/>
                  <a:gd name="T3" fmla="*/ 60 h 2288"/>
                  <a:gd name="T4" fmla="*/ 233 w 1007"/>
                  <a:gd name="T5" fmla="*/ 146 h 2288"/>
                  <a:gd name="T6" fmla="*/ 147 w 1007"/>
                  <a:gd name="T7" fmla="*/ 233 h 2288"/>
                  <a:gd name="T8" fmla="*/ 61 w 1007"/>
                  <a:gd name="T9" fmla="*/ 146 h 2288"/>
                  <a:gd name="T10" fmla="*/ 0 w 1007"/>
                  <a:gd name="T11" fmla="*/ 146 h 2288"/>
                  <a:gd name="T12" fmla="*/ 147 w 1007"/>
                  <a:gd name="T13" fmla="*/ 293 h 2288"/>
                  <a:gd name="T14" fmla="*/ 291 w 1007"/>
                  <a:gd name="T15" fmla="*/ 171 h 2288"/>
                  <a:gd name="T16" fmla="*/ 728 w 1007"/>
                  <a:gd name="T17" fmla="*/ 171 h 2288"/>
                  <a:gd name="T18" fmla="*/ 957 w 1007"/>
                  <a:gd name="T19" fmla="*/ 351 h 2288"/>
                  <a:gd name="T20" fmla="*/ 957 w 1007"/>
                  <a:gd name="T21" fmla="*/ 2288 h 2288"/>
                  <a:gd name="T22" fmla="*/ 1007 w 1007"/>
                  <a:gd name="T23" fmla="*/ 2288 h 2288"/>
                  <a:gd name="T24" fmla="*/ 1007 w 1007"/>
                  <a:gd name="T25" fmla="*/ 351 h 2288"/>
                  <a:gd name="T26" fmla="*/ 914 w 1007"/>
                  <a:gd name="T27" fmla="*/ 170 h 2288"/>
                  <a:gd name="T28" fmla="*/ 728 w 1007"/>
                  <a:gd name="T29" fmla="*/ 122 h 2288"/>
                  <a:gd name="T30" fmla="*/ 291 w 1007"/>
                  <a:gd name="T31" fmla="*/ 122 h 2288"/>
                  <a:gd name="T32" fmla="*/ 147 w 1007"/>
                  <a:gd name="T33" fmla="*/ 0 h 2288"/>
                  <a:gd name="T34" fmla="*/ 0 w 1007"/>
                  <a:gd name="T35" fmla="*/ 146 h 2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07" h="2288">
                    <a:moveTo>
                      <a:pt x="61" y="146"/>
                    </a:moveTo>
                    <a:cubicBezTo>
                      <a:pt x="61" y="99"/>
                      <a:pt x="99" y="60"/>
                      <a:pt x="147" y="60"/>
                    </a:cubicBezTo>
                    <a:cubicBezTo>
                      <a:pt x="194" y="60"/>
                      <a:pt x="233" y="99"/>
                      <a:pt x="233" y="146"/>
                    </a:cubicBezTo>
                    <a:cubicBezTo>
                      <a:pt x="233" y="194"/>
                      <a:pt x="194" y="233"/>
                      <a:pt x="147" y="233"/>
                    </a:cubicBezTo>
                    <a:cubicBezTo>
                      <a:pt x="99" y="233"/>
                      <a:pt x="61" y="194"/>
                      <a:pt x="61" y="146"/>
                    </a:cubicBezTo>
                    <a:moveTo>
                      <a:pt x="0" y="146"/>
                    </a:moveTo>
                    <a:cubicBezTo>
                      <a:pt x="0" y="227"/>
                      <a:pt x="66" y="293"/>
                      <a:pt x="147" y="293"/>
                    </a:cubicBezTo>
                    <a:cubicBezTo>
                      <a:pt x="219" y="293"/>
                      <a:pt x="279" y="240"/>
                      <a:pt x="291" y="171"/>
                    </a:cubicBezTo>
                    <a:cubicBezTo>
                      <a:pt x="728" y="171"/>
                      <a:pt x="728" y="171"/>
                      <a:pt x="728" y="171"/>
                    </a:cubicBezTo>
                    <a:cubicBezTo>
                      <a:pt x="797" y="171"/>
                      <a:pt x="957" y="189"/>
                      <a:pt x="957" y="351"/>
                    </a:cubicBezTo>
                    <a:cubicBezTo>
                      <a:pt x="957" y="2288"/>
                      <a:pt x="957" y="2288"/>
                      <a:pt x="957" y="2288"/>
                    </a:cubicBezTo>
                    <a:cubicBezTo>
                      <a:pt x="1007" y="2288"/>
                      <a:pt x="1007" y="2288"/>
                      <a:pt x="1007" y="2288"/>
                    </a:cubicBezTo>
                    <a:cubicBezTo>
                      <a:pt x="1007" y="351"/>
                      <a:pt x="1007" y="351"/>
                      <a:pt x="1007" y="351"/>
                    </a:cubicBezTo>
                    <a:cubicBezTo>
                      <a:pt x="1007" y="272"/>
                      <a:pt x="975" y="210"/>
                      <a:pt x="914" y="170"/>
                    </a:cubicBezTo>
                    <a:cubicBezTo>
                      <a:pt x="854" y="130"/>
                      <a:pt x="780" y="122"/>
                      <a:pt x="728" y="122"/>
                    </a:cubicBezTo>
                    <a:cubicBezTo>
                      <a:pt x="291" y="122"/>
                      <a:pt x="291" y="122"/>
                      <a:pt x="291" y="122"/>
                    </a:cubicBezTo>
                    <a:cubicBezTo>
                      <a:pt x="279" y="53"/>
                      <a:pt x="219" y="0"/>
                      <a:pt x="147" y="0"/>
                    </a:cubicBezTo>
                    <a:cubicBezTo>
                      <a:pt x="66" y="0"/>
                      <a:pt x="0" y="66"/>
                      <a:pt x="0" y="146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7"/>
              <p:cNvSpPr>
                <a:spLocks noEditPoints="1"/>
              </p:cNvSpPr>
              <p:nvPr/>
            </p:nvSpPr>
            <p:spPr bwMode="auto">
              <a:xfrm rot="5400000">
                <a:off x="647160" y="1085881"/>
                <a:ext cx="1905372" cy="3177472"/>
              </a:xfrm>
              <a:custGeom>
                <a:avLst/>
                <a:gdLst>
                  <a:gd name="T0" fmla="*/ 61 w 912"/>
                  <a:gd name="T1" fmla="*/ 146 h 1520"/>
                  <a:gd name="T2" fmla="*/ 147 w 912"/>
                  <a:gd name="T3" fmla="*/ 60 h 1520"/>
                  <a:gd name="T4" fmla="*/ 233 w 912"/>
                  <a:gd name="T5" fmla="*/ 146 h 1520"/>
                  <a:gd name="T6" fmla="*/ 147 w 912"/>
                  <a:gd name="T7" fmla="*/ 232 h 1520"/>
                  <a:gd name="T8" fmla="*/ 61 w 912"/>
                  <a:gd name="T9" fmla="*/ 146 h 1520"/>
                  <a:gd name="T10" fmla="*/ 0 w 912"/>
                  <a:gd name="T11" fmla="*/ 146 h 1520"/>
                  <a:gd name="T12" fmla="*/ 147 w 912"/>
                  <a:gd name="T13" fmla="*/ 292 h 1520"/>
                  <a:gd name="T14" fmla="*/ 290 w 912"/>
                  <a:gd name="T15" fmla="*/ 174 h 1520"/>
                  <a:gd name="T16" fmla="*/ 673 w 912"/>
                  <a:gd name="T17" fmla="*/ 174 h 1520"/>
                  <a:gd name="T18" fmla="*/ 862 w 912"/>
                  <a:gd name="T19" fmla="*/ 317 h 1520"/>
                  <a:gd name="T20" fmla="*/ 862 w 912"/>
                  <a:gd name="T21" fmla="*/ 1520 h 1520"/>
                  <a:gd name="T22" fmla="*/ 912 w 912"/>
                  <a:gd name="T23" fmla="*/ 1520 h 1520"/>
                  <a:gd name="T24" fmla="*/ 912 w 912"/>
                  <a:gd name="T25" fmla="*/ 317 h 1520"/>
                  <a:gd name="T26" fmla="*/ 673 w 912"/>
                  <a:gd name="T27" fmla="*/ 125 h 1520"/>
                  <a:gd name="T28" fmla="*/ 292 w 912"/>
                  <a:gd name="T29" fmla="*/ 125 h 1520"/>
                  <a:gd name="T30" fmla="*/ 147 w 912"/>
                  <a:gd name="T31" fmla="*/ 0 h 1520"/>
                  <a:gd name="T32" fmla="*/ 0 w 912"/>
                  <a:gd name="T33" fmla="*/ 146 h 1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2" h="1520">
                    <a:moveTo>
                      <a:pt x="61" y="146"/>
                    </a:moveTo>
                    <a:cubicBezTo>
                      <a:pt x="61" y="99"/>
                      <a:pt x="99" y="60"/>
                      <a:pt x="147" y="60"/>
                    </a:cubicBezTo>
                    <a:cubicBezTo>
                      <a:pt x="194" y="60"/>
                      <a:pt x="233" y="99"/>
                      <a:pt x="233" y="146"/>
                    </a:cubicBezTo>
                    <a:cubicBezTo>
                      <a:pt x="233" y="194"/>
                      <a:pt x="194" y="232"/>
                      <a:pt x="147" y="232"/>
                    </a:cubicBezTo>
                    <a:cubicBezTo>
                      <a:pt x="99" y="232"/>
                      <a:pt x="61" y="194"/>
                      <a:pt x="61" y="146"/>
                    </a:cubicBezTo>
                    <a:moveTo>
                      <a:pt x="0" y="146"/>
                    </a:moveTo>
                    <a:cubicBezTo>
                      <a:pt x="0" y="227"/>
                      <a:pt x="66" y="292"/>
                      <a:pt x="147" y="292"/>
                    </a:cubicBezTo>
                    <a:cubicBezTo>
                      <a:pt x="218" y="292"/>
                      <a:pt x="277" y="241"/>
                      <a:pt x="290" y="174"/>
                    </a:cubicBezTo>
                    <a:cubicBezTo>
                      <a:pt x="673" y="174"/>
                      <a:pt x="673" y="174"/>
                      <a:pt x="673" y="174"/>
                    </a:cubicBezTo>
                    <a:cubicBezTo>
                      <a:pt x="844" y="174"/>
                      <a:pt x="862" y="274"/>
                      <a:pt x="862" y="317"/>
                    </a:cubicBezTo>
                    <a:cubicBezTo>
                      <a:pt x="862" y="1520"/>
                      <a:pt x="862" y="1520"/>
                      <a:pt x="862" y="1520"/>
                    </a:cubicBezTo>
                    <a:cubicBezTo>
                      <a:pt x="912" y="1520"/>
                      <a:pt x="912" y="1520"/>
                      <a:pt x="912" y="1520"/>
                    </a:cubicBezTo>
                    <a:cubicBezTo>
                      <a:pt x="912" y="317"/>
                      <a:pt x="912" y="317"/>
                      <a:pt x="912" y="317"/>
                    </a:cubicBezTo>
                    <a:cubicBezTo>
                      <a:pt x="912" y="199"/>
                      <a:pt x="820" y="125"/>
                      <a:pt x="673" y="125"/>
                    </a:cubicBezTo>
                    <a:cubicBezTo>
                      <a:pt x="292" y="125"/>
                      <a:pt x="292" y="125"/>
                      <a:pt x="292" y="125"/>
                    </a:cubicBezTo>
                    <a:cubicBezTo>
                      <a:pt x="281" y="54"/>
                      <a:pt x="220" y="0"/>
                      <a:pt x="147" y="0"/>
                    </a:cubicBezTo>
                    <a:cubicBezTo>
                      <a:pt x="66" y="0"/>
                      <a:pt x="0" y="65"/>
                      <a:pt x="0" y="146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9"/>
              <p:cNvSpPr>
                <a:spLocks noEditPoints="1"/>
              </p:cNvSpPr>
              <p:nvPr/>
            </p:nvSpPr>
            <p:spPr bwMode="auto">
              <a:xfrm rot="5400000">
                <a:off x="-45366" y="1772852"/>
                <a:ext cx="1718353" cy="1616511"/>
              </a:xfrm>
              <a:custGeom>
                <a:avLst/>
                <a:gdLst>
                  <a:gd name="T0" fmla="*/ 61 w 823"/>
                  <a:gd name="T1" fmla="*/ 147 h 774"/>
                  <a:gd name="T2" fmla="*/ 147 w 823"/>
                  <a:gd name="T3" fmla="*/ 60 h 774"/>
                  <a:gd name="T4" fmla="*/ 233 w 823"/>
                  <a:gd name="T5" fmla="*/ 147 h 774"/>
                  <a:gd name="T6" fmla="*/ 147 w 823"/>
                  <a:gd name="T7" fmla="*/ 233 h 774"/>
                  <a:gd name="T8" fmla="*/ 61 w 823"/>
                  <a:gd name="T9" fmla="*/ 147 h 774"/>
                  <a:gd name="T10" fmla="*/ 0 w 823"/>
                  <a:gd name="T11" fmla="*/ 147 h 774"/>
                  <a:gd name="T12" fmla="*/ 147 w 823"/>
                  <a:gd name="T13" fmla="*/ 293 h 774"/>
                  <a:gd name="T14" fmla="*/ 289 w 823"/>
                  <a:gd name="T15" fmla="*/ 180 h 774"/>
                  <a:gd name="T16" fmla="*/ 581 w 823"/>
                  <a:gd name="T17" fmla="*/ 180 h 774"/>
                  <a:gd name="T18" fmla="*/ 774 w 823"/>
                  <a:gd name="T19" fmla="*/ 330 h 774"/>
                  <a:gd name="T20" fmla="*/ 774 w 823"/>
                  <a:gd name="T21" fmla="*/ 774 h 774"/>
                  <a:gd name="T22" fmla="*/ 823 w 823"/>
                  <a:gd name="T23" fmla="*/ 774 h 774"/>
                  <a:gd name="T24" fmla="*/ 823 w 823"/>
                  <a:gd name="T25" fmla="*/ 330 h 774"/>
                  <a:gd name="T26" fmla="*/ 778 w 823"/>
                  <a:gd name="T27" fmla="*/ 203 h 774"/>
                  <a:gd name="T28" fmla="*/ 581 w 823"/>
                  <a:gd name="T29" fmla="*/ 131 h 774"/>
                  <a:gd name="T30" fmla="*/ 292 w 823"/>
                  <a:gd name="T31" fmla="*/ 131 h 774"/>
                  <a:gd name="T32" fmla="*/ 147 w 823"/>
                  <a:gd name="T33" fmla="*/ 0 h 774"/>
                  <a:gd name="T34" fmla="*/ 0 w 823"/>
                  <a:gd name="T35" fmla="*/ 147 h 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23" h="774">
                    <a:moveTo>
                      <a:pt x="61" y="147"/>
                    </a:moveTo>
                    <a:cubicBezTo>
                      <a:pt x="61" y="99"/>
                      <a:pt x="99" y="60"/>
                      <a:pt x="147" y="60"/>
                    </a:cubicBezTo>
                    <a:cubicBezTo>
                      <a:pt x="194" y="60"/>
                      <a:pt x="233" y="99"/>
                      <a:pt x="233" y="147"/>
                    </a:cubicBezTo>
                    <a:cubicBezTo>
                      <a:pt x="233" y="194"/>
                      <a:pt x="194" y="233"/>
                      <a:pt x="147" y="233"/>
                    </a:cubicBezTo>
                    <a:cubicBezTo>
                      <a:pt x="99" y="233"/>
                      <a:pt x="61" y="194"/>
                      <a:pt x="61" y="147"/>
                    </a:cubicBezTo>
                    <a:moveTo>
                      <a:pt x="0" y="147"/>
                    </a:moveTo>
                    <a:cubicBezTo>
                      <a:pt x="0" y="227"/>
                      <a:pt x="66" y="293"/>
                      <a:pt x="147" y="293"/>
                    </a:cubicBezTo>
                    <a:cubicBezTo>
                      <a:pt x="216" y="293"/>
                      <a:pt x="274" y="245"/>
                      <a:pt x="289" y="180"/>
                    </a:cubicBezTo>
                    <a:cubicBezTo>
                      <a:pt x="581" y="180"/>
                      <a:pt x="581" y="180"/>
                      <a:pt x="581" y="180"/>
                    </a:cubicBezTo>
                    <a:cubicBezTo>
                      <a:pt x="653" y="180"/>
                      <a:pt x="774" y="200"/>
                      <a:pt x="774" y="330"/>
                    </a:cubicBezTo>
                    <a:cubicBezTo>
                      <a:pt x="774" y="774"/>
                      <a:pt x="774" y="774"/>
                      <a:pt x="774" y="774"/>
                    </a:cubicBezTo>
                    <a:cubicBezTo>
                      <a:pt x="823" y="774"/>
                      <a:pt x="823" y="774"/>
                      <a:pt x="823" y="774"/>
                    </a:cubicBezTo>
                    <a:cubicBezTo>
                      <a:pt x="823" y="330"/>
                      <a:pt x="823" y="330"/>
                      <a:pt x="823" y="330"/>
                    </a:cubicBezTo>
                    <a:cubicBezTo>
                      <a:pt x="823" y="295"/>
                      <a:pt x="815" y="245"/>
                      <a:pt x="778" y="203"/>
                    </a:cubicBezTo>
                    <a:cubicBezTo>
                      <a:pt x="737" y="155"/>
                      <a:pt x="671" y="131"/>
                      <a:pt x="581" y="131"/>
                    </a:cubicBezTo>
                    <a:cubicBezTo>
                      <a:pt x="292" y="131"/>
                      <a:pt x="292" y="131"/>
                      <a:pt x="292" y="131"/>
                    </a:cubicBezTo>
                    <a:cubicBezTo>
                      <a:pt x="285" y="58"/>
                      <a:pt x="222" y="0"/>
                      <a:pt x="147" y="0"/>
                    </a:cubicBezTo>
                    <a:cubicBezTo>
                      <a:pt x="66" y="0"/>
                      <a:pt x="0" y="66"/>
                      <a:pt x="0" y="147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1"/>
              <p:cNvSpPr>
                <a:spLocks noEditPoints="1"/>
              </p:cNvSpPr>
              <p:nvPr/>
            </p:nvSpPr>
            <p:spPr bwMode="auto">
              <a:xfrm rot="5400000">
                <a:off x="1023050" y="2893114"/>
                <a:ext cx="1925741" cy="3949620"/>
              </a:xfrm>
              <a:custGeom>
                <a:avLst/>
                <a:gdLst>
                  <a:gd name="T0" fmla="*/ 689 w 921"/>
                  <a:gd name="T1" fmla="*/ 146 h 1890"/>
                  <a:gd name="T2" fmla="*/ 775 w 921"/>
                  <a:gd name="T3" fmla="*/ 60 h 1890"/>
                  <a:gd name="T4" fmla="*/ 861 w 921"/>
                  <a:gd name="T5" fmla="*/ 146 h 1890"/>
                  <a:gd name="T6" fmla="*/ 775 w 921"/>
                  <a:gd name="T7" fmla="*/ 232 h 1890"/>
                  <a:gd name="T8" fmla="*/ 689 w 921"/>
                  <a:gd name="T9" fmla="*/ 146 h 1890"/>
                  <a:gd name="T10" fmla="*/ 632 w 921"/>
                  <a:gd name="T11" fmla="*/ 115 h 1890"/>
                  <a:gd name="T12" fmla="*/ 252 w 921"/>
                  <a:gd name="T13" fmla="*/ 115 h 1890"/>
                  <a:gd name="T14" fmla="*/ 7 w 921"/>
                  <a:gd name="T15" fmla="*/ 294 h 1890"/>
                  <a:gd name="T16" fmla="*/ 7 w 921"/>
                  <a:gd name="T17" fmla="*/ 1890 h 1890"/>
                  <a:gd name="T18" fmla="*/ 56 w 921"/>
                  <a:gd name="T19" fmla="*/ 1890 h 1890"/>
                  <a:gd name="T20" fmla="*/ 56 w 921"/>
                  <a:gd name="T21" fmla="*/ 298 h 1890"/>
                  <a:gd name="T22" fmla="*/ 252 w 921"/>
                  <a:gd name="T23" fmla="*/ 165 h 1890"/>
                  <a:gd name="T24" fmla="*/ 630 w 921"/>
                  <a:gd name="T25" fmla="*/ 165 h 1890"/>
                  <a:gd name="T26" fmla="*/ 775 w 921"/>
                  <a:gd name="T27" fmla="*/ 292 h 1890"/>
                  <a:gd name="T28" fmla="*/ 921 w 921"/>
                  <a:gd name="T29" fmla="*/ 146 h 1890"/>
                  <a:gd name="T30" fmla="*/ 775 w 921"/>
                  <a:gd name="T31" fmla="*/ 0 h 1890"/>
                  <a:gd name="T32" fmla="*/ 632 w 921"/>
                  <a:gd name="T33" fmla="*/ 115 h 1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21" h="1890">
                    <a:moveTo>
                      <a:pt x="689" y="146"/>
                    </a:moveTo>
                    <a:cubicBezTo>
                      <a:pt x="689" y="99"/>
                      <a:pt x="728" y="60"/>
                      <a:pt x="775" y="60"/>
                    </a:cubicBezTo>
                    <a:cubicBezTo>
                      <a:pt x="823" y="60"/>
                      <a:pt x="861" y="99"/>
                      <a:pt x="861" y="146"/>
                    </a:cubicBezTo>
                    <a:cubicBezTo>
                      <a:pt x="861" y="194"/>
                      <a:pt x="823" y="232"/>
                      <a:pt x="775" y="232"/>
                    </a:cubicBezTo>
                    <a:cubicBezTo>
                      <a:pt x="728" y="232"/>
                      <a:pt x="689" y="194"/>
                      <a:pt x="689" y="146"/>
                    </a:cubicBezTo>
                    <a:moveTo>
                      <a:pt x="632" y="115"/>
                    </a:moveTo>
                    <a:cubicBezTo>
                      <a:pt x="252" y="115"/>
                      <a:pt x="252" y="115"/>
                      <a:pt x="252" y="115"/>
                    </a:cubicBezTo>
                    <a:cubicBezTo>
                      <a:pt x="87" y="115"/>
                      <a:pt x="16" y="167"/>
                      <a:pt x="7" y="294"/>
                    </a:cubicBezTo>
                    <a:cubicBezTo>
                      <a:pt x="0" y="394"/>
                      <a:pt x="7" y="1829"/>
                      <a:pt x="7" y="1890"/>
                    </a:cubicBezTo>
                    <a:cubicBezTo>
                      <a:pt x="56" y="1890"/>
                      <a:pt x="56" y="1890"/>
                      <a:pt x="56" y="1890"/>
                    </a:cubicBezTo>
                    <a:cubicBezTo>
                      <a:pt x="56" y="1875"/>
                      <a:pt x="50" y="395"/>
                      <a:pt x="56" y="298"/>
                    </a:cubicBezTo>
                    <a:cubicBezTo>
                      <a:pt x="61" y="227"/>
                      <a:pt x="80" y="165"/>
                      <a:pt x="252" y="165"/>
                    </a:cubicBezTo>
                    <a:cubicBezTo>
                      <a:pt x="630" y="165"/>
                      <a:pt x="630" y="165"/>
                      <a:pt x="630" y="165"/>
                    </a:cubicBezTo>
                    <a:cubicBezTo>
                      <a:pt x="639" y="236"/>
                      <a:pt x="701" y="292"/>
                      <a:pt x="775" y="292"/>
                    </a:cubicBezTo>
                    <a:cubicBezTo>
                      <a:pt x="856" y="292"/>
                      <a:pt x="921" y="227"/>
                      <a:pt x="921" y="146"/>
                    </a:cubicBezTo>
                    <a:cubicBezTo>
                      <a:pt x="921" y="65"/>
                      <a:pt x="856" y="0"/>
                      <a:pt x="775" y="0"/>
                    </a:cubicBezTo>
                    <a:cubicBezTo>
                      <a:pt x="705" y="0"/>
                      <a:pt x="646" y="49"/>
                      <a:pt x="632" y="115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3"/>
              <p:cNvSpPr>
                <a:spLocks noEditPoints="1"/>
              </p:cNvSpPr>
              <p:nvPr/>
            </p:nvSpPr>
            <p:spPr bwMode="auto">
              <a:xfrm rot="5400000">
                <a:off x="345337" y="3772660"/>
                <a:ext cx="1718353" cy="2371994"/>
              </a:xfrm>
              <a:custGeom>
                <a:avLst/>
                <a:gdLst>
                  <a:gd name="T0" fmla="*/ 590 w 822"/>
                  <a:gd name="T1" fmla="*/ 147 h 1135"/>
                  <a:gd name="T2" fmla="*/ 676 w 822"/>
                  <a:gd name="T3" fmla="*/ 60 h 1135"/>
                  <a:gd name="T4" fmla="*/ 762 w 822"/>
                  <a:gd name="T5" fmla="*/ 147 h 1135"/>
                  <a:gd name="T6" fmla="*/ 676 w 822"/>
                  <a:gd name="T7" fmla="*/ 233 h 1135"/>
                  <a:gd name="T8" fmla="*/ 590 w 822"/>
                  <a:gd name="T9" fmla="*/ 147 h 1135"/>
                  <a:gd name="T10" fmla="*/ 532 w 822"/>
                  <a:gd name="T11" fmla="*/ 122 h 1135"/>
                  <a:gd name="T12" fmla="*/ 202 w 822"/>
                  <a:gd name="T13" fmla="*/ 119 h 1135"/>
                  <a:gd name="T14" fmla="*/ 0 w 822"/>
                  <a:gd name="T15" fmla="*/ 333 h 1135"/>
                  <a:gd name="T16" fmla="*/ 0 w 822"/>
                  <a:gd name="T17" fmla="*/ 1135 h 1135"/>
                  <a:gd name="T18" fmla="*/ 49 w 822"/>
                  <a:gd name="T19" fmla="*/ 1135 h 1135"/>
                  <a:gd name="T20" fmla="*/ 49 w 822"/>
                  <a:gd name="T21" fmla="*/ 333 h 1135"/>
                  <a:gd name="T22" fmla="*/ 202 w 822"/>
                  <a:gd name="T23" fmla="*/ 168 h 1135"/>
                  <a:gd name="T24" fmla="*/ 532 w 822"/>
                  <a:gd name="T25" fmla="*/ 171 h 1135"/>
                  <a:gd name="T26" fmla="*/ 676 w 822"/>
                  <a:gd name="T27" fmla="*/ 293 h 1135"/>
                  <a:gd name="T28" fmla="*/ 822 w 822"/>
                  <a:gd name="T29" fmla="*/ 147 h 1135"/>
                  <a:gd name="T30" fmla="*/ 676 w 822"/>
                  <a:gd name="T31" fmla="*/ 0 h 1135"/>
                  <a:gd name="T32" fmla="*/ 532 w 822"/>
                  <a:gd name="T33" fmla="*/ 122 h 1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2" h="1135">
                    <a:moveTo>
                      <a:pt x="590" y="147"/>
                    </a:moveTo>
                    <a:cubicBezTo>
                      <a:pt x="590" y="99"/>
                      <a:pt x="628" y="60"/>
                      <a:pt x="676" y="60"/>
                    </a:cubicBezTo>
                    <a:cubicBezTo>
                      <a:pt x="723" y="60"/>
                      <a:pt x="762" y="99"/>
                      <a:pt x="762" y="147"/>
                    </a:cubicBezTo>
                    <a:cubicBezTo>
                      <a:pt x="762" y="194"/>
                      <a:pt x="723" y="233"/>
                      <a:pt x="676" y="233"/>
                    </a:cubicBezTo>
                    <a:cubicBezTo>
                      <a:pt x="628" y="233"/>
                      <a:pt x="590" y="194"/>
                      <a:pt x="590" y="147"/>
                    </a:cubicBezTo>
                    <a:moveTo>
                      <a:pt x="532" y="122"/>
                    </a:moveTo>
                    <a:cubicBezTo>
                      <a:pt x="462" y="121"/>
                      <a:pt x="282" y="119"/>
                      <a:pt x="202" y="119"/>
                    </a:cubicBezTo>
                    <a:cubicBezTo>
                      <a:pt x="90" y="119"/>
                      <a:pt x="0" y="236"/>
                      <a:pt x="0" y="333"/>
                    </a:cubicBezTo>
                    <a:cubicBezTo>
                      <a:pt x="0" y="1135"/>
                      <a:pt x="0" y="1135"/>
                      <a:pt x="0" y="1135"/>
                    </a:cubicBezTo>
                    <a:cubicBezTo>
                      <a:pt x="49" y="1135"/>
                      <a:pt x="49" y="1135"/>
                      <a:pt x="49" y="1135"/>
                    </a:cubicBezTo>
                    <a:cubicBezTo>
                      <a:pt x="49" y="333"/>
                      <a:pt x="49" y="333"/>
                      <a:pt x="49" y="333"/>
                    </a:cubicBezTo>
                    <a:cubicBezTo>
                      <a:pt x="49" y="268"/>
                      <a:pt x="115" y="168"/>
                      <a:pt x="202" y="168"/>
                    </a:cubicBezTo>
                    <a:cubicBezTo>
                      <a:pt x="282" y="168"/>
                      <a:pt x="462" y="170"/>
                      <a:pt x="532" y="171"/>
                    </a:cubicBezTo>
                    <a:cubicBezTo>
                      <a:pt x="543" y="240"/>
                      <a:pt x="604" y="293"/>
                      <a:pt x="676" y="293"/>
                    </a:cubicBezTo>
                    <a:cubicBezTo>
                      <a:pt x="757" y="293"/>
                      <a:pt x="822" y="227"/>
                      <a:pt x="822" y="147"/>
                    </a:cubicBezTo>
                    <a:cubicBezTo>
                      <a:pt x="822" y="66"/>
                      <a:pt x="757" y="0"/>
                      <a:pt x="676" y="0"/>
                    </a:cubicBezTo>
                    <a:cubicBezTo>
                      <a:pt x="604" y="0"/>
                      <a:pt x="544" y="53"/>
                      <a:pt x="532" y="122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1158318" y="1892346"/>
                <a:ext cx="369621" cy="288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1"/>
                    </a:solidFill>
                  </a:rPr>
                  <a:t>01</a:t>
                </a:r>
                <a:endParaRPr lang="id-ID" sz="12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2728447" y="1892346"/>
                <a:ext cx="369621" cy="288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2"/>
                    </a:solidFill>
                  </a:rPr>
                  <a:t>02</a:t>
                </a:r>
                <a:endParaRPr lang="id-ID" sz="1200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4309554" y="1892346"/>
                <a:ext cx="369621" cy="288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3"/>
                    </a:solidFill>
                  </a:rPr>
                  <a:t>03</a:t>
                </a:r>
                <a:endParaRPr lang="id-ID" sz="1200" dirty="0">
                  <a:solidFill>
                    <a:schemeClr val="accent3"/>
                  </a:solidFill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3492785" y="5385640"/>
                <a:ext cx="369621" cy="288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5"/>
                    </a:solidFill>
                  </a:rPr>
                  <a:t>05</a:t>
                </a:r>
                <a:endParaRPr lang="id-ID" sz="1200" dirty="0">
                  <a:solidFill>
                    <a:schemeClr val="accent5"/>
                  </a:solidFill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1913423" y="5385640"/>
                <a:ext cx="369621" cy="288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4"/>
                    </a:solidFill>
                  </a:rPr>
                  <a:t>04</a:t>
                </a:r>
                <a:endParaRPr lang="id-ID" sz="1200" dirty="0">
                  <a:solidFill>
                    <a:schemeClr val="accent4"/>
                  </a:solidFill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1318072" y="2891936"/>
              <a:ext cx="1328516" cy="920741"/>
              <a:chOff x="5959161" y="2389999"/>
              <a:chExt cx="1328516" cy="920741"/>
            </a:xfrm>
          </p:grpSpPr>
          <p:sp>
            <p:nvSpPr>
              <p:cNvPr id="29" name="TextBox 28"/>
              <p:cNvSpPr txBox="1"/>
              <p:nvPr/>
            </p:nvSpPr>
            <p:spPr>
              <a:xfrm flipH="1">
                <a:off x="5959161" y="2389999"/>
                <a:ext cx="1328516" cy="36735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accent1"/>
                    </a:solidFill>
                    <a:ea typeface="Lato" panose="020F0502020204030203" pitchFamily="34" charset="0"/>
                    <a:cs typeface="Segoe UI Light" panose="020B0502040204020203" pitchFamily="34" charset="0"/>
                  </a:rPr>
                  <a:t>Option One</a:t>
                </a:r>
                <a:endParaRPr lang="id-ID" sz="1400" dirty="0">
                  <a:solidFill>
                    <a:schemeClr val="accent1"/>
                  </a:solidFill>
                  <a:ea typeface="Lato" panose="020F050202020403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 flipH="1">
                <a:off x="5959162" y="2664409"/>
                <a:ext cx="132851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>
                  <a:defRPr sz="1200">
                    <a:solidFill>
                      <a:schemeClr val="tx1">
                        <a:lumMod val="50000"/>
                        <a:lumOff val="50000"/>
                      </a:schemeClr>
                    </a:solidFill>
                  </a:defRPr>
                </a:lvl1pPr>
              </a:lstStyle>
              <a:p>
                <a:pPr algn="ctr"/>
                <a:r>
                  <a:rPr lang="id-ID" dirty="0"/>
                  <a:t>Lorem ipsum dolor sit </a:t>
                </a:r>
                <a:r>
                  <a:rPr lang="id-ID"/>
                  <a:t>amet put</a:t>
                </a:r>
                <a:endParaRPr lang="en-US" dirty="0"/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2859825" y="2891936"/>
              <a:ext cx="1328516" cy="920741"/>
              <a:chOff x="5959161" y="2389999"/>
              <a:chExt cx="1328516" cy="920741"/>
            </a:xfrm>
          </p:grpSpPr>
          <p:sp>
            <p:nvSpPr>
              <p:cNvPr id="32" name="TextBox 31"/>
              <p:cNvSpPr txBox="1"/>
              <p:nvPr/>
            </p:nvSpPr>
            <p:spPr>
              <a:xfrm flipH="1">
                <a:off x="5959161" y="2389999"/>
                <a:ext cx="1328516" cy="36735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accent2"/>
                    </a:solidFill>
                    <a:ea typeface="Lato" panose="020F0502020204030203" pitchFamily="34" charset="0"/>
                    <a:cs typeface="Segoe UI Light" panose="020B0502040204020203" pitchFamily="34" charset="0"/>
                  </a:rPr>
                  <a:t>Option Two</a:t>
                </a:r>
                <a:endParaRPr lang="id-ID" sz="1400" dirty="0">
                  <a:solidFill>
                    <a:schemeClr val="accent2"/>
                  </a:solidFill>
                  <a:ea typeface="Lato" panose="020F050202020403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flipH="1">
                <a:off x="5959162" y="2664409"/>
                <a:ext cx="132851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>
                  <a:defRPr sz="1200">
                    <a:solidFill>
                      <a:schemeClr val="tx1">
                        <a:lumMod val="50000"/>
                        <a:lumOff val="50000"/>
                      </a:schemeClr>
                    </a:solidFill>
                  </a:defRPr>
                </a:lvl1pPr>
              </a:lstStyle>
              <a:p>
                <a:pPr algn="ctr"/>
                <a:r>
                  <a:rPr lang="id-ID" dirty="0"/>
                  <a:t>Lorem ipsum dolor sit </a:t>
                </a:r>
                <a:r>
                  <a:rPr lang="id-ID"/>
                  <a:t>amet put</a:t>
                </a:r>
                <a:endParaRPr lang="en-US" dirty="0"/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4358336" y="2891936"/>
              <a:ext cx="1328516" cy="920741"/>
              <a:chOff x="5959161" y="2389999"/>
              <a:chExt cx="1328516" cy="920741"/>
            </a:xfrm>
          </p:grpSpPr>
          <p:sp>
            <p:nvSpPr>
              <p:cNvPr id="35" name="TextBox 34"/>
              <p:cNvSpPr txBox="1"/>
              <p:nvPr/>
            </p:nvSpPr>
            <p:spPr>
              <a:xfrm flipH="1">
                <a:off x="5959161" y="2389999"/>
                <a:ext cx="1328516" cy="36735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accent3"/>
                    </a:solidFill>
                    <a:ea typeface="Lato" panose="020F0502020204030203" pitchFamily="34" charset="0"/>
                    <a:cs typeface="Segoe UI Light" panose="020B0502040204020203" pitchFamily="34" charset="0"/>
                  </a:rPr>
                  <a:t>Option Three</a:t>
                </a:r>
                <a:endParaRPr lang="id-ID" sz="1400" dirty="0">
                  <a:solidFill>
                    <a:schemeClr val="accent3"/>
                  </a:solidFill>
                  <a:ea typeface="Lato" panose="020F050202020403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 flipH="1">
                <a:off x="5959162" y="2664409"/>
                <a:ext cx="132851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>
                  <a:defRPr sz="1200">
                    <a:solidFill>
                      <a:schemeClr val="tx1">
                        <a:lumMod val="50000"/>
                        <a:lumOff val="50000"/>
                      </a:schemeClr>
                    </a:solidFill>
                  </a:defRPr>
                </a:lvl1pPr>
              </a:lstStyle>
              <a:p>
                <a:pPr algn="ctr"/>
                <a:r>
                  <a:rPr lang="id-ID" dirty="0"/>
                  <a:t>Lorem ipsum dolor sit amet put</a:t>
                </a:r>
                <a:endParaRPr lang="en-US" dirty="0"/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3629074" y="4799421"/>
              <a:ext cx="1328516" cy="920741"/>
              <a:chOff x="5959161" y="2389999"/>
              <a:chExt cx="1328516" cy="920741"/>
            </a:xfrm>
          </p:grpSpPr>
          <p:sp>
            <p:nvSpPr>
              <p:cNvPr id="38" name="TextBox 37"/>
              <p:cNvSpPr txBox="1"/>
              <p:nvPr/>
            </p:nvSpPr>
            <p:spPr>
              <a:xfrm flipH="1">
                <a:off x="5959161" y="2389999"/>
                <a:ext cx="1328516" cy="36735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accent5"/>
                    </a:solidFill>
                    <a:ea typeface="Lato" panose="020F0502020204030203" pitchFamily="34" charset="0"/>
                    <a:cs typeface="Segoe UI Light" panose="020B0502040204020203" pitchFamily="34" charset="0"/>
                  </a:rPr>
                  <a:t>Option Five</a:t>
                </a:r>
                <a:endParaRPr lang="id-ID" sz="1400" dirty="0">
                  <a:solidFill>
                    <a:schemeClr val="accent5"/>
                  </a:solidFill>
                  <a:ea typeface="Lato" panose="020F050202020403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 flipH="1">
                <a:off x="5959162" y="2664409"/>
                <a:ext cx="132851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>
                  <a:defRPr sz="1200">
                    <a:solidFill>
                      <a:schemeClr val="tx1">
                        <a:lumMod val="50000"/>
                        <a:lumOff val="50000"/>
                      </a:schemeClr>
                    </a:solidFill>
                  </a:defRPr>
                </a:lvl1pPr>
              </a:lstStyle>
              <a:p>
                <a:pPr algn="ctr"/>
                <a:r>
                  <a:rPr lang="id-ID" dirty="0"/>
                  <a:t>Lorem ipsum dolor sit amet put</a:t>
                </a:r>
                <a:endParaRPr lang="en-US" dirty="0"/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2096417" y="4799421"/>
              <a:ext cx="1328516" cy="920741"/>
              <a:chOff x="5959161" y="2389999"/>
              <a:chExt cx="1328516" cy="920741"/>
            </a:xfrm>
          </p:grpSpPr>
          <p:sp>
            <p:nvSpPr>
              <p:cNvPr id="41" name="TextBox 40"/>
              <p:cNvSpPr txBox="1"/>
              <p:nvPr/>
            </p:nvSpPr>
            <p:spPr>
              <a:xfrm flipH="1">
                <a:off x="5959161" y="2389999"/>
                <a:ext cx="1328516" cy="36735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accent4"/>
                    </a:solidFill>
                    <a:ea typeface="Lato" panose="020F0502020204030203" pitchFamily="34" charset="0"/>
                    <a:cs typeface="Segoe UI Light" panose="020B0502040204020203" pitchFamily="34" charset="0"/>
                  </a:rPr>
                  <a:t>Option Four</a:t>
                </a:r>
                <a:endParaRPr lang="id-ID" sz="1400" dirty="0">
                  <a:solidFill>
                    <a:schemeClr val="accent4"/>
                  </a:solidFill>
                  <a:ea typeface="Lato" panose="020F050202020403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 flipH="1">
                <a:off x="5959162" y="2664409"/>
                <a:ext cx="132851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>
                  <a:defRPr sz="1200">
                    <a:solidFill>
                      <a:schemeClr val="tx1">
                        <a:lumMod val="50000"/>
                        <a:lumOff val="50000"/>
                      </a:schemeClr>
                    </a:solidFill>
                  </a:defRPr>
                </a:lvl1pPr>
              </a:lstStyle>
              <a:p>
                <a:pPr algn="ctr"/>
                <a:r>
                  <a:rPr lang="id-ID" dirty="0"/>
                  <a:t>Lorem ipsum dolor sit </a:t>
                </a:r>
                <a:r>
                  <a:rPr lang="id-ID"/>
                  <a:t>amet put</a:t>
                </a:r>
                <a:endParaRPr lang="en-US" dirty="0"/>
              </a:p>
            </p:txBody>
          </p:sp>
        </p:grpSp>
      </p:grpSp>
      <p:sp>
        <p:nvSpPr>
          <p:cNvPr id="48" name="Rectangle 4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04200871-3EEA-4205-A1F1-67E4C36B8EDD}"/>
              </a:ext>
            </a:extLst>
          </p:cNvPr>
          <p:cNvSpPr/>
          <p:nvPr/>
        </p:nvSpPr>
        <p:spPr>
          <a:xfrm>
            <a:off x="915448" y="3081866"/>
            <a:ext cx="45719" cy="861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9" name="TextBox 4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E6FEA98E-83A1-402D-959B-D998D701756A}"/>
              </a:ext>
            </a:extLst>
          </p:cNvPr>
          <p:cNvSpPr txBox="1"/>
          <p:nvPr/>
        </p:nvSpPr>
        <p:spPr>
          <a:xfrm>
            <a:off x="748564" y="1682224"/>
            <a:ext cx="4629152" cy="1175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id-ID" sz="4400" dirty="0">
                <a:gradFill>
                  <a:gsLst>
                    <a:gs pos="0">
                      <a:schemeClr val="accent5"/>
                    </a:gs>
                    <a:gs pos="100000">
                      <a:schemeClr val="accent2"/>
                    </a:gs>
                  </a:gsLst>
                  <a:lin ang="8100000" scaled="1"/>
                </a:gradFill>
              </a:rPr>
              <a:t>Creative</a:t>
            </a:r>
            <a:r>
              <a:rPr lang="id-ID" sz="4400" dirty="0">
                <a:solidFill>
                  <a:schemeClr val="accent1"/>
                </a:solidFill>
              </a:rPr>
              <a:t> </a:t>
            </a:r>
          </a:p>
          <a:p>
            <a:pPr>
              <a:lnSpc>
                <a:spcPct val="80000"/>
              </a:lnSpc>
            </a:pPr>
            <a:r>
              <a:rPr lang="id-ID" sz="4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graphic Slide</a:t>
            </a:r>
          </a:p>
        </p:txBody>
      </p:sp>
      <p:sp>
        <p:nvSpPr>
          <p:cNvPr id="47" name="TextBox 1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 flipH="1">
            <a:off x="1150844" y="3100685"/>
            <a:ext cx="441175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1200" dirty="0">
                <a:solidFill>
                  <a:schemeClr val="tx2"/>
                </a:solidFill>
                <a:cs typeface="+mn-ea"/>
                <a:sym typeface="+mn-lt"/>
              </a:rPr>
              <a:t>This is a sample text. insert your desired text here. Again. this is a dummy text. enter your own text here. This is a sample text. insert your desired text here. Again. this is a dummy text. enter your own text here. .</a:t>
            </a:r>
          </a:p>
        </p:txBody>
      </p:sp>
      <p:grpSp>
        <p:nvGrpSpPr>
          <p:cNvPr id="50" name="组合 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893884" y="4231415"/>
            <a:ext cx="1043354" cy="151549"/>
            <a:chOff x="1160584" y="2878015"/>
            <a:chExt cx="2098430" cy="304800"/>
          </a:xfrm>
        </p:grpSpPr>
        <p:sp>
          <p:nvSpPr>
            <p:cNvPr id="51" name="五角星 50"/>
            <p:cNvSpPr/>
            <p:nvPr/>
          </p:nvSpPr>
          <p:spPr>
            <a:xfrm>
              <a:off x="1160584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solidFill>
              <a:srgbClr val="01B7F9"/>
            </a:solidFill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2"/>
                </a:solidFill>
              </a:endParaRPr>
            </a:p>
          </p:txBody>
        </p:sp>
        <p:sp>
          <p:nvSpPr>
            <p:cNvPr id="52" name="五角星 51"/>
            <p:cNvSpPr/>
            <p:nvPr/>
          </p:nvSpPr>
          <p:spPr>
            <a:xfrm>
              <a:off x="1608991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solidFill>
              <a:srgbClr val="01B7F9"/>
            </a:solidFill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2"/>
                </a:solidFill>
              </a:endParaRPr>
            </a:p>
          </p:txBody>
        </p:sp>
        <p:sp>
          <p:nvSpPr>
            <p:cNvPr id="53" name="五角星 52"/>
            <p:cNvSpPr/>
            <p:nvPr/>
          </p:nvSpPr>
          <p:spPr>
            <a:xfrm>
              <a:off x="2057398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solidFill>
              <a:srgbClr val="01B7F9"/>
            </a:solidFill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2"/>
                </a:solidFill>
              </a:endParaRPr>
            </a:p>
          </p:txBody>
        </p:sp>
        <p:sp>
          <p:nvSpPr>
            <p:cNvPr id="54" name="五角星 53"/>
            <p:cNvSpPr/>
            <p:nvPr/>
          </p:nvSpPr>
          <p:spPr>
            <a:xfrm>
              <a:off x="2505806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noFill/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2"/>
                </a:solidFill>
              </a:endParaRPr>
            </a:p>
          </p:txBody>
        </p:sp>
        <p:sp>
          <p:nvSpPr>
            <p:cNvPr id="55" name="五角星 54"/>
            <p:cNvSpPr/>
            <p:nvPr/>
          </p:nvSpPr>
          <p:spPr>
            <a:xfrm>
              <a:off x="2954214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noFill/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2"/>
                </a:solidFill>
              </a:endParaRPr>
            </a:p>
          </p:txBody>
        </p:sp>
      </p:grpSp>
      <p:grpSp>
        <p:nvGrpSpPr>
          <p:cNvPr id="56" name="Group 4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670711" y="4744484"/>
            <a:ext cx="2539273" cy="697899"/>
            <a:chOff x="145142" y="4099666"/>
            <a:chExt cx="2539273" cy="697899"/>
          </a:xfrm>
        </p:grpSpPr>
        <p:sp>
          <p:nvSpPr>
            <p:cNvPr id="57" name="TextBox 45"/>
            <p:cNvSpPr txBox="1"/>
            <p:nvPr/>
          </p:nvSpPr>
          <p:spPr>
            <a:xfrm>
              <a:off x="145143" y="4317434"/>
              <a:ext cx="2394128" cy="4801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id-ID" sz="1050" b="1" dirty="0">
                  <a:solidFill>
                    <a:schemeClr val="tx2">
                      <a:lumMod val="50000"/>
                    </a:schemeClr>
                  </a:solidFill>
                  <a:cs typeface="+mn-ea"/>
                  <a:sym typeface="+mn-lt"/>
                </a:rPr>
                <a:t>lorem ipsum</a:t>
              </a:r>
              <a:r>
                <a:rPr lang="id-ID" sz="1050" dirty="0">
                  <a:solidFill>
                    <a:schemeClr val="tx2">
                      <a:lumMod val="50000"/>
                    </a:schemeClr>
                  </a:solidFill>
                  <a:cs typeface="+mn-ea"/>
                  <a:sym typeface="+mn-lt"/>
                </a:rPr>
                <a:t>, quia dolor sit, amet, consectetur, adipiscivelit, se</a:t>
              </a:r>
            </a:p>
          </p:txBody>
        </p:sp>
        <p:sp>
          <p:nvSpPr>
            <p:cNvPr id="58" name="TextBox 46"/>
            <p:cNvSpPr txBox="1"/>
            <p:nvPr/>
          </p:nvSpPr>
          <p:spPr>
            <a:xfrm>
              <a:off x="145142" y="4099666"/>
              <a:ext cx="25392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tx2">
                      <a:lumMod val="50000"/>
                    </a:schemeClr>
                  </a:solidFill>
                  <a:cs typeface="+mn-ea"/>
                  <a:sym typeface="+mn-lt"/>
                </a:rPr>
                <a:t>WORLD CLASS STYLE</a:t>
              </a:r>
              <a:endParaRPr lang="id-ID" sz="1200" b="1" dirty="0">
                <a:solidFill>
                  <a:schemeClr val="tx2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59" name="AutoShape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/>
          </p:cNvSpPr>
          <p:nvPr/>
        </p:nvSpPr>
        <p:spPr bwMode="auto">
          <a:xfrm>
            <a:off x="996028" y="4808833"/>
            <a:ext cx="536529" cy="538424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7428" y="17466"/>
                </a:moveTo>
                <a:cubicBezTo>
                  <a:pt x="16669" y="16923"/>
                  <a:pt x="15846" y="16465"/>
                  <a:pt x="14963" y="16121"/>
                </a:cubicBezTo>
                <a:cubicBezTo>
                  <a:pt x="15595" y="14609"/>
                  <a:pt x="15967" y="12928"/>
                  <a:pt x="16010" y="11148"/>
                </a:cubicBezTo>
                <a:lnTo>
                  <a:pt x="20188" y="11148"/>
                </a:lnTo>
                <a:cubicBezTo>
                  <a:pt x="20097" y="13612"/>
                  <a:pt x="19065" y="15838"/>
                  <a:pt x="17428" y="17466"/>
                </a:cubicBezTo>
                <a:moveTo>
                  <a:pt x="1411" y="11148"/>
                </a:moveTo>
                <a:lnTo>
                  <a:pt x="5589" y="11148"/>
                </a:lnTo>
                <a:cubicBezTo>
                  <a:pt x="5632" y="12928"/>
                  <a:pt x="6004" y="14609"/>
                  <a:pt x="6636" y="16121"/>
                </a:cubicBezTo>
                <a:cubicBezTo>
                  <a:pt x="5753" y="16465"/>
                  <a:pt x="4931" y="16923"/>
                  <a:pt x="4171" y="17466"/>
                </a:cubicBezTo>
                <a:cubicBezTo>
                  <a:pt x="2534" y="15838"/>
                  <a:pt x="1502" y="13612"/>
                  <a:pt x="1411" y="11148"/>
                </a:cubicBezTo>
                <a:moveTo>
                  <a:pt x="3785" y="4553"/>
                </a:moveTo>
                <a:cubicBezTo>
                  <a:pt x="4579" y="5170"/>
                  <a:pt x="5448" y="5691"/>
                  <a:pt x="6388" y="6084"/>
                </a:cubicBezTo>
                <a:cubicBezTo>
                  <a:pt x="5901" y="7433"/>
                  <a:pt x="5627" y="8908"/>
                  <a:pt x="5589" y="10451"/>
                </a:cubicBezTo>
                <a:lnTo>
                  <a:pt x="1411" y="10451"/>
                </a:lnTo>
                <a:cubicBezTo>
                  <a:pt x="1494" y="8190"/>
                  <a:pt x="2376" y="6135"/>
                  <a:pt x="3785" y="4553"/>
                </a:cubicBezTo>
                <a:moveTo>
                  <a:pt x="11148" y="10451"/>
                </a:moveTo>
                <a:lnTo>
                  <a:pt x="11148" y="6950"/>
                </a:lnTo>
                <a:cubicBezTo>
                  <a:pt x="12339" y="6913"/>
                  <a:pt x="13484" y="6696"/>
                  <a:pt x="14558" y="6324"/>
                </a:cubicBezTo>
                <a:cubicBezTo>
                  <a:pt x="15018" y="7598"/>
                  <a:pt x="15276" y="8992"/>
                  <a:pt x="15314" y="10451"/>
                </a:cubicBezTo>
                <a:cubicBezTo>
                  <a:pt x="15314" y="10451"/>
                  <a:pt x="11148" y="10451"/>
                  <a:pt x="11148" y="10451"/>
                </a:cubicBezTo>
                <a:close/>
                <a:moveTo>
                  <a:pt x="14311" y="15882"/>
                </a:moveTo>
                <a:cubicBezTo>
                  <a:pt x="13309" y="15559"/>
                  <a:pt x="12247" y="15380"/>
                  <a:pt x="11148" y="15346"/>
                </a:cubicBezTo>
                <a:lnTo>
                  <a:pt x="11148" y="11148"/>
                </a:lnTo>
                <a:lnTo>
                  <a:pt x="15314" y="11148"/>
                </a:lnTo>
                <a:cubicBezTo>
                  <a:pt x="15270" y="12844"/>
                  <a:pt x="14914" y="14445"/>
                  <a:pt x="14311" y="15882"/>
                </a:cubicBezTo>
                <a:moveTo>
                  <a:pt x="14683" y="16757"/>
                </a:moveTo>
                <a:cubicBezTo>
                  <a:pt x="15476" y="17063"/>
                  <a:pt x="16218" y="17466"/>
                  <a:pt x="16904" y="17941"/>
                </a:cubicBezTo>
                <a:cubicBezTo>
                  <a:pt x="15632" y="19031"/>
                  <a:pt x="14067" y="19781"/>
                  <a:pt x="12344" y="20068"/>
                </a:cubicBezTo>
                <a:cubicBezTo>
                  <a:pt x="13280" y="19136"/>
                  <a:pt x="14076" y="18017"/>
                  <a:pt x="14683" y="16757"/>
                </a:cubicBezTo>
                <a:moveTo>
                  <a:pt x="11148" y="20188"/>
                </a:moveTo>
                <a:lnTo>
                  <a:pt x="11148" y="16043"/>
                </a:lnTo>
                <a:cubicBezTo>
                  <a:pt x="12146" y="16075"/>
                  <a:pt x="13113" y="16231"/>
                  <a:pt x="14025" y="16516"/>
                </a:cubicBezTo>
                <a:cubicBezTo>
                  <a:pt x="13314" y="17970"/>
                  <a:pt x="12343" y="19223"/>
                  <a:pt x="11185" y="20186"/>
                </a:cubicBezTo>
                <a:cubicBezTo>
                  <a:pt x="11185" y="20186"/>
                  <a:pt x="11148" y="20188"/>
                  <a:pt x="11148" y="20188"/>
                </a:cubicBezTo>
                <a:close/>
                <a:moveTo>
                  <a:pt x="9255" y="20068"/>
                </a:moveTo>
                <a:cubicBezTo>
                  <a:pt x="7532" y="19781"/>
                  <a:pt x="5967" y="19031"/>
                  <a:pt x="4695" y="17941"/>
                </a:cubicBezTo>
                <a:cubicBezTo>
                  <a:pt x="5381" y="17466"/>
                  <a:pt x="6123" y="17063"/>
                  <a:pt x="6916" y="16757"/>
                </a:cubicBezTo>
                <a:cubicBezTo>
                  <a:pt x="7523" y="18017"/>
                  <a:pt x="8319" y="19136"/>
                  <a:pt x="9255" y="20068"/>
                </a:cubicBezTo>
                <a:moveTo>
                  <a:pt x="10451" y="11148"/>
                </a:moveTo>
                <a:lnTo>
                  <a:pt x="10451" y="15346"/>
                </a:lnTo>
                <a:cubicBezTo>
                  <a:pt x="9352" y="15380"/>
                  <a:pt x="8290" y="15559"/>
                  <a:pt x="7288" y="15882"/>
                </a:cubicBezTo>
                <a:cubicBezTo>
                  <a:pt x="6685" y="14445"/>
                  <a:pt x="6329" y="12844"/>
                  <a:pt x="6285" y="11148"/>
                </a:cubicBezTo>
                <a:cubicBezTo>
                  <a:pt x="6285" y="11148"/>
                  <a:pt x="10451" y="11148"/>
                  <a:pt x="10451" y="11148"/>
                </a:cubicBezTo>
                <a:close/>
                <a:moveTo>
                  <a:pt x="7041" y="6324"/>
                </a:moveTo>
                <a:cubicBezTo>
                  <a:pt x="8115" y="6696"/>
                  <a:pt x="9260" y="6913"/>
                  <a:pt x="10451" y="6950"/>
                </a:cubicBezTo>
                <a:lnTo>
                  <a:pt x="10451" y="10451"/>
                </a:lnTo>
                <a:lnTo>
                  <a:pt x="6285" y="10451"/>
                </a:lnTo>
                <a:cubicBezTo>
                  <a:pt x="6324" y="8992"/>
                  <a:pt x="6581" y="7598"/>
                  <a:pt x="7041" y="6324"/>
                </a:cubicBezTo>
                <a:moveTo>
                  <a:pt x="6651" y="5442"/>
                </a:moveTo>
                <a:cubicBezTo>
                  <a:pt x="5790" y="5084"/>
                  <a:pt x="4993" y="4609"/>
                  <a:pt x="4263" y="4050"/>
                </a:cubicBezTo>
                <a:cubicBezTo>
                  <a:pt x="5606" y="2749"/>
                  <a:pt x="7332" y="1851"/>
                  <a:pt x="9255" y="1531"/>
                </a:cubicBezTo>
                <a:cubicBezTo>
                  <a:pt x="8175" y="2610"/>
                  <a:pt x="7286" y="3939"/>
                  <a:pt x="6651" y="5442"/>
                </a:cubicBezTo>
                <a:moveTo>
                  <a:pt x="10451" y="1411"/>
                </a:moveTo>
                <a:lnTo>
                  <a:pt x="10451" y="6253"/>
                </a:lnTo>
                <a:cubicBezTo>
                  <a:pt x="9352" y="6217"/>
                  <a:pt x="8296" y="6021"/>
                  <a:pt x="7303" y="5681"/>
                </a:cubicBezTo>
                <a:cubicBezTo>
                  <a:pt x="8029" y="3972"/>
                  <a:pt x="9101" y="2507"/>
                  <a:pt x="10415" y="1413"/>
                </a:cubicBezTo>
                <a:cubicBezTo>
                  <a:pt x="10427" y="1412"/>
                  <a:pt x="10439" y="1411"/>
                  <a:pt x="10451" y="1411"/>
                </a:cubicBezTo>
                <a:moveTo>
                  <a:pt x="12344" y="1531"/>
                </a:moveTo>
                <a:cubicBezTo>
                  <a:pt x="14267" y="1851"/>
                  <a:pt x="15993" y="2749"/>
                  <a:pt x="17336" y="4050"/>
                </a:cubicBezTo>
                <a:cubicBezTo>
                  <a:pt x="16606" y="4609"/>
                  <a:pt x="15809" y="5084"/>
                  <a:pt x="14948" y="5442"/>
                </a:cubicBezTo>
                <a:cubicBezTo>
                  <a:pt x="14313" y="3939"/>
                  <a:pt x="13424" y="2610"/>
                  <a:pt x="12344" y="1531"/>
                </a:cubicBezTo>
                <a:moveTo>
                  <a:pt x="11184" y="1413"/>
                </a:moveTo>
                <a:cubicBezTo>
                  <a:pt x="12498" y="2507"/>
                  <a:pt x="13570" y="3972"/>
                  <a:pt x="14296" y="5681"/>
                </a:cubicBezTo>
                <a:cubicBezTo>
                  <a:pt x="13303" y="6021"/>
                  <a:pt x="12247" y="6217"/>
                  <a:pt x="11148" y="6253"/>
                </a:cubicBezTo>
                <a:lnTo>
                  <a:pt x="11148" y="1411"/>
                </a:lnTo>
                <a:cubicBezTo>
                  <a:pt x="11160" y="1411"/>
                  <a:pt x="11172" y="1412"/>
                  <a:pt x="11184" y="1413"/>
                </a:cubicBezTo>
                <a:moveTo>
                  <a:pt x="10414" y="20186"/>
                </a:moveTo>
                <a:cubicBezTo>
                  <a:pt x="9256" y="19223"/>
                  <a:pt x="8285" y="17970"/>
                  <a:pt x="7574" y="16516"/>
                </a:cubicBezTo>
                <a:cubicBezTo>
                  <a:pt x="8486" y="16231"/>
                  <a:pt x="9453" y="16075"/>
                  <a:pt x="10451" y="16043"/>
                </a:cubicBezTo>
                <a:lnTo>
                  <a:pt x="10451" y="20188"/>
                </a:lnTo>
                <a:cubicBezTo>
                  <a:pt x="10451" y="20188"/>
                  <a:pt x="10414" y="20186"/>
                  <a:pt x="10414" y="20186"/>
                </a:cubicBezTo>
                <a:close/>
                <a:moveTo>
                  <a:pt x="20188" y="10451"/>
                </a:moveTo>
                <a:lnTo>
                  <a:pt x="16010" y="10451"/>
                </a:lnTo>
                <a:cubicBezTo>
                  <a:pt x="15972" y="8908"/>
                  <a:pt x="15698" y="7433"/>
                  <a:pt x="15211" y="6084"/>
                </a:cubicBezTo>
                <a:cubicBezTo>
                  <a:pt x="16151" y="5691"/>
                  <a:pt x="17020" y="5170"/>
                  <a:pt x="17814" y="4553"/>
                </a:cubicBezTo>
                <a:cubicBezTo>
                  <a:pt x="19223" y="6135"/>
                  <a:pt x="20105" y="8190"/>
                  <a:pt x="20188" y="10451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19050" tIns="19050" rIns="19050" bIns="19050" anchor="ctr"/>
          <a:lstStyle/>
          <a:p>
            <a:pPr algn="ctr" defTabSz="228600" fontAlgn="base" hangingPunct="0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cs typeface="+mn-ea"/>
              <a:sym typeface="+mn-lt"/>
            </a:endParaRPr>
          </a:p>
        </p:txBody>
      </p:sp>
      <p:sp>
        <p:nvSpPr>
          <p:cNvPr id="4" name="e7d195523061f1c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 hidden="1"/>
          <p:cNvSpPr txBox="1"/>
          <p:nvPr/>
        </p:nvSpPr>
        <p:spPr>
          <a:xfrm>
            <a:off x="-355600" y="1803400"/>
            <a:ext cx="329642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3524565503"/>
      </p:ext>
    </p:extLst>
  </p:cSld>
  <p:clrMapOvr>
    <a:masterClrMapping/>
  </p:clrMapOvr>
  <p:transition spd="slow">
    <p:push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03025">
            <a:off x="8185945" y="5155024"/>
            <a:ext cx="1641080" cy="1395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等腰三角形 6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16200000">
            <a:off x="7968480" y="679938"/>
            <a:ext cx="367167" cy="316523"/>
          </a:xfrm>
          <a:prstGeom prst="triangle">
            <a:avLst/>
          </a:prstGeom>
          <a:noFill/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矩形 6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2265543">
            <a:off x="269631" y="3077308"/>
            <a:ext cx="351692" cy="351692"/>
          </a:xfrm>
          <a:prstGeom prst="rect">
            <a:avLst/>
          </a:prstGeom>
          <a:noFill/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椭圆 6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413564" y="5246508"/>
            <a:ext cx="445477" cy="445477"/>
          </a:xfrm>
          <a:prstGeom prst="ellipse">
            <a:avLst/>
          </a:prstGeom>
          <a:noFill/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矩形 6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2265543">
            <a:off x="11368143" y="250041"/>
            <a:ext cx="172753" cy="172753"/>
          </a:xfrm>
          <a:prstGeom prst="rect">
            <a:avLst/>
          </a:prstGeom>
          <a:solidFill>
            <a:srgbClr val="01B7F9"/>
          </a:solidFill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66" name="Picture 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34953">
            <a:off x="3136590" y="189187"/>
            <a:ext cx="1480702" cy="1402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矩形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0" y="1295400"/>
            <a:ext cx="12192000" cy="4152900"/>
          </a:xfrm>
          <a:prstGeom prst="rect">
            <a:avLst/>
          </a:prstGeom>
          <a:solidFill>
            <a:schemeClr val="bg1">
              <a:alpha val="60000"/>
            </a:schemeClr>
          </a:solidFill>
          <a:ln w="3175">
            <a:solidFill>
              <a:schemeClr val="bg1">
                <a:alpha val="76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7" name="Shape 34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44500" y="3669537"/>
            <a:ext cx="1873250" cy="420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1900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Vestibulum id ligula et porta felis euismolore. </a:t>
            </a:r>
          </a:p>
        </p:txBody>
      </p:sp>
      <p:sp>
        <p:nvSpPr>
          <p:cNvPr id="348" name="Shape 34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50850" y="3444370"/>
            <a:ext cx="1485900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500" b="1">
                <a:solidFill>
                  <a:srgbClr val="5B62C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200" b="0">
                <a:solidFill>
                  <a:schemeClr val="accent4">
                    <a:lumMod val="75000"/>
                  </a:schemeClr>
                </a:solidFill>
                <a:latin typeface="+mn-lt"/>
              </a:rPr>
              <a:t>Add text here</a:t>
            </a:r>
          </a:p>
        </p:txBody>
      </p:sp>
      <p:sp>
        <p:nvSpPr>
          <p:cNvPr id="352" name="Shape 3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V="1">
            <a:off x="-266700" y="4711308"/>
            <a:ext cx="12558008" cy="393"/>
          </a:xfrm>
          <a:prstGeom prst="line">
            <a:avLst/>
          </a:prstGeom>
          <a:solidFill>
            <a:srgbClr val="42A3E8"/>
          </a:solidFill>
          <a:ln w="25400">
            <a:solidFill>
              <a:schemeClr val="tx1">
                <a:lumMod val="50000"/>
                <a:lumOff val="50000"/>
              </a:schemeClr>
            </a:solidFill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1000"/>
          </a:p>
        </p:txBody>
      </p:sp>
      <p:sp>
        <p:nvSpPr>
          <p:cNvPr id="353" name="Shape 35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370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4">
              <a:lumMod val="75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sp>
        <p:nvSpPr>
          <p:cNvPr id="354" name="Shape 3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26695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4">
              <a:lumMod val="75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sp>
        <p:nvSpPr>
          <p:cNvPr id="355" name="Shape 3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19100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2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sp>
        <p:nvSpPr>
          <p:cNvPr id="356" name="Shape 3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12775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2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sp>
        <p:nvSpPr>
          <p:cNvPr id="357" name="Shape 3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04545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2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sp>
        <p:nvSpPr>
          <p:cNvPr id="358" name="Shape 35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94410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1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sp>
        <p:nvSpPr>
          <p:cNvPr id="359" name="Shape 35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81735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1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sp>
        <p:nvSpPr>
          <p:cNvPr id="360" name="Shape 36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50850" y="4140200"/>
            <a:ext cx="1860550" cy="10795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sp>
        <p:nvSpPr>
          <p:cNvPr id="361" name="Shape 36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324100" y="3848100"/>
            <a:ext cx="1911350" cy="9525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sp>
        <p:nvSpPr>
          <p:cNvPr id="362" name="Shape 36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248150" y="3524250"/>
            <a:ext cx="1911350" cy="95250"/>
          </a:xfrm>
          <a:prstGeom prst="rect">
            <a:avLst/>
          </a:prstGeom>
          <a:solidFill>
            <a:schemeClr val="accent6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sp>
        <p:nvSpPr>
          <p:cNvPr id="363" name="Shape 36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121400" y="3232150"/>
            <a:ext cx="1911350" cy="95250"/>
          </a:xfrm>
          <a:prstGeom prst="rect">
            <a:avLst/>
          </a:prstGeom>
          <a:solidFill>
            <a:schemeClr val="accent2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sp>
        <p:nvSpPr>
          <p:cNvPr id="364" name="Shape 36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045450" y="2908300"/>
            <a:ext cx="1911350" cy="95250"/>
          </a:xfrm>
          <a:prstGeom prst="rect">
            <a:avLst/>
          </a:prstGeom>
          <a:solidFill>
            <a:schemeClr val="accent1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sp>
        <p:nvSpPr>
          <p:cNvPr id="365" name="Shape 3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918700" y="2616200"/>
            <a:ext cx="1911350" cy="9525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grpSp>
        <p:nvGrpSpPr>
          <p:cNvPr id="369" name="Group 36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464741" y="3096554"/>
            <a:ext cx="298451" cy="298451"/>
            <a:chOff x="0" y="0"/>
            <a:chExt cx="596900" cy="596900"/>
          </a:xfrm>
          <a:solidFill>
            <a:schemeClr val="accent4">
              <a:lumMod val="75000"/>
            </a:schemeClr>
          </a:solidFill>
        </p:grpSpPr>
        <p:sp>
          <p:nvSpPr>
            <p:cNvPr id="366" name="Shape 366"/>
            <p:cNvSpPr/>
            <p:nvPr/>
          </p:nvSpPr>
          <p:spPr>
            <a:xfrm>
              <a:off x="0" y="0"/>
              <a:ext cx="596901" cy="5969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80" y="12133"/>
                  </a:moveTo>
                  <a:cubicBezTo>
                    <a:pt x="17711" y="12226"/>
                    <a:pt x="17327" y="12561"/>
                    <a:pt x="17170" y="13013"/>
                  </a:cubicBezTo>
                  <a:cubicBezTo>
                    <a:pt x="17083" y="13262"/>
                    <a:pt x="16982" y="13503"/>
                    <a:pt x="16869" y="13738"/>
                  </a:cubicBezTo>
                  <a:cubicBezTo>
                    <a:pt x="16659" y="14169"/>
                    <a:pt x="16694" y="14678"/>
                    <a:pt x="16959" y="15075"/>
                  </a:cubicBezTo>
                  <a:lnTo>
                    <a:pt x="18131" y="16833"/>
                  </a:lnTo>
                  <a:lnTo>
                    <a:pt x="16833" y="18132"/>
                  </a:lnTo>
                  <a:lnTo>
                    <a:pt x="15076" y="16960"/>
                  </a:lnTo>
                  <a:cubicBezTo>
                    <a:pt x="14850" y="16810"/>
                    <a:pt x="14589" y="16733"/>
                    <a:pt x="14327" y="16733"/>
                  </a:cubicBezTo>
                  <a:cubicBezTo>
                    <a:pt x="14126" y="16733"/>
                    <a:pt x="13925" y="16778"/>
                    <a:pt x="13739" y="16868"/>
                  </a:cubicBezTo>
                  <a:cubicBezTo>
                    <a:pt x="13504" y="16982"/>
                    <a:pt x="13263" y="17084"/>
                    <a:pt x="13012" y="17171"/>
                  </a:cubicBezTo>
                  <a:cubicBezTo>
                    <a:pt x="12562" y="17327"/>
                    <a:pt x="12227" y="17712"/>
                    <a:pt x="12133" y="18181"/>
                  </a:cubicBezTo>
                  <a:lnTo>
                    <a:pt x="11718" y="20250"/>
                  </a:lnTo>
                  <a:lnTo>
                    <a:pt x="9881" y="20250"/>
                  </a:lnTo>
                  <a:lnTo>
                    <a:pt x="9468" y="18181"/>
                  </a:lnTo>
                  <a:cubicBezTo>
                    <a:pt x="9374" y="17712"/>
                    <a:pt x="9039" y="17327"/>
                    <a:pt x="8588" y="17171"/>
                  </a:cubicBezTo>
                  <a:cubicBezTo>
                    <a:pt x="8339" y="17084"/>
                    <a:pt x="8096" y="16983"/>
                    <a:pt x="7862" y="16869"/>
                  </a:cubicBezTo>
                  <a:cubicBezTo>
                    <a:pt x="7675" y="16778"/>
                    <a:pt x="7474" y="16733"/>
                    <a:pt x="7274" y="16733"/>
                  </a:cubicBezTo>
                  <a:cubicBezTo>
                    <a:pt x="7011" y="16733"/>
                    <a:pt x="6750" y="16810"/>
                    <a:pt x="6525" y="16960"/>
                  </a:cubicBezTo>
                  <a:lnTo>
                    <a:pt x="4767" y="18132"/>
                  </a:lnTo>
                  <a:lnTo>
                    <a:pt x="3468" y="16833"/>
                  </a:lnTo>
                  <a:lnTo>
                    <a:pt x="4640" y="15075"/>
                  </a:lnTo>
                  <a:cubicBezTo>
                    <a:pt x="4905" y="14678"/>
                    <a:pt x="4940" y="14170"/>
                    <a:pt x="4732" y="13739"/>
                  </a:cubicBezTo>
                  <a:cubicBezTo>
                    <a:pt x="4619" y="13505"/>
                    <a:pt x="4517" y="13263"/>
                    <a:pt x="4430" y="13014"/>
                  </a:cubicBezTo>
                  <a:cubicBezTo>
                    <a:pt x="4273" y="12562"/>
                    <a:pt x="3888" y="12227"/>
                    <a:pt x="3420" y="12133"/>
                  </a:cubicBezTo>
                  <a:lnTo>
                    <a:pt x="1351" y="11719"/>
                  </a:lnTo>
                  <a:lnTo>
                    <a:pt x="1350" y="9882"/>
                  </a:lnTo>
                  <a:lnTo>
                    <a:pt x="3420" y="9468"/>
                  </a:lnTo>
                  <a:cubicBezTo>
                    <a:pt x="3888" y="9375"/>
                    <a:pt x="4273" y="9040"/>
                    <a:pt x="4430" y="8588"/>
                  </a:cubicBezTo>
                  <a:cubicBezTo>
                    <a:pt x="4517" y="8339"/>
                    <a:pt x="4617" y="8097"/>
                    <a:pt x="4731" y="7862"/>
                  </a:cubicBezTo>
                  <a:cubicBezTo>
                    <a:pt x="4940" y="7432"/>
                    <a:pt x="4905" y="6923"/>
                    <a:pt x="4640" y="6525"/>
                  </a:cubicBezTo>
                  <a:lnTo>
                    <a:pt x="3468" y="4768"/>
                  </a:lnTo>
                  <a:lnTo>
                    <a:pt x="4767" y="3469"/>
                  </a:lnTo>
                  <a:lnTo>
                    <a:pt x="6525" y="4640"/>
                  </a:lnTo>
                  <a:cubicBezTo>
                    <a:pt x="6750" y="4791"/>
                    <a:pt x="7011" y="4867"/>
                    <a:pt x="7274" y="4867"/>
                  </a:cubicBezTo>
                  <a:cubicBezTo>
                    <a:pt x="7474" y="4867"/>
                    <a:pt x="7675" y="4822"/>
                    <a:pt x="7862" y="4733"/>
                  </a:cubicBezTo>
                  <a:cubicBezTo>
                    <a:pt x="8095" y="4619"/>
                    <a:pt x="8338" y="4517"/>
                    <a:pt x="8587" y="4430"/>
                  </a:cubicBezTo>
                  <a:cubicBezTo>
                    <a:pt x="9039" y="4273"/>
                    <a:pt x="9374" y="3889"/>
                    <a:pt x="9468" y="3420"/>
                  </a:cubicBezTo>
                  <a:lnTo>
                    <a:pt x="9881" y="1351"/>
                  </a:lnTo>
                  <a:lnTo>
                    <a:pt x="11718" y="1350"/>
                  </a:lnTo>
                  <a:lnTo>
                    <a:pt x="12132" y="3420"/>
                  </a:lnTo>
                  <a:cubicBezTo>
                    <a:pt x="12225" y="3889"/>
                    <a:pt x="12560" y="4273"/>
                    <a:pt x="13012" y="4430"/>
                  </a:cubicBezTo>
                  <a:cubicBezTo>
                    <a:pt x="13262" y="4517"/>
                    <a:pt x="13503" y="4618"/>
                    <a:pt x="13737" y="4732"/>
                  </a:cubicBezTo>
                  <a:cubicBezTo>
                    <a:pt x="13925" y="4822"/>
                    <a:pt x="14125" y="4867"/>
                    <a:pt x="14327" y="4867"/>
                  </a:cubicBezTo>
                  <a:cubicBezTo>
                    <a:pt x="14589" y="4867"/>
                    <a:pt x="14850" y="4791"/>
                    <a:pt x="15076" y="4640"/>
                  </a:cubicBezTo>
                  <a:lnTo>
                    <a:pt x="16833" y="3469"/>
                  </a:lnTo>
                  <a:lnTo>
                    <a:pt x="18131" y="4768"/>
                  </a:lnTo>
                  <a:lnTo>
                    <a:pt x="16959" y="6525"/>
                  </a:lnTo>
                  <a:cubicBezTo>
                    <a:pt x="16694" y="6923"/>
                    <a:pt x="16660" y="7431"/>
                    <a:pt x="16867" y="7862"/>
                  </a:cubicBezTo>
                  <a:cubicBezTo>
                    <a:pt x="16981" y="8096"/>
                    <a:pt x="17083" y="8338"/>
                    <a:pt x="17170" y="8587"/>
                  </a:cubicBezTo>
                  <a:cubicBezTo>
                    <a:pt x="17327" y="9039"/>
                    <a:pt x="17711" y="9374"/>
                    <a:pt x="18180" y="9467"/>
                  </a:cubicBezTo>
                  <a:lnTo>
                    <a:pt x="20249" y="9882"/>
                  </a:lnTo>
                  <a:lnTo>
                    <a:pt x="20250" y="11719"/>
                  </a:lnTo>
                  <a:cubicBezTo>
                    <a:pt x="20250" y="11719"/>
                    <a:pt x="18180" y="12133"/>
                    <a:pt x="18180" y="12133"/>
                  </a:cubicBezTo>
                  <a:close/>
                  <a:moveTo>
                    <a:pt x="20514" y="8558"/>
                  </a:moveTo>
                  <a:lnTo>
                    <a:pt x="18445" y="8144"/>
                  </a:lnTo>
                  <a:cubicBezTo>
                    <a:pt x="18341" y="7844"/>
                    <a:pt x="18218" y="7555"/>
                    <a:pt x="18083" y="7274"/>
                  </a:cubicBezTo>
                  <a:lnTo>
                    <a:pt x="19255" y="5516"/>
                  </a:lnTo>
                  <a:cubicBezTo>
                    <a:pt x="19612" y="4981"/>
                    <a:pt x="19541" y="4268"/>
                    <a:pt x="19086" y="3813"/>
                  </a:cubicBezTo>
                  <a:lnTo>
                    <a:pt x="17787" y="2514"/>
                  </a:lnTo>
                  <a:cubicBezTo>
                    <a:pt x="17526" y="2253"/>
                    <a:pt x="17182" y="2119"/>
                    <a:pt x="16832" y="2119"/>
                  </a:cubicBezTo>
                  <a:cubicBezTo>
                    <a:pt x="16573" y="2119"/>
                    <a:pt x="16312" y="2193"/>
                    <a:pt x="16085" y="2346"/>
                  </a:cubicBezTo>
                  <a:lnTo>
                    <a:pt x="14327" y="3517"/>
                  </a:lnTo>
                  <a:cubicBezTo>
                    <a:pt x="14045" y="3381"/>
                    <a:pt x="13755" y="3259"/>
                    <a:pt x="13455" y="3155"/>
                  </a:cubicBezTo>
                  <a:lnTo>
                    <a:pt x="13041" y="1086"/>
                  </a:lnTo>
                  <a:cubicBezTo>
                    <a:pt x="12916" y="455"/>
                    <a:pt x="12361" y="0"/>
                    <a:pt x="11718" y="0"/>
                  </a:cubicBezTo>
                  <a:lnTo>
                    <a:pt x="9881" y="0"/>
                  </a:lnTo>
                  <a:cubicBezTo>
                    <a:pt x="9238" y="0"/>
                    <a:pt x="8684" y="455"/>
                    <a:pt x="8558" y="1086"/>
                  </a:cubicBezTo>
                  <a:lnTo>
                    <a:pt x="8144" y="3155"/>
                  </a:lnTo>
                  <a:cubicBezTo>
                    <a:pt x="7844" y="3259"/>
                    <a:pt x="7555" y="3381"/>
                    <a:pt x="7274" y="3517"/>
                  </a:cubicBezTo>
                  <a:lnTo>
                    <a:pt x="5516" y="2346"/>
                  </a:lnTo>
                  <a:cubicBezTo>
                    <a:pt x="5287" y="2193"/>
                    <a:pt x="5027" y="2119"/>
                    <a:pt x="4768" y="2119"/>
                  </a:cubicBezTo>
                  <a:cubicBezTo>
                    <a:pt x="4419" y="2119"/>
                    <a:pt x="4074" y="2253"/>
                    <a:pt x="3813" y="2514"/>
                  </a:cubicBezTo>
                  <a:lnTo>
                    <a:pt x="2514" y="3813"/>
                  </a:lnTo>
                  <a:cubicBezTo>
                    <a:pt x="2059" y="4268"/>
                    <a:pt x="1988" y="4981"/>
                    <a:pt x="2345" y="5516"/>
                  </a:cubicBezTo>
                  <a:lnTo>
                    <a:pt x="3517" y="7274"/>
                  </a:lnTo>
                  <a:cubicBezTo>
                    <a:pt x="3380" y="7555"/>
                    <a:pt x="3259" y="7845"/>
                    <a:pt x="3155" y="8144"/>
                  </a:cubicBezTo>
                  <a:lnTo>
                    <a:pt x="1086" y="8558"/>
                  </a:lnTo>
                  <a:cubicBezTo>
                    <a:pt x="454" y="8685"/>
                    <a:pt x="0" y="9239"/>
                    <a:pt x="0" y="9882"/>
                  </a:cubicBezTo>
                  <a:lnTo>
                    <a:pt x="0" y="11719"/>
                  </a:lnTo>
                  <a:cubicBezTo>
                    <a:pt x="0" y="12362"/>
                    <a:pt x="454" y="12916"/>
                    <a:pt x="1086" y="13043"/>
                  </a:cubicBezTo>
                  <a:lnTo>
                    <a:pt x="3155" y="13457"/>
                  </a:lnTo>
                  <a:cubicBezTo>
                    <a:pt x="3259" y="13756"/>
                    <a:pt x="3381" y="14046"/>
                    <a:pt x="3517" y="14327"/>
                  </a:cubicBezTo>
                  <a:lnTo>
                    <a:pt x="2345" y="16084"/>
                  </a:lnTo>
                  <a:cubicBezTo>
                    <a:pt x="1988" y="16619"/>
                    <a:pt x="2059" y="17333"/>
                    <a:pt x="2514" y="17788"/>
                  </a:cubicBezTo>
                  <a:lnTo>
                    <a:pt x="3813" y="19086"/>
                  </a:lnTo>
                  <a:cubicBezTo>
                    <a:pt x="4074" y="19347"/>
                    <a:pt x="4419" y="19482"/>
                    <a:pt x="4768" y="19482"/>
                  </a:cubicBezTo>
                  <a:cubicBezTo>
                    <a:pt x="5027" y="19482"/>
                    <a:pt x="5288" y="19407"/>
                    <a:pt x="5516" y="19255"/>
                  </a:cubicBezTo>
                  <a:lnTo>
                    <a:pt x="7274" y="18083"/>
                  </a:lnTo>
                  <a:cubicBezTo>
                    <a:pt x="7555" y="18220"/>
                    <a:pt x="7844" y="18341"/>
                    <a:pt x="8144" y="18446"/>
                  </a:cubicBezTo>
                  <a:lnTo>
                    <a:pt x="8558" y="20515"/>
                  </a:lnTo>
                  <a:cubicBezTo>
                    <a:pt x="8684" y="21147"/>
                    <a:pt x="9238" y="21600"/>
                    <a:pt x="9881" y="21600"/>
                  </a:cubicBezTo>
                  <a:lnTo>
                    <a:pt x="11718" y="21600"/>
                  </a:lnTo>
                  <a:cubicBezTo>
                    <a:pt x="12361" y="21600"/>
                    <a:pt x="12916" y="21147"/>
                    <a:pt x="13041" y="20515"/>
                  </a:cubicBezTo>
                  <a:lnTo>
                    <a:pt x="13457" y="18446"/>
                  </a:lnTo>
                  <a:cubicBezTo>
                    <a:pt x="13756" y="18341"/>
                    <a:pt x="14046" y="18220"/>
                    <a:pt x="14327" y="18083"/>
                  </a:cubicBezTo>
                  <a:lnTo>
                    <a:pt x="16085" y="19255"/>
                  </a:lnTo>
                  <a:cubicBezTo>
                    <a:pt x="16312" y="19407"/>
                    <a:pt x="16573" y="19482"/>
                    <a:pt x="16832" y="19482"/>
                  </a:cubicBezTo>
                  <a:cubicBezTo>
                    <a:pt x="17182" y="19482"/>
                    <a:pt x="17526" y="19347"/>
                    <a:pt x="17787" y="19086"/>
                  </a:cubicBezTo>
                  <a:lnTo>
                    <a:pt x="19086" y="17788"/>
                  </a:lnTo>
                  <a:cubicBezTo>
                    <a:pt x="19541" y="17333"/>
                    <a:pt x="19612" y="16619"/>
                    <a:pt x="19255" y="16084"/>
                  </a:cubicBezTo>
                  <a:lnTo>
                    <a:pt x="18083" y="14327"/>
                  </a:lnTo>
                  <a:cubicBezTo>
                    <a:pt x="18220" y="14045"/>
                    <a:pt x="18341" y="13755"/>
                    <a:pt x="18445" y="13456"/>
                  </a:cubicBezTo>
                  <a:lnTo>
                    <a:pt x="20514" y="13043"/>
                  </a:lnTo>
                  <a:cubicBezTo>
                    <a:pt x="21145" y="12916"/>
                    <a:pt x="21600" y="12362"/>
                    <a:pt x="21600" y="11719"/>
                  </a:cubicBezTo>
                  <a:lnTo>
                    <a:pt x="21600" y="9882"/>
                  </a:lnTo>
                  <a:cubicBezTo>
                    <a:pt x="21600" y="9239"/>
                    <a:pt x="21145" y="8685"/>
                    <a:pt x="20514" y="8558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/>
            </a:p>
          </p:txBody>
        </p:sp>
        <p:sp>
          <p:nvSpPr>
            <p:cNvPr id="367" name="Shape 367"/>
            <p:cNvSpPr/>
            <p:nvPr/>
          </p:nvSpPr>
          <p:spPr>
            <a:xfrm>
              <a:off x="167872" y="167878"/>
              <a:ext cx="261137" cy="2611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250"/>
                  </a:moveTo>
                  <a:cubicBezTo>
                    <a:pt x="5581" y="20250"/>
                    <a:pt x="1350" y="16018"/>
                    <a:pt x="1350" y="10800"/>
                  </a:cubicBezTo>
                  <a:cubicBezTo>
                    <a:pt x="1350" y="5582"/>
                    <a:pt x="5581" y="1350"/>
                    <a:pt x="10800" y="1350"/>
                  </a:cubicBezTo>
                  <a:cubicBezTo>
                    <a:pt x="16016" y="1350"/>
                    <a:pt x="20250" y="5582"/>
                    <a:pt x="20250" y="10800"/>
                  </a:cubicBezTo>
                  <a:cubicBezTo>
                    <a:pt x="20250" y="16018"/>
                    <a:pt x="16016" y="20250"/>
                    <a:pt x="10800" y="20250"/>
                  </a:cubicBezTo>
                  <a:moveTo>
                    <a:pt x="10800" y="0"/>
                  </a:moveTo>
                  <a:cubicBezTo>
                    <a:pt x="4836" y="0"/>
                    <a:pt x="0" y="4836"/>
                    <a:pt x="0" y="10800"/>
                  </a:cubicBezTo>
                  <a:cubicBezTo>
                    <a:pt x="0" y="16764"/>
                    <a:pt x="4836" y="21600"/>
                    <a:pt x="10800" y="21600"/>
                  </a:cubicBezTo>
                  <a:cubicBezTo>
                    <a:pt x="16763" y="21600"/>
                    <a:pt x="21600" y="16764"/>
                    <a:pt x="21600" y="10800"/>
                  </a:cubicBezTo>
                  <a:cubicBezTo>
                    <a:pt x="21600" y="4836"/>
                    <a:pt x="16763" y="0"/>
                    <a:pt x="108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/>
            </a:p>
          </p:txBody>
        </p:sp>
        <p:sp>
          <p:nvSpPr>
            <p:cNvPr id="368" name="Shape 368"/>
            <p:cNvSpPr/>
            <p:nvPr/>
          </p:nvSpPr>
          <p:spPr>
            <a:xfrm>
              <a:off x="223830" y="223837"/>
              <a:ext cx="149221" cy="1492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8900"/>
                  </a:moveTo>
                  <a:cubicBezTo>
                    <a:pt x="6328" y="18900"/>
                    <a:pt x="2700" y="15272"/>
                    <a:pt x="2700" y="10800"/>
                  </a:cubicBezTo>
                  <a:cubicBezTo>
                    <a:pt x="2700" y="6329"/>
                    <a:pt x="6328" y="2700"/>
                    <a:pt x="10800" y="2700"/>
                  </a:cubicBezTo>
                  <a:cubicBezTo>
                    <a:pt x="15272" y="2700"/>
                    <a:pt x="18900" y="6329"/>
                    <a:pt x="18900" y="10800"/>
                  </a:cubicBezTo>
                  <a:cubicBezTo>
                    <a:pt x="18900" y="15272"/>
                    <a:pt x="15272" y="18900"/>
                    <a:pt x="10800" y="18900"/>
                  </a:cubicBezTo>
                  <a:moveTo>
                    <a:pt x="10800" y="0"/>
                  </a:moveTo>
                  <a:cubicBezTo>
                    <a:pt x="4830" y="0"/>
                    <a:pt x="0" y="4833"/>
                    <a:pt x="0" y="10800"/>
                  </a:cubicBezTo>
                  <a:cubicBezTo>
                    <a:pt x="0" y="16767"/>
                    <a:pt x="4830" y="21600"/>
                    <a:pt x="10800" y="21600"/>
                  </a:cubicBezTo>
                  <a:cubicBezTo>
                    <a:pt x="16764" y="21600"/>
                    <a:pt x="21600" y="16767"/>
                    <a:pt x="21600" y="10800"/>
                  </a:cubicBezTo>
                  <a:cubicBezTo>
                    <a:pt x="21600" y="4833"/>
                    <a:pt x="16764" y="0"/>
                    <a:pt x="108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/>
            </a:p>
          </p:txBody>
        </p:sp>
      </p:grpSp>
      <p:sp>
        <p:nvSpPr>
          <p:cNvPr id="370" name="Shape 37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882113" y="1587128"/>
            <a:ext cx="285751" cy="2857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875" y="17550"/>
                </a:moveTo>
                <a:cubicBezTo>
                  <a:pt x="15513" y="17550"/>
                  <a:pt x="14344" y="15612"/>
                  <a:pt x="13810" y="12825"/>
                </a:cubicBezTo>
                <a:lnTo>
                  <a:pt x="15525" y="12825"/>
                </a:lnTo>
                <a:cubicBezTo>
                  <a:pt x="17038" y="12825"/>
                  <a:pt x="18225" y="11343"/>
                  <a:pt x="18225" y="9450"/>
                </a:cubicBezTo>
                <a:cubicBezTo>
                  <a:pt x="18225" y="7558"/>
                  <a:pt x="17038" y="6075"/>
                  <a:pt x="15525" y="6075"/>
                </a:cubicBezTo>
                <a:lnTo>
                  <a:pt x="13810" y="6075"/>
                </a:lnTo>
                <a:cubicBezTo>
                  <a:pt x="14344" y="3289"/>
                  <a:pt x="15513" y="1350"/>
                  <a:pt x="16875" y="1350"/>
                </a:cubicBezTo>
                <a:cubicBezTo>
                  <a:pt x="18739" y="1350"/>
                  <a:pt x="20250" y="4977"/>
                  <a:pt x="20250" y="9450"/>
                </a:cubicBezTo>
                <a:cubicBezTo>
                  <a:pt x="20250" y="13923"/>
                  <a:pt x="18739" y="17550"/>
                  <a:pt x="16875" y="17550"/>
                </a:cubicBezTo>
                <a:moveTo>
                  <a:pt x="8927" y="11483"/>
                </a:moveTo>
                <a:lnTo>
                  <a:pt x="8775" y="11483"/>
                </a:lnTo>
                <a:lnTo>
                  <a:pt x="8775" y="11475"/>
                </a:lnTo>
                <a:cubicBezTo>
                  <a:pt x="8029" y="11475"/>
                  <a:pt x="7425" y="10569"/>
                  <a:pt x="7425" y="9450"/>
                </a:cubicBezTo>
                <a:cubicBezTo>
                  <a:pt x="7425" y="8332"/>
                  <a:pt x="8029" y="7425"/>
                  <a:pt x="8775" y="7425"/>
                </a:cubicBezTo>
                <a:lnTo>
                  <a:pt x="8927" y="7425"/>
                </a:lnTo>
                <a:cubicBezTo>
                  <a:pt x="10200" y="7425"/>
                  <a:pt x="11392" y="6924"/>
                  <a:pt x="12441" y="6063"/>
                </a:cubicBezTo>
                <a:cubicBezTo>
                  <a:pt x="12249" y="7149"/>
                  <a:pt x="12150" y="8300"/>
                  <a:pt x="12150" y="9450"/>
                </a:cubicBezTo>
                <a:cubicBezTo>
                  <a:pt x="12150" y="10604"/>
                  <a:pt x="12249" y="11758"/>
                  <a:pt x="12443" y="12846"/>
                </a:cubicBezTo>
                <a:cubicBezTo>
                  <a:pt x="11393" y="11984"/>
                  <a:pt x="10200" y="11483"/>
                  <a:pt x="8927" y="11483"/>
                </a:cubicBezTo>
                <a:moveTo>
                  <a:pt x="8096" y="20250"/>
                </a:moveTo>
                <a:lnTo>
                  <a:pt x="5396" y="20250"/>
                </a:lnTo>
                <a:lnTo>
                  <a:pt x="5396" y="14175"/>
                </a:lnTo>
                <a:cubicBezTo>
                  <a:pt x="5396" y="13683"/>
                  <a:pt x="5264" y="13223"/>
                  <a:pt x="5033" y="12825"/>
                </a:cubicBezTo>
                <a:lnTo>
                  <a:pt x="5505" y="12825"/>
                </a:lnTo>
                <a:lnTo>
                  <a:pt x="5505" y="12833"/>
                </a:lnTo>
                <a:lnTo>
                  <a:pt x="7536" y="12833"/>
                </a:lnTo>
                <a:cubicBezTo>
                  <a:pt x="7463" y="13042"/>
                  <a:pt x="7421" y="13265"/>
                  <a:pt x="7421" y="13500"/>
                </a:cubicBezTo>
                <a:lnTo>
                  <a:pt x="7421" y="18225"/>
                </a:lnTo>
                <a:cubicBezTo>
                  <a:pt x="7421" y="18875"/>
                  <a:pt x="7785" y="19307"/>
                  <a:pt x="8001" y="19566"/>
                </a:cubicBezTo>
                <a:cubicBezTo>
                  <a:pt x="8031" y="19601"/>
                  <a:pt x="8066" y="19638"/>
                  <a:pt x="8096" y="19678"/>
                </a:cubicBezTo>
                <a:cubicBezTo>
                  <a:pt x="8096" y="19678"/>
                  <a:pt x="8096" y="20250"/>
                  <a:pt x="8096" y="20250"/>
                </a:cubicBezTo>
                <a:close/>
                <a:moveTo>
                  <a:pt x="1350" y="9450"/>
                </a:moveTo>
                <a:cubicBezTo>
                  <a:pt x="1350" y="8332"/>
                  <a:pt x="1954" y="7425"/>
                  <a:pt x="2700" y="7425"/>
                </a:cubicBezTo>
                <a:lnTo>
                  <a:pt x="7434" y="7425"/>
                </a:lnTo>
                <a:cubicBezTo>
                  <a:pt x="7015" y="7917"/>
                  <a:pt x="6750" y="8631"/>
                  <a:pt x="6750" y="9450"/>
                </a:cubicBezTo>
                <a:cubicBezTo>
                  <a:pt x="6750" y="10270"/>
                  <a:pt x="7015" y="10985"/>
                  <a:pt x="7434" y="11475"/>
                </a:cubicBezTo>
                <a:lnTo>
                  <a:pt x="2700" y="11475"/>
                </a:lnTo>
                <a:cubicBezTo>
                  <a:pt x="1954" y="11475"/>
                  <a:pt x="1350" y="10569"/>
                  <a:pt x="1350" y="9450"/>
                </a:cubicBezTo>
                <a:moveTo>
                  <a:pt x="13500" y="9450"/>
                </a:moveTo>
                <a:cubicBezTo>
                  <a:pt x="13500" y="8750"/>
                  <a:pt x="13541" y="8074"/>
                  <a:pt x="13611" y="7425"/>
                </a:cubicBezTo>
                <a:lnTo>
                  <a:pt x="15525" y="7425"/>
                </a:lnTo>
                <a:cubicBezTo>
                  <a:pt x="16270" y="7425"/>
                  <a:pt x="16875" y="8332"/>
                  <a:pt x="16875" y="9450"/>
                </a:cubicBezTo>
                <a:cubicBezTo>
                  <a:pt x="16875" y="10569"/>
                  <a:pt x="16270" y="11475"/>
                  <a:pt x="15525" y="11475"/>
                </a:cubicBezTo>
                <a:lnTo>
                  <a:pt x="13611" y="11475"/>
                </a:lnTo>
                <a:cubicBezTo>
                  <a:pt x="13541" y="10826"/>
                  <a:pt x="13500" y="10151"/>
                  <a:pt x="13500" y="9450"/>
                </a:cubicBezTo>
                <a:moveTo>
                  <a:pt x="16875" y="0"/>
                </a:moveTo>
                <a:cubicBezTo>
                  <a:pt x="15489" y="0"/>
                  <a:pt x="14400" y="952"/>
                  <a:pt x="13619" y="2421"/>
                </a:cubicBezTo>
                <a:lnTo>
                  <a:pt x="13604" y="2413"/>
                </a:lnTo>
                <a:cubicBezTo>
                  <a:pt x="12469" y="4635"/>
                  <a:pt x="10779" y="6075"/>
                  <a:pt x="8927" y="6075"/>
                </a:cubicBezTo>
                <a:lnTo>
                  <a:pt x="8479" y="6075"/>
                </a:lnTo>
                <a:lnTo>
                  <a:pt x="5505" y="6075"/>
                </a:lnTo>
                <a:lnTo>
                  <a:pt x="2700" y="6075"/>
                </a:lnTo>
                <a:cubicBezTo>
                  <a:pt x="1185" y="6075"/>
                  <a:pt x="0" y="7558"/>
                  <a:pt x="0" y="9450"/>
                </a:cubicBezTo>
                <a:cubicBezTo>
                  <a:pt x="0" y="11343"/>
                  <a:pt x="1185" y="12825"/>
                  <a:pt x="2700" y="12825"/>
                </a:cubicBezTo>
                <a:cubicBezTo>
                  <a:pt x="3444" y="12828"/>
                  <a:pt x="4046" y="13430"/>
                  <a:pt x="4046" y="14175"/>
                </a:cubicBezTo>
                <a:lnTo>
                  <a:pt x="4046" y="20250"/>
                </a:lnTo>
                <a:cubicBezTo>
                  <a:pt x="4046" y="20996"/>
                  <a:pt x="4651" y="21600"/>
                  <a:pt x="5396" y="21600"/>
                </a:cubicBezTo>
                <a:lnTo>
                  <a:pt x="8096" y="21600"/>
                </a:lnTo>
                <a:cubicBezTo>
                  <a:pt x="8842" y="21600"/>
                  <a:pt x="9446" y="20996"/>
                  <a:pt x="9446" y="20250"/>
                </a:cubicBezTo>
                <a:lnTo>
                  <a:pt x="9446" y="19575"/>
                </a:lnTo>
                <a:cubicBezTo>
                  <a:pt x="9446" y="18900"/>
                  <a:pt x="8771" y="18598"/>
                  <a:pt x="8771" y="18225"/>
                </a:cubicBezTo>
                <a:lnTo>
                  <a:pt x="8771" y="13500"/>
                </a:lnTo>
                <a:cubicBezTo>
                  <a:pt x="8771" y="13484"/>
                  <a:pt x="8782" y="13474"/>
                  <a:pt x="8783" y="13458"/>
                </a:cubicBezTo>
                <a:cubicBezTo>
                  <a:pt x="8789" y="13362"/>
                  <a:pt x="8816" y="13272"/>
                  <a:pt x="8859" y="13191"/>
                </a:cubicBezTo>
                <a:cubicBezTo>
                  <a:pt x="8871" y="13169"/>
                  <a:pt x="8884" y="13152"/>
                  <a:pt x="8899" y="13132"/>
                </a:cubicBezTo>
                <a:cubicBezTo>
                  <a:pt x="8953" y="13052"/>
                  <a:pt x="9020" y="12986"/>
                  <a:pt x="9103" y="12934"/>
                </a:cubicBezTo>
                <a:cubicBezTo>
                  <a:pt x="9107" y="12932"/>
                  <a:pt x="9109" y="12928"/>
                  <a:pt x="9112" y="12925"/>
                </a:cubicBezTo>
                <a:cubicBezTo>
                  <a:pt x="9115" y="12925"/>
                  <a:pt x="9118" y="12923"/>
                  <a:pt x="9120" y="12923"/>
                </a:cubicBezTo>
                <a:cubicBezTo>
                  <a:pt x="9174" y="12892"/>
                  <a:pt x="9238" y="12886"/>
                  <a:pt x="9300" y="12869"/>
                </a:cubicBezTo>
                <a:cubicBezTo>
                  <a:pt x="11003" y="13049"/>
                  <a:pt x="12545" y="14424"/>
                  <a:pt x="13604" y="16496"/>
                </a:cubicBezTo>
                <a:lnTo>
                  <a:pt x="13621" y="16487"/>
                </a:lnTo>
                <a:cubicBezTo>
                  <a:pt x="14404" y="17951"/>
                  <a:pt x="15491" y="18900"/>
                  <a:pt x="16875" y="18900"/>
                </a:cubicBezTo>
                <a:cubicBezTo>
                  <a:pt x="19977" y="18900"/>
                  <a:pt x="21600" y="14146"/>
                  <a:pt x="21600" y="9450"/>
                </a:cubicBezTo>
                <a:cubicBezTo>
                  <a:pt x="21600" y="4754"/>
                  <a:pt x="19977" y="0"/>
                  <a:pt x="16875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sp>
        <p:nvSpPr>
          <p:cNvPr id="371" name="Shape 37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036069" y="1855786"/>
            <a:ext cx="285751" cy="2857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3" h="21600" extrusionOk="0">
                <a:moveTo>
                  <a:pt x="16976" y="19986"/>
                </a:moveTo>
                <a:lnTo>
                  <a:pt x="11226" y="17680"/>
                </a:lnTo>
                <a:cubicBezTo>
                  <a:pt x="11089" y="17626"/>
                  <a:pt x="10947" y="17608"/>
                  <a:pt x="10806" y="17600"/>
                </a:cubicBezTo>
                <a:lnTo>
                  <a:pt x="19660" y="3838"/>
                </a:lnTo>
                <a:cubicBezTo>
                  <a:pt x="19660" y="3838"/>
                  <a:pt x="16976" y="19986"/>
                  <a:pt x="16976" y="19986"/>
                </a:cubicBezTo>
                <a:close/>
                <a:moveTo>
                  <a:pt x="6859" y="16245"/>
                </a:moveTo>
                <a:cubicBezTo>
                  <a:pt x="6858" y="16242"/>
                  <a:pt x="6856" y="16241"/>
                  <a:pt x="6854" y="16238"/>
                </a:cubicBezTo>
                <a:lnTo>
                  <a:pt x="19607" y="2552"/>
                </a:lnTo>
                <a:lnTo>
                  <a:pt x="8735" y="19537"/>
                </a:lnTo>
                <a:cubicBezTo>
                  <a:pt x="8735" y="19537"/>
                  <a:pt x="6859" y="16245"/>
                  <a:pt x="6859" y="16245"/>
                </a:cubicBezTo>
                <a:close/>
                <a:moveTo>
                  <a:pt x="2111" y="14025"/>
                </a:moveTo>
                <a:lnTo>
                  <a:pt x="17713" y="3595"/>
                </a:lnTo>
                <a:lnTo>
                  <a:pt x="6369" y="15770"/>
                </a:lnTo>
                <a:cubicBezTo>
                  <a:pt x="6309" y="15735"/>
                  <a:pt x="6256" y="15687"/>
                  <a:pt x="6191" y="15661"/>
                </a:cubicBezTo>
                <a:cubicBezTo>
                  <a:pt x="6191" y="15661"/>
                  <a:pt x="2111" y="14025"/>
                  <a:pt x="2111" y="14025"/>
                </a:cubicBezTo>
                <a:close/>
                <a:moveTo>
                  <a:pt x="21234" y="108"/>
                </a:moveTo>
                <a:cubicBezTo>
                  <a:pt x="21123" y="36"/>
                  <a:pt x="20996" y="0"/>
                  <a:pt x="20869" y="0"/>
                </a:cubicBezTo>
                <a:cubicBezTo>
                  <a:pt x="20739" y="0"/>
                  <a:pt x="20609" y="37"/>
                  <a:pt x="20496" y="113"/>
                </a:cubicBezTo>
                <a:lnTo>
                  <a:pt x="299" y="13613"/>
                </a:lnTo>
                <a:cubicBezTo>
                  <a:pt x="91" y="13752"/>
                  <a:pt x="-23" y="13996"/>
                  <a:pt x="3" y="14245"/>
                </a:cubicBezTo>
                <a:cubicBezTo>
                  <a:pt x="29" y="14494"/>
                  <a:pt x="190" y="14709"/>
                  <a:pt x="423" y="14801"/>
                </a:cubicBezTo>
                <a:lnTo>
                  <a:pt x="5690" y="16915"/>
                </a:lnTo>
                <a:lnTo>
                  <a:pt x="8167" y="21260"/>
                </a:lnTo>
                <a:cubicBezTo>
                  <a:pt x="8285" y="21468"/>
                  <a:pt x="8505" y="21597"/>
                  <a:pt x="8744" y="21600"/>
                </a:cubicBezTo>
                <a:lnTo>
                  <a:pt x="8751" y="21600"/>
                </a:lnTo>
                <a:cubicBezTo>
                  <a:pt x="8987" y="21600"/>
                  <a:pt x="9207" y="21475"/>
                  <a:pt x="9329" y="21272"/>
                </a:cubicBezTo>
                <a:lnTo>
                  <a:pt x="10727" y="18934"/>
                </a:lnTo>
                <a:lnTo>
                  <a:pt x="17253" y="21551"/>
                </a:lnTo>
                <a:cubicBezTo>
                  <a:pt x="17333" y="21584"/>
                  <a:pt x="17418" y="21600"/>
                  <a:pt x="17503" y="21600"/>
                </a:cubicBezTo>
                <a:cubicBezTo>
                  <a:pt x="17617" y="21600"/>
                  <a:pt x="17731" y="21571"/>
                  <a:pt x="17833" y="21513"/>
                </a:cubicBezTo>
                <a:cubicBezTo>
                  <a:pt x="18010" y="21413"/>
                  <a:pt x="18134" y="21238"/>
                  <a:pt x="18167" y="21036"/>
                </a:cubicBezTo>
                <a:lnTo>
                  <a:pt x="21533" y="786"/>
                </a:lnTo>
                <a:cubicBezTo>
                  <a:pt x="21577" y="521"/>
                  <a:pt x="21460" y="254"/>
                  <a:pt x="21234" y="10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/>
          </a:p>
        </p:txBody>
      </p:sp>
      <p:grpSp>
        <p:nvGrpSpPr>
          <p:cNvPr id="374" name="Group 37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4232658" y="2499113"/>
            <a:ext cx="279401" cy="266701"/>
            <a:chOff x="0" y="0"/>
            <a:chExt cx="558800" cy="533400"/>
          </a:xfrm>
          <a:solidFill>
            <a:schemeClr val="accent2"/>
          </a:solidFill>
        </p:grpSpPr>
        <p:sp>
          <p:nvSpPr>
            <p:cNvPr id="372" name="Shape 372"/>
            <p:cNvSpPr/>
            <p:nvPr/>
          </p:nvSpPr>
          <p:spPr>
            <a:xfrm>
              <a:off x="69850" y="71128"/>
              <a:ext cx="419101" cy="284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00" y="20255"/>
                  </a:moveTo>
                  <a:lnTo>
                    <a:pt x="900" y="20255"/>
                  </a:lnTo>
                  <a:lnTo>
                    <a:pt x="900" y="1350"/>
                  </a:lnTo>
                  <a:lnTo>
                    <a:pt x="20700" y="1350"/>
                  </a:lnTo>
                  <a:cubicBezTo>
                    <a:pt x="20700" y="1350"/>
                    <a:pt x="20700" y="20255"/>
                    <a:pt x="20700" y="20255"/>
                  </a:cubicBezTo>
                  <a:close/>
                  <a:moveTo>
                    <a:pt x="20700" y="0"/>
                  </a:moveTo>
                  <a:lnTo>
                    <a:pt x="900" y="5"/>
                  </a:lnTo>
                  <a:cubicBezTo>
                    <a:pt x="403" y="5"/>
                    <a:pt x="0" y="603"/>
                    <a:pt x="0" y="1350"/>
                  </a:cubicBezTo>
                  <a:lnTo>
                    <a:pt x="0" y="20250"/>
                  </a:lnTo>
                  <a:cubicBezTo>
                    <a:pt x="0" y="20996"/>
                    <a:pt x="403" y="21600"/>
                    <a:pt x="900" y="21600"/>
                  </a:cubicBezTo>
                  <a:lnTo>
                    <a:pt x="20700" y="21600"/>
                  </a:lnTo>
                  <a:cubicBezTo>
                    <a:pt x="21197" y="21600"/>
                    <a:pt x="21600" y="20996"/>
                    <a:pt x="21600" y="20250"/>
                  </a:cubicBezTo>
                  <a:lnTo>
                    <a:pt x="21600" y="1350"/>
                  </a:lnTo>
                  <a:cubicBezTo>
                    <a:pt x="21600" y="603"/>
                    <a:pt x="21197" y="0"/>
                    <a:pt x="207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/>
            </a:p>
          </p:txBody>
        </p:sp>
        <p:sp>
          <p:nvSpPr>
            <p:cNvPr id="373" name="Shape 373"/>
            <p:cNvSpPr/>
            <p:nvPr/>
          </p:nvSpPr>
          <p:spPr>
            <a:xfrm>
              <a:off x="0" y="0"/>
              <a:ext cx="558801" cy="533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6562"/>
                  </a:moveTo>
                  <a:cubicBezTo>
                    <a:pt x="20250" y="16959"/>
                    <a:pt x="19947" y="17282"/>
                    <a:pt x="19575" y="17282"/>
                  </a:cubicBezTo>
                  <a:lnTo>
                    <a:pt x="13500" y="17282"/>
                  </a:lnTo>
                  <a:lnTo>
                    <a:pt x="8100" y="17282"/>
                  </a:lnTo>
                  <a:lnTo>
                    <a:pt x="2025" y="17282"/>
                  </a:lnTo>
                  <a:cubicBezTo>
                    <a:pt x="1652" y="17282"/>
                    <a:pt x="1350" y="16959"/>
                    <a:pt x="1350" y="16562"/>
                  </a:cubicBezTo>
                  <a:lnTo>
                    <a:pt x="1350" y="2160"/>
                  </a:lnTo>
                  <a:cubicBezTo>
                    <a:pt x="1350" y="1763"/>
                    <a:pt x="1652" y="1440"/>
                    <a:pt x="2025" y="1440"/>
                  </a:cubicBezTo>
                  <a:lnTo>
                    <a:pt x="19575" y="1440"/>
                  </a:lnTo>
                  <a:cubicBezTo>
                    <a:pt x="19947" y="1440"/>
                    <a:pt x="20250" y="1763"/>
                    <a:pt x="20250" y="2160"/>
                  </a:cubicBezTo>
                  <a:cubicBezTo>
                    <a:pt x="20250" y="2160"/>
                    <a:pt x="20250" y="16562"/>
                    <a:pt x="20250" y="16562"/>
                  </a:cubicBezTo>
                  <a:close/>
                  <a:moveTo>
                    <a:pt x="19575" y="0"/>
                  </a:moveTo>
                  <a:lnTo>
                    <a:pt x="2025" y="0"/>
                  </a:lnTo>
                  <a:cubicBezTo>
                    <a:pt x="906" y="0"/>
                    <a:pt x="0" y="967"/>
                    <a:pt x="0" y="2160"/>
                  </a:cubicBezTo>
                  <a:lnTo>
                    <a:pt x="0" y="16562"/>
                  </a:lnTo>
                  <a:cubicBezTo>
                    <a:pt x="0" y="17753"/>
                    <a:pt x="903" y="18718"/>
                    <a:pt x="2018" y="18722"/>
                  </a:cubicBezTo>
                  <a:lnTo>
                    <a:pt x="8775" y="18722"/>
                  </a:lnTo>
                  <a:lnTo>
                    <a:pt x="8775" y="19597"/>
                  </a:lnTo>
                  <a:lnTo>
                    <a:pt x="4562" y="20181"/>
                  </a:lnTo>
                  <a:cubicBezTo>
                    <a:pt x="4261" y="20262"/>
                    <a:pt x="4050" y="20549"/>
                    <a:pt x="4050" y="20880"/>
                  </a:cubicBezTo>
                  <a:cubicBezTo>
                    <a:pt x="4050" y="21278"/>
                    <a:pt x="4352" y="21600"/>
                    <a:pt x="4725" y="21600"/>
                  </a:cubicBezTo>
                  <a:lnTo>
                    <a:pt x="16875" y="21600"/>
                  </a:lnTo>
                  <a:cubicBezTo>
                    <a:pt x="17248" y="21600"/>
                    <a:pt x="17550" y="21278"/>
                    <a:pt x="17550" y="20880"/>
                  </a:cubicBezTo>
                  <a:cubicBezTo>
                    <a:pt x="17550" y="20549"/>
                    <a:pt x="17339" y="20262"/>
                    <a:pt x="17038" y="20181"/>
                  </a:cubicBezTo>
                  <a:lnTo>
                    <a:pt x="12825" y="19597"/>
                  </a:lnTo>
                  <a:lnTo>
                    <a:pt x="12825" y="18722"/>
                  </a:lnTo>
                  <a:lnTo>
                    <a:pt x="19582" y="18722"/>
                  </a:lnTo>
                  <a:cubicBezTo>
                    <a:pt x="20697" y="18718"/>
                    <a:pt x="21600" y="17753"/>
                    <a:pt x="21600" y="16562"/>
                  </a:cubicBezTo>
                  <a:lnTo>
                    <a:pt x="21600" y="2160"/>
                  </a:lnTo>
                  <a:cubicBezTo>
                    <a:pt x="21600" y="967"/>
                    <a:pt x="20693" y="0"/>
                    <a:pt x="19575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/>
            </a:p>
          </p:txBody>
        </p:sp>
      </p:grpSp>
      <p:grpSp>
        <p:nvGrpSpPr>
          <p:cNvPr id="379" name="Group 37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6124431" y="2199034"/>
            <a:ext cx="298451" cy="254001"/>
            <a:chOff x="0" y="0"/>
            <a:chExt cx="596900" cy="508000"/>
          </a:xfrm>
          <a:solidFill>
            <a:schemeClr val="accent2"/>
          </a:solidFill>
        </p:grpSpPr>
        <p:sp>
          <p:nvSpPr>
            <p:cNvPr id="375" name="Shape 375"/>
            <p:cNvSpPr/>
            <p:nvPr/>
          </p:nvSpPr>
          <p:spPr>
            <a:xfrm>
              <a:off x="223835" y="206970"/>
              <a:ext cx="83940" cy="846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00" y="0"/>
                  </a:moveTo>
                  <a:cubicBezTo>
                    <a:pt x="8597" y="0"/>
                    <a:pt x="0" y="8597"/>
                    <a:pt x="0" y="19195"/>
                  </a:cubicBezTo>
                  <a:lnTo>
                    <a:pt x="0" y="19200"/>
                  </a:lnTo>
                  <a:cubicBezTo>
                    <a:pt x="0" y="20524"/>
                    <a:pt x="1069" y="21600"/>
                    <a:pt x="2400" y="21600"/>
                  </a:cubicBezTo>
                  <a:cubicBezTo>
                    <a:pt x="3722" y="21600"/>
                    <a:pt x="4800" y="20524"/>
                    <a:pt x="4800" y="19200"/>
                  </a:cubicBezTo>
                  <a:lnTo>
                    <a:pt x="4800" y="19195"/>
                  </a:lnTo>
                  <a:cubicBezTo>
                    <a:pt x="4800" y="11248"/>
                    <a:pt x="11241" y="4800"/>
                    <a:pt x="19200" y="4800"/>
                  </a:cubicBezTo>
                  <a:cubicBezTo>
                    <a:pt x="20522" y="4800"/>
                    <a:pt x="21600" y="3724"/>
                    <a:pt x="21600" y="2400"/>
                  </a:cubicBezTo>
                  <a:cubicBezTo>
                    <a:pt x="21600" y="1076"/>
                    <a:pt x="20522" y="0"/>
                    <a:pt x="192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/>
            </a:p>
          </p:txBody>
        </p:sp>
        <p:grpSp>
          <p:nvGrpSpPr>
            <p:cNvPr id="378" name="Group 378"/>
            <p:cNvGrpSpPr/>
            <p:nvPr/>
          </p:nvGrpSpPr>
          <p:grpSpPr>
            <a:xfrm>
              <a:off x="0" y="0"/>
              <a:ext cx="596901" cy="508001"/>
              <a:chOff x="0" y="0"/>
              <a:chExt cx="596900" cy="508000"/>
            </a:xfrm>
            <a:grpFill/>
          </p:grpSpPr>
          <p:sp>
            <p:nvSpPr>
              <p:cNvPr id="376" name="Shape 376"/>
              <p:cNvSpPr/>
              <p:nvPr/>
            </p:nvSpPr>
            <p:spPr>
              <a:xfrm>
                <a:off x="149226" y="131708"/>
                <a:ext cx="298451" cy="3010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949" y="16070"/>
                    </a:moveTo>
                    <a:cubicBezTo>
                      <a:pt x="14038" y="19468"/>
                      <a:pt x="8925" y="19860"/>
                      <a:pt x="5529" y="16949"/>
                    </a:cubicBezTo>
                    <a:cubicBezTo>
                      <a:pt x="2130" y="14039"/>
                      <a:pt x="1740" y="8925"/>
                      <a:pt x="4651" y="5528"/>
                    </a:cubicBezTo>
                    <a:cubicBezTo>
                      <a:pt x="7559" y="2131"/>
                      <a:pt x="12675" y="1740"/>
                      <a:pt x="16071" y="4651"/>
                    </a:cubicBezTo>
                    <a:cubicBezTo>
                      <a:pt x="19467" y="7560"/>
                      <a:pt x="19860" y="12673"/>
                      <a:pt x="16949" y="16070"/>
                    </a:cubicBezTo>
                    <a:moveTo>
                      <a:pt x="10800" y="0"/>
                    </a:moveTo>
                    <a:cubicBezTo>
                      <a:pt x="4833" y="0"/>
                      <a:pt x="0" y="4834"/>
                      <a:pt x="0" y="10800"/>
                    </a:cubicBezTo>
                    <a:cubicBezTo>
                      <a:pt x="0" y="16766"/>
                      <a:pt x="4833" y="21600"/>
                      <a:pt x="10800" y="21600"/>
                    </a:cubicBezTo>
                    <a:cubicBezTo>
                      <a:pt x="16764" y="21600"/>
                      <a:pt x="21600" y="16766"/>
                      <a:pt x="21600" y="10800"/>
                    </a:cubicBezTo>
                    <a:cubicBezTo>
                      <a:pt x="21600" y="4834"/>
                      <a:pt x="16764" y="0"/>
                      <a:pt x="10800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/>
              <a:p>
                <a:pPr defTabSz="2286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3600"/>
              </a:p>
            </p:txBody>
          </p:sp>
          <p:sp>
            <p:nvSpPr>
              <p:cNvPr id="377" name="Shape 377"/>
              <p:cNvSpPr/>
              <p:nvPr/>
            </p:nvSpPr>
            <p:spPr>
              <a:xfrm>
                <a:off x="0" y="0"/>
                <a:ext cx="596901" cy="5080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250" y="19200"/>
                    </a:moveTo>
                    <a:cubicBezTo>
                      <a:pt x="20250" y="19642"/>
                      <a:pt x="19948" y="20000"/>
                      <a:pt x="19575" y="20000"/>
                    </a:cubicBezTo>
                    <a:lnTo>
                      <a:pt x="2025" y="20000"/>
                    </a:lnTo>
                    <a:cubicBezTo>
                      <a:pt x="1652" y="20000"/>
                      <a:pt x="1350" y="19642"/>
                      <a:pt x="1350" y="19200"/>
                    </a:cubicBezTo>
                    <a:lnTo>
                      <a:pt x="1350" y="7200"/>
                    </a:lnTo>
                    <a:cubicBezTo>
                      <a:pt x="1350" y="6809"/>
                      <a:pt x="1589" y="6475"/>
                      <a:pt x="1914" y="6412"/>
                    </a:cubicBezTo>
                    <a:lnTo>
                      <a:pt x="5589" y="5685"/>
                    </a:lnTo>
                    <a:lnTo>
                      <a:pt x="6797" y="2103"/>
                    </a:lnTo>
                    <a:cubicBezTo>
                      <a:pt x="6900" y="1799"/>
                      <a:pt x="7148" y="1600"/>
                      <a:pt x="7425" y="1600"/>
                    </a:cubicBezTo>
                    <a:lnTo>
                      <a:pt x="14175" y="1600"/>
                    </a:lnTo>
                    <a:cubicBezTo>
                      <a:pt x="14450" y="1600"/>
                      <a:pt x="14698" y="1799"/>
                      <a:pt x="14801" y="2103"/>
                    </a:cubicBezTo>
                    <a:lnTo>
                      <a:pt x="16010" y="5685"/>
                    </a:lnTo>
                    <a:lnTo>
                      <a:pt x="19686" y="6412"/>
                    </a:lnTo>
                    <a:cubicBezTo>
                      <a:pt x="20011" y="6475"/>
                      <a:pt x="20250" y="6809"/>
                      <a:pt x="20250" y="7200"/>
                    </a:cubicBezTo>
                    <a:cubicBezTo>
                      <a:pt x="20250" y="7200"/>
                      <a:pt x="20250" y="19200"/>
                      <a:pt x="20250" y="19200"/>
                    </a:cubicBezTo>
                    <a:close/>
                    <a:moveTo>
                      <a:pt x="19907" y="4833"/>
                    </a:moveTo>
                    <a:lnTo>
                      <a:pt x="16982" y="4254"/>
                    </a:lnTo>
                    <a:lnTo>
                      <a:pt x="16055" y="1508"/>
                    </a:lnTo>
                    <a:cubicBezTo>
                      <a:pt x="15745" y="591"/>
                      <a:pt x="15007" y="0"/>
                      <a:pt x="14175" y="0"/>
                    </a:cubicBezTo>
                    <a:lnTo>
                      <a:pt x="7425" y="0"/>
                    </a:lnTo>
                    <a:cubicBezTo>
                      <a:pt x="6593" y="0"/>
                      <a:pt x="5855" y="591"/>
                      <a:pt x="5544" y="1509"/>
                    </a:cubicBezTo>
                    <a:lnTo>
                      <a:pt x="4618" y="4254"/>
                    </a:lnTo>
                    <a:lnTo>
                      <a:pt x="1693" y="4833"/>
                    </a:lnTo>
                    <a:cubicBezTo>
                      <a:pt x="712" y="5026"/>
                      <a:pt x="0" y="6021"/>
                      <a:pt x="0" y="7200"/>
                    </a:cubicBezTo>
                    <a:lnTo>
                      <a:pt x="0" y="19200"/>
                    </a:lnTo>
                    <a:cubicBezTo>
                      <a:pt x="0" y="20523"/>
                      <a:pt x="908" y="21600"/>
                      <a:pt x="2025" y="21600"/>
                    </a:cubicBezTo>
                    <a:lnTo>
                      <a:pt x="19575" y="21600"/>
                    </a:lnTo>
                    <a:cubicBezTo>
                      <a:pt x="20692" y="21600"/>
                      <a:pt x="21600" y="20523"/>
                      <a:pt x="21600" y="19200"/>
                    </a:cubicBezTo>
                    <a:lnTo>
                      <a:pt x="21600" y="7200"/>
                    </a:lnTo>
                    <a:cubicBezTo>
                      <a:pt x="21600" y="6021"/>
                      <a:pt x="20888" y="5026"/>
                      <a:pt x="19907" y="4833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/>
              <a:p>
                <a:pPr defTabSz="2286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3600"/>
              </a:p>
            </p:txBody>
          </p:sp>
        </p:grpSp>
      </p:grpSp>
      <p:grpSp>
        <p:nvGrpSpPr>
          <p:cNvPr id="382" name="Group 38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2319784" y="2755127"/>
            <a:ext cx="222251" cy="317501"/>
            <a:chOff x="0" y="0"/>
            <a:chExt cx="444500" cy="635000"/>
          </a:xfrm>
          <a:solidFill>
            <a:schemeClr val="accent4">
              <a:lumMod val="75000"/>
            </a:schemeClr>
          </a:solidFill>
        </p:grpSpPr>
        <p:sp>
          <p:nvSpPr>
            <p:cNvPr id="380" name="Shape 380"/>
            <p:cNvSpPr/>
            <p:nvPr/>
          </p:nvSpPr>
          <p:spPr>
            <a:xfrm>
              <a:off x="0" y="0"/>
              <a:ext cx="444500" cy="635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387" y="14175"/>
                  </a:moveTo>
                  <a:lnTo>
                    <a:pt x="6224" y="14175"/>
                  </a:lnTo>
                  <a:cubicBezTo>
                    <a:pt x="5735" y="13447"/>
                    <a:pt x="5148" y="12717"/>
                    <a:pt x="4569" y="12004"/>
                  </a:cubicBezTo>
                  <a:cubicBezTo>
                    <a:pt x="3288" y="10428"/>
                    <a:pt x="1964" y="8797"/>
                    <a:pt x="1964" y="7425"/>
                  </a:cubicBezTo>
                  <a:cubicBezTo>
                    <a:pt x="1964" y="4075"/>
                    <a:pt x="5927" y="1350"/>
                    <a:pt x="10800" y="1350"/>
                  </a:cubicBezTo>
                  <a:cubicBezTo>
                    <a:pt x="15673" y="1350"/>
                    <a:pt x="19636" y="4075"/>
                    <a:pt x="19636" y="7425"/>
                  </a:cubicBezTo>
                  <a:cubicBezTo>
                    <a:pt x="19636" y="8787"/>
                    <a:pt x="18312" y="10426"/>
                    <a:pt x="17029" y="12012"/>
                  </a:cubicBezTo>
                  <a:cubicBezTo>
                    <a:pt x="16455" y="12723"/>
                    <a:pt x="15873" y="13450"/>
                    <a:pt x="15387" y="14175"/>
                  </a:cubicBezTo>
                  <a:moveTo>
                    <a:pt x="10800" y="20250"/>
                  </a:moveTo>
                  <a:cubicBezTo>
                    <a:pt x="9806" y="20250"/>
                    <a:pt x="9347" y="20172"/>
                    <a:pt x="8839" y="19406"/>
                  </a:cubicBezTo>
                  <a:lnTo>
                    <a:pt x="13000" y="19049"/>
                  </a:lnTo>
                  <a:cubicBezTo>
                    <a:pt x="12398" y="20164"/>
                    <a:pt x="11959" y="20250"/>
                    <a:pt x="10800" y="20250"/>
                  </a:cubicBezTo>
                  <a:moveTo>
                    <a:pt x="7596" y="16813"/>
                  </a:moveTo>
                  <a:cubicBezTo>
                    <a:pt x="7417" y="16407"/>
                    <a:pt x="7216" y="15979"/>
                    <a:pt x="6992" y="15525"/>
                  </a:cubicBezTo>
                  <a:lnTo>
                    <a:pt x="14616" y="15525"/>
                  </a:lnTo>
                  <a:cubicBezTo>
                    <a:pt x="14496" y="15767"/>
                    <a:pt x="14375" y="16010"/>
                    <a:pt x="14271" y="16240"/>
                  </a:cubicBezTo>
                  <a:cubicBezTo>
                    <a:pt x="14271" y="16240"/>
                    <a:pt x="7596" y="16813"/>
                    <a:pt x="7596" y="16813"/>
                  </a:cubicBezTo>
                  <a:close/>
                  <a:moveTo>
                    <a:pt x="13346" y="18344"/>
                  </a:moveTo>
                  <a:lnTo>
                    <a:pt x="8477" y="18762"/>
                  </a:lnTo>
                  <a:cubicBezTo>
                    <a:pt x="8303" y="18416"/>
                    <a:pt x="8116" y="18012"/>
                    <a:pt x="7890" y="17484"/>
                  </a:cubicBezTo>
                  <a:cubicBezTo>
                    <a:pt x="7887" y="17478"/>
                    <a:pt x="7883" y="17470"/>
                    <a:pt x="7881" y="17463"/>
                  </a:cubicBezTo>
                  <a:lnTo>
                    <a:pt x="13957" y="16941"/>
                  </a:lnTo>
                  <a:cubicBezTo>
                    <a:pt x="13871" y="17141"/>
                    <a:pt x="13778" y="17350"/>
                    <a:pt x="13698" y="17537"/>
                  </a:cubicBezTo>
                  <a:cubicBezTo>
                    <a:pt x="13570" y="17841"/>
                    <a:pt x="13454" y="18104"/>
                    <a:pt x="13346" y="18344"/>
                  </a:cubicBezTo>
                  <a:moveTo>
                    <a:pt x="10800" y="0"/>
                  </a:moveTo>
                  <a:cubicBezTo>
                    <a:pt x="4835" y="0"/>
                    <a:pt x="0" y="3324"/>
                    <a:pt x="0" y="7425"/>
                  </a:cubicBezTo>
                  <a:cubicBezTo>
                    <a:pt x="0" y="10146"/>
                    <a:pt x="3621" y="13030"/>
                    <a:pt x="4940" y="15562"/>
                  </a:cubicBezTo>
                  <a:cubicBezTo>
                    <a:pt x="6906" y="19339"/>
                    <a:pt x="6689" y="21600"/>
                    <a:pt x="10800" y="21600"/>
                  </a:cubicBezTo>
                  <a:cubicBezTo>
                    <a:pt x="14973" y="21600"/>
                    <a:pt x="14693" y="19350"/>
                    <a:pt x="16660" y="15578"/>
                  </a:cubicBezTo>
                  <a:cubicBezTo>
                    <a:pt x="17983" y="13040"/>
                    <a:pt x="21600" y="10125"/>
                    <a:pt x="21600" y="7425"/>
                  </a:cubicBezTo>
                  <a:cubicBezTo>
                    <a:pt x="21600" y="3324"/>
                    <a:pt x="16765" y="0"/>
                    <a:pt x="108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/>
            </a:p>
          </p:txBody>
        </p:sp>
        <p:sp>
          <p:nvSpPr>
            <p:cNvPr id="381" name="Shape 381"/>
            <p:cNvSpPr/>
            <p:nvPr/>
          </p:nvSpPr>
          <p:spPr>
            <a:xfrm>
              <a:off x="101022" y="99217"/>
              <a:ext cx="131330" cy="1289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38" y="0"/>
                  </a:moveTo>
                  <a:cubicBezTo>
                    <a:pt x="8944" y="0"/>
                    <a:pt x="0" y="8942"/>
                    <a:pt x="0" y="19938"/>
                  </a:cubicBezTo>
                  <a:cubicBezTo>
                    <a:pt x="0" y="20855"/>
                    <a:pt x="743" y="21600"/>
                    <a:pt x="1662" y="21600"/>
                  </a:cubicBezTo>
                  <a:cubicBezTo>
                    <a:pt x="2580" y="21600"/>
                    <a:pt x="3323" y="20855"/>
                    <a:pt x="3323" y="19938"/>
                  </a:cubicBezTo>
                  <a:cubicBezTo>
                    <a:pt x="3323" y="10777"/>
                    <a:pt x="10777" y="3323"/>
                    <a:pt x="19938" y="3323"/>
                  </a:cubicBezTo>
                  <a:cubicBezTo>
                    <a:pt x="20857" y="3323"/>
                    <a:pt x="21600" y="2578"/>
                    <a:pt x="21600" y="1662"/>
                  </a:cubicBezTo>
                  <a:cubicBezTo>
                    <a:pt x="21600" y="745"/>
                    <a:pt x="20857" y="0"/>
                    <a:pt x="199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/>
            </a:p>
          </p:txBody>
        </p:sp>
      </p:grpSp>
      <p:sp>
        <p:nvSpPr>
          <p:cNvPr id="383" name="Shape 38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317750" y="3377437"/>
            <a:ext cx="1873250" cy="420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1900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Vestibulum id ligula et porta felis euismolore. </a:t>
            </a:r>
          </a:p>
        </p:txBody>
      </p:sp>
      <p:sp>
        <p:nvSpPr>
          <p:cNvPr id="384" name="Shape 38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324100" y="3152271"/>
            <a:ext cx="1485900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500" b="1">
                <a:solidFill>
                  <a:srgbClr val="5B62C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200" b="0" dirty="0">
                <a:solidFill>
                  <a:schemeClr val="accent4">
                    <a:lumMod val="75000"/>
                  </a:schemeClr>
                </a:solidFill>
                <a:latin typeface="+mn-lt"/>
              </a:rPr>
              <a:t>Add text here</a:t>
            </a:r>
          </a:p>
        </p:txBody>
      </p:sp>
      <p:sp>
        <p:nvSpPr>
          <p:cNvPr id="385" name="Shape 38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235450" y="3059937"/>
            <a:ext cx="1873250" cy="420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1900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Vestibulum id ligula et porta felis euismolore. </a:t>
            </a:r>
          </a:p>
        </p:txBody>
      </p:sp>
      <p:sp>
        <p:nvSpPr>
          <p:cNvPr id="386" name="Shape 38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241800" y="2834771"/>
            <a:ext cx="1485900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500" b="1">
                <a:solidFill>
                  <a:srgbClr val="2DCBA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200" b="0">
                <a:solidFill>
                  <a:schemeClr val="accent2"/>
                </a:solidFill>
                <a:latin typeface="+mn-lt"/>
              </a:rPr>
              <a:t>Add text here</a:t>
            </a:r>
          </a:p>
        </p:txBody>
      </p:sp>
      <p:sp>
        <p:nvSpPr>
          <p:cNvPr id="387" name="Shape 38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108700" y="2767837"/>
            <a:ext cx="1873250" cy="420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1900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Vestibulum id ligula et porta felis euismolore. </a:t>
            </a:r>
          </a:p>
        </p:txBody>
      </p:sp>
      <p:sp>
        <p:nvSpPr>
          <p:cNvPr id="388" name="Shape 38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115050" y="2542671"/>
            <a:ext cx="1485900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500" b="1">
                <a:solidFill>
                  <a:srgbClr val="2DCBA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200" b="0" dirty="0">
                <a:solidFill>
                  <a:schemeClr val="accent2"/>
                </a:solidFill>
                <a:latin typeface="+mn-lt"/>
              </a:rPr>
              <a:t>Add text here</a:t>
            </a:r>
          </a:p>
        </p:txBody>
      </p:sp>
      <p:sp>
        <p:nvSpPr>
          <p:cNvPr id="389" name="Shape 38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026400" y="2450337"/>
            <a:ext cx="1873250" cy="420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1900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Vestibulum id ligula et porta felis euismolore. </a:t>
            </a:r>
          </a:p>
        </p:txBody>
      </p:sp>
      <p:sp>
        <p:nvSpPr>
          <p:cNvPr id="390" name="Shape 39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032750" y="2225171"/>
            <a:ext cx="1485900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500" b="1">
                <a:solidFill>
                  <a:srgbClr val="42A3E8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200" b="0">
                <a:solidFill>
                  <a:schemeClr val="accent1"/>
                </a:solidFill>
                <a:latin typeface="+mn-lt"/>
              </a:rPr>
              <a:t>Add text here</a:t>
            </a:r>
          </a:p>
        </p:txBody>
      </p:sp>
      <p:sp>
        <p:nvSpPr>
          <p:cNvPr id="391" name="Shape 39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899650" y="2158237"/>
            <a:ext cx="1873250" cy="420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1900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Vestibulum id ligula et porta felis euismolore. </a:t>
            </a:r>
          </a:p>
        </p:txBody>
      </p:sp>
      <p:sp>
        <p:nvSpPr>
          <p:cNvPr id="392" name="Shape 39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906000" y="1933071"/>
            <a:ext cx="1485900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500" b="1">
                <a:solidFill>
                  <a:srgbClr val="42A3E8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200" b="0" dirty="0">
                <a:solidFill>
                  <a:schemeClr val="accent1"/>
                </a:solidFill>
                <a:latin typeface="+mn-lt"/>
              </a:rPr>
              <a:t>Add text here</a:t>
            </a:r>
          </a:p>
        </p:txBody>
      </p:sp>
      <p:sp>
        <p:nvSpPr>
          <p:cNvPr id="393" name="Shape 39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28600" y="4892170"/>
            <a:ext cx="1485900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2017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94" name="Shape 39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101850" y="4892171"/>
            <a:ext cx="1485900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2018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95" name="Shape 39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019550" y="4892171"/>
            <a:ext cx="1485900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2019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96" name="Shape 39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949950" y="4892171"/>
            <a:ext cx="1485900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2020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97" name="Shape 39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880350" y="4892171"/>
            <a:ext cx="1485900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2021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98" name="Shape 39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798050" y="4892171"/>
            <a:ext cx="1485900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2022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99" name="Shape 39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645900" y="4888995"/>
            <a:ext cx="1485900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2023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400" name="Shape 40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686300" y="4434971"/>
            <a:ext cx="1373709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1900">
                <a:solidFill>
                  <a:srgbClr val="7A7A7A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lorem ipsum dolor</a:t>
            </a:r>
          </a:p>
        </p:txBody>
      </p:sp>
      <p:sp>
        <p:nvSpPr>
          <p:cNvPr id="401" name="Shape 40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0900" y="4434970"/>
            <a:ext cx="1373709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1900">
                <a:solidFill>
                  <a:srgbClr val="7A7A7A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lorem</a:t>
            </a:r>
            <a:r>
              <a:rPr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</a:t>
            </a:r>
            <a:r>
              <a:rPr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ipsum</a:t>
            </a:r>
            <a:r>
              <a:rPr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dolor</a:t>
            </a:r>
          </a:p>
        </p:txBody>
      </p:sp>
      <p:sp>
        <p:nvSpPr>
          <p:cNvPr id="402" name="Shape 40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752127" y="4434971"/>
            <a:ext cx="1373709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1900">
                <a:solidFill>
                  <a:srgbClr val="7A7A7A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lorem ipsum dolor</a:t>
            </a:r>
          </a:p>
        </p:txBody>
      </p:sp>
      <p:sp>
        <p:nvSpPr>
          <p:cNvPr id="403" name="Shape 40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59800" y="4434971"/>
            <a:ext cx="1373709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1900">
                <a:solidFill>
                  <a:srgbClr val="7A7A7A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lorem ipsum dolor</a:t>
            </a:r>
          </a:p>
        </p:txBody>
      </p:sp>
      <p:sp>
        <p:nvSpPr>
          <p:cNvPr id="404" name="Shape 40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623050" y="4434971"/>
            <a:ext cx="1373709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1900">
                <a:solidFill>
                  <a:srgbClr val="7A7A7A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lorem ipsum dolor</a:t>
            </a:r>
          </a:p>
        </p:txBody>
      </p:sp>
      <p:sp>
        <p:nvSpPr>
          <p:cNvPr id="405" name="Shape 40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458450" y="4434971"/>
            <a:ext cx="1373709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1900">
                <a:solidFill>
                  <a:srgbClr val="7A7A7A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lorem ipsum dolor</a:t>
            </a:r>
          </a:p>
        </p:txBody>
      </p:sp>
      <p:sp>
        <p:nvSpPr>
          <p:cNvPr id="63" name="Shape 3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89632" y="645426"/>
            <a:ext cx="2791718" cy="6052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defRPr sz="4000" b="1">
                <a:solidFill>
                  <a:srgbClr val="232323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600" b="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Timeline</a:t>
            </a:r>
          </a:p>
        </p:txBody>
      </p:sp>
      <p:sp>
        <p:nvSpPr>
          <p:cNvPr id="3" name="十字形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1059131">
            <a:off x="3063354" y="5327194"/>
            <a:ext cx="276465" cy="276465"/>
          </a:xfrm>
          <a:prstGeom prst="plus">
            <a:avLst>
              <a:gd name="adj" fmla="val 40625"/>
            </a:avLst>
          </a:prstGeom>
          <a:gradFill>
            <a:gsLst>
              <a:gs pos="0">
                <a:schemeClr val="accent4"/>
              </a:gs>
              <a:gs pos="100000">
                <a:schemeClr val="accent6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椭圆 6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68104" y="5936147"/>
            <a:ext cx="445477" cy="445477"/>
          </a:xfrm>
          <a:prstGeom prst="ellipse">
            <a:avLst/>
          </a:prstGeom>
          <a:noFill/>
          <a:ln w="476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e7d195523061f1c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 hidden="1"/>
          <p:cNvSpPr txBox="1"/>
          <p:nvPr/>
        </p:nvSpPr>
        <p:spPr>
          <a:xfrm>
            <a:off x="-355600" y="1803400"/>
            <a:ext cx="329642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240235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653257F8-0C96-4530-8E91-F5AD2F687A53}"/>
              </a:ext>
            </a:extLst>
          </p:cNvPr>
          <p:cNvGrpSpPr/>
          <p:nvPr/>
        </p:nvGrpSpPr>
        <p:grpSpPr>
          <a:xfrm>
            <a:off x="4241106" y="813752"/>
            <a:ext cx="2095578" cy="3907643"/>
            <a:chOff x="6770688" y="1302003"/>
            <a:chExt cx="3352925" cy="6252228"/>
          </a:xfrm>
        </p:grpSpPr>
        <p:grpSp>
          <p:nvGrpSpPr>
            <p:cNvPr id="21" name="Group 4">
              <a:extLst>
                <a:ext uri="{FF2B5EF4-FFF2-40B4-BE49-F238E27FC236}">
                  <a16:creationId xmlns:a16="http://schemas.microsoft.com/office/drawing/2014/main" id="{B2602459-A9A0-451F-B876-1212DD0FB2D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flipH="1" flipV="1">
              <a:off x="6770688" y="1302003"/>
              <a:ext cx="3352925" cy="6252228"/>
              <a:chOff x="2012" y="1"/>
              <a:chExt cx="1737" cy="3239"/>
            </a:xfrm>
          </p:grpSpPr>
          <p:sp>
            <p:nvSpPr>
              <p:cNvPr id="22" name="Freeform 5">
                <a:extLst>
                  <a:ext uri="{FF2B5EF4-FFF2-40B4-BE49-F238E27FC236}">
                    <a16:creationId xmlns:a16="http://schemas.microsoft.com/office/drawing/2014/main" id="{51E78782-F7D6-4490-86C3-00F8164405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2" y="2031"/>
                <a:ext cx="1359" cy="1209"/>
              </a:xfrm>
              <a:custGeom>
                <a:avLst/>
                <a:gdLst>
                  <a:gd name="T0" fmla="*/ 1079 w 1359"/>
                  <a:gd name="T1" fmla="*/ 419 h 1209"/>
                  <a:gd name="T2" fmla="*/ 1079 w 1359"/>
                  <a:gd name="T3" fmla="*/ 0 h 1209"/>
                  <a:gd name="T4" fmla="*/ 280 w 1359"/>
                  <a:gd name="T5" fmla="*/ 0 h 1209"/>
                  <a:gd name="T6" fmla="*/ 280 w 1359"/>
                  <a:gd name="T7" fmla="*/ 419 h 1209"/>
                  <a:gd name="T8" fmla="*/ 0 w 1359"/>
                  <a:gd name="T9" fmla="*/ 419 h 1209"/>
                  <a:gd name="T10" fmla="*/ 679 w 1359"/>
                  <a:gd name="T11" fmla="*/ 1209 h 1209"/>
                  <a:gd name="T12" fmla="*/ 1359 w 1359"/>
                  <a:gd name="T13" fmla="*/ 419 h 1209"/>
                  <a:gd name="T14" fmla="*/ 1079 w 1359"/>
                  <a:gd name="T15" fmla="*/ 419 h 1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59" h="1209">
                    <a:moveTo>
                      <a:pt x="1079" y="419"/>
                    </a:moveTo>
                    <a:lnTo>
                      <a:pt x="1079" y="0"/>
                    </a:lnTo>
                    <a:lnTo>
                      <a:pt x="280" y="0"/>
                    </a:lnTo>
                    <a:lnTo>
                      <a:pt x="280" y="419"/>
                    </a:lnTo>
                    <a:lnTo>
                      <a:pt x="0" y="419"/>
                    </a:lnTo>
                    <a:lnTo>
                      <a:pt x="679" y="1209"/>
                    </a:lnTo>
                    <a:lnTo>
                      <a:pt x="1359" y="419"/>
                    </a:lnTo>
                    <a:lnTo>
                      <a:pt x="1079" y="41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667D31E0-30B8-4D67-AF86-0C3DD6689E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2" y="2221"/>
                <a:ext cx="280" cy="229"/>
              </a:xfrm>
              <a:custGeom>
                <a:avLst/>
                <a:gdLst>
                  <a:gd name="T0" fmla="*/ 0 w 280"/>
                  <a:gd name="T1" fmla="*/ 229 h 229"/>
                  <a:gd name="T2" fmla="*/ 280 w 280"/>
                  <a:gd name="T3" fmla="*/ 0 h 229"/>
                  <a:gd name="T4" fmla="*/ 280 w 280"/>
                  <a:gd name="T5" fmla="*/ 229 h 229"/>
                  <a:gd name="T6" fmla="*/ 0 w 280"/>
                  <a:gd name="T7" fmla="*/ 22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0" h="229">
                    <a:moveTo>
                      <a:pt x="0" y="229"/>
                    </a:moveTo>
                    <a:lnTo>
                      <a:pt x="280" y="0"/>
                    </a:lnTo>
                    <a:lnTo>
                      <a:pt x="280" y="229"/>
                    </a:lnTo>
                    <a:lnTo>
                      <a:pt x="0" y="22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95871AD-B187-4C20-8477-B100F8D78F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2141"/>
                <a:ext cx="658" cy="309"/>
              </a:xfrm>
              <a:custGeom>
                <a:avLst/>
                <a:gdLst>
                  <a:gd name="T0" fmla="*/ 0 w 658"/>
                  <a:gd name="T1" fmla="*/ 309 h 309"/>
                  <a:gd name="T2" fmla="*/ 280 w 658"/>
                  <a:gd name="T3" fmla="*/ 309 h 309"/>
                  <a:gd name="T4" fmla="*/ 658 w 658"/>
                  <a:gd name="T5" fmla="*/ 0 h 309"/>
                  <a:gd name="T6" fmla="*/ 377 w 658"/>
                  <a:gd name="T7" fmla="*/ 0 h 309"/>
                  <a:gd name="T8" fmla="*/ 0 w 658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8" h="309">
                    <a:moveTo>
                      <a:pt x="0" y="309"/>
                    </a:moveTo>
                    <a:lnTo>
                      <a:pt x="280" y="309"/>
                    </a:lnTo>
                    <a:lnTo>
                      <a:pt x="658" y="0"/>
                    </a:lnTo>
                    <a:lnTo>
                      <a:pt x="377" y="0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71298719-F33C-4260-9FE2-2D737306BB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2141"/>
                <a:ext cx="658" cy="309"/>
              </a:xfrm>
              <a:custGeom>
                <a:avLst/>
                <a:gdLst>
                  <a:gd name="T0" fmla="*/ 0 w 658"/>
                  <a:gd name="T1" fmla="*/ 309 h 309"/>
                  <a:gd name="T2" fmla="*/ 280 w 658"/>
                  <a:gd name="T3" fmla="*/ 309 h 309"/>
                  <a:gd name="T4" fmla="*/ 658 w 658"/>
                  <a:gd name="T5" fmla="*/ 0 h 309"/>
                  <a:gd name="T6" fmla="*/ 377 w 658"/>
                  <a:gd name="T7" fmla="*/ 0 h 309"/>
                  <a:gd name="T8" fmla="*/ 0 w 658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8" h="309">
                    <a:moveTo>
                      <a:pt x="0" y="309"/>
                    </a:moveTo>
                    <a:lnTo>
                      <a:pt x="280" y="309"/>
                    </a:lnTo>
                    <a:lnTo>
                      <a:pt x="658" y="0"/>
                    </a:lnTo>
                    <a:lnTo>
                      <a:pt x="377" y="0"/>
                    </a:lnTo>
                    <a:lnTo>
                      <a:pt x="0" y="30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16D1BC19-82DF-4E38-88DC-B82C1A1FA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1" y="2141"/>
                <a:ext cx="1058" cy="1099"/>
              </a:xfrm>
              <a:custGeom>
                <a:avLst/>
                <a:gdLst>
                  <a:gd name="T0" fmla="*/ 362 w 1058"/>
                  <a:gd name="T1" fmla="*/ 758 h 1099"/>
                  <a:gd name="T2" fmla="*/ 0 w 1058"/>
                  <a:gd name="T3" fmla="*/ 1099 h 1099"/>
                  <a:gd name="T4" fmla="*/ 680 w 1058"/>
                  <a:gd name="T5" fmla="*/ 309 h 1099"/>
                  <a:gd name="T6" fmla="*/ 1058 w 1058"/>
                  <a:gd name="T7" fmla="*/ 0 h 1099"/>
                  <a:gd name="T8" fmla="*/ 362 w 1058"/>
                  <a:gd name="T9" fmla="*/ 758 h 10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8" h="1099">
                    <a:moveTo>
                      <a:pt x="362" y="758"/>
                    </a:moveTo>
                    <a:lnTo>
                      <a:pt x="0" y="1099"/>
                    </a:lnTo>
                    <a:lnTo>
                      <a:pt x="680" y="309"/>
                    </a:lnTo>
                    <a:lnTo>
                      <a:pt x="1058" y="0"/>
                    </a:lnTo>
                    <a:lnTo>
                      <a:pt x="362" y="758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07016845-BDE6-47F2-A55C-2AEEE4FFD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1" y="2141"/>
                <a:ext cx="1058" cy="1099"/>
              </a:xfrm>
              <a:custGeom>
                <a:avLst/>
                <a:gdLst>
                  <a:gd name="T0" fmla="*/ 362 w 1058"/>
                  <a:gd name="T1" fmla="*/ 758 h 1099"/>
                  <a:gd name="T2" fmla="*/ 0 w 1058"/>
                  <a:gd name="T3" fmla="*/ 1099 h 1099"/>
                  <a:gd name="T4" fmla="*/ 680 w 1058"/>
                  <a:gd name="T5" fmla="*/ 309 h 1099"/>
                  <a:gd name="T6" fmla="*/ 1058 w 1058"/>
                  <a:gd name="T7" fmla="*/ 0 h 1099"/>
                  <a:gd name="T8" fmla="*/ 362 w 1058"/>
                  <a:gd name="T9" fmla="*/ 758 h 10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8" h="1099">
                    <a:moveTo>
                      <a:pt x="362" y="758"/>
                    </a:moveTo>
                    <a:lnTo>
                      <a:pt x="0" y="1099"/>
                    </a:lnTo>
                    <a:lnTo>
                      <a:pt x="680" y="309"/>
                    </a:lnTo>
                    <a:lnTo>
                      <a:pt x="1058" y="0"/>
                    </a:lnTo>
                    <a:lnTo>
                      <a:pt x="362" y="75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FC1CD18F-B54B-4D37-AD22-4DB36B8235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2" y="1722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ED89A3-44F3-42C7-A754-AE3084624B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1722"/>
                <a:ext cx="377" cy="728"/>
              </a:xfrm>
              <a:custGeom>
                <a:avLst/>
                <a:gdLst>
                  <a:gd name="T0" fmla="*/ 377 w 377"/>
                  <a:gd name="T1" fmla="*/ 0 h 728"/>
                  <a:gd name="T2" fmla="*/ 0 w 377"/>
                  <a:gd name="T3" fmla="*/ 309 h 728"/>
                  <a:gd name="T4" fmla="*/ 0 w 377"/>
                  <a:gd name="T5" fmla="*/ 728 h 728"/>
                  <a:gd name="T6" fmla="*/ 377 w 377"/>
                  <a:gd name="T7" fmla="*/ 419 h 728"/>
                  <a:gd name="T8" fmla="*/ 377 w 377"/>
                  <a:gd name="T9" fmla="*/ 0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8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8"/>
                    </a:lnTo>
                    <a:lnTo>
                      <a:pt x="377" y="419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60122ACF-8813-4A0A-8D10-E5A7340D2C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1722"/>
                <a:ext cx="377" cy="728"/>
              </a:xfrm>
              <a:custGeom>
                <a:avLst/>
                <a:gdLst>
                  <a:gd name="T0" fmla="*/ 377 w 377"/>
                  <a:gd name="T1" fmla="*/ 0 h 728"/>
                  <a:gd name="T2" fmla="*/ 0 w 377"/>
                  <a:gd name="T3" fmla="*/ 309 h 728"/>
                  <a:gd name="T4" fmla="*/ 0 w 377"/>
                  <a:gd name="T5" fmla="*/ 728 h 728"/>
                  <a:gd name="T6" fmla="*/ 377 w 377"/>
                  <a:gd name="T7" fmla="*/ 419 h 728"/>
                  <a:gd name="T8" fmla="*/ 377 w 377"/>
                  <a:gd name="T9" fmla="*/ 0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8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8"/>
                    </a:lnTo>
                    <a:lnTo>
                      <a:pt x="377" y="419"/>
                    </a:lnTo>
                    <a:lnTo>
                      <a:pt x="3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9E83D677-E3B2-4AB3-BA8F-F6F16EEDF7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2" y="1149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32" name="Rectangle 15">
                <a:extLst>
                  <a:ext uri="{FF2B5EF4-FFF2-40B4-BE49-F238E27FC236}">
                    <a16:creationId xmlns:a16="http://schemas.microsoft.com/office/drawing/2014/main" id="{D94B7E25-5CBA-4B34-A2F5-C85B5FF73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2" y="1458"/>
                <a:ext cx="799" cy="418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9444FEA4-FED5-42E8-BD52-7960B0EAFF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1149"/>
                <a:ext cx="377" cy="727"/>
              </a:xfrm>
              <a:custGeom>
                <a:avLst/>
                <a:gdLst>
                  <a:gd name="T0" fmla="*/ 377 w 377"/>
                  <a:gd name="T1" fmla="*/ 0 h 727"/>
                  <a:gd name="T2" fmla="*/ 0 w 377"/>
                  <a:gd name="T3" fmla="*/ 309 h 727"/>
                  <a:gd name="T4" fmla="*/ 0 w 377"/>
                  <a:gd name="T5" fmla="*/ 727 h 727"/>
                  <a:gd name="T6" fmla="*/ 377 w 377"/>
                  <a:gd name="T7" fmla="*/ 418 h 727"/>
                  <a:gd name="T8" fmla="*/ 377 w 377"/>
                  <a:gd name="T9" fmla="*/ 0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7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7"/>
                    </a:lnTo>
                    <a:lnTo>
                      <a:pt x="377" y="418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34" name="Freeform 17">
                <a:extLst>
                  <a:ext uri="{FF2B5EF4-FFF2-40B4-BE49-F238E27FC236}">
                    <a16:creationId xmlns:a16="http://schemas.microsoft.com/office/drawing/2014/main" id="{A1834F25-D01F-49DD-AC75-4D29BD295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2" y="575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35" name="Rectangle 18">
                <a:extLst>
                  <a:ext uri="{FF2B5EF4-FFF2-40B4-BE49-F238E27FC236}">
                    <a16:creationId xmlns:a16="http://schemas.microsoft.com/office/drawing/2014/main" id="{2014C36D-A61C-44B3-BE63-8D7DD50BCD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2" y="884"/>
                <a:ext cx="799" cy="419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36" name="Freeform 19">
                <a:extLst>
                  <a:ext uri="{FF2B5EF4-FFF2-40B4-BE49-F238E27FC236}">
                    <a16:creationId xmlns:a16="http://schemas.microsoft.com/office/drawing/2014/main" id="{BF67943A-3F04-4369-A67D-06DCBAD3C6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575"/>
                <a:ext cx="377" cy="728"/>
              </a:xfrm>
              <a:custGeom>
                <a:avLst/>
                <a:gdLst>
                  <a:gd name="T0" fmla="*/ 377 w 377"/>
                  <a:gd name="T1" fmla="*/ 0 h 728"/>
                  <a:gd name="T2" fmla="*/ 0 w 377"/>
                  <a:gd name="T3" fmla="*/ 309 h 728"/>
                  <a:gd name="T4" fmla="*/ 0 w 377"/>
                  <a:gd name="T5" fmla="*/ 728 h 728"/>
                  <a:gd name="T6" fmla="*/ 377 w 377"/>
                  <a:gd name="T7" fmla="*/ 419 h 728"/>
                  <a:gd name="T8" fmla="*/ 377 w 377"/>
                  <a:gd name="T9" fmla="*/ 0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8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8"/>
                    </a:lnTo>
                    <a:lnTo>
                      <a:pt x="377" y="419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37" name="Freeform 20">
                <a:extLst>
                  <a:ext uri="{FF2B5EF4-FFF2-40B4-BE49-F238E27FC236}">
                    <a16:creationId xmlns:a16="http://schemas.microsoft.com/office/drawing/2014/main" id="{985B6847-D461-45A8-B6CB-0BA06D6E43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2" y="1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38" name="Rectangle 21">
                <a:extLst>
                  <a:ext uri="{FF2B5EF4-FFF2-40B4-BE49-F238E27FC236}">
                    <a16:creationId xmlns:a16="http://schemas.microsoft.com/office/drawing/2014/main" id="{A8E700A8-816E-4958-840B-8264EEE28A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2" y="310"/>
                <a:ext cx="799" cy="418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39" name="Freeform 22">
                <a:extLst>
                  <a:ext uri="{FF2B5EF4-FFF2-40B4-BE49-F238E27FC236}">
                    <a16:creationId xmlns:a16="http://schemas.microsoft.com/office/drawing/2014/main" id="{64EDE7E0-667F-4172-B596-55C4ECEDF0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1"/>
                <a:ext cx="377" cy="727"/>
              </a:xfrm>
              <a:custGeom>
                <a:avLst/>
                <a:gdLst>
                  <a:gd name="T0" fmla="*/ 377 w 377"/>
                  <a:gd name="T1" fmla="*/ 0 h 727"/>
                  <a:gd name="T2" fmla="*/ 0 w 377"/>
                  <a:gd name="T3" fmla="*/ 309 h 727"/>
                  <a:gd name="T4" fmla="*/ 0 w 377"/>
                  <a:gd name="T5" fmla="*/ 727 h 727"/>
                  <a:gd name="T6" fmla="*/ 377 w 377"/>
                  <a:gd name="T7" fmla="*/ 418 h 727"/>
                  <a:gd name="T8" fmla="*/ 377 w 377"/>
                  <a:gd name="T9" fmla="*/ 0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7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7"/>
                    </a:lnTo>
                    <a:lnTo>
                      <a:pt x="377" y="418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CBDEF80-0A94-4562-8970-2C95B27EE308}"/>
                </a:ext>
              </a:extLst>
            </p:cNvPr>
            <p:cNvSpPr txBox="1"/>
            <p:nvPr/>
          </p:nvSpPr>
          <p:spPr>
            <a:xfrm>
              <a:off x="8263190" y="2054094"/>
              <a:ext cx="1198187" cy="11326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2500" spc="188" dirty="0">
                  <a:solidFill>
                    <a:schemeClr val="bg1"/>
                  </a:solidFill>
                </a:rPr>
                <a:t>20</a:t>
              </a:r>
            </a:p>
            <a:p>
              <a:pPr algn="ctr">
                <a:lnSpc>
                  <a:spcPct val="80000"/>
                </a:lnSpc>
              </a:pPr>
              <a:r>
                <a:rPr lang="en-US" sz="2500" spc="188" dirty="0">
                  <a:solidFill>
                    <a:schemeClr val="bg1"/>
                  </a:solidFill>
                </a:rPr>
                <a:t>18</a:t>
              </a:r>
            </a:p>
          </p:txBody>
        </p:sp>
      </p:grpSp>
      <p:grpSp>
        <p:nvGrpSpPr>
          <p:cNvPr id="50" name="Group 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C1C97152-F496-43E5-8339-829D95C821B8}"/>
              </a:ext>
            </a:extLst>
          </p:cNvPr>
          <p:cNvGrpSpPr/>
          <p:nvPr/>
        </p:nvGrpSpPr>
        <p:grpSpPr>
          <a:xfrm>
            <a:off x="5855317" y="2136607"/>
            <a:ext cx="2095578" cy="3907643"/>
            <a:chOff x="9353425" y="3418571"/>
            <a:chExt cx="3352925" cy="6252228"/>
          </a:xfrm>
        </p:grpSpPr>
        <p:grpSp>
          <p:nvGrpSpPr>
            <p:cNvPr id="2" name="Group 4">
              <a:extLst>
                <a:ext uri="{FF2B5EF4-FFF2-40B4-BE49-F238E27FC236}">
                  <a16:creationId xmlns:a16="http://schemas.microsoft.com/office/drawing/2014/main" id="{800072DC-020A-429A-9C0C-452AE9D333C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353425" y="3418571"/>
              <a:ext cx="3352925" cy="6252228"/>
              <a:chOff x="2012" y="1"/>
              <a:chExt cx="1737" cy="3239"/>
            </a:xfrm>
          </p:grpSpPr>
          <p:sp>
            <p:nvSpPr>
              <p:cNvPr id="3" name="Freeform 5">
                <a:extLst>
                  <a:ext uri="{FF2B5EF4-FFF2-40B4-BE49-F238E27FC236}">
                    <a16:creationId xmlns:a16="http://schemas.microsoft.com/office/drawing/2014/main" id="{9661C719-37F4-4E0A-AF0E-40DB27006C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2" y="2031"/>
                <a:ext cx="1359" cy="1209"/>
              </a:xfrm>
              <a:custGeom>
                <a:avLst/>
                <a:gdLst>
                  <a:gd name="T0" fmla="*/ 1079 w 1359"/>
                  <a:gd name="T1" fmla="*/ 419 h 1209"/>
                  <a:gd name="T2" fmla="*/ 1079 w 1359"/>
                  <a:gd name="T3" fmla="*/ 0 h 1209"/>
                  <a:gd name="T4" fmla="*/ 280 w 1359"/>
                  <a:gd name="T5" fmla="*/ 0 h 1209"/>
                  <a:gd name="T6" fmla="*/ 280 w 1359"/>
                  <a:gd name="T7" fmla="*/ 419 h 1209"/>
                  <a:gd name="T8" fmla="*/ 0 w 1359"/>
                  <a:gd name="T9" fmla="*/ 419 h 1209"/>
                  <a:gd name="T10" fmla="*/ 679 w 1359"/>
                  <a:gd name="T11" fmla="*/ 1209 h 1209"/>
                  <a:gd name="T12" fmla="*/ 1359 w 1359"/>
                  <a:gd name="T13" fmla="*/ 419 h 1209"/>
                  <a:gd name="T14" fmla="*/ 1079 w 1359"/>
                  <a:gd name="T15" fmla="*/ 419 h 1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59" h="1209">
                    <a:moveTo>
                      <a:pt x="1079" y="419"/>
                    </a:moveTo>
                    <a:lnTo>
                      <a:pt x="1079" y="0"/>
                    </a:lnTo>
                    <a:lnTo>
                      <a:pt x="280" y="0"/>
                    </a:lnTo>
                    <a:lnTo>
                      <a:pt x="280" y="419"/>
                    </a:lnTo>
                    <a:lnTo>
                      <a:pt x="0" y="419"/>
                    </a:lnTo>
                    <a:lnTo>
                      <a:pt x="679" y="1209"/>
                    </a:lnTo>
                    <a:lnTo>
                      <a:pt x="1359" y="419"/>
                    </a:lnTo>
                    <a:lnTo>
                      <a:pt x="1079" y="41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/>
                  </a:gs>
                  <a:gs pos="100000">
                    <a:schemeClr val="accent4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4" name="Freeform 6">
                <a:extLst>
                  <a:ext uri="{FF2B5EF4-FFF2-40B4-BE49-F238E27FC236}">
                    <a16:creationId xmlns:a16="http://schemas.microsoft.com/office/drawing/2014/main" id="{E0E843C0-C0AA-48A1-9B2B-B79A3E0CFB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2" y="2221"/>
                <a:ext cx="280" cy="229"/>
              </a:xfrm>
              <a:custGeom>
                <a:avLst/>
                <a:gdLst>
                  <a:gd name="T0" fmla="*/ 0 w 280"/>
                  <a:gd name="T1" fmla="*/ 229 h 229"/>
                  <a:gd name="T2" fmla="*/ 280 w 280"/>
                  <a:gd name="T3" fmla="*/ 0 h 229"/>
                  <a:gd name="T4" fmla="*/ 280 w 280"/>
                  <a:gd name="T5" fmla="*/ 229 h 229"/>
                  <a:gd name="T6" fmla="*/ 0 w 280"/>
                  <a:gd name="T7" fmla="*/ 22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0" h="229">
                    <a:moveTo>
                      <a:pt x="0" y="229"/>
                    </a:moveTo>
                    <a:lnTo>
                      <a:pt x="280" y="0"/>
                    </a:lnTo>
                    <a:lnTo>
                      <a:pt x="280" y="229"/>
                    </a:lnTo>
                    <a:lnTo>
                      <a:pt x="0" y="22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75000"/>
                    </a:schemeClr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5" name="Freeform 7">
                <a:extLst>
                  <a:ext uri="{FF2B5EF4-FFF2-40B4-BE49-F238E27FC236}">
                    <a16:creationId xmlns:a16="http://schemas.microsoft.com/office/drawing/2014/main" id="{ADF129CE-ADDB-4CA7-8991-639411E5B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2141"/>
                <a:ext cx="658" cy="309"/>
              </a:xfrm>
              <a:custGeom>
                <a:avLst/>
                <a:gdLst>
                  <a:gd name="T0" fmla="*/ 0 w 658"/>
                  <a:gd name="T1" fmla="*/ 309 h 309"/>
                  <a:gd name="T2" fmla="*/ 280 w 658"/>
                  <a:gd name="T3" fmla="*/ 309 h 309"/>
                  <a:gd name="T4" fmla="*/ 658 w 658"/>
                  <a:gd name="T5" fmla="*/ 0 h 309"/>
                  <a:gd name="T6" fmla="*/ 377 w 658"/>
                  <a:gd name="T7" fmla="*/ 0 h 309"/>
                  <a:gd name="T8" fmla="*/ 0 w 658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8" h="309">
                    <a:moveTo>
                      <a:pt x="0" y="309"/>
                    </a:moveTo>
                    <a:lnTo>
                      <a:pt x="280" y="309"/>
                    </a:lnTo>
                    <a:lnTo>
                      <a:pt x="658" y="0"/>
                    </a:lnTo>
                    <a:lnTo>
                      <a:pt x="377" y="0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75000"/>
                    </a:schemeClr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6" name="Freeform 8">
                <a:extLst>
                  <a:ext uri="{FF2B5EF4-FFF2-40B4-BE49-F238E27FC236}">
                    <a16:creationId xmlns:a16="http://schemas.microsoft.com/office/drawing/2014/main" id="{E3719ED8-202B-4ACE-BC3E-98CD73150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2141"/>
                <a:ext cx="658" cy="309"/>
              </a:xfrm>
              <a:custGeom>
                <a:avLst/>
                <a:gdLst>
                  <a:gd name="T0" fmla="*/ 0 w 658"/>
                  <a:gd name="T1" fmla="*/ 309 h 309"/>
                  <a:gd name="T2" fmla="*/ 280 w 658"/>
                  <a:gd name="T3" fmla="*/ 309 h 309"/>
                  <a:gd name="T4" fmla="*/ 658 w 658"/>
                  <a:gd name="T5" fmla="*/ 0 h 309"/>
                  <a:gd name="T6" fmla="*/ 377 w 658"/>
                  <a:gd name="T7" fmla="*/ 0 h 309"/>
                  <a:gd name="T8" fmla="*/ 0 w 658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8" h="309">
                    <a:moveTo>
                      <a:pt x="0" y="309"/>
                    </a:moveTo>
                    <a:lnTo>
                      <a:pt x="280" y="309"/>
                    </a:lnTo>
                    <a:lnTo>
                      <a:pt x="658" y="0"/>
                    </a:lnTo>
                    <a:lnTo>
                      <a:pt x="377" y="0"/>
                    </a:lnTo>
                    <a:lnTo>
                      <a:pt x="0" y="30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7" name="Freeform 9">
                <a:extLst>
                  <a:ext uri="{FF2B5EF4-FFF2-40B4-BE49-F238E27FC236}">
                    <a16:creationId xmlns:a16="http://schemas.microsoft.com/office/drawing/2014/main" id="{52BDFFA6-6BB9-48C9-9DE0-80F49DA65A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1" y="2141"/>
                <a:ext cx="1058" cy="1099"/>
              </a:xfrm>
              <a:custGeom>
                <a:avLst/>
                <a:gdLst>
                  <a:gd name="T0" fmla="*/ 362 w 1058"/>
                  <a:gd name="T1" fmla="*/ 758 h 1099"/>
                  <a:gd name="T2" fmla="*/ 0 w 1058"/>
                  <a:gd name="T3" fmla="*/ 1099 h 1099"/>
                  <a:gd name="T4" fmla="*/ 680 w 1058"/>
                  <a:gd name="T5" fmla="*/ 309 h 1099"/>
                  <a:gd name="T6" fmla="*/ 1058 w 1058"/>
                  <a:gd name="T7" fmla="*/ 0 h 1099"/>
                  <a:gd name="T8" fmla="*/ 362 w 1058"/>
                  <a:gd name="T9" fmla="*/ 758 h 10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8" h="1099">
                    <a:moveTo>
                      <a:pt x="362" y="758"/>
                    </a:moveTo>
                    <a:lnTo>
                      <a:pt x="0" y="1099"/>
                    </a:lnTo>
                    <a:lnTo>
                      <a:pt x="680" y="309"/>
                    </a:lnTo>
                    <a:lnTo>
                      <a:pt x="1058" y="0"/>
                    </a:lnTo>
                    <a:lnTo>
                      <a:pt x="362" y="758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8" name="Freeform 10">
                <a:extLst>
                  <a:ext uri="{FF2B5EF4-FFF2-40B4-BE49-F238E27FC236}">
                    <a16:creationId xmlns:a16="http://schemas.microsoft.com/office/drawing/2014/main" id="{AEFD7254-4F64-485E-8874-E364C5AEF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1" y="2141"/>
                <a:ext cx="1058" cy="1099"/>
              </a:xfrm>
              <a:custGeom>
                <a:avLst/>
                <a:gdLst>
                  <a:gd name="T0" fmla="*/ 362 w 1058"/>
                  <a:gd name="T1" fmla="*/ 758 h 1099"/>
                  <a:gd name="T2" fmla="*/ 0 w 1058"/>
                  <a:gd name="T3" fmla="*/ 1099 h 1099"/>
                  <a:gd name="T4" fmla="*/ 680 w 1058"/>
                  <a:gd name="T5" fmla="*/ 309 h 1099"/>
                  <a:gd name="T6" fmla="*/ 1058 w 1058"/>
                  <a:gd name="T7" fmla="*/ 0 h 1099"/>
                  <a:gd name="T8" fmla="*/ 362 w 1058"/>
                  <a:gd name="T9" fmla="*/ 758 h 10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8" h="1099">
                    <a:moveTo>
                      <a:pt x="362" y="758"/>
                    </a:moveTo>
                    <a:lnTo>
                      <a:pt x="0" y="1099"/>
                    </a:lnTo>
                    <a:lnTo>
                      <a:pt x="680" y="309"/>
                    </a:lnTo>
                    <a:lnTo>
                      <a:pt x="1058" y="0"/>
                    </a:lnTo>
                    <a:lnTo>
                      <a:pt x="362" y="75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9" name="Freeform 11">
                <a:extLst>
                  <a:ext uri="{FF2B5EF4-FFF2-40B4-BE49-F238E27FC236}">
                    <a16:creationId xmlns:a16="http://schemas.microsoft.com/office/drawing/2014/main" id="{76E26137-9862-4A95-93A9-5D335D8752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2" y="1722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60000"/>
                      <a:lumOff val="40000"/>
                    </a:schemeClr>
                  </a:gs>
                  <a:gs pos="100000">
                    <a:schemeClr val="accent4"/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10" name="Freeform 12">
                <a:extLst>
                  <a:ext uri="{FF2B5EF4-FFF2-40B4-BE49-F238E27FC236}">
                    <a16:creationId xmlns:a16="http://schemas.microsoft.com/office/drawing/2014/main" id="{4DDA6059-4BBF-4DEC-BFC2-E14556369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1722"/>
                <a:ext cx="377" cy="728"/>
              </a:xfrm>
              <a:custGeom>
                <a:avLst/>
                <a:gdLst>
                  <a:gd name="T0" fmla="*/ 377 w 377"/>
                  <a:gd name="T1" fmla="*/ 0 h 728"/>
                  <a:gd name="T2" fmla="*/ 0 w 377"/>
                  <a:gd name="T3" fmla="*/ 309 h 728"/>
                  <a:gd name="T4" fmla="*/ 0 w 377"/>
                  <a:gd name="T5" fmla="*/ 728 h 728"/>
                  <a:gd name="T6" fmla="*/ 377 w 377"/>
                  <a:gd name="T7" fmla="*/ 419 h 728"/>
                  <a:gd name="T8" fmla="*/ 377 w 377"/>
                  <a:gd name="T9" fmla="*/ 0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8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8"/>
                    </a:lnTo>
                    <a:lnTo>
                      <a:pt x="377" y="419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75000"/>
                    </a:schemeClr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11" name="Freeform 13">
                <a:extLst>
                  <a:ext uri="{FF2B5EF4-FFF2-40B4-BE49-F238E27FC236}">
                    <a16:creationId xmlns:a16="http://schemas.microsoft.com/office/drawing/2014/main" id="{68DD25FA-06A7-42D7-9DE4-0AC60B8D2B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1722"/>
                <a:ext cx="377" cy="728"/>
              </a:xfrm>
              <a:custGeom>
                <a:avLst/>
                <a:gdLst>
                  <a:gd name="T0" fmla="*/ 377 w 377"/>
                  <a:gd name="T1" fmla="*/ 0 h 728"/>
                  <a:gd name="T2" fmla="*/ 0 w 377"/>
                  <a:gd name="T3" fmla="*/ 309 h 728"/>
                  <a:gd name="T4" fmla="*/ 0 w 377"/>
                  <a:gd name="T5" fmla="*/ 728 h 728"/>
                  <a:gd name="T6" fmla="*/ 377 w 377"/>
                  <a:gd name="T7" fmla="*/ 419 h 728"/>
                  <a:gd name="T8" fmla="*/ 377 w 377"/>
                  <a:gd name="T9" fmla="*/ 0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8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8"/>
                    </a:lnTo>
                    <a:lnTo>
                      <a:pt x="377" y="419"/>
                    </a:lnTo>
                    <a:lnTo>
                      <a:pt x="3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12" name="Freeform 14">
                <a:extLst>
                  <a:ext uri="{FF2B5EF4-FFF2-40B4-BE49-F238E27FC236}">
                    <a16:creationId xmlns:a16="http://schemas.microsoft.com/office/drawing/2014/main" id="{2827F0ED-E402-438B-BE14-0BFC76A331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2" y="1149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60000"/>
                      <a:lumOff val="40000"/>
                    </a:schemeClr>
                  </a:gs>
                  <a:gs pos="100000">
                    <a:schemeClr val="accent4"/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13" name="Rectangle 15">
                <a:extLst>
                  <a:ext uri="{FF2B5EF4-FFF2-40B4-BE49-F238E27FC236}">
                    <a16:creationId xmlns:a16="http://schemas.microsoft.com/office/drawing/2014/main" id="{2AD744C0-3D76-4E9A-A3F7-CA486C4D06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2" y="1458"/>
                <a:ext cx="799" cy="418"/>
              </a:xfrm>
              <a:prstGeom prst="rect">
                <a:avLst/>
              </a:prstGeom>
              <a:gradFill>
                <a:gsLst>
                  <a:gs pos="0">
                    <a:schemeClr val="accent4"/>
                  </a:gs>
                  <a:gs pos="100000">
                    <a:schemeClr val="accent4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14" name="Freeform 16">
                <a:extLst>
                  <a:ext uri="{FF2B5EF4-FFF2-40B4-BE49-F238E27FC236}">
                    <a16:creationId xmlns:a16="http://schemas.microsoft.com/office/drawing/2014/main" id="{54277B98-344A-48AF-B077-A37DB0BB0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1149"/>
                <a:ext cx="377" cy="727"/>
              </a:xfrm>
              <a:custGeom>
                <a:avLst/>
                <a:gdLst>
                  <a:gd name="T0" fmla="*/ 377 w 377"/>
                  <a:gd name="T1" fmla="*/ 0 h 727"/>
                  <a:gd name="T2" fmla="*/ 0 w 377"/>
                  <a:gd name="T3" fmla="*/ 309 h 727"/>
                  <a:gd name="T4" fmla="*/ 0 w 377"/>
                  <a:gd name="T5" fmla="*/ 727 h 727"/>
                  <a:gd name="T6" fmla="*/ 377 w 377"/>
                  <a:gd name="T7" fmla="*/ 418 h 727"/>
                  <a:gd name="T8" fmla="*/ 377 w 377"/>
                  <a:gd name="T9" fmla="*/ 0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7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7"/>
                    </a:lnTo>
                    <a:lnTo>
                      <a:pt x="377" y="418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75000"/>
                    </a:schemeClr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15" name="Freeform 17">
                <a:extLst>
                  <a:ext uri="{FF2B5EF4-FFF2-40B4-BE49-F238E27FC236}">
                    <a16:creationId xmlns:a16="http://schemas.microsoft.com/office/drawing/2014/main" id="{CFD18892-28FF-401C-8BFF-B04F870483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2" y="575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60000"/>
                      <a:lumOff val="40000"/>
                    </a:schemeClr>
                  </a:gs>
                  <a:gs pos="100000">
                    <a:schemeClr val="accent4"/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16" name="Rectangle 18">
                <a:extLst>
                  <a:ext uri="{FF2B5EF4-FFF2-40B4-BE49-F238E27FC236}">
                    <a16:creationId xmlns:a16="http://schemas.microsoft.com/office/drawing/2014/main" id="{1C534AA8-7597-4EDD-AF63-5462E1425A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2" y="884"/>
                <a:ext cx="799" cy="419"/>
              </a:xfrm>
              <a:prstGeom prst="rect">
                <a:avLst/>
              </a:prstGeom>
              <a:gradFill>
                <a:gsLst>
                  <a:gs pos="0">
                    <a:schemeClr val="accent4"/>
                  </a:gs>
                  <a:gs pos="100000">
                    <a:schemeClr val="accent4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17" name="Freeform 19">
                <a:extLst>
                  <a:ext uri="{FF2B5EF4-FFF2-40B4-BE49-F238E27FC236}">
                    <a16:creationId xmlns:a16="http://schemas.microsoft.com/office/drawing/2014/main" id="{16424994-13C9-4214-972D-3B4A229D40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575"/>
                <a:ext cx="377" cy="728"/>
              </a:xfrm>
              <a:custGeom>
                <a:avLst/>
                <a:gdLst>
                  <a:gd name="T0" fmla="*/ 377 w 377"/>
                  <a:gd name="T1" fmla="*/ 0 h 728"/>
                  <a:gd name="T2" fmla="*/ 0 w 377"/>
                  <a:gd name="T3" fmla="*/ 309 h 728"/>
                  <a:gd name="T4" fmla="*/ 0 w 377"/>
                  <a:gd name="T5" fmla="*/ 728 h 728"/>
                  <a:gd name="T6" fmla="*/ 377 w 377"/>
                  <a:gd name="T7" fmla="*/ 419 h 728"/>
                  <a:gd name="T8" fmla="*/ 377 w 377"/>
                  <a:gd name="T9" fmla="*/ 0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8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8"/>
                    </a:lnTo>
                    <a:lnTo>
                      <a:pt x="377" y="419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75000"/>
                    </a:schemeClr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18" name="Freeform 20">
                <a:extLst>
                  <a:ext uri="{FF2B5EF4-FFF2-40B4-BE49-F238E27FC236}">
                    <a16:creationId xmlns:a16="http://schemas.microsoft.com/office/drawing/2014/main" id="{0EC5C30F-0D2D-4180-BA4E-5FCE56D8FF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2" y="1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60000"/>
                      <a:lumOff val="40000"/>
                    </a:schemeClr>
                  </a:gs>
                  <a:gs pos="100000">
                    <a:schemeClr val="accent4"/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19" name="Rectangle 21">
                <a:extLst>
                  <a:ext uri="{FF2B5EF4-FFF2-40B4-BE49-F238E27FC236}">
                    <a16:creationId xmlns:a16="http://schemas.microsoft.com/office/drawing/2014/main" id="{6CB80D1C-DEF2-4A21-9057-3442B1E062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2" y="310"/>
                <a:ext cx="799" cy="418"/>
              </a:xfrm>
              <a:prstGeom prst="rect">
                <a:avLst/>
              </a:prstGeom>
              <a:gradFill>
                <a:gsLst>
                  <a:gs pos="0">
                    <a:schemeClr val="accent4"/>
                  </a:gs>
                  <a:gs pos="100000">
                    <a:schemeClr val="accent4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  <p:sp>
            <p:nvSpPr>
              <p:cNvPr id="20" name="Freeform 22">
                <a:extLst>
                  <a:ext uri="{FF2B5EF4-FFF2-40B4-BE49-F238E27FC236}">
                    <a16:creationId xmlns:a16="http://schemas.microsoft.com/office/drawing/2014/main" id="{F96DBF3F-DC1F-4A2F-B003-27DCFF3016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1"/>
                <a:ext cx="377" cy="727"/>
              </a:xfrm>
              <a:custGeom>
                <a:avLst/>
                <a:gdLst>
                  <a:gd name="T0" fmla="*/ 377 w 377"/>
                  <a:gd name="T1" fmla="*/ 0 h 727"/>
                  <a:gd name="T2" fmla="*/ 0 w 377"/>
                  <a:gd name="T3" fmla="*/ 309 h 727"/>
                  <a:gd name="T4" fmla="*/ 0 w 377"/>
                  <a:gd name="T5" fmla="*/ 727 h 727"/>
                  <a:gd name="T6" fmla="*/ 377 w 377"/>
                  <a:gd name="T7" fmla="*/ 418 h 727"/>
                  <a:gd name="T8" fmla="*/ 377 w 377"/>
                  <a:gd name="T9" fmla="*/ 0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7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7"/>
                    </a:lnTo>
                    <a:lnTo>
                      <a:pt x="377" y="418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75000"/>
                    </a:schemeClr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5"/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FC2EED25-0024-49D1-B18E-F11C9D349F93}"/>
                </a:ext>
              </a:extLst>
            </p:cNvPr>
            <p:cNvSpPr txBox="1"/>
            <p:nvPr/>
          </p:nvSpPr>
          <p:spPr>
            <a:xfrm>
              <a:off x="10089404" y="7698228"/>
              <a:ext cx="1198187" cy="11326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2500" spc="188" dirty="0">
                  <a:solidFill>
                    <a:schemeClr val="bg1"/>
                  </a:solidFill>
                </a:rPr>
                <a:t>20</a:t>
              </a:r>
            </a:p>
            <a:p>
              <a:pPr algn="ctr">
                <a:lnSpc>
                  <a:spcPct val="80000"/>
                </a:lnSpc>
              </a:pPr>
              <a:r>
                <a:rPr lang="en-US" sz="2500" spc="188" dirty="0">
                  <a:solidFill>
                    <a:schemeClr val="bg1"/>
                  </a:solidFill>
                </a:rPr>
                <a:t>19</a:t>
              </a:r>
            </a:p>
          </p:txBody>
        </p:sp>
      </p:grpSp>
      <p:sp>
        <p:nvSpPr>
          <p:cNvPr id="54" name="Freeform 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14B86DFC-CE71-4C6B-8351-B529137CC0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1255" y="3931478"/>
            <a:ext cx="274196" cy="278085"/>
          </a:xfrm>
          <a:custGeom>
            <a:avLst/>
            <a:gdLst>
              <a:gd name="T0" fmla="*/ 211227 w 497"/>
              <a:gd name="T1" fmla="*/ 3596 h 505"/>
              <a:gd name="T2" fmla="*/ 211227 w 497"/>
              <a:gd name="T3" fmla="*/ 3596 h 505"/>
              <a:gd name="T4" fmla="*/ 203571 w 497"/>
              <a:gd name="T5" fmla="*/ 0 h 505"/>
              <a:gd name="T6" fmla="*/ 199518 w 497"/>
              <a:gd name="T7" fmla="*/ 7642 h 505"/>
              <a:gd name="T8" fmla="*/ 171594 w 497"/>
              <a:gd name="T9" fmla="*/ 75521 h 505"/>
              <a:gd name="T10" fmla="*/ 167541 w 497"/>
              <a:gd name="T11" fmla="*/ 63384 h 505"/>
              <a:gd name="T12" fmla="*/ 155831 w 497"/>
              <a:gd name="T13" fmla="*/ 59338 h 505"/>
              <a:gd name="T14" fmla="*/ 119350 w 497"/>
              <a:gd name="T15" fmla="*/ 59338 h 505"/>
              <a:gd name="T16" fmla="*/ 108091 w 497"/>
              <a:gd name="T17" fmla="*/ 63384 h 505"/>
              <a:gd name="T18" fmla="*/ 4053 w 497"/>
              <a:gd name="T19" fmla="*/ 134859 h 505"/>
              <a:gd name="T20" fmla="*/ 4053 w 497"/>
              <a:gd name="T21" fmla="*/ 151042 h 505"/>
              <a:gd name="T22" fmla="*/ 47740 w 497"/>
              <a:gd name="T23" fmla="*/ 218472 h 505"/>
              <a:gd name="T24" fmla="*/ 63954 w 497"/>
              <a:gd name="T25" fmla="*/ 222518 h 505"/>
              <a:gd name="T26" fmla="*/ 167541 w 497"/>
              <a:gd name="T27" fmla="*/ 146997 h 505"/>
              <a:gd name="T28" fmla="*/ 175648 w 497"/>
              <a:gd name="T29" fmla="*/ 138905 h 505"/>
              <a:gd name="T30" fmla="*/ 187357 w 497"/>
              <a:gd name="T31" fmla="*/ 102943 h 505"/>
              <a:gd name="T32" fmla="*/ 183754 w 497"/>
              <a:gd name="T33" fmla="*/ 91255 h 505"/>
              <a:gd name="T34" fmla="*/ 179701 w 497"/>
              <a:gd name="T35" fmla="*/ 83163 h 505"/>
              <a:gd name="T36" fmla="*/ 211227 w 497"/>
              <a:gd name="T37" fmla="*/ 3596 h 505"/>
              <a:gd name="T38" fmla="*/ 163487 w 497"/>
              <a:gd name="T39" fmla="*/ 111034 h 505"/>
              <a:gd name="T40" fmla="*/ 163487 w 497"/>
              <a:gd name="T41" fmla="*/ 111034 h 505"/>
              <a:gd name="T42" fmla="*/ 139617 w 497"/>
              <a:gd name="T43" fmla="*/ 102943 h 505"/>
              <a:gd name="T44" fmla="*/ 143671 w 497"/>
              <a:gd name="T45" fmla="*/ 79117 h 505"/>
              <a:gd name="T46" fmla="*/ 163487 w 497"/>
              <a:gd name="T47" fmla="*/ 79117 h 505"/>
              <a:gd name="T48" fmla="*/ 159884 w 497"/>
              <a:gd name="T49" fmla="*/ 83163 h 505"/>
              <a:gd name="T50" fmla="*/ 155831 w 497"/>
              <a:gd name="T51" fmla="*/ 91255 h 505"/>
              <a:gd name="T52" fmla="*/ 159884 w 497"/>
              <a:gd name="T53" fmla="*/ 95301 h 505"/>
              <a:gd name="T54" fmla="*/ 163487 w 497"/>
              <a:gd name="T55" fmla="*/ 95301 h 505"/>
              <a:gd name="T56" fmla="*/ 171594 w 497"/>
              <a:gd name="T57" fmla="*/ 91255 h 505"/>
              <a:gd name="T58" fmla="*/ 163487 w 497"/>
              <a:gd name="T59" fmla="*/ 111034 h 50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497" h="505">
                <a:moveTo>
                  <a:pt x="469" y="8"/>
                </a:moveTo>
                <a:lnTo>
                  <a:pt x="469" y="8"/>
                </a:lnTo>
                <a:cubicBezTo>
                  <a:pt x="469" y="8"/>
                  <a:pt x="461" y="0"/>
                  <a:pt x="452" y="0"/>
                </a:cubicBezTo>
                <a:cubicBezTo>
                  <a:pt x="443" y="8"/>
                  <a:pt x="443" y="17"/>
                  <a:pt x="443" y="17"/>
                </a:cubicBezTo>
                <a:cubicBezTo>
                  <a:pt x="461" y="88"/>
                  <a:pt x="416" y="141"/>
                  <a:pt x="381" y="168"/>
                </a:cubicBezTo>
                <a:cubicBezTo>
                  <a:pt x="372" y="141"/>
                  <a:pt x="372" y="141"/>
                  <a:pt x="372" y="141"/>
                </a:cubicBezTo>
                <a:cubicBezTo>
                  <a:pt x="363" y="141"/>
                  <a:pt x="355" y="132"/>
                  <a:pt x="346" y="132"/>
                </a:cubicBezTo>
                <a:cubicBezTo>
                  <a:pt x="265" y="132"/>
                  <a:pt x="265" y="132"/>
                  <a:pt x="265" y="132"/>
                </a:cubicBezTo>
                <a:cubicBezTo>
                  <a:pt x="257" y="132"/>
                  <a:pt x="248" y="132"/>
                  <a:pt x="240" y="141"/>
                </a:cubicBezTo>
                <a:cubicBezTo>
                  <a:pt x="9" y="300"/>
                  <a:pt x="9" y="300"/>
                  <a:pt x="9" y="300"/>
                </a:cubicBezTo>
                <a:cubicBezTo>
                  <a:pt x="0" y="309"/>
                  <a:pt x="0" y="327"/>
                  <a:pt x="9" y="336"/>
                </a:cubicBezTo>
                <a:cubicBezTo>
                  <a:pt x="106" y="486"/>
                  <a:pt x="106" y="486"/>
                  <a:pt x="106" y="486"/>
                </a:cubicBezTo>
                <a:cubicBezTo>
                  <a:pt x="115" y="504"/>
                  <a:pt x="133" y="495"/>
                  <a:pt x="142" y="495"/>
                </a:cubicBezTo>
                <a:cubicBezTo>
                  <a:pt x="372" y="327"/>
                  <a:pt x="372" y="327"/>
                  <a:pt x="372" y="327"/>
                </a:cubicBezTo>
                <a:cubicBezTo>
                  <a:pt x="381" y="327"/>
                  <a:pt x="390" y="309"/>
                  <a:pt x="390" y="309"/>
                </a:cubicBezTo>
                <a:cubicBezTo>
                  <a:pt x="416" y="229"/>
                  <a:pt x="416" y="229"/>
                  <a:pt x="416" y="229"/>
                </a:cubicBezTo>
                <a:cubicBezTo>
                  <a:pt x="416" y="221"/>
                  <a:pt x="416" y="212"/>
                  <a:pt x="408" y="203"/>
                </a:cubicBezTo>
                <a:cubicBezTo>
                  <a:pt x="399" y="185"/>
                  <a:pt x="399" y="185"/>
                  <a:pt x="399" y="185"/>
                </a:cubicBezTo>
                <a:cubicBezTo>
                  <a:pt x="452" y="150"/>
                  <a:pt x="496" y="88"/>
                  <a:pt x="469" y="8"/>
                </a:cubicBezTo>
                <a:close/>
                <a:moveTo>
                  <a:pt x="363" y="247"/>
                </a:moveTo>
                <a:lnTo>
                  <a:pt x="363" y="247"/>
                </a:lnTo>
                <a:cubicBezTo>
                  <a:pt x="346" y="256"/>
                  <a:pt x="319" y="256"/>
                  <a:pt x="310" y="229"/>
                </a:cubicBezTo>
                <a:cubicBezTo>
                  <a:pt x="293" y="212"/>
                  <a:pt x="301" y="194"/>
                  <a:pt x="319" y="176"/>
                </a:cubicBezTo>
                <a:cubicBezTo>
                  <a:pt x="328" y="168"/>
                  <a:pt x="346" y="168"/>
                  <a:pt x="363" y="176"/>
                </a:cubicBezTo>
                <a:cubicBezTo>
                  <a:pt x="355" y="185"/>
                  <a:pt x="355" y="185"/>
                  <a:pt x="355" y="185"/>
                </a:cubicBezTo>
                <a:cubicBezTo>
                  <a:pt x="346" y="185"/>
                  <a:pt x="337" y="194"/>
                  <a:pt x="346" y="203"/>
                </a:cubicBezTo>
                <a:cubicBezTo>
                  <a:pt x="346" y="212"/>
                  <a:pt x="355" y="212"/>
                  <a:pt x="355" y="212"/>
                </a:cubicBezTo>
                <a:cubicBezTo>
                  <a:pt x="363" y="212"/>
                  <a:pt x="363" y="212"/>
                  <a:pt x="363" y="212"/>
                </a:cubicBezTo>
                <a:cubicBezTo>
                  <a:pt x="372" y="212"/>
                  <a:pt x="372" y="212"/>
                  <a:pt x="381" y="203"/>
                </a:cubicBezTo>
                <a:cubicBezTo>
                  <a:pt x="381" y="221"/>
                  <a:pt x="372" y="238"/>
                  <a:pt x="363" y="2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21431" tIns="10716" rIns="21431" bIns="10716" anchor="ctr"/>
          <a:lstStyle/>
          <a:p>
            <a:endParaRPr lang="en-US" sz="1125" dirty="0"/>
          </a:p>
        </p:txBody>
      </p:sp>
      <p:sp>
        <p:nvSpPr>
          <p:cNvPr id="55" name="Freeform 2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EDC4EB33-D6B9-4F47-89B9-7199F700D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7388" y="2642103"/>
            <a:ext cx="274196" cy="217800"/>
          </a:xfrm>
          <a:custGeom>
            <a:avLst/>
            <a:gdLst>
              <a:gd name="T0" fmla="*/ 111694 w 497"/>
              <a:gd name="T1" fmla="*/ 66842 h 399"/>
              <a:gd name="T2" fmla="*/ 111694 w 497"/>
              <a:gd name="T3" fmla="*/ 66842 h 399"/>
              <a:gd name="T4" fmla="*/ 79717 w 497"/>
              <a:gd name="T5" fmla="*/ 98481 h 399"/>
              <a:gd name="T6" fmla="*/ 111694 w 497"/>
              <a:gd name="T7" fmla="*/ 130119 h 399"/>
              <a:gd name="T8" fmla="*/ 143671 w 497"/>
              <a:gd name="T9" fmla="*/ 98481 h 399"/>
              <a:gd name="T10" fmla="*/ 111694 w 497"/>
              <a:gd name="T11" fmla="*/ 66842 h 399"/>
              <a:gd name="T12" fmla="*/ 199067 w 497"/>
              <a:gd name="T13" fmla="*/ 31193 h 399"/>
              <a:gd name="T14" fmla="*/ 199067 w 497"/>
              <a:gd name="T15" fmla="*/ 31193 h 399"/>
              <a:gd name="T16" fmla="*/ 175197 w 497"/>
              <a:gd name="T17" fmla="*/ 31193 h 399"/>
              <a:gd name="T18" fmla="*/ 163487 w 497"/>
              <a:gd name="T19" fmla="*/ 27182 h 399"/>
              <a:gd name="T20" fmla="*/ 159434 w 497"/>
              <a:gd name="T21" fmla="*/ 3565 h 399"/>
              <a:gd name="T22" fmla="*/ 147274 w 497"/>
              <a:gd name="T23" fmla="*/ 0 h 399"/>
              <a:gd name="T24" fmla="*/ 71610 w 497"/>
              <a:gd name="T25" fmla="*/ 0 h 399"/>
              <a:gd name="T26" fmla="*/ 63954 w 497"/>
              <a:gd name="T27" fmla="*/ 3565 h 399"/>
              <a:gd name="T28" fmla="*/ 55397 w 497"/>
              <a:gd name="T29" fmla="*/ 27182 h 399"/>
              <a:gd name="T30" fmla="*/ 47740 w 497"/>
              <a:gd name="T31" fmla="*/ 31193 h 399"/>
              <a:gd name="T32" fmla="*/ 23870 w 497"/>
              <a:gd name="T33" fmla="*/ 31193 h 399"/>
              <a:gd name="T34" fmla="*/ 0 w 497"/>
              <a:gd name="T35" fmla="*/ 54811 h 399"/>
              <a:gd name="T36" fmla="*/ 0 w 497"/>
              <a:gd name="T37" fmla="*/ 153737 h 399"/>
              <a:gd name="T38" fmla="*/ 23870 w 497"/>
              <a:gd name="T39" fmla="*/ 177354 h 399"/>
              <a:gd name="T40" fmla="*/ 199067 w 497"/>
              <a:gd name="T41" fmla="*/ 177354 h 399"/>
              <a:gd name="T42" fmla="*/ 223388 w 497"/>
              <a:gd name="T43" fmla="*/ 153737 h 399"/>
              <a:gd name="T44" fmla="*/ 223388 w 497"/>
              <a:gd name="T45" fmla="*/ 54811 h 399"/>
              <a:gd name="T46" fmla="*/ 199067 w 497"/>
              <a:gd name="T47" fmla="*/ 31193 h 399"/>
              <a:gd name="T48" fmla="*/ 111694 w 497"/>
              <a:gd name="T49" fmla="*/ 153737 h 399"/>
              <a:gd name="T50" fmla="*/ 111694 w 497"/>
              <a:gd name="T51" fmla="*/ 153737 h 399"/>
              <a:gd name="T52" fmla="*/ 55397 w 497"/>
              <a:gd name="T53" fmla="*/ 98481 h 399"/>
              <a:gd name="T54" fmla="*/ 111694 w 497"/>
              <a:gd name="T55" fmla="*/ 43225 h 399"/>
              <a:gd name="T56" fmla="*/ 167541 w 497"/>
              <a:gd name="T57" fmla="*/ 98481 h 399"/>
              <a:gd name="T58" fmla="*/ 111694 w 497"/>
              <a:gd name="T59" fmla="*/ 153737 h 399"/>
              <a:gd name="T60" fmla="*/ 191411 w 497"/>
              <a:gd name="T61" fmla="*/ 70853 h 399"/>
              <a:gd name="T62" fmla="*/ 191411 w 497"/>
              <a:gd name="T63" fmla="*/ 70853 h 399"/>
              <a:gd name="T64" fmla="*/ 183304 w 497"/>
              <a:gd name="T65" fmla="*/ 62832 h 399"/>
              <a:gd name="T66" fmla="*/ 191411 w 497"/>
              <a:gd name="T67" fmla="*/ 54811 h 399"/>
              <a:gd name="T68" fmla="*/ 199067 w 497"/>
              <a:gd name="T69" fmla="*/ 62832 h 399"/>
              <a:gd name="T70" fmla="*/ 191411 w 497"/>
              <a:gd name="T71" fmla="*/ 70853 h 39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497" h="399">
                <a:moveTo>
                  <a:pt x="248" y="150"/>
                </a:moveTo>
                <a:lnTo>
                  <a:pt x="248" y="150"/>
                </a:lnTo>
                <a:cubicBezTo>
                  <a:pt x="203" y="150"/>
                  <a:pt x="177" y="176"/>
                  <a:pt x="177" y="221"/>
                </a:cubicBezTo>
                <a:cubicBezTo>
                  <a:pt x="177" y="266"/>
                  <a:pt x="203" y="292"/>
                  <a:pt x="248" y="292"/>
                </a:cubicBezTo>
                <a:cubicBezTo>
                  <a:pt x="292" y="292"/>
                  <a:pt x="319" y="266"/>
                  <a:pt x="319" y="221"/>
                </a:cubicBezTo>
                <a:cubicBezTo>
                  <a:pt x="319" y="176"/>
                  <a:pt x="292" y="150"/>
                  <a:pt x="248" y="150"/>
                </a:cubicBezTo>
                <a:close/>
                <a:moveTo>
                  <a:pt x="442" y="70"/>
                </a:moveTo>
                <a:lnTo>
                  <a:pt x="442" y="70"/>
                </a:lnTo>
                <a:cubicBezTo>
                  <a:pt x="389" y="70"/>
                  <a:pt x="389" y="70"/>
                  <a:pt x="389" y="70"/>
                </a:cubicBezTo>
                <a:cubicBezTo>
                  <a:pt x="380" y="70"/>
                  <a:pt x="372" y="70"/>
                  <a:pt x="363" y="61"/>
                </a:cubicBezTo>
                <a:cubicBezTo>
                  <a:pt x="354" y="8"/>
                  <a:pt x="354" y="8"/>
                  <a:pt x="354" y="8"/>
                </a:cubicBezTo>
                <a:cubicBezTo>
                  <a:pt x="345" y="8"/>
                  <a:pt x="336" y="0"/>
                  <a:pt x="327" y="0"/>
                </a:cubicBezTo>
                <a:cubicBezTo>
                  <a:pt x="159" y="0"/>
                  <a:pt x="159" y="0"/>
                  <a:pt x="159" y="0"/>
                </a:cubicBezTo>
                <a:cubicBezTo>
                  <a:pt x="159" y="0"/>
                  <a:pt x="150" y="8"/>
                  <a:pt x="142" y="8"/>
                </a:cubicBezTo>
                <a:cubicBezTo>
                  <a:pt x="123" y="61"/>
                  <a:pt x="123" y="61"/>
                  <a:pt x="123" y="61"/>
                </a:cubicBezTo>
                <a:cubicBezTo>
                  <a:pt x="123" y="70"/>
                  <a:pt x="115" y="70"/>
                  <a:pt x="106" y="70"/>
                </a:cubicBezTo>
                <a:cubicBezTo>
                  <a:pt x="53" y="70"/>
                  <a:pt x="53" y="70"/>
                  <a:pt x="53" y="70"/>
                </a:cubicBezTo>
                <a:cubicBezTo>
                  <a:pt x="17" y="70"/>
                  <a:pt x="0" y="97"/>
                  <a:pt x="0" y="123"/>
                </a:cubicBezTo>
                <a:cubicBezTo>
                  <a:pt x="0" y="345"/>
                  <a:pt x="0" y="345"/>
                  <a:pt x="0" y="345"/>
                </a:cubicBezTo>
                <a:cubicBezTo>
                  <a:pt x="0" y="372"/>
                  <a:pt x="17" y="398"/>
                  <a:pt x="53" y="398"/>
                </a:cubicBezTo>
                <a:cubicBezTo>
                  <a:pt x="442" y="398"/>
                  <a:pt x="442" y="398"/>
                  <a:pt x="442" y="398"/>
                </a:cubicBezTo>
                <a:cubicBezTo>
                  <a:pt x="470" y="398"/>
                  <a:pt x="496" y="372"/>
                  <a:pt x="496" y="345"/>
                </a:cubicBezTo>
                <a:cubicBezTo>
                  <a:pt x="496" y="123"/>
                  <a:pt x="496" y="123"/>
                  <a:pt x="496" y="123"/>
                </a:cubicBezTo>
                <a:cubicBezTo>
                  <a:pt x="496" y="97"/>
                  <a:pt x="470" y="70"/>
                  <a:pt x="442" y="70"/>
                </a:cubicBezTo>
                <a:close/>
                <a:moveTo>
                  <a:pt x="248" y="345"/>
                </a:moveTo>
                <a:lnTo>
                  <a:pt x="248" y="345"/>
                </a:lnTo>
                <a:cubicBezTo>
                  <a:pt x="177" y="345"/>
                  <a:pt x="123" y="292"/>
                  <a:pt x="123" y="221"/>
                </a:cubicBezTo>
                <a:cubicBezTo>
                  <a:pt x="123" y="150"/>
                  <a:pt x="177" y="97"/>
                  <a:pt x="248" y="97"/>
                </a:cubicBezTo>
                <a:cubicBezTo>
                  <a:pt x="319" y="97"/>
                  <a:pt x="372" y="150"/>
                  <a:pt x="372" y="221"/>
                </a:cubicBezTo>
                <a:cubicBezTo>
                  <a:pt x="372" y="292"/>
                  <a:pt x="319" y="345"/>
                  <a:pt x="248" y="345"/>
                </a:cubicBezTo>
                <a:close/>
                <a:moveTo>
                  <a:pt x="425" y="159"/>
                </a:moveTo>
                <a:lnTo>
                  <a:pt x="425" y="159"/>
                </a:lnTo>
                <a:cubicBezTo>
                  <a:pt x="416" y="159"/>
                  <a:pt x="407" y="150"/>
                  <a:pt x="407" y="141"/>
                </a:cubicBezTo>
                <a:cubicBezTo>
                  <a:pt x="407" y="132"/>
                  <a:pt x="416" y="123"/>
                  <a:pt x="425" y="123"/>
                </a:cubicBezTo>
                <a:cubicBezTo>
                  <a:pt x="433" y="123"/>
                  <a:pt x="442" y="132"/>
                  <a:pt x="442" y="141"/>
                </a:cubicBezTo>
                <a:cubicBezTo>
                  <a:pt x="442" y="150"/>
                  <a:pt x="433" y="159"/>
                  <a:pt x="425" y="15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21431" tIns="10716" rIns="21431" bIns="10716" anchor="ctr"/>
          <a:lstStyle/>
          <a:p>
            <a:endParaRPr lang="en-US" sz="1125" dirty="0"/>
          </a:p>
        </p:txBody>
      </p:sp>
      <p:sp>
        <p:nvSpPr>
          <p:cNvPr id="56" name="Freeform 2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9E7C8992-3E90-4A4D-9C80-480C39964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8472" y="2583391"/>
            <a:ext cx="278084" cy="217800"/>
          </a:xfrm>
          <a:custGeom>
            <a:avLst/>
            <a:gdLst>
              <a:gd name="T0" fmla="*/ 194710 w 506"/>
              <a:gd name="T1" fmla="*/ 31193 h 399"/>
              <a:gd name="T2" fmla="*/ 194710 w 506"/>
              <a:gd name="T3" fmla="*/ 31193 h 399"/>
              <a:gd name="T4" fmla="*/ 75372 w 506"/>
              <a:gd name="T5" fmla="*/ 15596 h 399"/>
              <a:gd name="T6" fmla="*/ 4038 w 506"/>
              <a:gd name="T7" fmla="*/ 98481 h 399"/>
              <a:gd name="T8" fmla="*/ 87485 w 506"/>
              <a:gd name="T9" fmla="*/ 177354 h 399"/>
              <a:gd name="T10" fmla="*/ 170932 w 506"/>
              <a:gd name="T11" fmla="*/ 138140 h 399"/>
              <a:gd name="T12" fmla="*/ 162856 w 506"/>
              <a:gd name="T13" fmla="*/ 94470 h 399"/>
              <a:gd name="T14" fmla="*/ 210412 w 506"/>
              <a:gd name="T15" fmla="*/ 90460 h 399"/>
              <a:gd name="T16" fmla="*/ 194710 w 506"/>
              <a:gd name="T17" fmla="*/ 31193 h 399"/>
              <a:gd name="T18" fmla="*/ 122927 w 506"/>
              <a:gd name="T19" fmla="*/ 134130 h 399"/>
              <a:gd name="T20" fmla="*/ 122927 w 506"/>
              <a:gd name="T21" fmla="*/ 134130 h 399"/>
              <a:gd name="T22" fmla="*/ 107225 w 506"/>
              <a:gd name="T23" fmla="*/ 118088 h 399"/>
              <a:gd name="T24" fmla="*/ 122927 w 506"/>
              <a:gd name="T25" fmla="*/ 102491 h 399"/>
              <a:gd name="T26" fmla="*/ 138630 w 506"/>
              <a:gd name="T27" fmla="*/ 118088 h 399"/>
              <a:gd name="T28" fmla="*/ 122927 w 506"/>
              <a:gd name="T29" fmla="*/ 134130 h 39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506" h="399">
                <a:moveTo>
                  <a:pt x="434" y="70"/>
                </a:moveTo>
                <a:lnTo>
                  <a:pt x="434" y="70"/>
                </a:lnTo>
                <a:cubicBezTo>
                  <a:pt x="354" y="17"/>
                  <a:pt x="265" y="0"/>
                  <a:pt x="168" y="35"/>
                </a:cubicBezTo>
                <a:cubicBezTo>
                  <a:pt x="89" y="53"/>
                  <a:pt x="9" y="141"/>
                  <a:pt x="9" y="221"/>
                </a:cubicBezTo>
                <a:cubicBezTo>
                  <a:pt x="0" y="319"/>
                  <a:pt x="71" y="398"/>
                  <a:pt x="195" y="398"/>
                </a:cubicBezTo>
                <a:cubicBezTo>
                  <a:pt x="337" y="398"/>
                  <a:pt x="381" y="328"/>
                  <a:pt x="381" y="310"/>
                </a:cubicBezTo>
                <a:cubicBezTo>
                  <a:pt x="390" y="292"/>
                  <a:pt x="328" y="248"/>
                  <a:pt x="363" y="212"/>
                </a:cubicBezTo>
                <a:cubicBezTo>
                  <a:pt x="408" y="168"/>
                  <a:pt x="452" y="203"/>
                  <a:pt x="469" y="203"/>
                </a:cubicBezTo>
                <a:cubicBezTo>
                  <a:pt x="496" y="194"/>
                  <a:pt x="505" y="124"/>
                  <a:pt x="434" y="70"/>
                </a:cubicBezTo>
                <a:close/>
                <a:moveTo>
                  <a:pt x="274" y="301"/>
                </a:moveTo>
                <a:lnTo>
                  <a:pt x="274" y="301"/>
                </a:lnTo>
                <a:cubicBezTo>
                  <a:pt x="248" y="301"/>
                  <a:pt x="239" y="283"/>
                  <a:pt x="239" y="265"/>
                </a:cubicBezTo>
                <a:cubicBezTo>
                  <a:pt x="239" y="248"/>
                  <a:pt x="248" y="230"/>
                  <a:pt x="274" y="230"/>
                </a:cubicBezTo>
                <a:cubicBezTo>
                  <a:pt x="293" y="230"/>
                  <a:pt x="309" y="248"/>
                  <a:pt x="309" y="265"/>
                </a:cubicBezTo>
                <a:cubicBezTo>
                  <a:pt x="309" y="283"/>
                  <a:pt x="293" y="301"/>
                  <a:pt x="274" y="30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21431" tIns="10716" rIns="21431" bIns="10716" anchor="ctr"/>
          <a:lstStyle/>
          <a:p>
            <a:endParaRPr lang="en-US" sz="1125" dirty="0"/>
          </a:p>
        </p:txBody>
      </p:sp>
      <p:sp>
        <p:nvSpPr>
          <p:cNvPr id="57" name="Freeform 2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2F2A6361-8613-4FCF-A390-F65F7B4CD4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8472" y="3227471"/>
            <a:ext cx="245026" cy="252804"/>
          </a:xfrm>
          <a:custGeom>
            <a:avLst/>
            <a:gdLst>
              <a:gd name="T0" fmla="*/ 111726 w 444"/>
              <a:gd name="T1" fmla="*/ 150538 h 462"/>
              <a:gd name="T2" fmla="*/ 111726 w 444"/>
              <a:gd name="T3" fmla="*/ 150538 h 462"/>
              <a:gd name="T4" fmla="*/ 144162 w 444"/>
              <a:gd name="T5" fmla="*/ 114802 h 462"/>
              <a:gd name="T6" fmla="*/ 199574 w 444"/>
              <a:gd name="T7" fmla="*/ 31716 h 462"/>
              <a:gd name="T8" fmla="*/ 191916 w 444"/>
              <a:gd name="T9" fmla="*/ 23675 h 462"/>
              <a:gd name="T10" fmla="*/ 155875 w 444"/>
              <a:gd name="T11" fmla="*/ 23675 h 462"/>
              <a:gd name="T12" fmla="*/ 100013 w 444"/>
              <a:gd name="T13" fmla="*/ 0 h 462"/>
              <a:gd name="T14" fmla="*/ 44150 w 444"/>
              <a:gd name="T15" fmla="*/ 23675 h 462"/>
              <a:gd name="T16" fmla="*/ 8109 w 444"/>
              <a:gd name="T17" fmla="*/ 23675 h 462"/>
              <a:gd name="T18" fmla="*/ 0 w 444"/>
              <a:gd name="T19" fmla="*/ 31716 h 462"/>
              <a:gd name="T20" fmla="*/ 55863 w 444"/>
              <a:gd name="T21" fmla="*/ 114802 h 462"/>
              <a:gd name="T22" fmla="*/ 87849 w 444"/>
              <a:gd name="T23" fmla="*/ 150538 h 462"/>
              <a:gd name="T24" fmla="*/ 87849 w 444"/>
              <a:gd name="T25" fmla="*/ 166172 h 462"/>
              <a:gd name="T26" fmla="*/ 48204 w 444"/>
              <a:gd name="T27" fmla="*/ 185827 h 462"/>
              <a:gd name="T28" fmla="*/ 100013 w 444"/>
              <a:gd name="T29" fmla="*/ 205928 h 462"/>
              <a:gd name="T30" fmla="*/ 147766 w 444"/>
              <a:gd name="T31" fmla="*/ 185827 h 462"/>
              <a:gd name="T32" fmla="*/ 111726 w 444"/>
              <a:gd name="T33" fmla="*/ 166172 h 462"/>
              <a:gd name="T34" fmla="*/ 111726 w 444"/>
              <a:gd name="T35" fmla="*/ 150538 h 462"/>
              <a:gd name="T36" fmla="*/ 144162 w 444"/>
              <a:gd name="T37" fmla="*/ 94700 h 462"/>
              <a:gd name="T38" fmla="*/ 144162 w 444"/>
              <a:gd name="T39" fmla="*/ 94700 h 462"/>
              <a:gd name="T40" fmla="*/ 155875 w 444"/>
              <a:gd name="T41" fmla="*/ 39756 h 462"/>
              <a:gd name="T42" fmla="*/ 183807 w 444"/>
              <a:gd name="T43" fmla="*/ 39756 h 462"/>
              <a:gd name="T44" fmla="*/ 144162 w 444"/>
              <a:gd name="T45" fmla="*/ 94700 h 462"/>
              <a:gd name="T46" fmla="*/ 100013 w 444"/>
              <a:gd name="T47" fmla="*/ 16081 h 462"/>
              <a:gd name="T48" fmla="*/ 100013 w 444"/>
              <a:gd name="T49" fmla="*/ 16081 h 462"/>
              <a:gd name="T50" fmla="*/ 144162 w 444"/>
              <a:gd name="T51" fmla="*/ 31716 h 462"/>
              <a:gd name="T52" fmla="*/ 100013 w 444"/>
              <a:gd name="T53" fmla="*/ 51370 h 462"/>
              <a:gd name="T54" fmla="*/ 55863 w 444"/>
              <a:gd name="T55" fmla="*/ 31716 h 462"/>
              <a:gd name="T56" fmla="*/ 100013 w 444"/>
              <a:gd name="T57" fmla="*/ 16081 h 462"/>
              <a:gd name="T58" fmla="*/ 16218 w 444"/>
              <a:gd name="T59" fmla="*/ 39756 h 462"/>
              <a:gd name="T60" fmla="*/ 16218 w 444"/>
              <a:gd name="T61" fmla="*/ 39756 h 462"/>
              <a:gd name="T62" fmla="*/ 44150 w 444"/>
              <a:gd name="T63" fmla="*/ 39756 h 462"/>
              <a:gd name="T64" fmla="*/ 55863 w 444"/>
              <a:gd name="T65" fmla="*/ 94700 h 462"/>
              <a:gd name="T66" fmla="*/ 16218 w 444"/>
              <a:gd name="T67" fmla="*/ 39756 h 46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444" h="462">
                <a:moveTo>
                  <a:pt x="248" y="337"/>
                </a:moveTo>
                <a:lnTo>
                  <a:pt x="248" y="337"/>
                </a:lnTo>
                <a:cubicBezTo>
                  <a:pt x="248" y="302"/>
                  <a:pt x="275" y="283"/>
                  <a:pt x="320" y="257"/>
                </a:cubicBezTo>
                <a:cubicBezTo>
                  <a:pt x="373" y="221"/>
                  <a:pt x="443" y="177"/>
                  <a:pt x="443" y="71"/>
                </a:cubicBezTo>
                <a:cubicBezTo>
                  <a:pt x="443" y="62"/>
                  <a:pt x="434" y="53"/>
                  <a:pt x="426" y="53"/>
                </a:cubicBezTo>
                <a:cubicBezTo>
                  <a:pt x="346" y="53"/>
                  <a:pt x="346" y="53"/>
                  <a:pt x="346" y="53"/>
                </a:cubicBezTo>
                <a:cubicBezTo>
                  <a:pt x="328" y="27"/>
                  <a:pt x="293" y="0"/>
                  <a:pt x="222" y="0"/>
                </a:cubicBezTo>
                <a:cubicBezTo>
                  <a:pt x="151" y="0"/>
                  <a:pt x="116" y="27"/>
                  <a:pt x="98" y="53"/>
                </a:cubicBezTo>
                <a:cubicBezTo>
                  <a:pt x="18" y="53"/>
                  <a:pt x="18" y="53"/>
                  <a:pt x="18" y="53"/>
                </a:cubicBezTo>
                <a:cubicBezTo>
                  <a:pt x="9" y="53"/>
                  <a:pt x="0" y="62"/>
                  <a:pt x="0" y="71"/>
                </a:cubicBezTo>
                <a:cubicBezTo>
                  <a:pt x="0" y="177"/>
                  <a:pt x="62" y="221"/>
                  <a:pt x="124" y="257"/>
                </a:cubicBezTo>
                <a:cubicBezTo>
                  <a:pt x="169" y="283"/>
                  <a:pt x="195" y="302"/>
                  <a:pt x="195" y="337"/>
                </a:cubicBezTo>
                <a:cubicBezTo>
                  <a:pt x="195" y="372"/>
                  <a:pt x="195" y="372"/>
                  <a:pt x="195" y="372"/>
                </a:cubicBezTo>
                <a:cubicBezTo>
                  <a:pt x="142" y="381"/>
                  <a:pt x="107" y="399"/>
                  <a:pt x="107" y="416"/>
                </a:cubicBezTo>
                <a:cubicBezTo>
                  <a:pt x="107" y="443"/>
                  <a:pt x="160" y="461"/>
                  <a:pt x="222" y="461"/>
                </a:cubicBezTo>
                <a:cubicBezTo>
                  <a:pt x="283" y="461"/>
                  <a:pt x="328" y="443"/>
                  <a:pt x="328" y="416"/>
                </a:cubicBezTo>
                <a:cubicBezTo>
                  <a:pt x="328" y="399"/>
                  <a:pt x="302" y="381"/>
                  <a:pt x="248" y="372"/>
                </a:cubicBezTo>
                <a:lnTo>
                  <a:pt x="248" y="337"/>
                </a:lnTo>
                <a:close/>
                <a:moveTo>
                  <a:pt x="320" y="212"/>
                </a:moveTo>
                <a:lnTo>
                  <a:pt x="320" y="212"/>
                </a:lnTo>
                <a:cubicBezTo>
                  <a:pt x="337" y="186"/>
                  <a:pt x="346" y="142"/>
                  <a:pt x="346" y="89"/>
                </a:cubicBezTo>
                <a:cubicBezTo>
                  <a:pt x="408" y="89"/>
                  <a:pt x="408" y="89"/>
                  <a:pt x="408" y="89"/>
                </a:cubicBezTo>
                <a:cubicBezTo>
                  <a:pt x="399" y="151"/>
                  <a:pt x="364" y="186"/>
                  <a:pt x="320" y="212"/>
                </a:cubicBezTo>
                <a:close/>
                <a:moveTo>
                  <a:pt x="222" y="36"/>
                </a:moveTo>
                <a:lnTo>
                  <a:pt x="222" y="36"/>
                </a:lnTo>
                <a:cubicBezTo>
                  <a:pt x="293" y="36"/>
                  <a:pt x="320" y="62"/>
                  <a:pt x="320" y="71"/>
                </a:cubicBezTo>
                <a:cubicBezTo>
                  <a:pt x="320" y="80"/>
                  <a:pt x="293" y="106"/>
                  <a:pt x="222" y="115"/>
                </a:cubicBezTo>
                <a:cubicBezTo>
                  <a:pt x="151" y="106"/>
                  <a:pt x="124" y="80"/>
                  <a:pt x="124" y="71"/>
                </a:cubicBezTo>
                <a:cubicBezTo>
                  <a:pt x="124" y="62"/>
                  <a:pt x="151" y="36"/>
                  <a:pt x="222" y="36"/>
                </a:cubicBezTo>
                <a:close/>
                <a:moveTo>
                  <a:pt x="36" y="89"/>
                </a:moveTo>
                <a:lnTo>
                  <a:pt x="36" y="89"/>
                </a:lnTo>
                <a:cubicBezTo>
                  <a:pt x="98" y="89"/>
                  <a:pt x="98" y="89"/>
                  <a:pt x="98" y="89"/>
                </a:cubicBezTo>
                <a:cubicBezTo>
                  <a:pt x="98" y="142"/>
                  <a:pt x="107" y="186"/>
                  <a:pt x="124" y="212"/>
                </a:cubicBezTo>
                <a:cubicBezTo>
                  <a:pt x="80" y="186"/>
                  <a:pt x="36" y="151"/>
                  <a:pt x="36" y="8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21431" tIns="10716" rIns="21431" bIns="10716" anchor="ctr"/>
          <a:lstStyle/>
          <a:p>
            <a:endParaRPr lang="en-US" sz="1125" dirty="0"/>
          </a:p>
        </p:txBody>
      </p:sp>
      <p:sp>
        <p:nvSpPr>
          <p:cNvPr id="58" name="Freeform 10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8746450F-D1AF-452B-B113-57A7EC485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5191" y="3342910"/>
            <a:ext cx="274194" cy="210021"/>
          </a:xfrm>
          <a:custGeom>
            <a:avLst/>
            <a:gdLst>
              <a:gd name="T0" fmla="*/ 36030 w 497"/>
              <a:gd name="T1" fmla="*/ 111308 h 382"/>
              <a:gd name="T2" fmla="*/ 36030 w 497"/>
              <a:gd name="T3" fmla="*/ 111308 h 382"/>
              <a:gd name="T4" fmla="*/ 71610 w 497"/>
              <a:gd name="T5" fmla="*/ 147214 h 382"/>
              <a:gd name="T6" fmla="*/ 111693 w 497"/>
              <a:gd name="T7" fmla="*/ 171001 h 382"/>
              <a:gd name="T8" fmla="*/ 151777 w 497"/>
              <a:gd name="T9" fmla="*/ 151253 h 382"/>
              <a:gd name="T10" fmla="*/ 175647 w 497"/>
              <a:gd name="T11" fmla="*/ 115796 h 382"/>
              <a:gd name="T12" fmla="*/ 111693 w 497"/>
              <a:gd name="T13" fmla="*/ 147214 h 382"/>
              <a:gd name="T14" fmla="*/ 36030 w 497"/>
              <a:gd name="T15" fmla="*/ 111308 h 382"/>
              <a:gd name="T16" fmla="*/ 219333 w 497"/>
              <a:gd name="T17" fmla="*/ 55654 h 382"/>
              <a:gd name="T18" fmla="*/ 219333 w 497"/>
              <a:gd name="T19" fmla="*/ 55654 h 382"/>
              <a:gd name="T20" fmla="*/ 123403 w 497"/>
              <a:gd name="T21" fmla="*/ 4039 h 382"/>
              <a:gd name="T22" fmla="*/ 99533 w 497"/>
              <a:gd name="T23" fmla="*/ 4039 h 382"/>
              <a:gd name="T24" fmla="*/ 4053 w 497"/>
              <a:gd name="T25" fmla="*/ 55654 h 382"/>
              <a:gd name="T26" fmla="*/ 4053 w 497"/>
              <a:gd name="T27" fmla="*/ 71812 h 382"/>
              <a:gd name="T28" fmla="*/ 99533 w 497"/>
              <a:gd name="T29" fmla="*/ 123426 h 382"/>
              <a:gd name="T30" fmla="*/ 123403 w 497"/>
              <a:gd name="T31" fmla="*/ 123426 h 382"/>
              <a:gd name="T32" fmla="*/ 183754 w 497"/>
              <a:gd name="T33" fmla="*/ 87520 h 382"/>
              <a:gd name="T34" fmla="*/ 119800 w 497"/>
              <a:gd name="T35" fmla="*/ 71812 h 382"/>
              <a:gd name="T36" fmla="*/ 111693 w 497"/>
              <a:gd name="T37" fmla="*/ 75402 h 382"/>
              <a:gd name="T38" fmla="*/ 91426 w 497"/>
              <a:gd name="T39" fmla="*/ 59693 h 382"/>
              <a:gd name="T40" fmla="*/ 111693 w 497"/>
              <a:gd name="T41" fmla="*/ 48024 h 382"/>
              <a:gd name="T42" fmla="*/ 131960 w 497"/>
              <a:gd name="T43" fmla="*/ 55654 h 382"/>
              <a:gd name="T44" fmla="*/ 199517 w 497"/>
              <a:gd name="T45" fmla="*/ 79441 h 382"/>
              <a:gd name="T46" fmla="*/ 219333 w 497"/>
              <a:gd name="T47" fmla="*/ 71812 h 382"/>
              <a:gd name="T48" fmla="*/ 219333 w 497"/>
              <a:gd name="T49" fmla="*/ 55654 h 382"/>
              <a:gd name="T50" fmla="*/ 191410 w 497"/>
              <a:gd name="T51" fmla="*/ 155292 h 382"/>
              <a:gd name="T52" fmla="*/ 191410 w 497"/>
              <a:gd name="T53" fmla="*/ 155292 h 382"/>
              <a:gd name="T54" fmla="*/ 207623 w 497"/>
              <a:gd name="T55" fmla="*/ 151253 h 382"/>
              <a:gd name="T56" fmla="*/ 199517 w 497"/>
              <a:gd name="T57" fmla="*/ 79441 h 382"/>
              <a:gd name="T58" fmla="*/ 183754 w 497"/>
              <a:gd name="T59" fmla="*/ 87520 h 382"/>
              <a:gd name="T60" fmla="*/ 191410 w 497"/>
              <a:gd name="T61" fmla="*/ 155292 h 38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497" h="382">
                <a:moveTo>
                  <a:pt x="80" y="248"/>
                </a:moveTo>
                <a:lnTo>
                  <a:pt x="80" y="248"/>
                </a:lnTo>
                <a:cubicBezTo>
                  <a:pt x="97" y="293"/>
                  <a:pt x="106" y="311"/>
                  <a:pt x="159" y="328"/>
                </a:cubicBezTo>
                <a:cubicBezTo>
                  <a:pt x="203" y="355"/>
                  <a:pt x="230" y="381"/>
                  <a:pt x="248" y="381"/>
                </a:cubicBezTo>
                <a:cubicBezTo>
                  <a:pt x="266" y="381"/>
                  <a:pt x="293" y="355"/>
                  <a:pt x="337" y="337"/>
                </a:cubicBezTo>
                <a:cubicBezTo>
                  <a:pt x="390" y="311"/>
                  <a:pt x="372" y="311"/>
                  <a:pt x="390" y="258"/>
                </a:cubicBezTo>
                <a:cubicBezTo>
                  <a:pt x="248" y="328"/>
                  <a:pt x="248" y="328"/>
                  <a:pt x="248" y="328"/>
                </a:cubicBezTo>
                <a:lnTo>
                  <a:pt x="80" y="248"/>
                </a:lnTo>
                <a:close/>
                <a:moveTo>
                  <a:pt x="487" y="124"/>
                </a:moveTo>
                <a:lnTo>
                  <a:pt x="487" y="124"/>
                </a:lnTo>
                <a:cubicBezTo>
                  <a:pt x="274" y="9"/>
                  <a:pt x="274" y="9"/>
                  <a:pt x="274" y="9"/>
                </a:cubicBezTo>
                <a:cubicBezTo>
                  <a:pt x="266" y="0"/>
                  <a:pt x="239" y="0"/>
                  <a:pt x="221" y="9"/>
                </a:cubicBezTo>
                <a:cubicBezTo>
                  <a:pt x="9" y="124"/>
                  <a:pt x="9" y="124"/>
                  <a:pt x="9" y="124"/>
                </a:cubicBezTo>
                <a:cubicBezTo>
                  <a:pt x="0" y="133"/>
                  <a:pt x="0" y="142"/>
                  <a:pt x="9" y="160"/>
                </a:cubicBezTo>
                <a:cubicBezTo>
                  <a:pt x="221" y="275"/>
                  <a:pt x="221" y="275"/>
                  <a:pt x="221" y="275"/>
                </a:cubicBezTo>
                <a:cubicBezTo>
                  <a:pt x="239" y="284"/>
                  <a:pt x="266" y="284"/>
                  <a:pt x="274" y="275"/>
                </a:cubicBezTo>
                <a:cubicBezTo>
                  <a:pt x="408" y="195"/>
                  <a:pt x="408" y="195"/>
                  <a:pt x="408" y="195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257" y="160"/>
                  <a:pt x="257" y="168"/>
                  <a:pt x="248" y="168"/>
                </a:cubicBezTo>
                <a:cubicBezTo>
                  <a:pt x="221" y="168"/>
                  <a:pt x="203" y="151"/>
                  <a:pt x="203" y="133"/>
                </a:cubicBezTo>
                <a:cubicBezTo>
                  <a:pt x="203" y="124"/>
                  <a:pt x="221" y="107"/>
                  <a:pt x="248" y="107"/>
                </a:cubicBezTo>
                <a:cubicBezTo>
                  <a:pt x="266" y="107"/>
                  <a:pt x="284" y="115"/>
                  <a:pt x="293" y="124"/>
                </a:cubicBezTo>
                <a:cubicBezTo>
                  <a:pt x="443" y="177"/>
                  <a:pt x="443" y="177"/>
                  <a:pt x="443" y="177"/>
                </a:cubicBezTo>
                <a:cubicBezTo>
                  <a:pt x="487" y="160"/>
                  <a:pt x="487" y="160"/>
                  <a:pt x="487" y="160"/>
                </a:cubicBezTo>
                <a:cubicBezTo>
                  <a:pt x="496" y="142"/>
                  <a:pt x="496" y="133"/>
                  <a:pt x="487" y="124"/>
                </a:cubicBezTo>
                <a:close/>
                <a:moveTo>
                  <a:pt x="425" y="346"/>
                </a:moveTo>
                <a:lnTo>
                  <a:pt x="425" y="346"/>
                </a:lnTo>
                <a:cubicBezTo>
                  <a:pt x="416" y="355"/>
                  <a:pt x="452" y="364"/>
                  <a:pt x="461" y="337"/>
                </a:cubicBezTo>
                <a:cubicBezTo>
                  <a:pt x="469" y="213"/>
                  <a:pt x="443" y="177"/>
                  <a:pt x="443" y="177"/>
                </a:cubicBezTo>
                <a:cubicBezTo>
                  <a:pt x="408" y="195"/>
                  <a:pt x="408" y="195"/>
                  <a:pt x="408" y="195"/>
                </a:cubicBezTo>
                <a:cubicBezTo>
                  <a:pt x="408" y="195"/>
                  <a:pt x="443" y="222"/>
                  <a:pt x="425" y="3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21431" tIns="10716" rIns="21431" bIns="10716" anchor="ctr"/>
          <a:lstStyle/>
          <a:p>
            <a:endParaRPr lang="en-US" sz="1125" dirty="0"/>
          </a:p>
        </p:txBody>
      </p:sp>
      <p:sp>
        <p:nvSpPr>
          <p:cNvPr id="59" name="Freeform 1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0F46B6B6-461F-4758-BB9E-FDA3497E3E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0485" y="3987221"/>
            <a:ext cx="196408" cy="266416"/>
          </a:xfrm>
          <a:custGeom>
            <a:avLst/>
            <a:gdLst>
              <a:gd name="T0" fmla="*/ 156272 w 355"/>
              <a:gd name="T1" fmla="*/ 58950 h 487"/>
              <a:gd name="T2" fmla="*/ 156272 w 355"/>
              <a:gd name="T3" fmla="*/ 58950 h 487"/>
              <a:gd name="T4" fmla="*/ 52392 w 355"/>
              <a:gd name="T5" fmla="*/ 7592 h 487"/>
              <a:gd name="T6" fmla="*/ 4065 w 355"/>
              <a:gd name="T7" fmla="*/ 23669 h 487"/>
              <a:gd name="T8" fmla="*/ 0 w 355"/>
              <a:gd name="T9" fmla="*/ 35280 h 487"/>
              <a:gd name="T10" fmla="*/ 4065 w 355"/>
              <a:gd name="T11" fmla="*/ 154073 h 487"/>
              <a:gd name="T12" fmla="*/ 8130 w 355"/>
              <a:gd name="T13" fmla="*/ 162111 h 487"/>
              <a:gd name="T14" fmla="*/ 100267 w 355"/>
              <a:gd name="T15" fmla="*/ 217041 h 487"/>
              <a:gd name="T16" fmla="*/ 104332 w 355"/>
              <a:gd name="T17" fmla="*/ 217041 h 487"/>
              <a:gd name="T18" fmla="*/ 108397 w 355"/>
              <a:gd name="T19" fmla="*/ 217041 h 487"/>
              <a:gd name="T20" fmla="*/ 112010 w 355"/>
              <a:gd name="T21" fmla="*/ 213469 h 487"/>
              <a:gd name="T22" fmla="*/ 112010 w 355"/>
              <a:gd name="T23" fmla="*/ 90657 h 487"/>
              <a:gd name="T24" fmla="*/ 108397 w 355"/>
              <a:gd name="T25" fmla="*/ 82619 h 487"/>
              <a:gd name="T26" fmla="*/ 19873 w 355"/>
              <a:gd name="T27" fmla="*/ 31261 h 487"/>
              <a:gd name="T28" fmla="*/ 32067 w 355"/>
              <a:gd name="T29" fmla="*/ 23669 h 487"/>
              <a:gd name="T30" fmla="*/ 48327 w 355"/>
              <a:gd name="T31" fmla="*/ 19650 h 487"/>
              <a:gd name="T32" fmla="*/ 135948 w 355"/>
              <a:gd name="T33" fmla="*/ 66988 h 487"/>
              <a:gd name="T34" fmla="*/ 140013 w 355"/>
              <a:gd name="T35" fmla="*/ 71007 h 487"/>
              <a:gd name="T36" fmla="*/ 140013 w 355"/>
              <a:gd name="T37" fmla="*/ 189800 h 487"/>
              <a:gd name="T38" fmla="*/ 148142 w 355"/>
              <a:gd name="T39" fmla="*/ 197392 h 487"/>
              <a:gd name="T40" fmla="*/ 159885 w 355"/>
              <a:gd name="T41" fmla="*/ 189800 h 487"/>
              <a:gd name="T42" fmla="*/ 159885 w 355"/>
              <a:gd name="T43" fmla="*/ 62969 h 487"/>
              <a:gd name="T44" fmla="*/ 156272 w 355"/>
              <a:gd name="T45" fmla="*/ 58950 h 4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55" h="487">
                <a:moveTo>
                  <a:pt x="346" y="132"/>
                </a:moveTo>
                <a:lnTo>
                  <a:pt x="346" y="132"/>
                </a:lnTo>
                <a:cubicBezTo>
                  <a:pt x="116" y="17"/>
                  <a:pt x="116" y="17"/>
                  <a:pt x="116" y="17"/>
                </a:cubicBezTo>
                <a:cubicBezTo>
                  <a:pt x="89" y="0"/>
                  <a:pt x="27" y="25"/>
                  <a:pt x="9" y="53"/>
                </a:cubicBezTo>
                <a:cubicBezTo>
                  <a:pt x="0" y="70"/>
                  <a:pt x="0" y="79"/>
                  <a:pt x="0" y="79"/>
                </a:cubicBezTo>
                <a:cubicBezTo>
                  <a:pt x="9" y="345"/>
                  <a:pt x="9" y="345"/>
                  <a:pt x="9" y="345"/>
                </a:cubicBezTo>
                <a:cubicBezTo>
                  <a:pt x="9" y="345"/>
                  <a:pt x="18" y="354"/>
                  <a:pt x="18" y="363"/>
                </a:cubicBezTo>
                <a:cubicBezTo>
                  <a:pt x="36" y="363"/>
                  <a:pt x="222" y="486"/>
                  <a:pt x="222" y="486"/>
                </a:cubicBezTo>
                <a:cubicBezTo>
                  <a:pt x="231" y="486"/>
                  <a:pt x="231" y="486"/>
                  <a:pt x="231" y="486"/>
                </a:cubicBezTo>
                <a:cubicBezTo>
                  <a:pt x="240" y="486"/>
                  <a:pt x="240" y="486"/>
                  <a:pt x="240" y="486"/>
                </a:cubicBezTo>
                <a:cubicBezTo>
                  <a:pt x="248" y="486"/>
                  <a:pt x="248" y="478"/>
                  <a:pt x="248" y="478"/>
                </a:cubicBezTo>
                <a:cubicBezTo>
                  <a:pt x="248" y="203"/>
                  <a:pt x="248" y="203"/>
                  <a:pt x="248" y="203"/>
                </a:cubicBezTo>
                <a:cubicBezTo>
                  <a:pt x="248" y="194"/>
                  <a:pt x="248" y="194"/>
                  <a:pt x="240" y="185"/>
                </a:cubicBezTo>
                <a:cubicBezTo>
                  <a:pt x="44" y="70"/>
                  <a:pt x="44" y="70"/>
                  <a:pt x="44" y="70"/>
                </a:cubicBezTo>
                <a:cubicBezTo>
                  <a:pt x="44" y="70"/>
                  <a:pt x="53" y="61"/>
                  <a:pt x="71" y="53"/>
                </a:cubicBezTo>
                <a:cubicBezTo>
                  <a:pt x="89" y="44"/>
                  <a:pt x="97" y="44"/>
                  <a:pt x="107" y="44"/>
                </a:cubicBezTo>
                <a:cubicBezTo>
                  <a:pt x="107" y="44"/>
                  <a:pt x="293" y="150"/>
                  <a:pt x="301" y="150"/>
                </a:cubicBezTo>
                <a:cubicBezTo>
                  <a:pt x="310" y="159"/>
                  <a:pt x="310" y="159"/>
                  <a:pt x="310" y="159"/>
                </a:cubicBezTo>
                <a:cubicBezTo>
                  <a:pt x="310" y="168"/>
                  <a:pt x="310" y="425"/>
                  <a:pt x="310" y="425"/>
                </a:cubicBezTo>
                <a:cubicBezTo>
                  <a:pt x="310" y="433"/>
                  <a:pt x="319" y="442"/>
                  <a:pt x="328" y="442"/>
                </a:cubicBezTo>
                <a:cubicBezTo>
                  <a:pt x="337" y="442"/>
                  <a:pt x="354" y="433"/>
                  <a:pt x="354" y="425"/>
                </a:cubicBezTo>
                <a:cubicBezTo>
                  <a:pt x="354" y="141"/>
                  <a:pt x="354" y="141"/>
                  <a:pt x="354" y="141"/>
                </a:cubicBezTo>
                <a:lnTo>
                  <a:pt x="346" y="132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21431" tIns="10716" rIns="21431" bIns="10716" anchor="ctr"/>
          <a:lstStyle/>
          <a:p>
            <a:endParaRPr lang="en-US" sz="1125" dirty="0"/>
          </a:p>
        </p:txBody>
      </p:sp>
      <p:grpSp>
        <p:nvGrpSpPr>
          <p:cNvPr id="51" name="Group 5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766A4095-D52C-4F12-AF31-E3F78B3AE3B0}"/>
              </a:ext>
            </a:extLst>
          </p:cNvPr>
          <p:cNvGrpSpPr/>
          <p:nvPr/>
        </p:nvGrpSpPr>
        <p:grpSpPr>
          <a:xfrm>
            <a:off x="8478959" y="960881"/>
            <a:ext cx="2360912" cy="841893"/>
            <a:chOff x="13551253" y="1537409"/>
            <a:chExt cx="3777459" cy="1347028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D82899CE-E420-45AC-AEA2-BE4C642508B4}"/>
                </a:ext>
              </a:extLst>
            </p:cNvPr>
            <p:cNvSpPr/>
            <p:nvPr/>
          </p:nvSpPr>
          <p:spPr>
            <a:xfrm flipH="1">
              <a:off x="13551255" y="2367373"/>
              <a:ext cx="3777457" cy="5170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500" dirty="0">
                  <a:solidFill>
                    <a:schemeClr val="bg1"/>
                  </a:solidFill>
                  <a:cs typeface="Segoe UI" panose="020B0502040204020203" pitchFamily="34" charset="0"/>
                </a:rPr>
                <a:t>Your Title Goes Here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3DBEB51-A76D-4C8B-86B5-01B9E4ABE257}"/>
                </a:ext>
              </a:extLst>
            </p:cNvPr>
            <p:cNvSpPr txBox="1"/>
            <p:nvPr/>
          </p:nvSpPr>
          <p:spPr>
            <a:xfrm flipH="1">
              <a:off x="13551253" y="1537409"/>
              <a:ext cx="2743822" cy="10555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4500" spc="188" dirty="0">
                  <a:gradFill>
                    <a:gsLst>
                      <a:gs pos="0">
                        <a:schemeClr val="accent1"/>
                      </a:gs>
                      <a:gs pos="45000">
                        <a:schemeClr val="accent1"/>
                      </a:gs>
                      <a:gs pos="100000">
                        <a:schemeClr val="accent1">
                          <a:alpha val="0"/>
                        </a:schemeClr>
                      </a:gs>
                    </a:gsLst>
                    <a:lin ang="5400000" scaled="1"/>
                  </a:gradFill>
                </a:rPr>
                <a:t>2018</a:t>
              </a:r>
            </a:p>
          </p:txBody>
        </p:sp>
      </p:grpSp>
      <p:grpSp>
        <p:nvGrpSpPr>
          <p:cNvPr id="52" name="Group 5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37ADFE77-B908-4B07-828B-AED71BE1E114}"/>
              </a:ext>
            </a:extLst>
          </p:cNvPr>
          <p:cNvGrpSpPr/>
          <p:nvPr/>
        </p:nvGrpSpPr>
        <p:grpSpPr>
          <a:xfrm>
            <a:off x="8478959" y="3564081"/>
            <a:ext cx="2360912" cy="841893"/>
            <a:chOff x="13551253" y="5702529"/>
            <a:chExt cx="3777459" cy="1347028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1EF8214D-AE02-405C-9661-F3B1E0BAA7BF}"/>
                </a:ext>
              </a:extLst>
            </p:cNvPr>
            <p:cNvSpPr/>
            <p:nvPr/>
          </p:nvSpPr>
          <p:spPr>
            <a:xfrm flipH="1">
              <a:off x="13551255" y="6532493"/>
              <a:ext cx="3777457" cy="5170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500" dirty="0">
                  <a:solidFill>
                    <a:schemeClr val="bg1"/>
                  </a:solidFill>
                  <a:cs typeface="Segoe UI" panose="020B0502040204020203" pitchFamily="34" charset="0"/>
                </a:rPr>
                <a:t>Your Title Goes Here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CB83070D-7173-40BB-A9D3-9498F0CC4989}"/>
                </a:ext>
              </a:extLst>
            </p:cNvPr>
            <p:cNvSpPr txBox="1"/>
            <p:nvPr/>
          </p:nvSpPr>
          <p:spPr>
            <a:xfrm flipH="1">
              <a:off x="13551253" y="5702529"/>
              <a:ext cx="3142408" cy="10555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4500" spc="188" dirty="0">
                  <a:gradFill>
                    <a:gsLst>
                      <a:gs pos="0">
                        <a:schemeClr val="accent4"/>
                      </a:gs>
                      <a:gs pos="45000">
                        <a:schemeClr val="accent4">
                          <a:alpha val="65000"/>
                        </a:schemeClr>
                      </a:gs>
                      <a:gs pos="100000">
                        <a:schemeClr val="accent4">
                          <a:alpha val="0"/>
                        </a:schemeClr>
                      </a:gs>
                    </a:gsLst>
                    <a:lin ang="5400000" scaled="1"/>
                  </a:gradFill>
                </a:rPr>
                <a:t>2019</a:t>
              </a:r>
            </a:p>
          </p:txBody>
        </p:sp>
      </p:grpSp>
      <p:sp>
        <p:nvSpPr>
          <p:cNvPr id="111" name="Text Placeholder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3C3A30CA-C202-4420-9537-F35F0C6A8892}"/>
              </a:ext>
            </a:extLst>
          </p:cNvPr>
          <p:cNvSpPr txBox="1">
            <a:spLocks/>
          </p:cNvSpPr>
          <p:nvPr/>
        </p:nvSpPr>
        <p:spPr>
          <a:xfrm>
            <a:off x="584616" y="1646320"/>
            <a:ext cx="3282845" cy="937693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>
            <a:defPPr>
              <a:defRPr lang="zh-CN"/>
            </a:defPPr>
            <a:lvl1pPr lvl="0" algn="r">
              <a:lnSpc>
                <a:spcPct val="80000"/>
              </a:lnSpc>
              <a:defRPr sz="3200" b="1">
                <a:solidFill>
                  <a:schemeClr val="tx1">
                    <a:lumMod val="85000"/>
                    <a:lumOff val="15000"/>
                  </a:schemeClr>
                </a:solidFill>
                <a:ea typeface="Open Sans Semibold"/>
                <a:cs typeface="Open Sans Semibold"/>
              </a:defRPr>
            </a:lvl1pPr>
          </a:lstStyle>
          <a:p>
            <a:r>
              <a:rPr lang="en-US" sz="3600" dirty="0">
                <a:solidFill>
                  <a:schemeClr val="tx2">
                    <a:lumMod val="75000"/>
                  </a:schemeClr>
                </a:solidFill>
              </a:rPr>
              <a:t>Process Infographic</a:t>
            </a:r>
            <a:endParaRPr lang="id-ID" sz="3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07" name="Rectangle 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>
            <p:custDataLst>
              <p:tags r:id="rId1"/>
            </p:custDataLst>
          </p:nvPr>
        </p:nvSpPr>
        <p:spPr>
          <a:xfrm>
            <a:off x="-509665" y="2503057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 Light" panose="020B0502040204020203" pitchFamily="34" charset="-122"/>
                <a:cs typeface="Open Sans Semibold" panose="020B0706030804020204" pitchFamily="34" charset="0"/>
                <a:sym typeface="微软雅黑 Light" panose="020B0502040204020203" pitchFamily="34" charset="-122"/>
              </a:rPr>
              <a:t>Put Your Great Subtitle Here</a:t>
            </a:r>
          </a:p>
        </p:txBody>
      </p:sp>
      <p:grpSp>
        <p:nvGrpSpPr>
          <p:cNvPr id="41" name="组合 4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813397" y="4530305"/>
            <a:ext cx="3338879" cy="965511"/>
            <a:chOff x="6674548" y="1842106"/>
            <a:chExt cx="4694544" cy="1357531"/>
          </a:xfrm>
        </p:grpSpPr>
        <p:grpSp>
          <p:nvGrpSpPr>
            <p:cNvPr id="108" name="Group 11"/>
            <p:cNvGrpSpPr/>
            <p:nvPr/>
          </p:nvGrpSpPr>
          <p:grpSpPr>
            <a:xfrm>
              <a:off x="6674548" y="1842106"/>
              <a:ext cx="3376232" cy="1357531"/>
              <a:chOff x="6674548" y="1842106"/>
              <a:chExt cx="3376232" cy="1357531"/>
            </a:xfrm>
          </p:grpSpPr>
          <p:grpSp>
            <p:nvGrpSpPr>
              <p:cNvPr id="109" name="Group 58"/>
              <p:cNvGrpSpPr/>
              <p:nvPr/>
            </p:nvGrpSpPr>
            <p:grpSpPr>
              <a:xfrm>
                <a:off x="8995267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69" name="Freeform 56"/>
                <p:cNvSpPr>
                  <a:spLocks/>
                </p:cNvSpPr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70" name="Freeform 57"/>
                <p:cNvSpPr>
                  <a:spLocks/>
                </p:cNvSpPr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18" name="Group 31"/>
              <p:cNvGrpSpPr/>
              <p:nvPr/>
            </p:nvGrpSpPr>
            <p:grpSpPr>
              <a:xfrm>
                <a:off x="7439277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67" name="Freeform 58"/>
                <p:cNvSpPr>
                  <a:spLocks/>
                </p:cNvSpPr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68" name="Freeform 59"/>
                <p:cNvSpPr>
                  <a:spLocks/>
                </p:cNvSpPr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19" name="Group 34"/>
              <p:cNvGrpSpPr/>
              <p:nvPr/>
            </p:nvGrpSpPr>
            <p:grpSpPr>
              <a:xfrm>
                <a:off x="7435023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65" name="Freeform 56"/>
                <p:cNvSpPr>
                  <a:spLocks/>
                </p:cNvSpPr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66" name="Freeform 57"/>
                <p:cNvSpPr>
                  <a:spLocks/>
                </p:cNvSpPr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0" name="Group 37"/>
              <p:cNvGrpSpPr/>
              <p:nvPr/>
            </p:nvGrpSpPr>
            <p:grpSpPr>
              <a:xfrm>
                <a:off x="7829338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63" name="Freeform 58"/>
                <p:cNvSpPr>
                  <a:spLocks/>
                </p:cNvSpPr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64" name="Freeform 59"/>
                <p:cNvSpPr>
                  <a:spLocks/>
                </p:cNvSpPr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1" name="Group 40"/>
              <p:cNvGrpSpPr/>
              <p:nvPr/>
            </p:nvGrpSpPr>
            <p:grpSpPr>
              <a:xfrm>
                <a:off x="7825084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61" name="Freeform 56"/>
                <p:cNvSpPr>
                  <a:spLocks/>
                </p:cNvSpPr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62" name="Freeform 57"/>
                <p:cNvSpPr>
                  <a:spLocks/>
                </p:cNvSpPr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2" name="Group 43"/>
              <p:cNvGrpSpPr/>
              <p:nvPr/>
            </p:nvGrpSpPr>
            <p:grpSpPr>
              <a:xfrm>
                <a:off x="8219399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59" name="Freeform 58"/>
                <p:cNvSpPr>
                  <a:spLocks/>
                </p:cNvSpPr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60" name="Freeform 59"/>
                <p:cNvSpPr>
                  <a:spLocks/>
                </p:cNvSpPr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3" name="Group 46"/>
              <p:cNvGrpSpPr/>
              <p:nvPr/>
            </p:nvGrpSpPr>
            <p:grpSpPr>
              <a:xfrm>
                <a:off x="8215145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57" name="Freeform 56"/>
                <p:cNvSpPr>
                  <a:spLocks/>
                </p:cNvSpPr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58" name="Freeform 57"/>
                <p:cNvSpPr>
                  <a:spLocks/>
                </p:cNvSpPr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4" name="Group 49"/>
              <p:cNvGrpSpPr/>
              <p:nvPr/>
            </p:nvGrpSpPr>
            <p:grpSpPr>
              <a:xfrm>
                <a:off x="8609460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55" name="Freeform 58"/>
                <p:cNvSpPr>
                  <a:spLocks/>
                </p:cNvSpPr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56" name="Freeform 59"/>
                <p:cNvSpPr>
                  <a:spLocks/>
                </p:cNvSpPr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5" name="Group 52"/>
              <p:cNvGrpSpPr/>
              <p:nvPr/>
            </p:nvGrpSpPr>
            <p:grpSpPr>
              <a:xfrm>
                <a:off x="8605206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53" name="Freeform 56"/>
                <p:cNvSpPr>
                  <a:spLocks/>
                </p:cNvSpPr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54" name="Freeform 57"/>
                <p:cNvSpPr>
                  <a:spLocks/>
                </p:cNvSpPr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6" name="Group 55"/>
              <p:cNvGrpSpPr/>
              <p:nvPr/>
            </p:nvGrpSpPr>
            <p:grpSpPr>
              <a:xfrm>
                <a:off x="8999521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51" name="Freeform 58"/>
                <p:cNvSpPr>
                  <a:spLocks/>
                </p:cNvSpPr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52" name="Freeform 59"/>
                <p:cNvSpPr>
                  <a:spLocks/>
                </p:cNvSpPr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7" name="Group 61"/>
              <p:cNvGrpSpPr/>
              <p:nvPr/>
            </p:nvGrpSpPr>
            <p:grpSpPr>
              <a:xfrm>
                <a:off x="9389582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49" name="Freeform 58"/>
                <p:cNvSpPr>
                  <a:spLocks/>
                </p:cNvSpPr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50" name="Freeform 59"/>
                <p:cNvSpPr>
                  <a:spLocks/>
                </p:cNvSpPr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8" name="Group 64"/>
              <p:cNvGrpSpPr/>
              <p:nvPr/>
            </p:nvGrpSpPr>
            <p:grpSpPr>
              <a:xfrm>
                <a:off x="9385328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47" name="Freeform 56"/>
                <p:cNvSpPr>
                  <a:spLocks/>
                </p:cNvSpPr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48" name="Freeform 57"/>
                <p:cNvSpPr>
                  <a:spLocks/>
                </p:cNvSpPr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9" name="Group 67"/>
              <p:cNvGrpSpPr/>
              <p:nvPr/>
            </p:nvGrpSpPr>
            <p:grpSpPr>
              <a:xfrm>
                <a:off x="9779643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45" name="Freeform 58"/>
                <p:cNvSpPr>
                  <a:spLocks/>
                </p:cNvSpPr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46" name="Freeform 59"/>
                <p:cNvSpPr>
                  <a:spLocks/>
                </p:cNvSpPr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30" name="Group 70"/>
              <p:cNvGrpSpPr/>
              <p:nvPr/>
            </p:nvGrpSpPr>
            <p:grpSpPr>
              <a:xfrm>
                <a:off x="9775389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43" name="Freeform 56"/>
                <p:cNvSpPr>
                  <a:spLocks/>
                </p:cNvSpPr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44" name="Freeform 57"/>
                <p:cNvSpPr>
                  <a:spLocks/>
                </p:cNvSpPr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31" name="Group 134"/>
              <p:cNvGrpSpPr/>
              <p:nvPr/>
            </p:nvGrpSpPr>
            <p:grpSpPr>
              <a:xfrm>
                <a:off x="6678802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41" name="Freeform 58"/>
                <p:cNvSpPr>
                  <a:spLocks/>
                </p:cNvSpPr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42" name="Freeform 59"/>
                <p:cNvSpPr>
                  <a:spLocks/>
                </p:cNvSpPr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32" name="Group 137"/>
              <p:cNvGrpSpPr/>
              <p:nvPr/>
            </p:nvGrpSpPr>
            <p:grpSpPr>
              <a:xfrm>
                <a:off x="6674548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39" name="Freeform 56"/>
                <p:cNvSpPr>
                  <a:spLocks/>
                </p:cNvSpPr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40" name="Freeform 57"/>
                <p:cNvSpPr>
                  <a:spLocks/>
                </p:cNvSpPr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33" name="Group 140"/>
              <p:cNvGrpSpPr/>
              <p:nvPr/>
            </p:nvGrpSpPr>
            <p:grpSpPr>
              <a:xfrm>
                <a:off x="7068863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37" name="Freeform 58"/>
                <p:cNvSpPr>
                  <a:spLocks/>
                </p:cNvSpPr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38" name="Freeform 59"/>
                <p:cNvSpPr>
                  <a:spLocks/>
                </p:cNvSpPr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34" name="Group 143"/>
              <p:cNvGrpSpPr/>
              <p:nvPr/>
            </p:nvGrpSpPr>
            <p:grpSpPr>
              <a:xfrm>
                <a:off x="7064609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35" name="Freeform 56"/>
                <p:cNvSpPr>
                  <a:spLocks/>
                </p:cNvSpPr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36" name="Freeform 57"/>
                <p:cNvSpPr>
                  <a:spLocks/>
                </p:cNvSpPr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</p:grpSp>
        <p:grpSp>
          <p:nvGrpSpPr>
            <p:cNvPr id="171" name="Group 26"/>
            <p:cNvGrpSpPr/>
            <p:nvPr/>
          </p:nvGrpSpPr>
          <p:grpSpPr>
            <a:xfrm>
              <a:off x="8995267" y="1842106"/>
              <a:ext cx="1011169" cy="591857"/>
              <a:chOff x="8995267" y="1842106"/>
              <a:chExt cx="1011169" cy="591857"/>
            </a:xfrm>
          </p:grpSpPr>
          <p:grpSp>
            <p:nvGrpSpPr>
              <p:cNvPr id="172" name="Group 105"/>
              <p:cNvGrpSpPr/>
              <p:nvPr/>
            </p:nvGrpSpPr>
            <p:grpSpPr>
              <a:xfrm>
                <a:off x="8995267" y="1842106"/>
                <a:ext cx="231047" cy="591857"/>
                <a:chOff x="3647164" y="2464482"/>
                <a:chExt cx="231047" cy="591857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79" name="Freeform 56"/>
                <p:cNvSpPr>
                  <a:spLocks/>
                </p:cNvSpPr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80" name="Freeform 57"/>
                <p:cNvSpPr>
                  <a:spLocks/>
                </p:cNvSpPr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73" name="Group 107"/>
              <p:cNvGrpSpPr/>
              <p:nvPr/>
            </p:nvGrpSpPr>
            <p:grpSpPr>
              <a:xfrm>
                <a:off x="9385328" y="1842106"/>
                <a:ext cx="231047" cy="591857"/>
                <a:chOff x="3647164" y="2464482"/>
                <a:chExt cx="231047" cy="591857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77" name="Freeform 56"/>
                <p:cNvSpPr>
                  <a:spLocks/>
                </p:cNvSpPr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78" name="Freeform 57"/>
                <p:cNvSpPr>
                  <a:spLocks/>
                </p:cNvSpPr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74" name="Group 109"/>
              <p:cNvGrpSpPr/>
              <p:nvPr/>
            </p:nvGrpSpPr>
            <p:grpSpPr>
              <a:xfrm>
                <a:off x="9775389" y="1842106"/>
                <a:ext cx="231047" cy="591857"/>
                <a:chOff x="3647164" y="2464482"/>
                <a:chExt cx="231047" cy="591857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75" name="Freeform 56"/>
                <p:cNvSpPr>
                  <a:spLocks/>
                </p:cNvSpPr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76" name="Freeform 57"/>
                <p:cNvSpPr>
                  <a:spLocks/>
                </p:cNvSpPr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</p:grpSp>
        <p:grpSp>
          <p:nvGrpSpPr>
            <p:cNvPr id="181" name="Group 25"/>
            <p:cNvGrpSpPr/>
            <p:nvPr/>
          </p:nvGrpSpPr>
          <p:grpSpPr>
            <a:xfrm>
              <a:off x="8612970" y="2591953"/>
              <a:ext cx="1437810" cy="607684"/>
              <a:chOff x="8612970" y="2591953"/>
              <a:chExt cx="1437810" cy="607684"/>
            </a:xfrm>
          </p:grpSpPr>
          <p:grpSp>
            <p:nvGrpSpPr>
              <p:cNvPr id="182" name="Group 104"/>
              <p:cNvGrpSpPr/>
              <p:nvPr/>
            </p:nvGrpSpPr>
            <p:grpSpPr>
              <a:xfrm>
                <a:off x="8999521" y="2591953"/>
                <a:ext cx="271137" cy="607684"/>
                <a:chOff x="3327401" y="4335463"/>
                <a:chExt cx="407988" cy="914400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92" name="Freeform 58"/>
                <p:cNvSpPr>
                  <a:spLocks/>
                </p:cNvSpPr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93" name="Freeform 59"/>
                <p:cNvSpPr>
                  <a:spLocks/>
                </p:cNvSpPr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83" name="Group 106"/>
              <p:cNvGrpSpPr/>
              <p:nvPr/>
            </p:nvGrpSpPr>
            <p:grpSpPr>
              <a:xfrm>
                <a:off x="9389582" y="2591953"/>
                <a:ext cx="271137" cy="607684"/>
                <a:chOff x="3327401" y="4335463"/>
                <a:chExt cx="407988" cy="914400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90" name="Freeform 58"/>
                <p:cNvSpPr>
                  <a:spLocks/>
                </p:cNvSpPr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91" name="Freeform 59"/>
                <p:cNvSpPr>
                  <a:spLocks/>
                </p:cNvSpPr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84" name="Group 108"/>
              <p:cNvGrpSpPr/>
              <p:nvPr/>
            </p:nvGrpSpPr>
            <p:grpSpPr>
              <a:xfrm>
                <a:off x="9779643" y="2591953"/>
                <a:ext cx="271137" cy="607684"/>
                <a:chOff x="3327401" y="4335463"/>
                <a:chExt cx="407988" cy="914400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85" name="Group 122"/>
              <p:cNvGrpSpPr/>
              <p:nvPr/>
            </p:nvGrpSpPr>
            <p:grpSpPr>
              <a:xfrm>
                <a:off x="8612970" y="2591953"/>
                <a:ext cx="271137" cy="607684"/>
                <a:chOff x="3327401" y="4335463"/>
                <a:chExt cx="407988" cy="914400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86" name="Freeform 58"/>
                <p:cNvSpPr>
                  <a:spLocks/>
                </p:cNvSpPr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87" name="Freeform 59"/>
                <p:cNvSpPr>
                  <a:spLocks/>
                </p:cNvSpPr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微软雅黑 Light" panose="020B0502040204020203" pitchFamily="34" charset="-122"/>
                    <a:ea typeface="微软雅黑 Light" panose="020B0502040204020203" pitchFamily="34" charset="-122"/>
                    <a:sym typeface="微软雅黑 Light" panose="020B0502040204020203" pitchFamily="34" charset="-122"/>
                  </a:endParaRPr>
                </a:p>
              </p:txBody>
            </p:sp>
          </p:grpSp>
        </p:grpSp>
        <p:sp>
          <p:nvSpPr>
            <p:cNvPr id="195" name="Rectangle 125"/>
            <p:cNvSpPr/>
            <p:nvPr/>
          </p:nvSpPr>
          <p:spPr>
            <a:xfrm>
              <a:off x="10080523" y="1857584"/>
              <a:ext cx="1288569" cy="5192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  <a:sym typeface="微软雅黑 Light" panose="020B0502040204020203" pitchFamily="34" charset="-122"/>
                </a:rPr>
                <a:t>54%</a:t>
              </a:r>
              <a:endPara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198" name="Rectangle 132"/>
            <p:cNvSpPr/>
            <p:nvPr/>
          </p:nvSpPr>
          <p:spPr>
            <a:xfrm>
              <a:off x="10080523" y="2614516"/>
              <a:ext cx="1225337" cy="5192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  <a:sym typeface="微软雅黑 Light" panose="020B0502040204020203" pitchFamily="34" charset="-122"/>
                </a:rPr>
                <a:t>84%</a:t>
              </a:r>
              <a:endPara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sym typeface="微软雅黑 Light" panose="020B0502040204020203" pitchFamily="34" charset="-122"/>
              </a:endParaRPr>
            </a:p>
          </p:txBody>
        </p:sp>
      </p:grpSp>
      <p:sp>
        <p:nvSpPr>
          <p:cNvPr id="368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79801" y="2994285"/>
            <a:ext cx="3174792" cy="1269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 dirty="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369" name="Freeform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05857" y="1659968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370" name="Rectangle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83815" y="1515591"/>
            <a:ext cx="260870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ea typeface="Roboto" panose="02000000000000000000" pitchFamily="2" charset="0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ea typeface="Roboto" panose="02000000000000000000" pitchFamily="2" charset="0"/>
              </a:rPr>
              <a:t>productivate</a:t>
            </a:r>
            <a:r>
              <a:rPr lang="en-US" sz="900" dirty="0">
                <a:solidFill>
                  <a:schemeClr val="tx2"/>
                </a:solidFill>
                <a:ea typeface="Roboto" panose="02000000000000000000" pitchFamily="2" charset="0"/>
              </a:rPr>
              <a:t> dynamic total linkage vis-a-vis competitive platforms. </a:t>
            </a:r>
          </a:p>
        </p:txBody>
      </p:sp>
      <p:sp>
        <p:nvSpPr>
          <p:cNvPr id="371" name="Freeform 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05857" y="2278682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372" name="Rectangle 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83815" y="2134305"/>
            <a:ext cx="260870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>
                <a:solidFill>
                  <a:schemeClr val="tx2"/>
                </a:solidFill>
                <a:ea typeface="Roboto" panose="02000000000000000000" pitchFamily="2" charset="0"/>
              </a:rPr>
              <a:t>Distinctively productivate dynamic total linkage vis-a-vis competitive platforms. </a:t>
            </a:r>
          </a:p>
        </p:txBody>
      </p:sp>
      <p:sp>
        <p:nvSpPr>
          <p:cNvPr id="373" name="Freeform 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494427" y="2897396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374" name="Rectangle 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72385" y="2753019"/>
            <a:ext cx="260870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ea typeface="Roboto" panose="02000000000000000000" pitchFamily="2" charset="0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ea typeface="Roboto" panose="02000000000000000000" pitchFamily="2" charset="0"/>
              </a:rPr>
              <a:t>productivate</a:t>
            </a:r>
            <a:r>
              <a:rPr lang="en-US" sz="900" dirty="0">
                <a:solidFill>
                  <a:schemeClr val="tx2"/>
                </a:solidFill>
                <a:ea typeface="Roboto" panose="02000000000000000000" pitchFamily="2" charset="0"/>
              </a:rPr>
              <a:t> dynamic total linkage vis-a-vis competitive platforms. </a:t>
            </a:r>
          </a:p>
        </p:txBody>
      </p:sp>
      <p:sp>
        <p:nvSpPr>
          <p:cNvPr id="375" name="Freeform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68316" y="4315725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376" name="Rectangle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846274" y="4171348"/>
            <a:ext cx="260870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ea typeface="Roboto" panose="02000000000000000000" pitchFamily="2" charset="0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ea typeface="Roboto" panose="02000000000000000000" pitchFamily="2" charset="0"/>
              </a:rPr>
              <a:t>productivate</a:t>
            </a:r>
            <a:r>
              <a:rPr lang="en-US" sz="900" dirty="0">
                <a:solidFill>
                  <a:schemeClr val="tx2"/>
                </a:solidFill>
                <a:ea typeface="Roboto" panose="02000000000000000000" pitchFamily="2" charset="0"/>
              </a:rPr>
              <a:t> dynamic total linkage vis-a-vis competitive platforms. </a:t>
            </a:r>
          </a:p>
        </p:txBody>
      </p:sp>
      <p:sp>
        <p:nvSpPr>
          <p:cNvPr id="377" name="Freeform 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68316" y="4934439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378" name="Rectangle 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846274" y="4790062"/>
            <a:ext cx="260870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>
                <a:solidFill>
                  <a:schemeClr val="tx2"/>
                </a:solidFill>
                <a:ea typeface="Roboto" panose="02000000000000000000" pitchFamily="2" charset="0"/>
              </a:rPr>
              <a:t>Distinctively productivate dynamic total linkage vis-a-vis competitive platforms. </a:t>
            </a:r>
          </a:p>
        </p:txBody>
      </p:sp>
      <p:sp>
        <p:nvSpPr>
          <p:cNvPr id="379" name="Freeform 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56886" y="5553153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380" name="Rectangle 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834844" y="5408776"/>
            <a:ext cx="260870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ea typeface="Roboto" panose="02000000000000000000" pitchFamily="2" charset="0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ea typeface="Roboto" panose="02000000000000000000" pitchFamily="2" charset="0"/>
              </a:rPr>
              <a:t>productivate</a:t>
            </a:r>
            <a:r>
              <a:rPr lang="en-US" sz="900" dirty="0">
                <a:solidFill>
                  <a:schemeClr val="tx2"/>
                </a:solidFill>
                <a:ea typeface="Roboto" panose="02000000000000000000" pitchFamily="2" charset="0"/>
              </a:rPr>
              <a:t> dynamic total linkage vis-a-vis competitive platforms. </a:t>
            </a:r>
          </a:p>
        </p:txBody>
      </p:sp>
      <p:sp>
        <p:nvSpPr>
          <p:cNvPr id="42" name="e7d195523061f1c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 hidden="1"/>
          <p:cNvSpPr txBox="1"/>
          <p:nvPr/>
        </p:nvSpPr>
        <p:spPr>
          <a:xfrm>
            <a:off x="-355600" y="1803400"/>
            <a:ext cx="329642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1542892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03025">
            <a:off x="9967308" y="6187161"/>
            <a:ext cx="1079708" cy="91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Rectangle 8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AF42DFAD-400D-46B1-A431-03D923F87A09}"/>
              </a:ext>
            </a:extLst>
          </p:cNvPr>
          <p:cNvSpPr/>
          <p:nvPr/>
        </p:nvSpPr>
        <p:spPr>
          <a:xfrm>
            <a:off x="230250" y="1316042"/>
            <a:ext cx="5029632" cy="503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sz="3600" spc="-150" dirty="0">
                <a:solidFill>
                  <a:schemeClr val="tx1"/>
                </a:solidFill>
                <a:latin typeface="+mj-lt"/>
              </a:rPr>
              <a:t>Pros</a:t>
            </a:r>
          </a:p>
        </p:txBody>
      </p:sp>
      <p:sp>
        <p:nvSpPr>
          <p:cNvPr id="39" name="Rectangle 3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8D7A0C5C-CCC2-4D44-8564-5C6DEBE626D0}"/>
              </a:ext>
            </a:extLst>
          </p:cNvPr>
          <p:cNvSpPr/>
          <p:nvPr/>
        </p:nvSpPr>
        <p:spPr>
          <a:xfrm>
            <a:off x="6780617" y="1354142"/>
            <a:ext cx="5024857" cy="503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sz="3600" spc="-15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Cons</a:t>
            </a:r>
          </a:p>
        </p:txBody>
      </p:sp>
      <p:sp>
        <p:nvSpPr>
          <p:cNvPr id="2" name="Text Placeholder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Grp="1"/>
          </p:cNvSpPr>
          <p:nvPr>
            <p:ph type="body" sz="quarter" idx="4294967295"/>
          </p:nvPr>
        </p:nvSpPr>
        <p:spPr>
          <a:xfrm>
            <a:off x="564470" y="534572"/>
            <a:ext cx="11136085" cy="67678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000" b="1" dirty="0">
                <a:solidFill>
                  <a:schemeClr val="tx2">
                    <a:lumMod val="50000"/>
                  </a:schemeClr>
                </a:solidFill>
              </a:rPr>
              <a:t>Pros &amp; Cons</a:t>
            </a:r>
          </a:p>
        </p:txBody>
      </p:sp>
      <p:sp>
        <p:nvSpPr>
          <p:cNvPr id="86" name="Rectangle: Rounded Corners 8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DAA58B07-2281-40FC-AD47-04A7AC6C74A2}"/>
              </a:ext>
            </a:extLst>
          </p:cNvPr>
          <p:cNvSpPr/>
          <p:nvPr/>
        </p:nvSpPr>
        <p:spPr>
          <a:xfrm>
            <a:off x="622953" y="1893078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8" name="Rectangle: Rounded Corners 8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AC824F76-DCFF-44E5-947F-91B576A50593}"/>
              </a:ext>
            </a:extLst>
          </p:cNvPr>
          <p:cNvSpPr/>
          <p:nvPr/>
        </p:nvSpPr>
        <p:spPr>
          <a:xfrm>
            <a:off x="6084216" y="1893078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3" name="Rectangle: Rounded Corners 9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747EEF3D-B574-4EB4-BB32-31EAB06EF490}"/>
              </a:ext>
            </a:extLst>
          </p:cNvPr>
          <p:cNvSpPr/>
          <p:nvPr/>
        </p:nvSpPr>
        <p:spPr>
          <a:xfrm>
            <a:off x="2150674" y="1893078"/>
            <a:ext cx="3930042" cy="33147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rPr>
              <a:t>75%</a:t>
            </a:r>
          </a:p>
        </p:txBody>
      </p:sp>
      <p:sp>
        <p:nvSpPr>
          <p:cNvPr id="98" name="Rectangle: Rounded Corners 9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C3BDD47E-319B-4A3A-98B5-3E7C5A2F68F9}"/>
              </a:ext>
            </a:extLst>
          </p:cNvPr>
          <p:cNvSpPr/>
          <p:nvPr/>
        </p:nvSpPr>
        <p:spPr>
          <a:xfrm>
            <a:off x="6084216" y="1893078"/>
            <a:ext cx="4101390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+mj-lt"/>
              </a:rPr>
              <a:t>80%</a:t>
            </a:r>
          </a:p>
        </p:txBody>
      </p:sp>
      <p:sp>
        <p:nvSpPr>
          <p:cNvPr id="131" name="TextBox 13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AB4ED5EF-7221-492E-8AB2-0864DF5880BA}"/>
              </a:ext>
            </a:extLst>
          </p:cNvPr>
          <p:cNvSpPr txBox="1"/>
          <p:nvPr/>
        </p:nvSpPr>
        <p:spPr>
          <a:xfrm>
            <a:off x="5814514" y="1324201"/>
            <a:ext cx="5822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 spc="-15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vs</a:t>
            </a:r>
          </a:p>
        </p:txBody>
      </p:sp>
      <p:sp>
        <p:nvSpPr>
          <p:cNvPr id="150" name="Rectangle: Rounded Corners 1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A4C127D5-0D87-4077-97B0-5C0834618D83}"/>
              </a:ext>
            </a:extLst>
          </p:cNvPr>
          <p:cNvSpPr/>
          <p:nvPr/>
        </p:nvSpPr>
        <p:spPr>
          <a:xfrm>
            <a:off x="5036131" y="1893078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Statistic One</a:t>
            </a:r>
          </a:p>
        </p:txBody>
      </p:sp>
      <p:sp>
        <p:nvSpPr>
          <p:cNvPr id="151" name="Rectangle: Rounded Corners 15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4186307C-2B1C-4477-865E-A925F7E7C2FF}"/>
              </a:ext>
            </a:extLst>
          </p:cNvPr>
          <p:cNvSpPr/>
          <p:nvPr/>
        </p:nvSpPr>
        <p:spPr>
          <a:xfrm>
            <a:off x="622953" y="2348489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52" name="Rectangle: Rounded Corners 15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257ED65F-E813-4615-884E-313D4D53893B}"/>
              </a:ext>
            </a:extLst>
          </p:cNvPr>
          <p:cNvSpPr/>
          <p:nvPr/>
        </p:nvSpPr>
        <p:spPr>
          <a:xfrm>
            <a:off x="6084216" y="2348489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53" name="Rectangle: Rounded Corners 1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16795E43-5F5F-4E0D-8C9B-CE437B6E551E}"/>
              </a:ext>
            </a:extLst>
          </p:cNvPr>
          <p:cNvSpPr/>
          <p:nvPr/>
        </p:nvSpPr>
        <p:spPr>
          <a:xfrm>
            <a:off x="3276633" y="2348489"/>
            <a:ext cx="2804083" cy="33147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rPr>
              <a:t>45%</a:t>
            </a:r>
          </a:p>
        </p:txBody>
      </p:sp>
      <p:sp>
        <p:nvSpPr>
          <p:cNvPr id="154" name="Rectangle: Rounded Corners 15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517E278C-88D8-448E-888F-36B9A62F3DAA}"/>
              </a:ext>
            </a:extLst>
          </p:cNvPr>
          <p:cNvSpPr/>
          <p:nvPr/>
        </p:nvSpPr>
        <p:spPr>
          <a:xfrm>
            <a:off x="6084215" y="2348489"/>
            <a:ext cx="2273501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+mj-lt"/>
              </a:rPr>
              <a:t>25%</a:t>
            </a:r>
          </a:p>
        </p:txBody>
      </p:sp>
      <p:sp>
        <p:nvSpPr>
          <p:cNvPr id="155" name="Rectangle: Rounded Corners 1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60D66716-088B-4956-9457-304C9CDC7595}"/>
              </a:ext>
            </a:extLst>
          </p:cNvPr>
          <p:cNvSpPr/>
          <p:nvPr/>
        </p:nvSpPr>
        <p:spPr>
          <a:xfrm>
            <a:off x="5036131" y="2348489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Statistic Two</a:t>
            </a:r>
          </a:p>
        </p:txBody>
      </p:sp>
      <p:sp>
        <p:nvSpPr>
          <p:cNvPr id="156" name="Rectangle: Rounded Corners 1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CDD259E1-D4A8-410A-8AD8-FEB473EC080E}"/>
              </a:ext>
            </a:extLst>
          </p:cNvPr>
          <p:cNvSpPr/>
          <p:nvPr/>
        </p:nvSpPr>
        <p:spPr>
          <a:xfrm>
            <a:off x="622953" y="2804367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57" name="Rectangle: Rounded Corners 1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014B0755-5735-4445-A93C-C5F9B39C1B92}"/>
              </a:ext>
            </a:extLst>
          </p:cNvPr>
          <p:cNvSpPr/>
          <p:nvPr/>
        </p:nvSpPr>
        <p:spPr>
          <a:xfrm>
            <a:off x="6084216" y="2804367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58" name="Rectangle: Rounded Corners 1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23F3FA8F-E40E-42B9-9A73-175F154172D5}"/>
              </a:ext>
            </a:extLst>
          </p:cNvPr>
          <p:cNvSpPr/>
          <p:nvPr/>
        </p:nvSpPr>
        <p:spPr>
          <a:xfrm>
            <a:off x="2903409" y="2804367"/>
            <a:ext cx="3177307" cy="33147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rPr>
              <a:t>50%</a:t>
            </a:r>
          </a:p>
        </p:txBody>
      </p:sp>
      <p:sp>
        <p:nvSpPr>
          <p:cNvPr id="159" name="Rectangle: Rounded Corners 15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AF17FE75-C59E-4185-AAE9-B791E8149CBD}"/>
              </a:ext>
            </a:extLst>
          </p:cNvPr>
          <p:cNvSpPr/>
          <p:nvPr/>
        </p:nvSpPr>
        <p:spPr>
          <a:xfrm>
            <a:off x="6084216" y="2804367"/>
            <a:ext cx="3957111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+mj-lt"/>
              </a:rPr>
              <a:t>75%</a:t>
            </a:r>
          </a:p>
        </p:txBody>
      </p:sp>
      <p:sp>
        <p:nvSpPr>
          <p:cNvPr id="160" name="Rectangle: Rounded Corners 15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387D6FFB-EDE2-4E77-8450-C4B54EFEA66B}"/>
              </a:ext>
            </a:extLst>
          </p:cNvPr>
          <p:cNvSpPr/>
          <p:nvPr/>
        </p:nvSpPr>
        <p:spPr>
          <a:xfrm>
            <a:off x="5036131" y="2804367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Statistic Three</a:t>
            </a:r>
          </a:p>
        </p:txBody>
      </p:sp>
      <p:sp>
        <p:nvSpPr>
          <p:cNvPr id="161" name="Rectangle: Rounded Corners 16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02E2FB41-2844-494E-BE26-0115AD5F0959}"/>
              </a:ext>
            </a:extLst>
          </p:cNvPr>
          <p:cNvSpPr/>
          <p:nvPr/>
        </p:nvSpPr>
        <p:spPr>
          <a:xfrm>
            <a:off x="622953" y="3261855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66" name="Rectangle: Rounded Corners 1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63A11F8A-13A8-4681-A3E2-11DB95A38B88}"/>
              </a:ext>
            </a:extLst>
          </p:cNvPr>
          <p:cNvSpPr/>
          <p:nvPr/>
        </p:nvSpPr>
        <p:spPr>
          <a:xfrm>
            <a:off x="6084216" y="3261855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98" name="Rectangle: Rounded Corners 19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D8742298-EA73-4D1C-BB7A-B4BF32B59AA9}"/>
              </a:ext>
            </a:extLst>
          </p:cNvPr>
          <p:cNvSpPr/>
          <p:nvPr/>
        </p:nvSpPr>
        <p:spPr>
          <a:xfrm>
            <a:off x="1525658" y="3261855"/>
            <a:ext cx="4555058" cy="33147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rPr>
              <a:t>89%</a:t>
            </a:r>
          </a:p>
        </p:txBody>
      </p:sp>
      <p:sp>
        <p:nvSpPr>
          <p:cNvPr id="199" name="Rectangle: Rounded Corners 19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2B09474A-9024-4B73-952C-DAA9E028B679}"/>
              </a:ext>
            </a:extLst>
          </p:cNvPr>
          <p:cNvSpPr/>
          <p:nvPr/>
        </p:nvSpPr>
        <p:spPr>
          <a:xfrm>
            <a:off x="6084216" y="3261855"/>
            <a:ext cx="185772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+mj-lt"/>
              </a:rPr>
              <a:t>15%</a:t>
            </a:r>
          </a:p>
        </p:txBody>
      </p:sp>
      <p:sp>
        <p:nvSpPr>
          <p:cNvPr id="200" name="Rectangle: Rounded Corners 19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85548F4A-E8AF-40D9-8D18-0C50D96A0E98}"/>
              </a:ext>
            </a:extLst>
          </p:cNvPr>
          <p:cNvSpPr/>
          <p:nvPr/>
        </p:nvSpPr>
        <p:spPr>
          <a:xfrm>
            <a:off x="5036131" y="3261855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Statistic Four</a:t>
            </a:r>
          </a:p>
        </p:txBody>
      </p:sp>
      <p:sp>
        <p:nvSpPr>
          <p:cNvPr id="201" name="Rectangle: Rounded Corners 20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E1C4E29A-A6E6-4C0C-88C3-9ACD4C538CC4}"/>
              </a:ext>
            </a:extLst>
          </p:cNvPr>
          <p:cNvSpPr/>
          <p:nvPr/>
        </p:nvSpPr>
        <p:spPr>
          <a:xfrm>
            <a:off x="622953" y="3718925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02" name="Rectangle: Rounded Corners 20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52B1079C-E64D-42D2-8199-F880AB461ABE}"/>
              </a:ext>
            </a:extLst>
          </p:cNvPr>
          <p:cNvSpPr/>
          <p:nvPr/>
        </p:nvSpPr>
        <p:spPr>
          <a:xfrm>
            <a:off x="6084216" y="3718925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03" name="Rectangle: Rounded Corners 20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99A96286-681F-4832-A80E-E0554E8E47B0}"/>
              </a:ext>
            </a:extLst>
          </p:cNvPr>
          <p:cNvSpPr/>
          <p:nvPr/>
        </p:nvSpPr>
        <p:spPr>
          <a:xfrm>
            <a:off x="3357612" y="3718925"/>
            <a:ext cx="2723104" cy="331471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rPr>
              <a:t>35%</a:t>
            </a:r>
          </a:p>
        </p:txBody>
      </p:sp>
      <p:sp>
        <p:nvSpPr>
          <p:cNvPr id="204" name="Rectangle: Rounded Corners 20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2C6E63FA-E4F8-4C44-8C54-D00A14E31734}"/>
              </a:ext>
            </a:extLst>
          </p:cNvPr>
          <p:cNvSpPr/>
          <p:nvPr/>
        </p:nvSpPr>
        <p:spPr>
          <a:xfrm>
            <a:off x="6084216" y="3718925"/>
            <a:ext cx="5358140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+mj-lt"/>
              </a:rPr>
              <a:t>95%</a:t>
            </a:r>
          </a:p>
        </p:txBody>
      </p:sp>
      <p:sp>
        <p:nvSpPr>
          <p:cNvPr id="205" name="Rectangle: Rounded Corners 20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4DB86E30-D0E8-47A8-AD83-EA0F3A22627B}"/>
              </a:ext>
            </a:extLst>
          </p:cNvPr>
          <p:cNvSpPr/>
          <p:nvPr/>
        </p:nvSpPr>
        <p:spPr>
          <a:xfrm>
            <a:off x="5036131" y="3718925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Statistic Five</a:t>
            </a:r>
          </a:p>
        </p:txBody>
      </p:sp>
      <p:sp>
        <p:nvSpPr>
          <p:cNvPr id="70" name="Rectangle: Rounded Corners 6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D5FDB600-D033-42BF-92D5-1DF3BC69970E}"/>
              </a:ext>
            </a:extLst>
          </p:cNvPr>
          <p:cNvSpPr/>
          <p:nvPr/>
        </p:nvSpPr>
        <p:spPr>
          <a:xfrm>
            <a:off x="622953" y="4186298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71" name="Rectangle: Rounded Corners 7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CBFD3CC2-611A-445F-8E28-C00AEECA065C}"/>
              </a:ext>
            </a:extLst>
          </p:cNvPr>
          <p:cNvSpPr/>
          <p:nvPr/>
        </p:nvSpPr>
        <p:spPr>
          <a:xfrm>
            <a:off x="6084216" y="4186298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7" name="Rectangle: Rounded Corners 9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B37D4C24-C79B-43A0-A0E0-7F4D08DD9A93}"/>
              </a:ext>
            </a:extLst>
          </p:cNvPr>
          <p:cNvSpPr/>
          <p:nvPr/>
        </p:nvSpPr>
        <p:spPr>
          <a:xfrm>
            <a:off x="1525658" y="4186298"/>
            <a:ext cx="4555058" cy="331471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rPr>
              <a:t>89%</a:t>
            </a:r>
          </a:p>
        </p:txBody>
      </p:sp>
      <p:sp>
        <p:nvSpPr>
          <p:cNvPr id="99" name="Rectangle: Rounded Corners 9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C7A71836-A34D-4F33-8BE0-7517CC167B93}"/>
              </a:ext>
            </a:extLst>
          </p:cNvPr>
          <p:cNvSpPr/>
          <p:nvPr/>
        </p:nvSpPr>
        <p:spPr>
          <a:xfrm>
            <a:off x="6084216" y="4186298"/>
            <a:ext cx="1624458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+mj-lt"/>
              </a:rPr>
              <a:t>5%</a:t>
            </a:r>
          </a:p>
        </p:txBody>
      </p:sp>
      <p:sp>
        <p:nvSpPr>
          <p:cNvPr id="100" name="Rectangle: Rounded Corners 9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D90C4FF4-882F-448D-812B-4A00A993F096}"/>
              </a:ext>
            </a:extLst>
          </p:cNvPr>
          <p:cNvSpPr/>
          <p:nvPr/>
        </p:nvSpPr>
        <p:spPr>
          <a:xfrm>
            <a:off x="5036131" y="4186298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Statistic Six</a:t>
            </a:r>
          </a:p>
        </p:txBody>
      </p:sp>
      <p:sp>
        <p:nvSpPr>
          <p:cNvPr id="101" name="Rectangle: Rounded Corners 10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9AE1C90A-AB16-488E-869A-A978F76C6D8D}"/>
              </a:ext>
            </a:extLst>
          </p:cNvPr>
          <p:cNvSpPr/>
          <p:nvPr/>
        </p:nvSpPr>
        <p:spPr>
          <a:xfrm>
            <a:off x="622953" y="4643368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2" name="Rectangle: Rounded Corners 10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34BE3484-E5D4-48EA-A7FC-BA1482BD78C0}"/>
              </a:ext>
            </a:extLst>
          </p:cNvPr>
          <p:cNvSpPr/>
          <p:nvPr/>
        </p:nvSpPr>
        <p:spPr>
          <a:xfrm>
            <a:off x="6084216" y="4643368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3" name="Rectangle: Rounded Corners 10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18F677CE-DAD4-4445-BDD5-A1D284FE129C}"/>
              </a:ext>
            </a:extLst>
          </p:cNvPr>
          <p:cNvSpPr/>
          <p:nvPr/>
        </p:nvSpPr>
        <p:spPr>
          <a:xfrm>
            <a:off x="2520854" y="4643368"/>
            <a:ext cx="3559862" cy="331471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rPr>
              <a:t>65%</a:t>
            </a:r>
          </a:p>
        </p:txBody>
      </p:sp>
      <p:sp>
        <p:nvSpPr>
          <p:cNvPr id="104" name="Rectangle: Rounded Corners 10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58D81C2F-205F-48E8-A9B2-189802520A82}"/>
              </a:ext>
            </a:extLst>
          </p:cNvPr>
          <p:cNvSpPr/>
          <p:nvPr/>
        </p:nvSpPr>
        <p:spPr>
          <a:xfrm>
            <a:off x="6084216" y="4643368"/>
            <a:ext cx="5358140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+mj-lt"/>
              </a:rPr>
              <a:t>95%</a:t>
            </a:r>
          </a:p>
        </p:txBody>
      </p:sp>
      <p:sp>
        <p:nvSpPr>
          <p:cNvPr id="105" name="Rectangle: Rounded Corners 10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E32A1672-CCA0-49E2-A435-C25443F7CE49}"/>
              </a:ext>
            </a:extLst>
          </p:cNvPr>
          <p:cNvSpPr/>
          <p:nvPr/>
        </p:nvSpPr>
        <p:spPr>
          <a:xfrm>
            <a:off x="5036131" y="4643368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Statistic Seven</a:t>
            </a:r>
          </a:p>
        </p:txBody>
      </p:sp>
      <p:sp>
        <p:nvSpPr>
          <p:cNvPr id="106" name="Rectangle: Rounded Corners 10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D96F6070-A527-4A13-AA2A-BC3B417F16F0}"/>
              </a:ext>
            </a:extLst>
          </p:cNvPr>
          <p:cNvSpPr/>
          <p:nvPr/>
        </p:nvSpPr>
        <p:spPr>
          <a:xfrm>
            <a:off x="622953" y="5100438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7" name="Rectangle: Rounded Corners 10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DAF16040-B082-4D54-9411-6A256553C117}"/>
              </a:ext>
            </a:extLst>
          </p:cNvPr>
          <p:cNvSpPr/>
          <p:nvPr/>
        </p:nvSpPr>
        <p:spPr>
          <a:xfrm>
            <a:off x="6084216" y="5100438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8" name="Rectangle: Rounded Corners 10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781E9DE1-1EE3-4DF2-8C1D-8647C93A411B}"/>
              </a:ext>
            </a:extLst>
          </p:cNvPr>
          <p:cNvSpPr/>
          <p:nvPr/>
        </p:nvSpPr>
        <p:spPr>
          <a:xfrm>
            <a:off x="2903409" y="5100438"/>
            <a:ext cx="3177307" cy="331471"/>
          </a:xfrm>
          <a:prstGeom prst="roundRect">
            <a:avLst>
              <a:gd name="adj" fmla="val 5000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rPr>
              <a:t>50%</a:t>
            </a:r>
          </a:p>
        </p:txBody>
      </p:sp>
      <p:sp>
        <p:nvSpPr>
          <p:cNvPr id="109" name="Rectangle: Rounded Corners 10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39A90EE4-9322-4A93-9ECA-9FC4E5950D6A}"/>
              </a:ext>
            </a:extLst>
          </p:cNvPr>
          <p:cNvSpPr/>
          <p:nvPr/>
        </p:nvSpPr>
        <p:spPr>
          <a:xfrm>
            <a:off x="6084216" y="5100438"/>
            <a:ext cx="3611878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+mj-lt"/>
              </a:rPr>
              <a:t>70%</a:t>
            </a:r>
          </a:p>
        </p:txBody>
      </p:sp>
      <p:sp>
        <p:nvSpPr>
          <p:cNvPr id="110" name="Rectangle: Rounded Corners 10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0FF9C681-7F28-4B94-9DEB-6596159A39F4}"/>
              </a:ext>
            </a:extLst>
          </p:cNvPr>
          <p:cNvSpPr/>
          <p:nvPr/>
        </p:nvSpPr>
        <p:spPr>
          <a:xfrm>
            <a:off x="5036131" y="5100438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Statistic Eight</a:t>
            </a:r>
          </a:p>
        </p:txBody>
      </p:sp>
      <p:sp>
        <p:nvSpPr>
          <p:cNvPr id="111" name="Rectangle: Rounded Corners 11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A1C6570C-BC33-4EA6-AB03-C984F65B4084}"/>
              </a:ext>
            </a:extLst>
          </p:cNvPr>
          <p:cNvSpPr/>
          <p:nvPr/>
        </p:nvSpPr>
        <p:spPr>
          <a:xfrm>
            <a:off x="622953" y="5567810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12" name="Rectangle: Rounded Corners 11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D422727F-9324-4079-B924-7CA28569A7D6}"/>
              </a:ext>
            </a:extLst>
          </p:cNvPr>
          <p:cNvSpPr/>
          <p:nvPr/>
        </p:nvSpPr>
        <p:spPr>
          <a:xfrm>
            <a:off x="6084216" y="5567810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13" name="Rectangle: Rounded Corners 11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15C7EFC9-19F1-4073-AF2F-672F77D3702C}"/>
              </a:ext>
            </a:extLst>
          </p:cNvPr>
          <p:cNvSpPr/>
          <p:nvPr/>
        </p:nvSpPr>
        <p:spPr>
          <a:xfrm>
            <a:off x="1525658" y="5567810"/>
            <a:ext cx="4555058" cy="331471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rPr>
              <a:t>89%</a:t>
            </a:r>
          </a:p>
        </p:txBody>
      </p:sp>
      <p:sp>
        <p:nvSpPr>
          <p:cNvPr id="114" name="Rectangle: Rounded Corners 1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8AAF4F94-E341-4746-A641-8148831D4E30}"/>
              </a:ext>
            </a:extLst>
          </p:cNvPr>
          <p:cNvSpPr/>
          <p:nvPr/>
        </p:nvSpPr>
        <p:spPr>
          <a:xfrm>
            <a:off x="6084216" y="5567810"/>
            <a:ext cx="1997682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+mj-lt"/>
              </a:rPr>
              <a:t>20%</a:t>
            </a:r>
          </a:p>
        </p:txBody>
      </p:sp>
      <p:sp>
        <p:nvSpPr>
          <p:cNvPr id="115" name="Rectangle: Rounded Corners 11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5D2B364B-1E3A-4818-AAD9-77F3B471F226}"/>
              </a:ext>
            </a:extLst>
          </p:cNvPr>
          <p:cNvSpPr/>
          <p:nvPr/>
        </p:nvSpPr>
        <p:spPr>
          <a:xfrm>
            <a:off x="5036131" y="5567810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Statistic Nine</a:t>
            </a:r>
          </a:p>
        </p:txBody>
      </p:sp>
      <p:sp>
        <p:nvSpPr>
          <p:cNvPr id="116" name="Rectangle: Rounded Corners 1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22340F5B-BE10-4046-BA61-C17D35F1F4BB}"/>
              </a:ext>
            </a:extLst>
          </p:cNvPr>
          <p:cNvSpPr/>
          <p:nvPr/>
        </p:nvSpPr>
        <p:spPr>
          <a:xfrm>
            <a:off x="622953" y="6024880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17" name="Rectangle: Rounded Corners 1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406FD4F9-18C0-412B-A8E2-E6EB8556B1E4}"/>
              </a:ext>
            </a:extLst>
          </p:cNvPr>
          <p:cNvSpPr/>
          <p:nvPr/>
        </p:nvSpPr>
        <p:spPr>
          <a:xfrm>
            <a:off x="6084216" y="6024880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18" name="Rectangle: Rounded Corners 1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A8EFB2C3-BD31-4C40-89B3-7C5B1CAB0F0F}"/>
              </a:ext>
            </a:extLst>
          </p:cNvPr>
          <p:cNvSpPr/>
          <p:nvPr/>
        </p:nvSpPr>
        <p:spPr>
          <a:xfrm>
            <a:off x="3357612" y="6024880"/>
            <a:ext cx="2723104" cy="331471"/>
          </a:xfrm>
          <a:prstGeom prst="roundRect">
            <a:avLst>
              <a:gd name="adj" fmla="val 5000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rPr>
              <a:t>35%</a:t>
            </a:r>
          </a:p>
        </p:txBody>
      </p:sp>
      <p:sp>
        <p:nvSpPr>
          <p:cNvPr id="119" name="Rectangle: Rounded Corners 1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F89DDC70-AA1E-40AA-B268-E514E1F32BA2}"/>
              </a:ext>
            </a:extLst>
          </p:cNvPr>
          <p:cNvSpPr/>
          <p:nvPr/>
        </p:nvSpPr>
        <p:spPr>
          <a:xfrm>
            <a:off x="6084216" y="6024880"/>
            <a:ext cx="5358140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+mj-lt"/>
              </a:rPr>
              <a:t>95%</a:t>
            </a:r>
          </a:p>
        </p:txBody>
      </p:sp>
      <p:sp>
        <p:nvSpPr>
          <p:cNvPr id="120" name="Rectangle: Rounded Corners 1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0E04FFD2-3909-4E5E-AC30-8EE7F0EEB36E}"/>
              </a:ext>
            </a:extLst>
          </p:cNvPr>
          <p:cNvSpPr/>
          <p:nvPr/>
        </p:nvSpPr>
        <p:spPr>
          <a:xfrm>
            <a:off x="5036131" y="6024880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Statistic Ten</a:t>
            </a:r>
          </a:p>
        </p:txBody>
      </p:sp>
      <p:sp>
        <p:nvSpPr>
          <p:cNvPr id="186" name="Rectangle 8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AF42DFAD-400D-46B1-A431-03D923F87A09}"/>
              </a:ext>
            </a:extLst>
          </p:cNvPr>
          <p:cNvSpPr/>
          <p:nvPr/>
        </p:nvSpPr>
        <p:spPr>
          <a:xfrm>
            <a:off x="713232" y="1719072"/>
            <a:ext cx="4443984" cy="914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endParaRPr lang="en-US" sz="2800" spc="-3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87" name="Rectangle 3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8D7A0C5C-CCC2-4D44-8564-5C6DEBE626D0}"/>
              </a:ext>
            </a:extLst>
          </p:cNvPr>
          <p:cNvSpPr/>
          <p:nvPr/>
        </p:nvSpPr>
        <p:spPr>
          <a:xfrm>
            <a:off x="6937803" y="1737360"/>
            <a:ext cx="4528773" cy="5486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2800" spc="-3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18" name="等腰三角形 2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16200000">
            <a:off x="7968480" y="679938"/>
            <a:ext cx="367167" cy="316523"/>
          </a:xfrm>
          <a:prstGeom prst="triangle">
            <a:avLst/>
          </a:prstGeom>
          <a:noFill/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19" name="矩形 2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2265543">
            <a:off x="269631" y="3077308"/>
            <a:ext cx="351692" cy="351692"/>
          </a:xfrm>
          <a:prstGeom prst="rect">
            <a:avLst/>
          </a:prstGeom>
          <a:noFill/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0" name="椭圆 2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743348" y="5456370"/>
            <a:ext cx="445477" cy="445477"/>
          </a:xfrm>
          <a:prstGeom prst="ellipse">
            <a:avLst/>
          </a:prstGeom>
          <a:noFill/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1" name="矩形 2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2265543">
            <a:off x="11368143" y="250041"/>
            <a:ext cx="172753" cy="172753"/>
          </a:xfrm>
          <a:prstGeom prst="rect">
            <a:avLst/>
          </a:prstGeom>
          <a:solidFill>
            <a:srgbClr val="01B7F9"/>
          </a:solidFill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62" name="Picture 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34953">
            <a:off x="684998" y="108784"/>
            <a:ext cx="1222364" cy="1158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7d195523061f1c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 hidden="1"/>
          <p:cNvSpPr txBox="1"/>
          <p:nvPr/>
        </p:nvSpPr>
        <p:spPr>
          <a:xfrm>
            <a:off x="-355600" y="1803400"/>
            <a:ext cx="329642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353081706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 noChangeArrowheads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" y="-38100"/>
            <a:ext cx="12192000" cy="689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8" name="Shape 13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157347" y="6350352"/>
            <a:ext cx="182742" cy="1897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defRPr sz="2400" b="1">
                <a:solidFill>
                  <a:srgbClr val="444444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05</a:t>
            </a:r>
          </a:p>
        </p:txBody>
      </p:sp>
      <p:sp>
        <p:nvSpPr>
          <p:cNvPr id="139" name="Shape 13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099606" y="2588796"/>
            <a:ext cx="552450" cy="148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>
              <a:lnSpc>
                <a:spcPct val="70000"/>
              </a:lnSpc>
              <a:defRPr sz="3200" b="1">
                <a:solidFill>
                  <a:srgbClr val="444444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24%</a:t>
            </a:r>
          </a:p>
        </p:txBody>
      </p:sp>
      <p:sp>
        <p:nvSpPr>
          <p:cNvPr id="140" name="Shape 14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21406" y="4017546"/>
            <a:ext cx="552450" cy="148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>
              <a:lnSpc>
                <a:spcPct val="70000"/>
              </a:lnSpc>
              <a:defRPr sz="3200" b="1">
                <a:solidFill>
                  <a:srgbClr val="444444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12%</a:t>
            </a:r>
          </a:p>
        </p:txBody>
      </p:sp>
      <p:sp>
        <p:nvSpPr>
          <p:cNvPr id="141" name="Shape 14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353356" y="3077746"/>
            <a:ext cx="552450" cy="148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>
              <a:lnSpc>
                <a:spcPct val="70000"/>
              </a:lnSpc>
              <a:defRPr sz="3200" b="1">
                <a:solidFill>
                  <a:srgbClr val="444444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21%</a:t>
            </a:r>
          </a:p>
        </p:txBody>
      </p:sp>
      <p:sp>
        <p:nvSpPr>
          <p:cNvPr id="142" name="Shape 14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242356" y="3915946"/>
            <a:ext cx="552450" cy="148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>
              <a:lnSpc>
                <a:spcPct val="70000"/>
              </a:lnSpc>
              <a:defRPr sz="3200" b="1">
                <a:solidFill>
                  <a:srgbClr val="444444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14%</a:t>
            </a:r>
          </a:p>
        </p:txBody>
      </p:sp>
      <p:sp>
        <p:nvSpPr>
          <p:cNvPr id="143" name="Shape 14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994956" y="3515896"/>
            <a:ext cx="552450" cy="148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>
              <a:lnSpc>
                <a:spcPct val="70000"/>
              </a:lnSpc>
              <a:defRPr sz="3200" b="1">
                <a:solidFill>
                  <a:srgbClr val="444444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17%</a:t>
            </a:r>
          </a:p>
        </p:txBody>
      </p:sp>
      <p:sp>
        <p:nvSpPr>
          <p:cNvPr id="144" name="Shape 14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55030" y="2561396"/>
            <a:ext cx="1467485" cy="23614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486"/>
                </a:moveTo>
                <a:cubicBezTo>
                  <a:pt x="0" y="21486"/>
                  <a:pt x="4099" y="19373"/>
                  <a:pt x="7024" y="13575"/>
                </a:cubicBezTo>
                <a:cubicBezTo>
                  <a:pt x="9950" y="7777"/>
                  <a:pt x="10824" y="0"/>
                  <a:pt x="10824" y="0"/>
                </a:cubicBezTo>
                <a:cubicBezTo>
                  <a:pt x="10824" y="0"/>
                  <a:pt x="13170" y="9697"/>
                  <a:pt x="15029" y="13573"/>
                </a:cubicBezTo>
                <a:cubicBezTo>
                  <a:pt x="17316" y="18341"/>
                  <a:pt x="21600" y="21600"/>
                  <a:pt x="21600" y="21600"/>
                </a:cubicBezTo>
                <a:lnTo>
                  <a:pt x="0" y="21486"/>
                </a:lnTo>
                <a:close/>
              </a:path>
            </a:pathLst>
          </a:custGeom>
          <a:gradFill flip="none" rotWithShape="1">
            <a:gsLst>
              <a:gs pos="0">
                <a:schemeClr val="accent5"/>
              </a:gs>
              <a:gs pos="100000">
                <a:schemeClr val="accent4">
                  <a:lumMod val="75000"/>
                </a:schemeClr>
              </a:gs>
            </a:gsLst>
            <a:lin ang="5400000" scaled="0"/>
          </a:gradFill>
          <a:ln w="25400" cap="flat">
            <a:solidFill>
              <a:srgbClr val="000000">
                <a:alpha val="0"/>
              </a:srgb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 sz="3200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endParaRPr sz="1600"/>
          </a:p>
        </p:txBody>
      </p:sp>
      <p:sp>
        <p:nvSpPr>
          <p:cNvPr id="145" name="Shape 14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901983" y="3359252"/>
            <a:ext cx="1467485" cy="15660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486"/>
                </a:moveTo>
                <a:cubicBezTo>
                  <a:pt x="0" y="21486"/>
                  <a:pt x="4099" y="19373"/>
                  <a:pt x="7024" y="13575"/>
                </a:cubicBezTo>
                <a:cubicBezTo>
                  <a:pt x="9950" y="7777"/>
                  <a:pt x="10824" y="0"/>
                  <a:pt x="10824" y="0"/>
                </a:cubicBezTo>
                <a:cubicBezTo>
                  <a:pt x="10824" y="0"/>
                  <a:pt x="13170" y="9697"/>
                  <a:pt x="15029" y="13573"/>
                </a:cubicBezTo>
                <a:cubicBezTo>
                  <a:pt x="17316" y="18341"/>
                  <a:pt x="21600" y="21600"/>
                  <a:pt x="21600" y="21600"/>
                </a:cubicBezTo>
                <a:lnTo>
                  <a:pt x="0" y="21486"/>
                </a:lnTo>
                <a:close/>
              </a:path>
            </a:pathLst>
          </a:cu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5400000" scaled="0"/>
          </a:gradFill>
          <a:ln w="25400" cap="flat">
            <a:solidFill>
              <a:srgbClr val="000000">
                <a:alpha val="0"/>
              </a:srgb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 sz="3200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endParaRPr sz="1600"/>
          </a:p>
        </p:txBody>
      </p:sp>
      <p:sp>
        <p:nvSpPr>
          <p:cNvPr id="146" name="Shape 14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69327" y="4288913"/>
            <a:ext cx="1467485" cy="6363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486"/>
                </a:moveTo>
                <a:cubicBezTo>
                  <a:pt x="0" y="21486"/>
                  <a:pt x="4099" y="19373"/>
                  <a:pt x="7024" y="13575"/>
                </a:cubicBezTo>
                <a:cubicBezTo>
                  <a:pt x="9950" y="7777"/>
                  <a:pt x="10824" y="0"/>
                  <a:pt x="10824" y="0"/>
                </a:cubicBezTo>
                <a:cubicBezTo>
                  <a:pt x="10824" y="0"/>
                  <a:pt x="13170" y="9697"/>
                  <a:pt x="15029" y="13573"/>
                </a:cubicBezTo>
                <a:cubicBezTo>
                  <a:pt x="17316" y="18341"/>
                  <a:pt x="21600" y="21600"/>
                  <a:pt x="21600" y="21600"/>
                </a:cubicBezTo>
                <a:lnTo>
                  <a:pt x="0" y="21486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25400" cap="flat">
            <a:solidFill>
              <a:srgbClr val="000000">
                <a:alpha val="0"/>
              </a:srgb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>
                <a:solidFill>
                  <a:srgbClr val="444444"/>
                </a:solidFill>
                <a:latin typeface="Open Sans"/>
                <a:ea typeface="Open Sans"/>
                <a:cs typeface="Open Sans"/>
                <a:sym typeface="Open Sans"/>
              </a:defRPr>
            </a:pPr>
            <a:endParaRPr sz="900"/>
          </a:p>
        </p:txBody>
      </p:sp>
      <p:sp>
        <p:nvSpPr>
          <p:cNvPr id="147" name="Shape 14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785015" y="4194456"/>
            <a:ext cx="1467485" cy="7308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486"/>
                </a:moveTo>
                <a:cubicBezTo>
                  <a:pt x="0" y="21486"/>
                  <a:pt x="4099" y="19373"/>
                  <a:pt x="7024" y="13575"/>
                </a:cubicBezTo>
                <a:cubicBezTo>
                  <a:pt x="9950" y="7777"/>
                  <a:pt x="10824" y="0"/>
                  <a:pt x="10824" y="0"/>
                </a:cubicBezTo>
                <a:cubicBezTo>
                  <a:pt x="10824" y="0"/>
                  <a:pt x="13170" y="9697"/>
                  <a:pt x="15029" y="13573"/>
                </a:cubicBezTo>
                <a:cubicBezTo>
                  <a:pt x="17316" y="18341"/>
                  <a:pt x="21600" y="21600"/>
                  <a:pt x="21600" y="21600"/>
                </a:cubicBezTo>
                <a:lnTo>
                  <a:pt x="0" y="21486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25400" cap="flat">
            <a:solidFill>
              <a:srgbClr val="000000">
                <a:alpha val="0"/>
              </a:srgb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>
                <a:solidFill>
                  <a:srgbClr val="444444"/>
                </a:solidFill>
                <a:latin typeface="Open Sans"/>
                <a:ea typeface="Open Sans"/>
                <a:cs typeface="Open Sans"/>
                <a:sym typeface="Open Sans"/>
              </a:defRPr>
            </a:pPr>
            <a:endParaRPr sz="900"/>
          </a:p>
        </p:txBody>
      </p:sp>
      <p:sp>
        <p:nvSpPr>
          <p:cNvPr id="148" name="Shape 14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648989" y="2857136"/>
            <a:ext cx="1467485" cy="20681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486"/>
                </a:moveTo>
                <a:cubicBezTo>
                  <a:pt x="0" y="21486"/>
                  <a:pt x="4099" y="19373"/>
                  <a:pt x="7024" y="13575"/>
                </a:cubicBezTo>
                <a:cubicBezTo>
                  <a:pt x="9950" y="7777"/>
                  <a:pt x="10824" y="0"/>
                  <a:pt x="10824" y="0"/>
                </a:cubicBezTo>
                <a:cubicBezTo>
                  <a:pt x="10824" y="0"/>
                  <a:pt x="13170" y="9697"/>
                  <a:pt x="15029" y="13573"/>
                </a:cubicBezTo>
                <a:cubicBezTo>
                  <a:pt x="17316" y="18341"/>
                  <a:pt x="21600" y="21600"/>
                  <a:pt x="21600" y="21600"/>
                </a:cubicBezTo>
                <a:lnTo>
                  <a:pt x="0" y="21486"/>
                </a:lnTo>
                <a:close/>
              </a:path>
            </a:pathLst>
          </a:custGeom>
          <a:gradFill flip="none" rotWithShape="1">
            <a:gsLst>
              <a:gs pos="0">
                <a:schemeClr val="accent5"/>
              </a:gs>
              <a:gs pos="100000">
                <a:schemeClr val="accent4">
                  <a:lumMod val="75000"/>
                </a:schemeClr>
              </a:gs>
            </a:gsLst>
            <a:lin ang="5400000" scaled="0"/>
          </a:gradFill>
          <a:ln w="25400" cap="flat">
            <a:solidFill>
              <a:srgbClr val="000000">
                <a:alpha val="0"/>
              </a:srgb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 sz="3200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endParaRPr sz="1600"/>
          </a:p>
        </p:txBody>
      </p:sp>
      <p:sp>
        <p:nvSpPr>
          <p:cNvPr id="149" name="Shape 1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544727" y="3836511"/>
            <a:ext cx="1467485" cy="10887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486"/>
                </a:moveTo>
                <a:cubicBezTo>
                  <a:pt x="0" y="21486"/>
                  <a:pt x="4099" y="19373"/>
                  <a:pt x="7024" y="13575"/>
                </a:cubicBezTo>
                <a:cubicBezTo>
                  <a:pt x="9950" y="7777"/>
                  <a:pt x="10824" y="0"/>
                  <a:pt x="10824" y="0"/>
                </a:cubicBezTo>
                <a:cubicBezTo>
                  <a:pt x="10824" y="0"/>
                  <a:pt x="13170" y="9697"/>
                  <a:pt x="15029" y="13573"/>
                </a:cubicBezTo>
                <a:cubicBezTo>
                  <a:pt x="17316" y="18341"/>
                  <a:pt x="21600" y="21600"/>
                  <a:pt x="21600" y="21600"/>
                </a:cubicBezTo>
                <a:lnTo>
                  <a:pt x="0" y="21486"/>
                </a:lnTo>
                <a:close/>
              </a:path>
            </a:pathLst>
          </a:cu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5400000" scaled="0"/>
          </a:gradFill>
          <a:ln w="25400" cap="flat">
            <a:solidFill>
              <a:srgbClr val="000000">
                <a:alpha val="0"/>
              </a:srgb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 sz="3200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pPr>
            <a:endParaRPr sz="1600"/>
          </a:p>
        </p:txBody>
      </p:sp>
      <p:sp>
        <p:nvSpPr>
          <p:cNvPr id="150" name="Shape 15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V="1">
            <a:off x="-233928" y="4910363"/>
            <a:ext cx="6366441" cy="14477"/>
          </a:xfrm>
          <a:prstGeom prst="line">
            <a:avLst/>
          </a:prstGeom>
          <a:noFill/>
          <a:ln w="63500" cap="flat">
            <a:solidFill>
              <a:schemeClr val="tx1">
                <a:lumMod val="50000"/>
                <a:lumOff val="50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/>
          </a:p>
        </p:txBody>
      </p:sp>
      <p:sp>
        <p:nvSpPr>
          <p:cNvPr id="152" name="Shape 1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642156" y="2322096"/>
            <a:ext cx="552450" cy="148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>
              <a:lnSpc>
                <a:spcPct val="70000"/>
              </a:lnSpc>
              <a:defRPr sz="3200" b="1">
                <a:solidFill>
                  <a:srgbClr val="444444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32%</a:t>
            </a:r>
          </a:p>
        </p:txBody>
      </p:sp>
      <p:sp>
        <p:nvSpPr>
          <p:cNvPr id="153" name="Shape 15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57856" y="5180693"/>
            <a:ext cx="222251" cy="2222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2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>
              <a:defRPr>
                <a:solidFill>
                  <a:srgbClr val="444444"/>
                </a:solidFill>
                <a:latin typeface="Open Sans"/>
                <a:ea typeface="Open Sans"/>
                <a:cs typeface="Open Sans"/>
                <a:sym typeface="Open Sans"/>
              </a:defRPr>
            </a:pPr>
            <a:endParaRPr sz="900"/>
          </a:p>
        </p:txBody>
      </p:sp>
      <p:sp>
        <p:nvSpPr>
          <p:cNvPr id="154" name="Shape 1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26157" y="5181046"/>
            <a:ext cx="307777" cy="1897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2400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900" dirty="0">
                <a:latin typeface="+mn-lt"/>
              </a:rPr>
              <a:t>2017</a:t>
            </a:r>
            <a:endParaRPr sz="900" dirty="0">
              <a:latin typeface="+mn-lt"/>
            </a:endParaRPr>
          </a:p>
        </p:txBody>
      </p:sp>
      <p:sp>
        <p:nvSpPr>
          <p:cNvPr id="155" name="Shape 1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410506" y="5180693"/>
            <a:ext cx="222251" cy="2222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3">
              <a:lumMod val="75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>
              <a:defRPr>
                <a:solidFill>
                  <a:srgbClr val="444444"/>
                </a:solidFill>
                <a:latin typeface="Open Sans"/>
                <a:ea typeface="Open Sans"/>
                <a:cs typeface="Open Sans"/>
                <a:sym typeface="Open Sans"/>
              </a:defRPr>
            </a:pPr>
            <a:endParaRPr sz="900"/>
          </a:p>
        </p:txBody>
      </p:sp>
      <p:sp>
        <p:nvSpPr>
          <p:cNvPr id="156" name="Shape 1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778807" y="5184221"/>
            <a:ext cx="307777" cy="1897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2400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900" dirty="0">
                <a:latin typeface="+mn-lt"/>
              </a:rPr>
              <a:t>2018</a:t>
            </a:r>
            <a:endParaRPr sz="900" dirty="0">
              <a:latin typeface="+mn-lt"/>
            </a:endParaRPr>
          </a:p>
        </p:txBody>
      </p:sp>
      <p:sp>
        <p:nvSpPr>
          <p:cNvPr id="157" name="Shape 1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563156" y="5180693"/>
            <a:ext cx="222251" cy="2222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1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>
              <a:defRPr>
                <a:solidFill>
                  <a:srgbClr val="444444"/>
                </a:solidFill>
                <a:latin typeface="Open Sans"/>
                <a:ea typeface="Open Sans"/>
                <a:cs typeface="Open Sans"/>
                <a:sym typeface="Open Sans"/>
              </a:defRPr>
            </a:pPr>
            <a:endParaRPr sz="900"/>
          </a:p>
        </p:txBody>
      </p:sp>
      <p:sp>
        <p:nvSpPr>
          <p:cNvPr id="158" name="Shape 15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931457" y="5184221"/>
            <a:ext cx="307777" cy="1897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2400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900" dirty="0">
                <a:latin typeface="+mn-lt"/>
              </a:rPr>
              <a:t>2019</a:t>
            </a:r>
            <a:endParaRPr sz="900" dirty="0">
              <a:latin typeface="+mn-lt"/>
            </a:endParaRPr>
          </a:p>
        </p:txBody>
      </p:sp>
      <p:sp>
        <p:nvSpPr>
          <p:cNvPr id="49" name="TextBox 1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565872" y="1860310"/>
            <a:ext cx="4501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000" b="1" dirty="0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COMPANY STYLE</a:t>
            </a:r>
          </a:p>
        </p:txBody>
      </p:sp>
      <p:sp>
        <p:nvSpPr>
          <p:cNvPr id="50" name="TextBox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537296" y="2226725"/>
            <a:ext cx="4283336" cy="50276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id-ID" sz="1467" b="1" dirty="0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Lorem ipsum </a:t>
            </a:r>
            <a:r>
              <a:rPr lang="id-ID" sz="1200" dirty="0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dolor sit amet consectetuer adipiscing elit, sed diam nonummy nibh euismod tincidunt ut</a:t>
            </a:r>
            <a:endParaRPr lang="en-US" sz="1200" dirty="0">
              <a:solidFill>
                <a:schemeClr val="tx2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1" name="TextBox 1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556347" y="3226839"/>
            <a:ext cx="4501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000" b="1" dirty="0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2017 PROJECT PLANNING</a:t>
            </a:r>
          </a:p>
        </p:txBody>
      </p:sp>
      <p:sp>
        <p:nvSpPr>
          <p:cNvPr id="52" name="TextBox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556346" y="3574204"/>
            <a:ext cx="4283336" cy="50276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id-ID" sz="1467" b="1" dirty="0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Lorem ipsum </a:t>
            </a:r>
            <a:r>
              <a:rPr lang="id-ID" sz="1200" dirty="0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dolor sit amet consectetuer adipiscing elit, sed diam nonummy nibh euismod tincidunt ut</a:t>
            </a:r>
            <a:endParaRPr lang="en-US" sz="1200" dirty="0">
              <a:solidFill>
                <a:schemeClr val="tx2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3" name="TextBox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537297" y="4299926"/>
            <a:ext cx="4501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000" b="1" dirty="0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KEY OF SUCCESS</a:t>
            </a:r>
          </a:p>
        </p:txBody>
      </p:sp>
      <p:sp>
        <p:nvSpPr>
          <p:cNvPr id="54" name="TextBox 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537296" y="4647291"/>
            <a:ext cx="4283336" cy="50276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id-ID" sz="1467" b="1" dirty="0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Lorem ipsum </a:t>
            </a:r>
            <a:r>
              <a:rPr lang="id-ID" sz="1200" dirty="0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dolor sit amet consectetuer adipiscing elit, sed diam nonummy nibh euismod tincidunt ut</a:t>
            </a:r>
            <a:endParaRPr lang="en-US" sz="1200" dirty="0">
              <a:solidFill>
                <a:schemeClr val="tx2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8" name="文本框 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 flipH="1">
            <a:off x="6610641" y="621323"/>
            <a:ext cx="467868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0" b="1" dirty="0">
                <a:solidFill>
                  <a:schemeClr val="bg1"/>
                </a:solidFill>
              </a:rPr>
              <a:t>ABOUT US</a:t>
            </a:r>
          </a:p>
          <a:p>
            <a:endParaRPr lang="zh-CN" altLang="en-US" sz="6600" b="1" dirty="0">
              <a:solidFill>
                <a:schemeClr val="bg1"/>
              </a:solidFill>
            </a:endParaRPr>
          </a:p>
        </p:txBody>
      </p:sp>
      <p:sp>
        <p:nvSpPr>
          <p:cNvPr id="59" name="TextBox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6721811" y="1003500"/>
            <a:ext cx="33672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gradFill flip="none" rotWithShape="1">
                  <a:gsLst>
                    <a:gs pos="95683">
                      <a:schemeClr val="accent6"/>
                    </a:gs>
                    <a:gs pos="0">
                      <a:schemeClr val="accent2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cs typeface="+mn-ea"/>
                <a:sym typeface="+mn-lt"/>
              </a:rPr>
              <a:t> Creative Template </a:t>
            </a:r>
          </a:p>
        </p:txBody>
      </p:sp>
      <p:grpSp>
        <p:nvGrpSpPr>
          <p:cNvPr id="60" name="组合 5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0158997" y="1295400"/>
            <a:ext cx="4896000" cy="1"/>
            <a:chOff x="8791270" y="3429000"/>
            <a:chExt cx="6955092" cy="1"/>
          </a:xfrm>
        </p:grpSpPr>
        <p:cxnSp>
          <p:nvCxnSpPr>
            <p:cNvPr id="61" name="直接连接符 60"/>
            <p:cNvCxnSpPr/>
            <p:nvPr/>
          </p:nvCxnSpPr>
          <p:spPr>
            <a:xfrm>
              <a:off x="9218562" y="3429000"/>
              <a:ext cx="652780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接连接符 61"/>
            <p:cNvCxnSpPr/>
            <p:nvPr/>
          </p:nvCxnSpPr>
          <p:spPr>
            <a:xfrm>
              <a:off x="8791270" y="3429001"/>
              <a:ext cx="707103" cy="0"/>
            </a:xfrm>
            <a:prstGeom prst="line">
              <a:avLst/>
            </a:prstGeom>
            <a:ln w="222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ACFE4B90-E753-469A-A320-B7FC6527FECC}"/>
              </a:ext>
            </a:extLst>
          </p:cNvPr>
          <p:cNvSpPr/>
          <p:nvPr/>
        </p:nvSpPr>
        <p:spPr>
          <a:xfrm>
            <a:off x="7579889" y="5556225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  <a:tileRect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/>
              <a:t>Read Here</a:t>
            </a:r>
          </a:p>
        </p:txBody>
      </p:sp>
      <p:pic>
        <p:nvPicPr>
          <p:cNvPr id="64" name="图片 6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36502" y="1852632"/>
            <a:ext cx="683445" cy="774454"/>
          </a:xfrm>
          <a:prstGeom prst="rect">
            <a:avLst/>
          </a:prstGeom>
        </p:spPr>
      </p:pic>
      <p:pic>
        <p:nvPicPr>
          <p:cNvPr id="65" name="图片 6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50806" y="3066620"/>
            <a:ext cx="854836" cy="815705"/>
          </a:xfrm>
          <a:prstGeom prst="rect">
            <a:avLst/>
          </a:prstGeom>
        </p:spPr>
      </p:pic>
      <p:pic>
        <p:nvPicPr>
          <p:cNvPr id="66" name="图片 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328"/>
          <a:stretch/>
        </p:blipFill>
        <p:spPr>
          <a:xfrm>
            <a:off x="6650806" y="4209620"/>
            <a:ext cx="854836" cy="815705"/>
          </a:xfrm>
          <a:prstGeom prst="rect">
            <a:avLst/>
          </a:prstGeom>
        </p:spPr>
      </p:pic>
      <p:pic>
        <p:nvPicPr>
          <p:cNvPr id="67" name="Picture 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34953">
            <a:off x="-82941" y="-792845"/>
            <a:ext cx="2087051" cy="1977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03025">
            <a:off x="10552180" y="5892496"/>
            <a:ext cx="1500626" cy="1276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7d195523061f1c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 hidden="1"/>
          <p:cNvSpPr txBox="1"/>
          <p:nvPr/>
        </p:nvSpPr>
        <p:spPr>
          <a:xfrm>
            <a:off x="-355600" y="1803400"/>
            <a:ext cx="329642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405491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内容占位符 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00" b="30000"/>
          <a:stretch>
            <a:fillRect/>
          </a:stretch>
        </p:blipFill>
        <p:spPr>
          <a:solidFill>
            <a:schemeClr val="bg1">
              <a:lumMod val="85000"/>
            </a:schemeClr>
          </a:solidFill>
        </p:spPr>
      </p:pic>
      <p:sp>
        <p:nvSpPr>
          <p:cNvPr id="3" name="Freeform 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A3C40AF6-AE52-FC4D-807B-0DFCF9825DCA}"/>
              </a:ext>
            </a:extLst>
          </p:cNvPr>
          <p:cNvSpPr>
            <a:spLocks/>
          </p:cNvSpPr>
          <p:nvPr/>
        </p:nvSpPr>
        <p:spPr bwMode="auto">
          <a:xfrm rot="16200000">
            <a:off x="3011205" y="-1794687"/>
            <a:ext cx="6893489" cy="12496800"/>
          </a:xfrm>
          <a:custGeom>
            <a:avLst/>
            <a:gdLst>
              <a:gd name="T0" fmla="*/ 1218 w 2383"/>
              <a:gd name="T1" fmla="*/ 871 h 4320"/>
              <a:gd name="T2" fmla="*/ 920 w 2383"/>
              <a:gd name="T3" fmla="*/ 572 h 4320"/>
              <a:gd name="T4" fmla="*/ 347 w 2383"/>
              <a:gd name="T5" fmla="*/ 0 h 4320"/>
              <a:gd name="T6" fmla="*/ 0 w 2383"/>
              <a:gd name="T7" fmla="*/ 0 h 4320"/>
              <a:gd name="T8" fmla="*/ 0 w 2383"/>
              <a:gd name="T9" fmla="*/ 250 h 4320"/>
              <a:gd name="T10" fmla="*/ 621 w 2383"/>
              <a:gd name="T11" fmla="*/ 871 h 4320"/>
              <a:gd name="T12" fmla="*/ 920 w 2383"/>
              <a:gd name="T13" fmla="*/ 1164 h 4320"/>
              <a:gd name="T14" fmla="*/ 1791 w 2383"/>
              <a:gd name="T15" fmla="*/ 2035 h 4320"/>
              <a:gd name="T16" fmla="*/ 920 w 2383"/>
              <a:gd name="T17" fmla="*/ 2906 h 4320"/>
              <a:gd name="T18" fmla="*/ 621 w 2383"/>
              <a:gd name="T19" fmla="*/ 3204 h 4320"/>
              <a:gd name="T20" fmla="*/ 0 w 2383"/>
              <a:gd name="T21" fmla="*/ 3825 h 4320"/>
              <a:gd name="T22" fmla="*/ 0 w 2383"/>
              <a:gd name="T23" fmla="*/ 4320 h 4320"/>
              <a:gd name="T24" fmla="*/ 96 w 2383"/>
              <a:gd name="T25" fmla="*/ 4320 h 4320"/>
              <a:gd name="T26" fmla="*/ 920 w 2383"/>
              <a:gd name="T27" fmla="*/ 3502 h 4320"/>
              <a:gd name="T28" fmla="*/ 1218 w 2383"/>
              <a:gd name="T29" fmla="*/ 3204 h 4320"/>
              <a:gd name="T30" fmla="*/ 2383 w 2383"/>
              <a:gd name="T31" fmla="*/ 2035 h 4320"/>
              <a:gd name="T32" fmla="*/ 1218 w 2383"/>
              <a:gd name="T33" fmla="*/ 871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83" h="4320">
                <a:moveTo>
                  <a:pt x="1218" y="871"/>
                </a:moveTo>
                <a:lnTo>
                  <a:pt x="920" y="572"/>
                </a:lnTo>
                <a:lnTo>
                  <a:pt x="347" y="0"/>
                </a:lnTo>
                <a:lnTo>
                  <a:pt x="0" y="0"/>
                </a:lnTo>
                <a:lnTo>
                  <a:pt x="0" y="250"/>
                </a:lnTo>
                <a:lnTo>
                  <a:pt x="621" y="871"/>
                </a:lnTo>
                <a:lnTo>
                  <a:pt x="920" y="1164"/>
                </a:lnTo>
                <a:lnTo>
                  <a:pt x="1791" y="2035"/>
                </a:lnTo>
                <a:lnTo>
                  <a:pt x="920" y="2906"/>
                </a:lnTo>
                <a:lnTo>
                  <a:pt x="621" y="3204"/>
                </a:lnTo>
                <a:lnTo>
                  <a:pt x="0" y="3825"/>
                </a:lnTo>
                <a:lnTo>
                  <a:pt x="0" y="4320"/>
                </a:lnTo>
                <a:lnTo>
                  <a:pt x="96" y="4320"/>
                </a:lnTo>
                <a:lnTo>
                  <a:pt x="920" y="3502"/>
                </a:lnTo>
                <a:lnTo>
                  <a:pt x="1218" y="3204"/>
                </a:lnTo>
                <a:lnTo>
                  <a:pt x="2383" y="2035"/>
                </a:lnTo>
                <a:lnTo>
                  <a:pt x="1218" y="871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57000"/>
                </a:schemeClr>
              </a:gs>
              <a:gs pos="100000">
                <a:schemeClr val="accent4">
                  <a:alpha val="55000"/>
                </a:schemeClr>
              </a:gs>
            </a:gsLst>
            <a:lin ang="27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Freeform 1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8963A8FE-52A6-034F-B5F6-38CEF6436C13}"/>
              </a:ext>
            </a:extLst>
          </p:cNvPr>
          <p:cNvSpPr>
            <a:spLocks/>
          </p:cNvSpPr>
          <p:nvPr/>
        </p:nvSpPr>
        <p:spPr bwMode="auto">
          <a:xfrm rot="16200000">
            <a:off x="3436443" y="3666877"/>
            <a:ext cx="1726989" cy="1197610"/>
          </a:xfrm>
          <a:custGeom>
            <a:avLst/>
            <a:gdLst>
              <a:gd name="T0" fmla="*/ 597 w 597"/>
              <a:gd name="T1" fmla="*/ 0 h 414"/>
              <a:gd name="T2" fmla="*/ 419 w 597"/>
              <a:gd name="T3" fmla="*/ 414 h 414"/>
              <a:gd name="T4" fmla="*/ 0 w 597"/>
              <a:gd name="T5" fmla="*/ 0 h 414"/>
              <a:gd name="T6" fmla="*/ 597 w 597"/>
              <a:gd name="T7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97" h="414">
                <a:moveTo>
                  <a:pt x="597" y="0"/>
                </a:moveTo>
                <a:lnTo>
                  <a:pt x="419" y="414"/>
                </a:lnTo>
                <a:lnTo>
                  <a:pt x="0" y="0"/>
                </a:lnTo>
                <a:lnTo>
                  <a:pt x="597" y="0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 1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AA993E78-CB56-8A4D-BAB7-49C742029572}"/>
              </a:ext>
            </a:extLst>
          </p:cNvPr>
          <p:cNvSpPr>
            <a:spLocks/>
          </p:cNvSpPr>
          <p:nvPr/>
        </p:nvSpPr>
        <p:spPr bwMode="auto">
          <a:xfrm rot="16200000">
            <a:off x="3443676" y="2462035"/>
            <a:ext cx="1712524" cy="1197610"/>
          </a:xfrm>
          <a:custGeom>
            <a:avLst/>
            <a:gdLst>
              <a:gd name="T0" fmla="*/ 0 w 592"/>
              <a:gd name="T1" fmla="*/ 414 h 414"/>
              <a:gd name="T2" fmla="*/ 178 w 592"/>
              <a:gd name="T3" fmla="*/ 0 h 414"/>
              <a:gd name="T4" fmla="*/ 592 w 592"/>
              <a:gd name="T5" fmla="*/ 414 h 414"/>
              <a:gd name="T6" fmla="*/ 0 w 592"/>
              <a:gd name="T7" fmla="*/ 41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92" h="414">
                <a:moveTo>
                  <a:pt x="0" y="414"/>
                </a:moveTo>
                <a:lnTo>
                  <a:pt x="178" y="0"/>
                </a:lnTo>
                <a:lnTo>
                  <a:pt x="592" y="414"/>
                </a:lnTo>
                <a:lnTo>
                  <a:pt x="0" y="414"/>
                </a:lnTo>
                <a:close/>
              </a:path>
            </a:pathLst>
          </a:custGeom>
          <a:solidFill>
            <a:schemeClr val="accent2">
              <a:alpha val="57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reeform 1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184468A1-D661-8E4F-B965-EF4C759C5B92}"/>
              </a:ext>
            </a:extLst>
          </p:cNvPr>
          <p:cNvSpPr>
            <a:spLocks/>
          </p:cNvSpPr>
          <p:nvPr/>
        </p:nvSpPr>
        <p:spPr bwMode="auto">
          <a:xfrm rot="16200000">
            <a:off x="4641286" y="1264425"/>
            <a:ext cx="1712524" cy="1197610"/>
          </a:xfrm>
          <a:custGeom>
            <a:avLst/>
            <a:gdLst>
              <a:gd name="T0" fmla="*/ 0 w 592"/>
              <a:gd name="T1" fmla="*/ 414 h 414"/>
              <a:gd name="T2" fmla="*/ 178 w 592"/>
              <a:gd name="T3" fmla="*/ 0 h 414"/>
              <a:gd name="T4" fmla="*/ 592 w 592"/>
              <a:gd name="T5" fmla="*/ 414 h 414"/>
              <a:gd name="T6" fmla="*/ 0 w 592"/>
              <a:gd name="T7" fmla="*/ 41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92" h="414">
                <a:moveTo>
                  <a:pt x="0" y="414"/>
                </a:moveTo>
                <a:lnTo>
                  <a:pt x="178" y="0"/>
                </a:lnTo>
                <a:lnTo>
                  <a:pt x="592" y="414"/>
                </a:lnTo>
                <a:lnTo>
                  <a:pt x="0" y="414"/>
                </a:lnTo>
                <a:close/>
              </a:path>
            </a:pathLst>
          </a:custGeom>
          <a:solidFill>
            <a:schemeClr val="accent4">
              <a:alpha val="53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1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0147177-BDFC-394C-AEBF-E364F86ED48F}"/>
              </a:ext>
            </a:extLst>
          </p:cNvPr>
          <p:cNvSpPr>
            <a:spLocks/>
          </p:cNvSpPr>
          <p:nvPr/>
        </p:nvSpPr>
        <p:spPr bwMode="auto">
          <a:xfrm rot="16200000">
            <a:off x="4641286" y="2462035"/>
            <a:ext cx="1712524" cy="1197610"/>
          </a:xfrm>
          <a:custGeom>
            <a:avLst/>
            <a:gdLst>
              <a:gd name="T0" fmla="*/ 592 w 592"/>
              <a:gd name="T1" fmla="*/ 0 h 414"/>
              <a:gd name="T2" fmla="*/ 414 w 592"/>
              <a:gd name="T3" fmla="*/ 414 h 414"/>
              <a:gd name="T4" fmla="*/ 0 w 592"/>
              <a:gd name="T5" fmla="*/ 0 h 414"/>
              <a:gd name="T6" fmla="*/ 592 w 592"/>
              <a:gd name="T7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92" h="414">
                <a:moveTo>
                  <a:pt x="592" y="0"/>
                </a:moveTo>
                <a:lnTo>
                  <a:pt x="414" y="414"/>
                </a:lnTo>
                <a:lnTo>
                  <a:pt x="0" y="0"/>
                </a:lnTo>
                <a:lnTo>
                  <a:pt x="592" y="0"/>
                </a:lnTo>
                <a:close/>
              </a:path>
            </a:pathLst>
          </a:custGeom>
          <a:solidFill>
            <a:schemeClr val="accent3">
              <a:alpha val="5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1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16BC6801-AE52-114B-8C91-FBEB9E3916DE}"/>
              </a:ext>
            </a:extLst>
          </p:cNvPr>
          <p:cNvSpPr>
            <a:spLocks/>
          </p:cNvSpPr>
          <p:nvPr/>
        </p:nvSpPr>
        <p:spPr bwMode="auto">
          <a:xfrm rot="16200000">
            <a:off x="7040844" y="3666877"/>
            <a:ext cx="1726989" cy="1197610"/>
          </a:xfrm>
          <a:custGeom>
            <a:avLst/>
            <a:gdLst>
              <a:gd name="T0" fmla="*/ 597 w 597"/>
              <a:gd name="T1" fmla="*/ 414 h 414"/>
              <a:gd name="T2" fmla="*/ 419 w 597"/>
              <a:gd name="T3" fmla="*/ 0 h 414"/>
              <a:gd name="T4" fmla="*/ 0 w 597"/>
              <a:gd name="T5" fmla="*/ 414 h 414"/>
              <a:gd name="T6" fmla="*/ 597 w 597"/>
              <a:gd name="T7" fmla="*/ 41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97" h="414">
                <a:moveTo>
                  <a:pt x="597" y="414"/>
                </a:moveTo>
                <a:lnTo>
                  <a:pt x="419" y="0"/>
                </a:lnTo>
                <a:lnTo>
                  <a:pt x="0" y="414"/>
                </a:lnTo>
                <a:lnTo>
                  <a:pt x="597" y="414"/>
                </a:lnTo>
                <a:close/>
              </a:path>
            </a:pathLst>
          </a:custGeom>
          <a:solidFill>
            <a:schemeClr val="accent6">
              <a:lumMod val="50000"/>
              <a:alpha val="66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1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398B099D-E69B-6948-9BAC-0DCE00572CCC}"/>
              </a:ext>
            </a:extLst>
          </p:cNvPr>
          <p:cNvSpPr>
            <a:spLocks/>
          </p:cNvSpPr>
          <p:nvPr/>
        </p:nvSpPr>
        <p:spPr bwMode="auto">
          <a:xfrm rot="16200000">
            <a:off x="7048077" y="2462035"/>
            <a:ext cx="1712524" cy="1197610"/>
          </a:xfrm>
          <a:custGeom>
            <a:avLst/>
            <a:gdLst>
              <a:gd name="T0" fmla="*/ 0 w 592"/>
              <a:gd name="T1" fmla="*/ 0 h 414"/>
              <a:gd name="T2" fmla="*/ 178 w 592"/>
              <a:gd name="T3" fmla="*/ 414 h 414"/>
              <a:gd name="T4" fmla="*/ 592 w 592"/>
              <a:gd name="T5" fmla="*/ 0 h 414"/>
              <a:gd name="T6" fmla="*/ 0 w 592"/>
              <a:gd name="T7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92" h="414">
                <a:moveTo>
                  <a:pt x="0" y="0"/>
                </a:moveTo>
                <a:lnTo>
                  <a:pt x="178" y="414"/>
                </a:lnTo>
                <a:lnTo>
                  <a:pt x="59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5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1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76BDBF56-D1D9-DF4D-8351-3A87BB993327}"/>
              </a:ext>
            </a:extLst>
          </p:cNvPr>
          <p:cNvSpPr>
            <a:spLocks/>
          </p:cNvSpPr>
          <p:nvPr/>
        </p:nvSpPr>
        <p:spPr bwMode="auto">
          <a:xfrm rot="16200000">
            <a:off x="5844681" y="1258640"/>
            <a:ext cx="1712524" cy="1209181"/>
          </a:xfrm>
          <a:custGeom>
            <a:avLst/>
            <a:gdLst>
              <a:gd name="T0" fmla="*/ 0 w 592"/>
              <a:gd name="T1" fmla="*/ 0 h 418"/>
              <a:gd name="T2" fmla="*/ 178 w 592"/>
              <a:gd name="T3" fmla="*/ 418 h 418"/>
              <a:gd name="T4" fmla="*/ 592 w 592"/>
              <a:gd name="T5" fmla="*/ 0 h 418"/>
              <a:gd name="T6" fmla="*/ 0 w 592"/>
              <a:gd name="T7" fmla="*/ 0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92" h="418">
                <a:moveTo>
                  <a:pt x="0" y="0"/>
                </a:moveTo>
                <a:lnTo>
                  <a:pt x="178" y="418"/>
                </a:lnTo>
                <a:lnTo>
                  <a:pt x="59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alpha val="56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1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BA07B148-0445-4847-898D-1125252A8F53}"/>
              </a:ext>
            </a:extLst>
          </p:cNvPr>
          <p:cNvSpPr>
            <a:spLocks/>
          </p:cNvSpPr>
          <p:nvPr/>
        </p:nvSpPr>
        <p:spPr bwMode="auto">
          <a:xfrm rot="16200000">
            <a:off x="5844681" y="2456249"/>
            <a:ext cx="1712524" cy="1209181"/>
          </a:xfrm>
          <a:custGeom>
            <a:avLst/>
            <a:gdLst>
              <a:gd name="T0" fmla="*/ 592 w 592"/>
              <a:gd name="T1" fmla="*/ 418 h 418"/>
              <a:gd name="T2" fmla="*/ 414 w 592"/>
              <a:gd name="T3" fmla="*/ 0 h 418"/>
              <a:gd name="T4" fmla="*/ 0 w 592"/>
              <a:gd name="T5" fmla="*/ 418 h 418"/>
              <a:gd name="T6" fmla="*/ 592 w 592"/>
              <a:gd name="T7" fmla="*/ 418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92" h="418">
                <a:moveTo>
                  <a:pt x="592" y="418"/>
                </a:moveTo>
                <a:lnTo>
                  <a:pt x="414" y="0"/>
                </a:lnTo>
                <a:lnTo>
                  <a:pt x="0" y="418"/>
                </a:lnTo>
                <a:lnTo>
                  <a:pt x="592" y="418"/>
                </a:lnTo>
                <a:close/>
              </a:path>
            </a:pathLst>
          </a:custGeom>
          <a:solidFill>
            <a:schemeClr val="accent6">
              <a:alpha val="58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06BCFAA9-7A28-3944-9427-8C19E8951ED3}"/>
              </a:ext>
            </a:extLst>
          </p:cNvPr>
          <p:cNvSpPr/>
          <p:nvPr/>
        </p:nvSpPr>
        <p:spPr>
          <a:xfrm>
            <a:off x="0" y="3486150"/>
            <a:ext cx="12192001" cy="3429001"/>
          </a:xfrm>
          <a:custGeom>
            <a:avLst/>
            <a:gdLst>
              <a:gd name="connsiteX0" fmla="*/ 2111505 w 12192001"/>
              <a:gd name="connsiteY0" fmla="*/ 0 h 3429001"/>
              <a:gd name="connsiteX1" fmla="*/ 3140217 w 12192001"/>
              <a:gd name="connsiteY1" fmla="*/ 0 h 3429001"/>
              <a:gd name="connsiteX2" fmla="*/ 6120707 w 12192001"/>
              <a:gd name="connsiteY2" fmla="*/ 2980491 h 3429001"/>
              <a:gd name="connsiteX3" fmla="*/ 9101196 w 12192001"/>
              <a:gd name="connsiteY3" fmla="*/ 1 h 3429001"/>
              <a:gd name="connsiteX4" fmla="*/ 10129910 w 12192001"/>
              <a:gd name="connsiteY4" fmla="*/ 1 h 3429001"/>
              <a:gd name="connsiteX5" fmla="*/ 12192001 w 12192001"/>
              <a:gd name="connsiteY5" fmla="*/ 2062093 h 3429001"/>
              <a:gd name="connsiteX6" fmla="*/ 12192001 w 12192001"/>
              <a:gd name="connsiteY6" fmla="*/ 3429001 h 3429001"/>
              <a:gd name="connsiteX7" fmla="*/ 12181162 w 12192001"/>
              <a:gd name="connsiteY7" fmla="*/ 3429001 h 3429001"/>
              <a:gd name="connsiteX8" fmla="*/ 12187374 w 12192001"/>
              <a:gd name="connsiteY8" fmla="*/ 3422789 h 3429001"/>
              <a:gd name="connsiteX9" fmla="*/ 9615553 w 12192001"/>
              <a:gd name="connsiteY9" fmla="*/ 850967 h 3429001"/>
              <a:gd name="connsiteX10" fmla="*/ 7043731 w 12192001"/>
              <a:gd name="connsiteY10" fmla="*/ 3422789 h 3429001"/>
              <a:gd name="connsiteX11" fmla="*/ 7049944 w 12192001"/>
              <a:gd name="connsiteY11" fmla="*/ 3429001 h 3429001"/>
              <a:gd name="connsiteX12" fmla="*/ 5684621 w 12192001"/>
              <a:gd name="connsiteY12" fmla="*/ 3429001 h 3429001"/>
              <a:gd name="connsiteX13" fmla="*/ 5684620 w 12192001"/>
              <a:gd name="connsiteY13" fmla="*/ 3429000 h 3429001"/>
              <a:gd name="connsiteX14" fmla="*/ 5191471 w 12192001"/>
              <a:gd name="connsiteY14" fmla="*/ 3429000 h 3429001"/>
              <a:gd name="connsiteX15" fmla="*/ 5197683 w 12192001"/>
              <a:gd name="connsiteY15" fmla="*/ 3422789 h 3429001"/>
              <a:gd name="connsiteX16" fmla="*/ 2625861 w 12192001"/>
              <a:gd name="connsiteY16" fmla="*/ 850967 h 3429001"/>
              <a:gd name="connsiteX17" fmla="*/ 54039 w 12192001"/>
              <a:gd name="connsiteY17" fmla="*/ 3422789 h 3429001"/>
              <a:gd name="connsiteX18" fmla="*/ 60251 w 12192001"/>
              <a:gd name="connsiteY18" fmla="*/ 3429000 h 3429001"/>
              <a:gd name="connsiteX19" fmla="*/ 0 w 12192001"/>
              <a:gd name="connsiteY19" fmla="*/ 3429000 h 3429001"/>
              <a:gd name="connsiteX20" fmla="*/ 0 w 12192001"/>
              <a:gd name="connsiteY20" fmla="*/ 2111505 h 3429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001" h="3429001">
                <a:moveTo>
                  <a:pt x="2111505" y="0"/>
                </a:moveTo>
                <a:lnTo>
                  <a:pt x="3140217" y="0"/>
                </a:lnTo>
                <a:lnTo>
                  <a:pt x="6120707" y="2980491"/>
                </a:lnTo>
                <a:lnTo>
                  <a:pt x="9101196" y="1"/>
                </a:lnTo>
                <a:lnTo>
                  <a:pt x="10129910" y="1"/>
                </a:lnTo>
                <a:lnTo>
                  <a:pt x="12192001" y="2062093"/>
                </a:lnTo>
                <a:lnTo>
                  <a:pt x="12192001" y="3429001"/>
                </a:lnTo>
                <a:lnTo>
                  <a:pt x="12181162" y="3429001"/>
                </a:lnTo>
                <a:lnTo>
                  <a:pt x="12187374" y="3422789"/>
                </a:lnTo>
                <a:lnTo>
                  <a:pt x="9615553" y="850967"/>
                </a:lnTo>
                <a:lnTo>
                  <a:pt x="7043731" y="3422789"/>
                </a:lnTo>
                <a:lnTo>
                  <a:pt x="7049944" y="3429001"/>
                </a:lnTo>
                <a:lnTo>
                  <a:pt x="5684621" y="3429001"/>
                </a:lnTo>
                <a:lnTo>
                  <a:pt x="5684620" y="3429000"/>
                </a:lnTo>
                <a:lnTo>
                  <a:pt x="5191471" y="3429000"/>
                </a:lnTo>
                <a:lnTo>
                  <a:pt x="5197683" y="3422789"/>
                </a:lnTo>
                <a:lnTo>
                  <a:pt x="2625861" y="850967"/>
                </a:lnTo>
                <a:lnTo>
                  <a:pt x="54039" y="3422789"/>
                </a:lnTo>
                <a:lnTo>
                  <a:pt x="60251" y="3429000"/>
                </a:lnTo>
                <a:lnTo>
                  <a:pt x="0" y="3429000"/>
                </a:lnTo>
                <a:lnTo>
                  <a:pt x="0" y="2111505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vi-VN"/>
          </a:p>
        </p:txBody>
      </p:sp>
      <p:sp>
        <p:nvSpPr>
          <p:cNvPr id="36" name="TextBox 3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24547B74-223F-A045-9A77-D8826E97B8B8}"/>
              </a:ext>
            </a:extLst>
          </p:cNvPr>
          <p:cNvSpPr txBox="1"/>
          <p:nvPr/>
        </p:nvSpPr>
        <p:spPr>
          <a:xfrm flipH="1">
            <a:off x="9432449" y="997592"/>
            <a:ext cx="2051139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2800" b="1">
                <a:latin typeface="Open Sans SemiBold" charset="0"/>
                <a:ea typeface="Open Sans SemiBold" charset="0"/>
                <a:cs typeface="Open Sans SemiBold" charset="0"/>
              </a:rPr>
              <a:t>Easy To Use</a:t>
            </a:r>
          </a:p>
        </p:txBody>
      </p:sp>
      <p:sp>
        <p:nvSpPr>
          <p:cNvPr id="37" name="TextBox 3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7CB92BA4-F23A-6E40-B43B-8C438D88C671}"/>
              </a:ext>
            </a:extLst>
          </p:cNvPr>
          <p:cNvSpPr txBox="1"/>
          <p:nvPr/>
        </p:nvSpPr>
        <p:spPr>
          <a:xfrm flipH="1">
            <a:off x="8973583" y="1444072"/>
            <a:ext cx="251511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2000" spc="300">
                <a:latin typeface="Open Sans" charset="0"/>
                <a:ea typeface="Open Sans" charset="0"/>
                <a:cs typeface="Open Sans" charset="0"/>
              </a:rPr>
              <a:t>write something</a:t>
            </a:r>
          </a:p>
        </p:txBody>
      </p:sp>
      <p:sp>
        <p:nvSpPr>
          <p:cNvPr id="2" name="TextBox 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76038995-ED25-AB45-BB90-FC17A96C8A06}"/>
              </a:ext>
            </a:extLst>
          </p:cNvPr>
          <p:cNvSpPr txBox="1"/>
          <p:nvPr/>
        </p:nvSpPr>
        <p:spPr>
          <a:xfrm>
            <a:off x="907860" y="997592"/>
            <a:ext cx="2719206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vi-VN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Welcome</a:t>
            </a:r>
          </a:p>
        </p:txBody>
      </p:sp>
      <p:sp>
        <p:nvSpPr>
          <p:cNvPr id="19" name="Rectangle 2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959570" y="1864786"/>
            <a:ext cx="2890535" cy="959980"/>
          </a:xfrm>
          <a:prstGeom prst="rect">
            <a:avLst/>
          </a:prstGeom>
        </p:spPr>
        <p:txBody>
          <a:bodyPr wrap="square" anchor="t">
            <a:no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1200" noProof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ey, hey, hey! It's Fat Company! </a:t>
            </a:r>
          </a:p>
          <a:p>
            <a:pPr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1200" noProof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Now I'm gonna sing a song for you, and this is gonna show you a thing or two. You'll have some fun now With me and the gang, learning</a:t>
            </a:r>
          </a:p>
        </p:txBody>
      </p:sp>
      <p:sp>
        <p:nvSpPr>
          <p:cNvPr id="20" name="Rectangle 2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8940517" y="1872807"/>
            <a:ext cx="2890535" cy="959980"/>
          </a:xfrm>
          <a:prstGeom prst="rect">
            <a:avLst/>
          </a:prstGeom>
        </p:spPr>
        <p:txBody>
          <a:bodyPr wrap="square" anchor="t">
            <a:noAutofit/>
          </a:bodyPr>
          <a:lstStyle/>
          <a:p>
            <a:pPr algn="r"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1200" noProof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ey, hey, hey! It's Fat Company! </a:t>
            </a:r>
          </a:p>
          <a:p>
            <a:pPr algn="r"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1200" noProof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Now I'm gonna sing a song for you, and this is gonna show you a thing or two. You'll have some fun now With me and the gang, learning</a:t>
            </a:r>
          </a:p>
        </p:txBody>
      </p:sp>
      <p:sp>
        <p:nvSpPr>
          <p:cNvPr id="13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33179646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81E2C3AE-2114-4274-B918-1B1ABDE1F0E3}"/>
              </a:ext>
            </a:extLst>
          </p:cNvPr>
          <p:cNvGrpSpPr/>
          <p:nvPr/>
        </p:nvGrpSpPr>
        <p:grpSpPr>
          <a:xfrm>
            <a:off x="5405929" y="1466882"/>
            <a:ext cx="1033035" cy="885913"/>
            <a:chOff x="1493533" y="1313067"/>
            <a:chExt cx="1328605" cy="1139389"/>
          </a:xfrm>
        </p:grpSpPr>
        <p:sp>
          <p:nvSpPr>
            <p:cNvPr id="3" name="Rectangle 5">
              <a:extLst>
                <a:ext uri="{FF2B5EF4-FFF2-40B4-BE49-F238E27FC236}">
                  <a16:creationId xmlns:a16="http://schemas.microsoft.com/office/drawing/2014/main" id="{0EBB5F72-B4A3-4E1A-B86B-5A66CCB053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3533" y="2041740"/>
              <a:ext cx="787894" cy="20598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42DAC64F-ACBF-41D2-8B2E-0ECD00A58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427" y="1777854"/>
              <a:ext cx="540711" cy="674602"/>
            </a:xfrm>
            <a:custGeom>
              <a:avLst/>
              <a:gdLst>
                <a:gd name="T0" fmla="*/ 420 w 420"/>
                <a:gd name="T1" fmla="*/ 0 h 524"/>
                <a:gd name="T2" fmla="*/ 420 w 420"/>
                <a:gd name="T3" fmla="*/ 160 h 524"/>
                <a:gd name="T4" fmla="*/ 0 w 420"/>
                <a:gd name="T5" fmla="*/ 524 h 524"/>
                <a:gd name="T6" fmla="*/ 0 w 420"/>
                <a:gd name="T7" fmla="*/ 365 h 524"/>
                <a:gd name="T8" fmla="*/ 420 w 420"/>
                <a:gd name="T9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" h="524">
                  <a:moveTo>
                    <a:pt x="420" y="0"/>
                  </a:moveTo>
                  <a:lnTo>
                    <a:pt x="420" y="160"/>
                  </a:lnTo>
                  <a:lnTo>
                    <a:pt x="0" y="524"/>
                  </a:lnTo>
                  <a:lnTo>
                    <a:pt x="0" y="365"/>
                  </a:lnTo>
                  <a:lnTo>
                    <a:pt x="42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E51041D0-2A43-43D0-84C0-93CDB8748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533" y="1313067"/>
              <a:ext cx="1328605" cy="939809"/>
            </a:xfrm>
            <a:custGeom>
              <a:avLst/>
              <a:gdLst>
                <a:gd name="T0" fmla="*/ 611 w 1031"/>
                <a:gd name="T1" fmla="*/ 0 h 730"/>
                <a:gd name="T2" fmla="*/ 799 w 1031"/>
                <a:gd name="T3" fmla="*/ 163 h 730"/>
                <a:gd name="T4" fmla="*/ 1031 w 1031"/>
                <a:gd name="T5" fmla="*/ 365 h 730"/>
                <a:gd name="T6" fmla="*/ 611 w 1031"/>
                <a:gd name="T7" fmla="*/ 730 h 730"/>
                <a:gd name="T8" fmla="*/ 611 w 1031"/>
                <a:gd name="T9" fmla="*/ 568 h 730"/>
                <a:gd name="T10" fmla="*/ 0 w 1031"/>
                <a:gd name="T11" fmla="*/ 568 h 730"/>
                <a:gd name="T12" fmla="*/ 0 w 1031"/>
                <a:gd name="T13" fmla="*/ 163 h 730"/>
                <a:gd name="T14" fmla="*/ 611 w 1031"/>
                <a:gd name="T15" fmla="*/ 163 h 730"/>
                <a:gd name="T16" fmla="*/ 611 w 1031"/>
                <a:gd name="T17" fmla="*/ 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1" h="730">
                  <a:moveTo>
                    <a:pt x="611" y="0"/>
                  </a:moveTo>
                  <a:lnTo>
                    <a:pt x="799" y="163"/>
                  </a:lnTo>
                  <a:lnTo>
                    <a:pt x="1031" y="365"/>
                  </a:lnTo>
                  <a:lnTo>
                    <a:pt x="611" y="730"/>
                  </a:lnTo>
                  <a:lnTo>
                    <a:pt x="611" y="568"/>
                  </a:lnTo>
                  <a:lnTo>
                    <a:pt x="0" y="568"/>
                  </a:lnTo>
                  <a:lnTo>
                    <a:pt x="0" y="163"/>
                  </a:lnTo>
                  <a:lnTo>
                    <a:pt x="611" y="163"/>
                  </a:lnTo>
                  <a:lnTo>
                    <a:pt x="611" y="0"/>
                  </a:lnTo>
                  <a:close/>
                </a:path>
              </a:pathLst>
            </a:custGeom>
            <a:gradFill>
              <a:gsLst>
                <a:gs pos="200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6" name="Group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8D6E5554-C684-4BE2-A7AC-5D41AFC897BB}"/>
              </a:ext>
            </a:extLst>
          </p:cNvPr>
          <p:cNvGrpSpPr/>
          <p:nvPr/>
        </p:nvGrpSpPr>
        <p:grpSpPr>
          <a:xfrm>
            <a:off x="6490748" y="1627640"/>
            <a:ext cx="1235237" cy="1266993"/>
            <a:chOff x="4891890" y="1449712"/>
            <a:chExt cx="1588662" cy="1629503"/>
          </a:xfrm>
        </p:grpSpPr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1AA8F309-B3E8-4BAB-9716-042D7D877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478" y="1449712"/>
              <a:ext cx="298679" cy="466042"/>
            </a:xfrm>
            <a:custGeom>
              <a:avLst/>
              <a:gdLst>
                <a:gd name="T0" fmla="*/ 231 w 231"/>
                <a:gd name="T1" fmla="*/ 203 h 362"/>
                <a:gd name="T2" fmla="*/ 231 w 231"/>
                <a:gd name="T3" fmla="*/ 362 h 362"/>
                <a:gd name="T4" fmla="*/ 0 w 231"/>
                <a:gd name="T5" fmla="*/ 159 h 362"/>
                <a:gd name="T6" fmla="*/ 0 w 231"/>
                <a:gd name="T7" fmla="*/ 0 h 362"/>
                <a:gd name="T8" fmla="*/ 231 w 231"/>
                <a:gd name="T9" fmla="*/ 20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362">
                  <a:moveTo>
                    <a:pt x="231" y="203"/>
                  </a:moveTo>
                  <a:lnTo>
                    <a:pt x="231" y="362"/>
                  </a:lnTo>
                  <a:lnTo>
                    <a:pt x="0" y="159"/>
                  </a:lnTo>
                  <a:lnTo>
                    <a:pt x="0" y="0"/>
                  </a:lnTo>
                  <a:lnTo>
                    <a:pt x="231" y="20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3C131A55-709C-4185-B0DA-165EA9920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890" y="1449712"/>
              <a:ext cx="1588662" cy="1429024"/>
            </a:xfrm>
            <a:custGeom>
              <a:avLst/>
              <a:gdLst>
                <a:gd name="T0" fmla="*/ 352 w 1234"/>
                <a:gd name="T1" fmla="*/ 0 h 1111"/>
                <a:gd name="T2" fmla="*/ 423 w 1234"/>
                <a:gd name="T3" fmla="*/ 3 h 1111"/>
                <a:gd name="T4" fmla="*/ 492 w 1234"/>
                <a:gd name="T5" fmla="*/ 13 h 1111"/>
                <a:gd name="T6" fmla="*/ 560 w 1234"/>
                <a:gd name="T7" fmla="*/ 27 h 1111"/>
                <a:gd name="T8" fmla="*/ 622 w 1234"/>
                <a:gd name="T9" fmla="*/ 48 h 1111"/>
                <a:gd name="T10" fmla="*/ 684 w 1234"/>
                <a:gd name="T11" fmla="*/ 73 h 1111"/>
                <a:gd name="T12" fmla="*/ 741 w 1234"/>
                <a:gd name="T13" fmla="*/ 103 h 1111"/>
                <a:gd name="T14" fmla="*/ 795 w 1234"/>
                <a:gd name="T15" fmla="*/ 138 h 1111"/>
                <a:gd name="T16" fmla="*/ 844 w 1234"/>
                <a:gd name="T17" fmla="*/ 177 h 1111"/>
                <a:gd name="T18" fmla="*/ 889 w 1234"/>
                <a:gd name="T19" fmla="*/ 220 h 1111"/>
                <a:gd name="T20" fmla="*/ 930 w 1234"/>
                <a:gd name="T21" fmla="*/ 267 h 1111"/>
                <a:gd name="T22" fmla="*/ 963 w 1234"/>
                <a:gd name="T23" fmla="*/ 317 h 1111"/>
                <a:gd name="T24" fmla="*/ 994 w 1234"/>
                <a:gd name="T25" fmla="*/ 370 h 1111"/>
                <a:gd name="T26" fmla="*/ 1016 w 1234"/>
                <a:gd name="T27" fmla="*/ 425 h 1111"/>
                <a:gd name="T28" fmla="*/ 1034 w 1234"/>
                <a:gd name="T29" fmla="*/ 482 h 1111"/>
                <a:gd name="T30" fmla="*/ 1044 w 1234"/>
                <a:gd name="T31" fmla="*/ 542 h 1111"/>
                <a:gd name="T32" fmla="*/ 1049 w 1234"/>
                <a:gd name="T33" fmla="*/ 605 h 1111"/>
                <a:gd name="T34" fmla="*/ 1234 w 1234"/>
                <a:gd name="T35" fmla="*/ 746 h 1111"/>
                <a:gd name="T36" fmla="*/ 973 w 1234"/>
                <a:gd name="T37" fmla="*/ 973 h 1111"/>
                <a:gd name="T38" fmla="*/ 655 w 1234"/>
                <a:gd name="T39" fmla="*/ 973 h 1111"/>
                <a:gd name="T40" fmla="*/ 394 w 1234"/>
                <a:gd name="T41" fmla="*/ 746 h 1111"/>
                <a:gd name="T42" fmla="*/ 582 w 1234"/>
                <a:gd name="T43" fmla="*/ 605 h 1111"/>
                <a:gd name="T44" fmla="*/ 582 w 1234"/>
                <a:gd name="T45" fmla="*/ 584 h 1111"/>
                <a:gd name="T46" fmla="*/ 573 w 1234"/>
                <a:gd name="T47" fmla="*/ 545 h 1111"/>
                <a:gd name="T48" fmla="*/ 555 w 1234"/>
                <a:gd name="T49" fmla="*/ 508 h 1111"/>
                <a:gd name="T50" fmla="*/ 531 w 1234"/>
                <a:gd name="T51" fmla="*/ 478 h 1111"/>
                <a:gd name="T52" fmla="*/ 499 w 1234"/>
                <a:gd name="T53" fmla="*/ 450 h 1111"/>
                <a:gd name="T54" fmla="*/ 462 w 1234"/>
                <a:gd name="T55" fmla="*/ 428 h 1111"/>
                <a:gd name="T56" fmla="*/ 421 w 1234"/>
                <a:gd name="T57" fmla="*/ 413 h 1111"/>
                <a:gd name="T58" fmla="*/ 376 w 1234"/>
                <a:gd name="T59" fmla="*/ 405 h 1111"/>
                <a:gd name="T60" fmla="*/ 235 w 1234"/>
                <a:gd name="T61" fmla="*/ 404 h 1111"/>
                <a:gd name="T62" fmla="*/ 232 w 1234"/>
                <a:gd name="T63" fmla="*/ 203 h 1111"/>
                <a:gd name="T64" fmla="*/ 220 w 1234"/>
                <a:gd name="T65" fmla="*/ 0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34" h="1111">
                  <a:moveTo>
                    <a:pt x="352" y="0"/>
                  </a:moveTo>
                  <a:lnTo>
                    <a:pt x="352" y="0"/>
                  </a:lnTo>
                  <a:lnTo>
                    <a:pt x="388" y="2"/>
                  </a:lnTo>
                  <a:lnTo>
                    <a:pt x="423" y="3"/>
                  </a:lnTo>
                  <a:lnTo>
                    <a:pt x="458" y="7"/>
                  </a:lnTo>
                  <a:lnTo>
                    <a:pt x="492" y="13"/>
                  </a:lnTo>
                  <a:lnTo>
                    <a:pt x="526" y="19"/>
                  </a:lnTo>
                  <a:lnTo>
                    <a:pt x="560" y="27"/>
                  </a:lnTo>
                  <a:lnTo>
                    <a:pt x="592" y="37"/>
                  </a:lnTo>
                  <a:lnTo>
                    <a:pt x="622" y="48"/>
                  </a:lnTo>
                  <a:lnTo>
                    <a:pt x="653" y="60"/>
                  </a:lnTo>
                  <a:lnTo>
                    <a:pt x="684" y="73"/>
                  </a:lnTo>
                  <a:lnTo>
                    <a:pt x="712" y="89"/>
                  </a:lnTo>
                  <a:lnTo>
                    <a:pt x="741" y="103"/>
                  </a:lnTo>
                  <a:lnTo>
                    <a:pt x="769" y="121"/>
                  </a:lnTo>
                  <a:lnTo>
                    <a:pt x="795" y="138"/>
                  </a:lnTo>
                  <a:lnTo>
                    <a:pt x="820" y="158"/>
                  </a:lnTo>
                  <a:lnTo>
                    <a:pt x="844" y="177"/>
                  </a:lnTo>
                  <a:lnTo>
                    <a:pt x="867" y="198"/>
                  </a:lnTo>
                  <a:lnTo>
                    <a:pt x="889" y="220"/>
                  </a:lnTo>
                  <a:lnTo>
                    <a:pt x="910" y="243"/>
                  </a:lnTo>
                  <a:lnTo>
                    <a:pt x="930" y="267"/>
                  </a:lnTo>
                  <a:lnTo>
                    <a:pt x="947" y="291"/>
                  </a:lnTo>
                  <a:lnTo>
                    <a:pt x="963" y="317"/>
                  </a:lnTo>
                  <a:lnTo>
                    <a:pt x="979" y="343"/>
                  </a:lnTo>
                  <a:lnTo>
                    <a:pt x="994" y="370"/>
                  </a:lnTo>
                  <a:lnTo>
                    <a:pt x="1005" y="397"/>
                  </a:lnTo>
                  <a:lnTo>
                    <a:pt x="1016" y="425"/>
                  </a:lnTo>
                  <a:lnTo>
                    <a:pt x="1026" y="454"/>
                  </a:lnTo>
                  <a:lnTo>
                    <a:pt x="1034" y="482"/>
                  </a:lnTo>
                  <a:lnTo>
                    <a:pt x="1041" y="513"/>
                  </a:lnTo>
                  <a:lnTo>
                    <a:pt x="1044" y="542"/>
                  </a:lnTo>
                  <a:lnTo>
                    <a:pt x="1047" y="573"/>
                  </a:lnTo>
                  <a:lnTo>
                    <a:pt x="1049" y="605"/>
                  </a:lnTo>
                  <a:lnTo>
                    <a:pt x="1049" y="746"/>
                  </a:lnTo>
                  <a:lnTo>
                    <a:pt x="1234" y="746"/>
                  </a:lnTo>
                  <a:lnTo>
                    <a:pt x="1049" y="907"/>
                  </a:lnTo>
                  <a:lnTo>
                    <a:pt x="973" y="973"/>
                  </a:lnTo>
                  <a:lnTo>
                    <a:pt x="814" y="1111"/>
                  </a:lnTo>
                  <a:lnTo>
                    <a:pt x="655" y="973"/>
                  </a:lnTo>
                  <a:lnTo>
                    <a:pt x="582" y="910"/>
                  </a:lnTo>
                  <a:lnTo>
                    <a:pt x="394" y="746"/>
                  </a:lnTo>
                  <a:lnTo>
                    <a:pt x="582" y="746"/>
                  </a:lnTo>
                  <a:lnTo>
                    <a:pt x="582" y="605"/>
                  </a:lnTo>
                  <a:lnTo>
                    <a:pt x="582" y="605"/>
                  </a:lnTo>
                  <a:lnTo>
                    <a:pt x="582" y="584"/>
                  </a:lnTo>
                  <a:lnTo>
                    <a:pt x="579" y="564"/>
                  </a:lnTo>
                  <a:lnTo>
                    <a:pt x="573" y="545"/>
                  </a:lnTo>
                  <a:lnTo>
                    <a:pt x="565" y="526"/>
                  </a:lnTo>
                  <a:lnTo>
                    <a:pt x="555" y="508"/>
                  </a:lnTo>
                  <a:lnTo>
                    <a:pt x="544" y="492"/>
                  </a:lnTo>
                  <a:lnTo>
                    <a:pt x="531" y="478"/>
                  </a:lnTo>
                  <a:lnTo>
                    <a:pt x="515" y="463"/>
                  </a:lnTo>
                  <a:lnTo>
                    <a:pt x="499" y="450"/>
                  </a:lnTo>
                  <a:lnTo>
                    <a:pt x="481" y="437"/>
                  </a:lnTo>
                  <a:lnTo>
                    <a:pt x="462" y="428"/>
                  </a:lnTo>
                  <a:lnTo>
                    <a:pt x="442" y="420"/>
                  </a:lnTo>
                  <a:lnTo>
                    <a:pt x="421" y="413"/>
                  </a:lnTo>
                  <a:lnTo>
                    <a:pt x="399" y="409"/>
                  </a:lnTo>
                  <a:lnTo>
                    <a:pt x="376" y="405"/>
                  </a:lnTo>
                  <a:lnTo>
                    <a:pt x="352" y="404"/>
                  </a:lnTo>
                  <a:lnTo>
                    <a:pt x="235" y="404"/>
                  </a:lnTo>
                  <a:lnTo>
                    <a:pt x="0" y="404"/>
                  </a:lnTo>
                  <a:lnTo>
                    <a:pt x="232" y="203"/>
                  </a:lnTo>
                  <a:lnTo>
                    <a:pt x="0" y="0"/>
                  </a:lnTo>
                  <a:lnTo>
                    <a:pt x="220" y="0"/>
                  </a:lnTo>
                  <a:lnTo>
                    <a:pt x="352" y="0"/>
                  </a:lnTo>
                  <a:close/>
                </a:path>
              </a:pathLst>
            </a:custGeom>
            <a:gradFill>
              <a:gsLst>
                <a:gs pos="200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9" name="Freeform 90">
              <a:extLst>
                <a:ext uri="{FF2B5EF4-FFF2-40B4-BE49-F238E27FC236}">
                  <a16:creationId xmlns:a16="http://schemas.microsoft.com/office/drawing/2014/main" id="{494C414F-D5CD-44DF-AAAD-D0FF9ED45B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4926" y="1965575"/>
              <a:ext cx="453170" cy="203411"/>
            </a:xfrm>
            <a:custGeom>
              <a:avLst/>
              <a:gdLst>
                <a:gd name="connsiteX0" fmla="*/ 301255 w 453170"/>
                <a:gd name="connsiteY0" fmla="*/ 0 h 203411"/>
                <a:gd name="connsiteX1" fmla="*/ 453170 w 453170"/>
                <a:gd name="connsiteY1" fmla="*/ 0 h 203411"/>
                <a:gd name="connsiteX2" fmla="*/ 453170 w 453170"/>
                <a:gd name="connsiteY2" fmla="*/ 203411 h 203411"/>
                <a:gd name="connsiteX3" fmla="*/ 301255 w 453170"/>
                <a:gd name="connsiteY3" fmla="*/ 203411 h 203411"/>
                <a:gd name="connsiteX4" fmla="*/ 0 w 453170"/>
                <a:gd name="connsiteY4" fmla="*/ 0 h 203411"/>
                <a:gd name="connsiteX5" fmla="*/ 301254 w 453170"/>
                <a:gd name="connsiteY5" fmla="*/ 0 h 203411"/>
                <a:gd name="connsiteX6" fmla="*/ 301254 w 453170"/>
                <a:gd name="connsiteY6" fmla="*/ 203411 h 203411"/>
                <a:gd name="connsiteX7" fmla="*/ 0 w 453170"/>
                <a:gd name="connsiteY7" fmla="*/ 203411 h 20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3170" h="203411">
                  <a:moveTo>
                    <a:pt x="301255" y="0"/>
                  </a:moveTo>
                  <a:lnTo>
                    <a:pt x="453170" y="0"/>
                  </a:lnTo>
                  <a:lnTo>
                    <a:pt x="453170" y="203411"/>
                  </a:lnTo>
                  <a:lnTo>
                    <a:pt x="301255" y="203411"/>
                  </a:lnTo>
                  <a:close/>
                  <a:moveTo>
                    <a:pt x="0" y="0"/>
                  </a:moveTo>
                  <a:lnTo>
                    <a:pt x="301254" y="0"/>
                  </a:lnTo>
                  <a:lnTo>
                    <a:pt x="301254" y="203411"/>
                  </a:lnTo>
                  <a:lnTo>
                    <a:pt x="0" y="203411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251ED021-C2C6-4121-9D7A-BCC3AD94B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8095" y="1964202"/>
              <a:ext cx="298679" cy="463467"/>
            </a:xfrm>
            <a:custGeom>
              <a:avLst/>
              <a:gdLst>
                <a:gd name="T0" fmla="*/ 230 w 230"/>
                <a:gd name="T1" fmla="*/ 201 h 360"/>
                <a:gd name="T2" fmla="*/ 230 w 230"/>
                <a:gd name="T3" fmla="*/ 360 h 360"/>
                <a:gd name="T4" fmla="*/ 230 w 230"/>
                <a:gd name="T5" fmla="*/ 360 h 360"/>
                <a:gd name="T6" fmla="*/ 228 w 230"/>
                <a:gd name="T7" fmla="*/ 339 h 360"/>
                <a:gd name="T8" fmla="*/ 225 w 230"/>
                <a:gd name="T9" fmla="*/ 320 h 360"/>
                <a:gd name="T10" fmla="*/ 219 w 230"/>
                <a:gd name="T11" fmla="*/ 301 h 360"/>
                <a:gd name="T12" fmla="*/ 212 w 230"/>
                <a:gd name="T13" fmla="*/ 282 h 360"/>
                <a:gd name="T14" fmla="*/ 203 w 230"/>
                <a:gd name="T15" fmla="*/ 264 h 360"/>
                <a:gd name="T16" fmla="*/ 190 w 230"/>
                <a:gd name="T17" fmla="*/ 248 h 360"/>
                <a:gd name="T18" fmla="*/ 177 w 230"/>
                <a:gd name="T19" fmla="*/ 233 h 360"/>
                <a:gd name="T20" fmla="*/ 162 w 230"/>
                <a:gd name="T21" fmla="*/ 219 h 360"/>
                <a:gd name="T22" fmla="*/ 146 w 230"/>
                <a:gd name="T23" fmla="*/ 206 h 360"/>
                <a:gd name="T24" fmla="*/ 129 w 230"/>
                <a:gd name="T25" fmla="*/ 193 h 360"/>
                <a:gd name="T26" fmla="*/ 109 w 230"/>
                <a:gd name="T27" fmla="*/ 183 h 360"/>
                <a:gd name="T28" fmla="*/ 88 w 230"/>
                <a:gd name="T29" fmla="*/ 175 h 360"/>
                <a:gd name="T30" fmla="*/ 68 w 230"/>
                <a:gd name="T31" fmla="*/ 169 h 360"/>
                <a:gd name="T32" fmla="*/ 45 w 230"/>
                <a:gd name="T33" fmla="*/ 164 h 360"/>
                <a:gd name="T34" fmla="*/ 23 w 230"/>
                <a:gd name="T35" fmla="*/ 161 h 360"/>
                <a:gd name="T36" fmla="*/ 0 w 230"/>
                <a:gd name="T37" fmla="*/ 159 h 360"/>
                <a:gd name="T38" fmla="*/ 0 w 230"/>
                <a:gd name="T39" fmla="*/ 0 h 360"/>
                <a:gd name="T40" fmla="*/ 0 w 230"/>
                <a:gd name="T41" fmla="*/ 0 h 360"/>
                <a:gd name="T42" fmla="*/ 23 w 230"/>
                <a:gd name="T43" fmla="*/ 2 h 360"/>
                <a:gd name="T44" fmla="*/ 45 w 230"/>
                <a:gd name="T45" fmla="*/ 5 h 360"/>
                <a:gd name="T46" fmla="*/ 68 w 230"/>
                <a:gd name="T47" fmla="*/ 10 h 360"/>
                <a:gd name="T48" fmla="*/ 88 w 230"/>
                <a:gd name="T49" fmla="*/ 16 h 360"/>
                <a:gd name="T50" fmla="*/ 109 w 230"/>
                <a:gd name="T51" fmla="*/ 24 h 360"/>
                <a:gd name="T52" fmla="*/ 129 w 230"/>
                <a:gd name="T53" fmla="*/ 34 h 360"/>
                <a:gd name="T54" fmla="*/ 146 w 230"/>
                <a:gd name="T55" fmla="*/ 47 h 360"/>
                <a:gd name="T56" fmla="*/ 162 w 230"/>
                <a:gd name="T57" fmla="*/ 60 h 360"/>
                <a:gd name="T58" fmla="*/ 177 w 230"/>
                <a:gd name="T59" fmla="*/ 73 h 360"/>
                <a:gd name="T60" fmla="*/ 190 w 230"/>
                <a:gd name="T61" fmla="*/ 89 h 360"/>
                <a:gd name="T62" fmla="*/ 203 w 230"/>
                <a:gd name="T63" fmla="*/ 105 h 360"/>
                <a:gd name="T64" fmla="*/ 212 w 230"/>
                <a:gd name="T65" fmla="*/ 122 h 360"/>
                <a:gd name="T66" fmla="*/ 219 w 230"/>
                <a:gd name="T67" fmla="*/ 142 h 360"/>
                <a:gd name="T68" fmla="*/ 225 w 230"/>
                <a:gd name="T69" fmla="*/ 161 h 360"/>
                <a:gd name="T70" fmla="*/ 228 w 230"/>
                <a:gd name="T71" fmla="*/ 180 h 360"/>
                <a:gd name="T72" fmla="*/ 230 w 230"/>
                <a:gd name="T73" fmla="*/ 20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0" h="360">
                  <a:moveTo>
                    <a:pt x="230" y="201"/>
                  </a:moveTo>
                  <a:lnTo>
                    <a:pt x="230" y="360"/>
                  </a:lnTo>
                  <a:lnTo>
                    <a:pt x="230" y="360"/>
                  </a:lnTo>
                  <a:lnTo>
                    <a:pt x="228" y="339"/>
                  </a:lnTo>
                  <a:lnTo>
                    <a:pt x="225" y="320"/>
                  </a:lnTo>
                  <a:lnTo>
                    <a:pt x="219" y="301"/>
                  </a:lnTo>
                  <a:lnTo>
                    <a:pt x="212" y="282"/>
                  </a:lnTo>
                  <a:lnTo>
                    <a:pt x="203" y="264"/>
                  </a:lnTo>
                  <a:lnTo>
                    <a:pt x="190" y="248"/>
                  </a:lnTo>
                  <a:lnTo>
                    <a:pt x="177" y="233"/>
                  </a:lnTo>
                  <a:lnTo>
                    <a:pt x="162" y="219"/>
                  </a:lnTo>
                  <a:lnTo>
                    <a:pt x="146" y="206"/>
                  </a:lnTo>
                  <a:lnTo>
                    <a:pt x="129" y="193"/>
                  </a:lnTo>
                  <a:lnTo>
                    <a:pt x="109" y="183"/>
                  </a:lnTo>
                  <a:lnTo>
                    <a:pt x="88" y="175"/>
                  </a:lnTo>
                  <a:lnTo>
                    <a:pt x="68" y="169"/>
                  </a:lnTo>
                  <a:lnTo>
                    <a:pt x="45" y="164"/>
                  </a:lnTo>
                  <a:lnTo>
                    <a:pt x="23" y="161"/>
                  </a:lnTo>
                  <a:lnTo>
                    <a:pt x="0" y="159"/>
                  </a:lnTo>
                  <a:lnTo>
                    <a:pt x="0" y="0"/>
                  </a:lnTo>
                  <a:lnTo>
                    <a:pt x="0" y="0"/>
                  </a:lnTo>
                  <a:lnTo>
                    <a:pt x="23" y="2"/>
                  </a:lnTo>
                  <a:lnTo>
                    <a:pt x="45" y="5"/>
                  </a:lnTo>
                  <a:lnTo>
                    <a:pt x="68" y="10"/>
                  </a:lnTo>
                  <a:lnTo>
                    <a:pt x="88" y="16"/>
                  </a:lnTo>
                  <a:lnTo>
                    <a:pt x="109" y="24"/>
                  </a:lnTo>
                  <a:lnTo>
                    <a:pt x="129" y="34"/>
                  </a:lnTo>
                  <a:lnTo>
                    <a:pt x="146" y="47"/>
                  </a:lnTo>
                  <a:lnTo>
                    <a:pt x="162" y="60"/>
                  </a:lnTo>
                  <a:lnTo>
                    <a:pt x="177" y="73"/>
                  </a:lnTo>
                  <a:lnTo>
                    <a:pt x="190" y="89"/>
                  </a:lnTo>
                  <a:lnTo>
                    <a:pt x="203" y="105"/>
                  </a:lnTo>
                  <a:lnTo>
                    <a:pt x="212" y="122"/>
                  </a:lnTo>
                  <a:lnTo>
                    <a:pt x="219" y="142"/>
                  </a:lnTo>
                  <a:lnTo>
                    <a:pt x="225" y="161"/>
                  </a:lnTo>
                  <a:lnTo>
                    <a:pt x="228" y="180"/>
                  </a:lnTo>
                  <a:lnTo>
                    <a:pt x="230" y="201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A8BEB767-E14D-4D7C-876F-DD445FEFB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554" y="2404613"/>
              <a:ext cx="1083998" cy="674602"/>
            </a:xfrm>
            <a:custGeom>
              <a:avLst/>
              <a:gdLst>
                <a:gd name="T0" fmla="*/ 655 w 841"/>
                <a:gd name="T1" fmla="*/ 160 h 524"/>
                <a:gd name="T2" fmla="*/ 579 w 841"/>
                <a:gd name="T3" fmla="*/ 226 h 524"/>
                <a:gd name="T4" fmla="*/ 420 w 841"/>
                <a:gd name="T5" fmla="*/ 365 h 524"/>
                <a:gd name="T6" fmla="*/ 420 w 841"/>
                <a:gd name="T7" fmla="*/ 365 h 524"/>
                <a:gd name="T8" fmla="*/ 260 w 841"/>
                <a:gd name="T9" fmla="*/ 226 h 524"/>
                <a:gd name="T10" fmla="*/ 190 w 841"/>
                <a:gd name="T11" fmla="*/ 164 h 524"/>
                <a:gd name="T12" fmla="*/ 190 w 841"/>
                <a:gd name="T13" fmla="*/ 164 h 524"/>
                <a:gd name="T14" fmla="*/ 0 w 841"/>
                <a:gd name="T15" fmla="*/ 0 h 524"/>
                <a:gd name="T16" fmla="*/ 0 w 841"/>
                <a:gd name="T17" fmla="*/ 159 h 524"/>
                <a:gd name="T18" fmla="*/ 190 w 841"/>
                <a:gd name="T19" fmla="*/ 323 h 524"/>
                <a:gd name="T20" fmla="*/ 260 w 841"/>
                <a:gd name="T21" fmla="*/ 386 h 524"/>
                <a:gd name="T22" fmla="*/ 260 w 841"/>
                <a:gd name="T23" fmla="*/ 386 h 524"/>
                <a:gd name="T24" fmla="*/ 420 w 841"/>
                <a:gd name="T25" fmla="*/ 524 h 524"/>
                <a:gd name="T26" fmla="*/ 579 w 841"/>
                <a:gd name="T27" fmla="*/ 386 h 524"/>
                <a:gd name="T28" fmla="*/ 655 w 841"/>
                <a:gd name="T29" fmla="*/ 320 h 524"/>
                <a:gd name="T30" fmla="*/ 841 w 841"/>
                <a:gd name="T31" fmla="*/ 159 h 524"/>
                <a:gd name="T32" fmla="*/ 841 w 841"/>
                <a:gd name="T33" fmla="*/ 0 h 524"/>
                <a:gd name="T34" fmla="*/ 655 w 841"/>
                <a:gd name="T35" fmla="*/ 16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41" h="524">
                  <a:moveTo>
                    <a:pt x="655" y="160"/>
                  </a:moveTo>
                  <a:lnTo>
                    <a:pt x="579" y="226"/>
                  </a:lnTo>
                  <a:lnTo>
                    <a:pt x="420" y="365"/>
                  </a:lnTo>
                  <a:lnTo>
                    <a:pt x="420" y="365"/>
                  </a:lnTo>
                  <a:lnTo>
                    <a:pt x="260" y="226"/>
                  </a:lnTo>
                  <a:lnTo>
                    <a:pt x="190" y="164"/>
                  </a:lnTo>
                  <a:lnTo>
                    <a:pt x="190" y="164"/>
                  </a:lnTo>
                  <a:lnTo>
                    <a:pt x="0" y="0"/>
                  </a:lnTo>
                  <a:lnTo>
                    <a:pt x="0" y="159"/>
                  </a:lnTo>
                  <a:lnTo>
                    <a:pt x="190" y="323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420" y="524"/>
                  </a:lnTo>
                  <a:lnTo>
                    <a:pt x="579" y="386"/>
                  </a:lnTo>
                  <a:lnTo>
                    <a:pt x="655" y="320"/>
                  </a:lnTo>
                  <a:lnTo>
                    <a:pt x="841" y="159"/>
                  </a:lnTo>
                  <a:lnTo>
                    <a:pt x="841" y="0"/>
                  </a:lnTo>
                  <a:lnTo>
                    <a:pt x="655" y="16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12" name="Group 1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563C865A-0049-427F-A635-E919B5DC5A17}"/>
              </a:ext>
            </a:extLst>
          </p:cNvPr>
          <p:cNvGrpSpPr/>
          <p:nvPr/>
        </p:nvGrpSpPr>
        <p:grpSpPr>
          <a:xfrm>
            <a:off x="7079851" y="2820573"/>
            <a:ext cx="1293295" cy="1357360"/>
            <a:chOff x="7003639" y="1096962"/>
            <a:chExt cx="1663331" cy="1745726"/>
          </a:xfrm>
        </p:grpSpPr>
        <p:sp>
          <p:nvSpPr>
            <p:cNvPr id="13" name="Freeform 75">
              <a:extLst>
                <a:ext uri="{FF2B5EF4-FFF2-40B4-BE49-F238E27FC236}">
                  <a16:creationId xmlns:a16="http://schemas.microsoft.com/office/drawing/2014/main" id="{014B1D6E-98BE-4957-ABD6-A158ED1600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3639" y="1647840"/>
              <a:ext cx="1122621" cy="981533"/>
            </a:xfrm>
            <a:custGeom>
              <a:avLst/>
              <a:gdLst>
                <a:gd name="connsiteX0" fmla="*/ 0 w 1122621"/>
                <a:gd name="connsiteY0" fmla="*/ 0 h 981533"/>
                <a:gd name="connsiteX1" fmla="*/ 1291 w 1122621"/>
                <a:gd name="connsiteY1" fmla="*/ 54071 h 981533"/>
                <a:gd name="connsiteX2" fmla="*/ 7746 w 1122621"/>
                <a:gd name="connsiteY2" fmla="*/ 108142 h 981533"/>
                <a:gd name="connsiteX3" fmla="*/ 18075 w 1122621"/>
                <a:gd name="connsiteY3" fmla="*/ 162213 h 981533"/>
                <a:gd name="connsiteX4" fmla="*/ 34860 w 1122621"/>
                <a:gd name="connsiteY4" fmla="*/ 213710 h 981533"/>
                <a:gd name="connsiteX5" fmla="*/ 52936 w 1122621"/>
                <a:gd name="connsiteY5" fmla="*/ 263919 h 981533"/>
                <a:gd name="connsiteX6" fmla="*/ 73593 w 1122621"/>
                <a:gd name="connsiteY6" fmla="*/ 312840 h 981533"/>
                <a:gd name="connsiteX7" fmla="*/ 100707 w 1122621"/>
                <a:gd name="connsiteY7" fmla="*/ 357900 h 981533"/>
                <a:gd name="connsiteX8" fmla="*/ 130403 w 1122621"/>
                <a:gd name="connsiteY8" fmla="*/ 404246 h 981533"/>
                <a:gd name="connsiteX9" fmla="*/ 163972 w 1122621"/>
                <a:gd name="connsiteY9" fmla="*/ 448018 h 981533"/>
                <a:gd name="connsiteX10" fmla="*/ 198832 w 1122621"/>
                <a:gd name="connsiteY10" fmla="*/ 489215 h 981533"/>
                <a:gd name="connsiteX11" fmla="*/ 238857 w 1122621"/>
                <a:gd name="connsiteY11" fmla="*/ 527838 h 981533"/>
                <a:gd name="connsiteX12" fmla="*/ 280172 w 1122621"/>
                <a:gd name="connsiteY12" fmla="*/ 565173 h 981533"/>
                <a:gd name="connsiteX13" fmla="*/ 325362 w 1122621"/>
                <a:gd name="connsiteY13" fmla="*/ 598645 h 981533"/>
                <a:gd name="connsiteX14" fmla="*/ 373133 w 1122621"/>
                <a:gd name="connsiteY14" fmla="*/ 629543 h 981533"/>
                <a:gd name="connsiteX15" fmla="*/ 423487 w 1122621"/>
                <a:gd name="connsiteY15" fmla="*/ 659153 h 981533"/>
                <a:gd name="connsiteX16" fmla="*/ 475131 w 1122621"/>
                <a:gd name="connsiteY16" fmla="*/ 686189 h 981533"/>
                <a:gd name="connsiteX17" fmla="*/ 520320 w 1122621"/>
                <a:gd name="connsiteY17" fmla="*/ 706788 h 981533"/>
                <a:gd name="connsiteX18" fmla="*/ 568092 w 1122621"/>
                <a:gd name="connsiteY18" fmla="*/ 722237 h 981533"/>
                <a:gd name="connsiteX19" fmla="*/ 615863 w 1122621"/>
                <a:gd name="connsiteY19" fmla="*/ 737685 h 981533"/>
                <a:gd name="connsiteX20" fmla="*/ 666217 w 1122621"/>
                <a:gd name="connsiteY20" fmla="*/ 751847 h 981533"/>
                <a:gd name="connsiteX21" fmla="*/ 717861 w 1122621"/>
                <a:gd name="connsiteY21" fmla="*/ 762146 h 981533"/>
                <a:gd name="connsiteX22" fmla="*/ 769506 w 1122621"/>
                <a:gd name="connsiteY22" fmla="*/ 768583 h 981533"/>
                <a:gd name="connsiteX23" fmla="*/ 822442 w 1122621"/>
                <a:gd name="connsiteY23" fmla="*/ 775020 h 981533"/>
                <a:gd name="connsiteX24" fmla="*/ 875378 w 1122621"/>
                <a:gd name="connsiteY24" fmla="*/ 776308 h 981533"/>
                <a:gd name="connsiteX25" fmla="*/ 896036 w 1122621"/>
                <a:gd name="connsiteY25" fmla="*/ 776308 h 981533"/>
                <a:gd name="connsiteX26" fmla="*/ 896036 w 1122621"/>
                <a:gd name="connsiteY26" fmla="*/ 775548 h 981533"/>
                <a:gd name="connsiteX27" fmla="*/ 934659 w 1122621"/>
                <a:gd name="connsiteY27" fmla="*/ 775548 h 981533"/>
                <a:gd name="connsiteX28" fmla="*/ 1122621 w 1122621"/>
                <a:gd name="connsiteY28" fmla="*/ 775548 h 981533"/>
                <a:gd name="connsiteX29" fmla="*/ 1122621 w 1122621"/>
                <a:gd name="connsiteY29" fmla="*/ 981533 h 981533"/>
                <a:gd name="connsiteX30" fmla="*/ 934659 w 1122621"/>
                <a:gd name="connsiteY30" fmla="*/ 981533 h 981533"/>
                <a:gd name="connsiteX31" fmla="*/ 896036 w 1122621"/>
                <a:gd name="connsiteY31" fmla="*/ 981533 h 981533"/>
                <a:gd name="connsiteX32" fmla="*/ 896036 w 1122621"/>
                <a:gd name="connsiteY32" fmla="*/ 981006 h 981533"/>
                <a:gd name="connsiteX33" fmla="*/ 875378 w 1122621"/>
                <a:gd name="connsiteY33" fmla="*/ 981006 h 981533"/>
                <a:gd name="connsiteX34" fmla="*/ 822442 w 1122621"/>
                <a:gd name="connsiteY34" fmla="*/ 979719 h 981533"/>
                <a:gd name="connsiteX35" fmla="*/ 769506 w 1122621"/>
                <a:gd name="connsiteY35" fmla="*/ 975857 h 981533"/>
                <a:gd name="connsiteX36" fmla="*/ 717861 w 1122621"/>
                <a:gd name="connsiteY36" fmla="*/ 966845 h 981533"/>
                <a:gd name="connsiteX37" fmla="*/ 666217 w 1122621"/>
                <a:gd name="connsiteY37" fmla="*/ 956545 h 981533"/>
                <a:gd name="connsiteX38" fmla="*/ 615863 w 1122621"/>
                <a:gd name="connsiteY38" fmla="*/ 943671 h 981533"/>
                <a:gd name="connsiteX39" fmla="*/ 568092 w 1122621"/>
                <a:gd name="connsiteY39" fmla="*/ 928222 h 981533"/>
                <a:gd name="connsiteX40" fmla="*/ 520320 w 1122621"/>
                <a:gd name="connsiteY40" fmla="*/ 911486 h 981533"/>
                <a:gd name="connsiteX41" fmla="*/ 475131 w 1122621"/>
                <a:gd name="connsiteY41" fmla="*/ 890887 h 981533"/>
                <a:gd name="connsiteX42" fmla="*/ 423487 w 1122621"/>
                <a:gd name="connsiteY42" fmla="*/ 863852 h 981533"/>
                <a:gd name="connsiteX43" fmla="*/ 373133 w 1122621"/>
                <a:gd name="connsiteY43" fmla="*/ 834241 h 981533"/>
                <a:gd name="connsiteX44" fmla="*/ 325362 w 1122621"/>
                <a:gd name="connsiteY44" fmla="*/ 803344 h 981533"/>
                <a:gd name="connsiteX45" fmla="*/ 280172 w 1122621"/>
                <a:gd name="connsiteY45" fmla="*/ 769871 h 981533"/>
                <a:gd name="connsiteX46" fmla="*/ 238857 w 1122621"/>
                <a:gd name="connsiteY46" fmla="*/ 732536 h 981533"/>
                <a:gd name="connsiteX47" fmla="*/ 198832 w 1122621"/>
                <a:gd name="connsiteY47" fmla="*/ 693914 h 981533"/>
                <a:gd name="connsiteX48" fmla="*/ 163972 w 1122621"/>
                <a:gd name="connsiteY48" fmla="*/ 652716 h 981533"/>
                <a:gd name="connsiteX49" fmla="*/ 130403 w 1122621"/>
                <a:gd name="connsiteY49" fmla="*/ 608945 h 981533"/>
                <a:gd name="connsiteX50" fmla="*/ 100707 w 1122621"/>
                <a:gd name="connsiteY50" fmla="*/ 563885 h 981533"/>
                <a:gd name="connsiteX51" fmla="*/ 73593 w 1122621"/>
                <a:gd name="connsiteY51" fmla="*/ 517538 h 981533"/>
                <a:gd name="connsiteX52" fmla="*/ 52936 w 1122621"/>
                <a:gd name="connsiteY52" fmla="*/ 468617 h 981533"/>
                <a:gd name="connsiteX53" fmla="*/ 34860 w 1122621"/>
                <a:gd name="connsiteY53" fmla="*/ 418408 h 981533"/>
                <a:gd name="connsiteX54" fmla="*/ 18075 w 1122621"/>
                <a:gd name="connsiteY54" fmla="*/ 366912 h 981533"/>
                <a:gd name="connsiteX55" fmla="*/ 7746 w 1122621"/>
                <a:gd name="connsiteY55" fmla="*/ 312840 h 981533"/>
                <a:gd name="connsiteX56" fmla="*/ 1291 w 1122621"/>
                <a:gd name="connsiteY56" fmla="*/ 258769 h 981533"/>
                <a:gd name="connsiteX57" fmla="*/ 0 w 1122621"/>
                <a:gd name="connsiteY57" fmla="*/ 205985 h 981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122621" h="981533">
                  <a:moveTo>
                    <a:pt x="0" y="0"/>
                  </a:moveTo>
                  <a:lnTo>
                    <a:pt x="1291" y="54071"/>
                  </a:lnTo>
                  <a:lnTo>
                    <a:pt x="7746" y="108142"/>
                  </a:lnTo>
                  <a:lnTo>
                    <a:pt x="18075" y="162213"/>
                  </a:lnTo>
                  <a:lnTo>
                    <a:pt x="34860" y="213710"/>
                  </a:lnTo>
                  <a:lnTo>
                    <a:pt x="52936" y="263919"/>
                  </a:lnTo>
                  <a:lnTo>
                    <a:pt x="73593" y="312840"/>
                  </a:lnTo>
                  <a:lnTo>
                    <a:pt x="100707" y="357900"/>
                  </a:lnTo>
                  <a:lnTo>
                    <a:pt x="130403" y="404246"/>
                  </a:lnTo>
                  <a:lnTo>
                    <a:pt x="163972" y="448018"/>
                  </a:lnTo>
                  <a:lnTo>
                    <a:pt x="198832" y="489215"/>
                  </a:lnTo>
                  <a:lnTo>
                    <a:pt x="238857" y="527838"/>
                  </a:lnTo>
                  <a:lnTo>
                    <a:pt x="280172" y="565173"/>
                  </a:lnTo>
                  <a:lnTo>
                    <a:pt x="325362" y="598645"/>
                  </a:lnTo>
                  <a:lnTo>
                    <a:pt x="373133" y="629543"/>
                  </a:lnTo>
                  <a:lnTo>
                    <a:pt x="423487" y="659153"/>
                  </a:lnTo>
                  <a:lnTo>
                    <a:pt x="475131" y="686189"/>
                  </a:lnTo>
                  <a:lnTo>
                    <a:pt x="520320" y="706788"/>
                  </a:lnTo>
                  <a:lnTo>
                    <a:pt x="568092" y="722237"/>
                  </a:lnTo>
                  <a:lnTo>
                    <a:pt x="615863" y="737685"/>
                  </a:lnTo>
                  <a:lnTo>
                    <a:pt x="666217" y="751847"/>
                  </a:lnTo>
                  <a:lnTo>
                    <a:pt x="717861" y="762146"/>
                  </a:lnTo>
                  <a:lnTo>
                    <a:pt x="769506" y="768583"/>
                  </a:lnTo>
                  <a:lnTo>
                    <a:pt x="822442" y="775020"/>
                  </a:lnTo>
                  <a:lnTo>
                    <a:pt x="875378" y="776308"/>
                  </a:lnTo>
                  <a:lnTo>
                    <a:pt x="896036" y="776308"/>
                  </a:lnTo>
                  <a:lnTo>
                    <a:pt x="896036" y="775548"/>
                  </a:lnTo>
                  <a:lnTo>
                    <a:pt x="934659" y="775548"/>
                  </a:lnTo>
                  <a:lnTo>
                    <a:pt x="1122621" y="775548"/>
                  </a:lnTo>
                  <a:lnTo>
                    <a:pt x="1122621" y="981533"/>
                  </a:lnTo>
                  <a:lnTo>
                    <a:pt x="934659" y="981533"/>
                  </a:lnTo>
                  <a:lnTo>
                    <a:pt x="896036" y="981533"/>
                  </a:lnTo>
                  <a:lnTo>
                    <a:pt x="896036" y="981006"/>
                  </a:lnTo>
                  <a:lnTo>
                    <a:pt x="875378" y="981006"/>
                  </a:lnTo>
                  <a:lnTo>
                    <a:pt x="822442" y="979719"/>
                  </a:lnTo>
                  <a:lnTo>
                    <a:pt x="769506" y="975857"/>
                  </a:lnTo>
                  <a:lnTo>
                    <a:pt x="717861" y="966845"/>
                  </a:lnTo>
                  <a:lnTo>
                    <a:pt x="666217" y="956545"/>
                  </a:lnTo>
                  <a:lnTo>
                    <a:pt x="615863" y="943671"/>
                  </a:lnTo>
                  <a:lnTo>
                    <a:pt x="568092" y="928222"/>
                  </a:lnTo>
                  <a:lnTo>
                    <a:pt x="520320" y="911486"/>
                  </a:lnTo>
                  <a:lnTo>
                    <a:pt x="475131" y="890887"/>
                  </a:lnTo>
                  <a:lnTo>
                    <a:pt x="423487" y="863852"/>
                  </a:lnTo>
                  <a:lnTo>
                    <a:pt x="373133" y="834241"/>
                  </a:lnTo>
                  <a:lnTo>
                    <a:pt x="325362" y="803344"/>
                  </a:lnTo>
                  <a:lnTo>
                    <a:pt x="280172" y="769871"/>
                  </a:lnTo>
                  <a:lnTo>
                    <a:pt x="238857" y="732536"/>
                  </a:lnTo>
                  <a:lnTo>
                    <a:pt x="198832" y="693914"/>
                  </a:lnTo>
                  <a:lnTo>
                    <a:pt x="163972" y="652716"/>
                  </a:lnTo>
                  <a:lnTo>
                    <a:pt x="130403" y="608945"/>
                  </a:lnTo>
                  <a:lnTo>
                    <a:pt x="100707" y="563885"/>
                  </a:lnTo>
                  <a:lnTo>
                    <a:pt x="73593" y="517538"/>
                  </a:lnTo>
                  <a:lnTo>
                    <a:pt x="52936" y="468617"/>
                  </a:lnTo>
                  <a:lnTo>
                    <a:pt x="34860" y="418408"/>
                  </a:lnTo>
                  <a:lnTo>
                    <a:pt x="18075" y="366912"/>
                  </a:lnTo>
                  <a:lnTo>
                    <a:pt x="7746" y="312840"/>
                  </a:lnTo>
                  <a:lnTo>
                    <a:pt x="1291" y="258769"/>
                  </a:lnTo>
                  <a:lnTo>
                    <a:pt x="0" y="205985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14" name="Freeform 74">
              <a:extLst>
                <a:ext uri="{FF2B5EF4-FFF2-40B4-BE49-F238E27FC236}">
                  <a16:creationId xmlns:a16="http://schemas.microsoft.com/office/drawing/2014/main" id="{D163B356-75C0-4B36-AA55-8E82F92DD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6260" y="2169373"/>
              <a:ext cx="540709" cy="673315"/>
            </a:xfrm>
            <a:custGeom>
              <a:avLst/>
              <a:gdLst>
                <a:gd name="connsiteX0" fmla="*/ 540709 w 540709"/>
                <a:gd name="connsiteY0" fmla="*/ 0 h 673315"/>
                <a:gd name="connsiteX1" fmla="*/ 540709 w 540709"/>
                <a:gd name="connsiteY1" fmla="*/ 204698 h 673315"/>
                <a:gd name="connsiteX2" fmla="*/ 242030 w 540709"/>
                <a:gd name="connsiteY2" fmla="*/ 466042 h 673315"/>
                <a:gd name="connsiteX3" fmla="*/ 242030 w 540709"/>
                <a:gd name="connsiteY3" fmla="*/ 464757 h 673315"/>
                <a:gd name="connsiteX4" fmla="*/ 0 w 540709"/>
                <a:gd name="connsiteY4" fmla="*/ 673315 h 673315"/>
                <a:gd name="connsiteX5" fmla="*/ 0 w 540709"/>
                <a:gd name="connsiteY5" fmla="*/ 468617 h 673315"/>
                <a:gd name="connsiteX6" fmla="*/ 242033 w 540709"/>
                <a:gd name="connsiteY6" fmla="*/ 258769 h 673315"/>
                <a:gd name="connsiteX7" fmla="*/ 242033 w 540709"/>
                <a:gd name="connsiteY7" fmla="*/ 260054 h 67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0709" h="673315">
                  <a:moveTo>
                    <a:pt x="540709" y="0"/>
                  </a:moveTo>
                  <a:lnTo>
                    <a:pt x="540709" y="204698"/>
                  </a:lnTo>
                  <a:lnTo>
                    <a:pt x="242030" y="466042"/>
                  </a:lnTo>
                  <a:lnTo>
                    <a:pt x="242030" y="464757"/>
                  </a:lnTo>
                  <a:lnTo>
                    <a:pt x="0" y="673315"/>
                  </a:lnTo>
                  <a:lnTo>
                    <a:pt x="0" y="468617"/>
                  </a:lnTo>
                  <a:lnTo>
                    <a:pt x="242033" y="258769"/>
                  </a:lnTo>
                  <a:lnTo>
                    <a:pt x="242033" y="260054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15" name="Freeform 22">
              <a:extLst>
                <a:ext uri="{FF2B5EF4-FFF2-40B4-BE49-F238E27FC236}">
                  <a16:creationId xmlns:a16="http://schemas.microsoft.com/office/drawing/2014/main" id="{24F47493-58FA-48A7-ABF3-9B146429D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3639" y="1096962"/>
              <a:ext cx="1663331" cy="1544889"/>
            </a:xfrm>
            <a:custGeom>
              <a:avLst/>
              <a:gdLst>
                <a:gd name="T0" fmla="*/ 464 w 1291"/>
                <a:gd name="T1" fmla="*/ 66 h 1201"/>
                <a:gd name="T2" fmla="*/ 464 w 1291"/>
                <a:gd name="T3" fmla="*/ 434 h 1201"/>
                <a:gd name="T4" fmla="*/ 469 w 1291"/>
                <a:gd name="T5" fmla="*/ 472 h 1201"/>
                <a:gd name="T6" fmla="*/ 481 w 1291"/>
                <a:gd name="T7" fmla="*/ 509 h 1201"/>
                <a:gd name="T8" fmla="*/ 501 w 1291"/>
                <a:gd name="T9" fmla="*/ 542 h 1201"/>
                <a:gd name="T10" fmla="*/ 527 w 1291"/>
                <a:gd name="T11" fmla="*/ 571 h 1201"/>
                <a:gd name="T12" fmla="*/ 558 w 1291"/>
                <a:gd name="T13" fmla="*/ 595 h 1201"/>
                <a:gd name="T14" fmla="*/ 595 w 1291"/>
                <a:gd name="T15" fmla="*/ 614 h 1201"/>
                <a:gd name="T16" fmla="*/ 635 w 1291"/>
                <a:gd name="T17" fmla="*/ 627 h 1201"/>
                <a:gd name="T18" fmla="*/ 678 w 1291"/>
                <a:gd name="T19" fmla="*/ 633 h 1201"/>
                <a:gd name="T20" fmla="*/ 694 w 1291"/>
                <a:gd name="T21" fmla="*/ 635 h 1201"/>
                <a:gd name="T22" fmla="*/ 871 w 1291"/>
                <a:gd name="T23" fmla="*/ 471 h 1201"/>
                <a:gd name="T24" fmla="*/ 1291 w 1291"/>
                <a:gd name="T25" fmla="*/ 836 h 1201"/>
                <a:gd name="T26" fmla="*/ 871 w 1291"/>
                <a:gd name="T27" fmla="*/ 1201 h 1201"/>
                <a:gd name="T28" fmla="*/ 725 w 1291"/>
                <a:gd name="T29" fmla="*/ 1038 h 1201"/>
                <a:gd name="T30" fmla="*/ 694 w 1291"/>
                <a:gd name="T31" fmla="*/ 1038 h 1201"/>
                <a:gd name="T32" fmla="*/ 678 w 1291"/>
                <a:gd name="T33" fmla="*/ 1037 h 1201"/>
                <a:gd name="T34" fmla="*/ 596 w 1291"/>
                <a:gd name="T35" fmla="*/ 1032 h 1201"/>
                <a:gd name="T36" fmla="*/ 516 w 1291"/>
                <a:gd name="T37" fmla="*/ 1017 h 1201"/>
                <a:gd name="T38" fmla="*/ 440 w 1291"/>
                <a:gd name="T39" fmla="*/ 995 h 1201"/>
                <a:gd name="T40" fmla="*/ 368 w 1291"/>
                <a:gd name="T41" fmla="*/ 966 h 1201"/>
                <a:gd name="T42" fmla="*/ 328 w 1291"/>
                <a:gd name="T43" fmla="*/ 947 h 1201"/>
                <a:gd name="T44" fmla="*/ 252 w 1291"/>
                <a:gd name="T45" fmla="*/ 899 h 1201"/>
                <a:gd name="T46" fmla="*/ 185 w 1291"/>
                <a:gd name="T47" fmla="*/ 844 h 1201"/>
                <a:gd name="T48" fmla="*/ 127 w 1291"/>
                <a:gd name="T49" fmla="*/ 781 h 1201"/>
                <a:gd name="T50" fmla="*/ 78 w 1291"/>
                <a:gd name="T51" fmla="*/ 714 h 1201"/>
                <a:gd name="T52" fmla="*/ 41 w 1291"/>
                <a:gd name="T53" fmla="*/ 640 h 1201"/>
                <a:gd name="T54" fmla="*/ 14 w 1291"/>
                <a:gd name="T55" fmla="*/ 559 h 1201"/>
                <a:gd name="T56" fmla="*/ 1 w 1291"/>
                <a:gd name="T57" fmla="*/ 477 h 1201"/>
                <a:gd name="T58" fmla="*/ 0 w 1291"/>
                <a:gd name="T59" fmla="*/ 66 h 1201"/>
                <a:gd name="T60" fmla="*/ 70 w 1291"/>
                <a:gd name="T61" fmla="*/ 66 h 1201"/>
                <a:gd name="T62" fmla="*/ 389 w 1291"/>
                <a:gd name="T63" fmla="*/ 66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91" h="1201">
                  <a:moveTo>
                    <a:pt x="464" y="0"/>
                  </a:moveTo>
                  <a:lnTo>
                    <a:pt x="464" y="66"/>
                  </a:lnTo>
                  <a:lnTo>
                    <a:pt x="464" y="434"/>
                  </a:lnTo>
                  <a:lnTo>
                    <a:pt x="464" y="434"/>
                  </a:lnTo>
                  <a:lnTo>
                    <a:pt x="466" y="453"/>
                  </a:lnTo>
                  <a:lnTo>
                    <a:pt x="469" y="472"/>
                  </a:lnTo>
                  <a:lnTo>
                    <a:pt x="474" y="492"/>
                  </a:lnTo>
                  <a:lnTo>
                    <a:pt x="481" y="509"/>
                  </a:lnTo>
                  <a:lnTo>
                    <a:pt x="490" y="526"/>
                  </a:lnTo>
                  <a:lnTo>
                    <a:pt x="501" y="542"/>
                  </a:lnTo>
                  <a:lnTo>
                    <a:pt x="513" y="558"/>
                  </a:lnTo>
                  <a:lnTo>
                    <a:pt x="527" y="571"/>
                  </a:lnTo>
                  <a:lnTo>
                    <a:pt x="542" y="583"/>
                  </a:lnTo>
                  <a:lnTo>
                    <a:pt x="558" y="595"/>
                  </a:lnTo>
                  <a:lnTo>
                    <a:pt x="575" y="606"/>
                  </a:lnTo>
                  <a:lnTo>
                    <a:pt x="595" y="614"/>
                  </a:lnTo>
                  <a:lnTo>
                    <a:pt x="614" y="622"/>
                  </a:lnTo>
                  <a:lnTo>
                    <a:pt x="635" y="627"/>
                  </a:lnTo>
                  <a:lnTo>
                    <a:pt x="657" y="632"/>
                  </a:lnTo>
                  <a:lnTo>
                    <a:pt x="678" y="633"/>
                  </a:lnTo>
                  <a:lnTo>
                    <a:pt x="678" y="633"/>
                  </a:lnTo>
                  <a:lnTo>
                    <a:pt x="694" y="635"/>
                  </a:lnTo>
                  <a:lnTo>
                    <a:pt x="871" y="635"/>
                  </a:lnTo>
                  <a:lnTo>
                    <a:pt x="871" y="471"/>
                  </a:lnTo>
                  <a:lnTo>
                    <a:pt x="1060" y="635"/>
                  </a:lnTo>
                  <a:lnTo>
                    <a:pt x="1291" y="836"/>
                  </a:lnTo>
                  <a:lnTo>
                    <a:pt x="1060" y="1038"/>
                  </a:lnTo>
                  <a:lnTo>
                    <a:pt x="871" y="1201"/>
                  </a:lnTo>
                  <a:lnTo>
                    <a:pt x="871" y="1038"/>
                  </a:lnTo>
                  <a:lnTo>
                    <a:pt x="725" y="1038"/>
                  </a:lnTo>
                  <a:lnTo>
                    <a:pt x="694" y="1038"/>
                  </a:lnTo>
                  <a:lnTo>
                    <a:pt x="694" y="1038"/>
                  </a:lnTo>
                  <a:lnTo>
                    <a:pt x="678" y="1037"/>
                  </a:lnTo>
                  <a:lnTo>
                    <a:pt x="678" y="1037"/>
                  </a:lnTo>
                  <a:lnTo>
                    <a:pt x="637" y="1035"/>
                  </a:lnTo>
                  <a:lnTo>
                    <a:pt x="596" y="1032"/>
                  </a:lnTo>
                  <a:lnTo>
                    <a:pt x="556" y="1026"/>
                  </a:lnTo>
                  <a:lnTo>
                    <a:pt x="516" y="1017"/>
                  </a:lnTo>
                  <a:lnTo>
                    <a:pt x="477" y="1008"/>
                  </a:lnTo>
                  <a:lnTo>
                    <a:pt x="440" y="995"/>
                  </a:lnTo>
                  <a:lnTo>
                    <a:pt x="403" y="982"/>
                  </a:lnTo>
                  <a:lnTo>
                    <a:pt x="368" y="966"/>
                  </a:lnTo>
                  <a:lnTo>
                    <a:pt x="368" y="966"/>
                  </a:lnTo>
                  <a:lnTo>
                    <a:pt x="328" y="947"/>
                  </a:lnTo>
                  <a:lnTo>
                    <a:pt x="289" y="924"/>
                  </a:lnTo>
                  <a:lnTo>
                    <a:pt x="252" y="899"/>
                  </a:lnTo>
                  <a:lnTo>
                    <a:pt x="217" y="873"/>
                  </a:lnTo>
                  <a:lnTo>
                    <a:pt x="185" y="844"/>
                  </a:lnTo>
                  <a:lnTo>
                    <a:pt x="154" y="813"/>
                  </a:lnTo>
                  <a:lnTo>
                    <a:pt x="127" y="781"/>
                  </a:lnTo>
                  <a:lnTo>
                    <a:pt x="101" y="749"/>
                  </a:lnTo>
                  <a:lnTo>
                    <a:pt x="78" y="714"/>
                  </a:lnTo>
                  <a:lnTo>
                    <a:pt x="57" y="677"/>
                  </a:lnTo>
                  <a:lnTo>
                    <a:pt x="41" y="640"/>
                  </a:lnTo>
                  <a:lnTo>
                    <a:pt x="27" y="599"/>
                  </a:lnTo>
                  <a:lnTo>
                    <a:pt x="14" y="559"/>
                  </a:lnTo>
                  <a:lnTo>
                    <a:pt x="6" y="519"/>
                  </a:lnTo>
                  <a:lnTo>
                    <a:pt x="1" y="477"/>
                  </a:lnTo>
                  <a:lnTo>
                    <a:pt x="0" y="434"/>
                  </a:lnTo>
                  <a:lnTo>
                    <a:pt x="0" y="66"/>
                  </a:lnTo>
                  <a:lnTo>
                    <a:pt x="0" y="3"/>
                  </a:lnTo>
                  <a:lnTo>
                    <a:pt x="70" y="66"/>
                  </a:lnTo>
                  <a:lnTo>
                    <a:pt x="230" y="204"/>
                  </a:lnTo>
                  <a:lnTo>
                    <a:pt x="389" y="66"/>
                  </a:lnTo>
                  <a:lnTo>
                    <a:pt x="464" y="0"/>
                  </a:lnTo>
                  <a:close/>
                </a:path>
              </a:pathLst>
            </a:custGeom>
            <a:gradFill>
              <a:gsLst>
                <a:gs pos="200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16" name="Freeform 24">
              <a:extLst>
                <a:ext uri="{FF2B5EF4-FFF2-40B4-BE49-F238E27FC236}">
                  <a16:creationId xmlns:a16="http://schemas.microsoft.com/office/drawing/2014/main" id="{A9D2090F-AB80-4189-A0EA-DAA2F3742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3639" y="1673721"/>
              <a:ext cx="896036" cy="981006"/>
            </a:xfrm>
            <a:custGeom>
              <a:avLst/>
              <a:gdLst>
                <a:gd name="T0" fmla="*/ 694 w 694"/>
                <a:gd name="T1" fmla="*/ 603 h 762"/>
                <a:gd name="T2" fmla="*/ 694 w 694"/>
                <a:gd name="T3" fmla="*/ 762 h 762"/>
                <a:gd name="T4" fmla="*/ 694 w 694"/>
                <a:gd name="T5" fmla="*/ 762 h 762"/>
                <a:gd name="T6" fmla="*/ 678 w 694"/>
                <a:gd name="T7" fmla="*/ 762 h 762"/>
                <a:gd name="T8" fmla="*/ 678 w 694"/>
                <a:gd name="T9" fmla="*/ 762 h 762"/>
                <a:gd name="T10" fmla="*/ 637 w 694"/>
                <a:gd name="T11" fmla="*/ 761 h 762"/>
                <a:gd name="T12" fmla="*/ 596 w 694"/>
                <a:gd name="T13" fmla="*/ 758 h 762"/>
                <a:gd name="T14" fmla="*/ 556 w 694"/>
                <a:gd name="T15" fmla="*/ 751 h 762"/>
                <a:gd name="T16" fmla="*/ 516 w 694"/>
                <a:gd name="T17" fmla="*/ 743 h 762"/>
                <a:gd name="T18" fmla="*/ 477 w 694"/>
                <a:gd name="T19" fmla="*/ 733 h 762"/>
                <a:gd name="T20" fmla="*/ 440 w 694"/>
                <a:gd name="T21" fmla="*/ 721 h 762"/>
                <a:gd name="T22" fmla="*/ 403 w 694"/>
                <a:gd name="T23" fmla="*/ 708 h 762"/>
                <a:gd name="T24" fmla="*/ 368 w 694"/>
                <a:gd name="T25" fmla="*/ 692 h 762"/>
                <a:gd name="T26" fmla="*/ 368 w 694"/>
                <a:gd name="T27" fmla="*/ 692 h 762"/>
                <a:gd name="T28" fmla="*/ 328 w 694"/>
                <a:gd name="T29" fmla="*/ 671 h 762"/>
                <a:gd name="T30" fmla="*/ 289 w 694"/>
                <a:gd name="T31" fmla="*/ 648 h 762"/>
                <a:gd name="T32" fmla="*/ 252 w 694"/>
                <a:gd name="T33" fmla="*/ 624 h 762"/>
                <a:gd name="T34" fmla="*/ 217 w 694"/>
                <a:gd name="T35" fmla="*/ 598 h 762"/>
                <a:gd name="T36" fmla="*/ 185 w 694"/>
                <a:gd name="T37" fmla="*/ 569 h 762"/>
                <a:gd name="T38" fmla="*/ 154 w 694"/>
                <a:gd name="T39" fmla="*/ 539 h 762"/>
                <a:gd name="T40" fmla="*/ 127 w 694"/>
                <a:gd name="T41" fmla="*/ 507 h 762"/>
                <a:gd name="T42" fmla="*/ 101 w 694"/>
                <a:gd name="T43" fmla="*/ 473 h 762"/>
                <a:gd name="T44" fmla="*/ 78 w 694"/>
                <a:gd name="T45" fmla="*/ 438 h 762"/>
                <a:gd name="T46" fmla="*/ 57 w 694"/>
                <a:gd name="T47" fmla="*/ 402 h 762"/>
                <a:gd name="T48" fmla="*/ 41 w 694"/>
                <a:gd name="T49" fmla="*/ 364 h 762"/>
                <a:gd name="T50" fmla="*/ 27 w 694"/>
                <a:gd name="T51" fmla="*/ 325 h 762"/>
                <a:gd name="T52" fmla="*/ 14 w 694"/>
                <a:gd name="T53" fmla="*/ 285 h 762"/>
                <a:gd name="T54" fmla="*/ 6 w 694"/>
                <a:gd name="T55" fmla="*/ 243 h 762"/>
                <a:gd name="T56" fmla="*/ 1 w 694"/>
                <a:gd name="T57" fmla="*/ 201 h 762"/>
                <a:gd name="T58" fmla="*/ 0 w 694"/>
                <a:gd name="T59" fmla="*/ 160 h 762"/>
                <a:gd name="T60" fmla="*/ 0 w 694"/>
                <a:gd name="T61" fmla="*/ 0 h 762"/>
                <a:gd name="T62" fmla="*/ 0 w 694"/>
                <a:gd name="T63" fmla="*/ 0 h 762"/>
                <a:gd name="T64" fmla="*/ 1 w 694"/>
                <a:gd name="T65" fmla="*/ 42 h 762"/>
                <a:gd name="T66" fmla="*/ 6 w 694"/>
                <a:gd name="T67" fmla="*/ 84 h 762"/>
                <a:gd name="T68" fmla="*/ 14 w 694"/>
                <a:gd name="T69" fmla="*/ 126 h 762"/>
                <a:gd name="T70" fmla="*/ 27 w 694"/>
                <a:gd name="T71" fmla="*/ 166 h 762"/>
                <a:gd name="T72" fmla="*/ 41 w 694"/>
                <a:gd name="T73" fmla="*/ 205 h 762"/>
                <a:gd name="T74" fmla="*/ 57 w 694"/>
                <a:gd name="T75" fmla="*/ 243 h 762"/>
                <a:gd name="T76" fmla="*/ 78 w 694"/>
                <a:gd name="T77" fmla="*/ 278 h 762"/>
                <a:gd name="T78" fmla="*/ 101 w 694"/>
                <a:gd name="T79" fmla="*/ 314 h 762"/>
                <a:gd name="T80" fmla="*/ 127 w 694"/>
                <a:gd name="T81" fmla="*/ 348 h 762"/>
                <a:gd name="T82" fmla="*/ 154 w 694"/>
                <a:gd name="T83" fmla="*/ 380 h 762"/>
                <a:gd name="T84" fmla="*/ 185 w 694"/>
                <a:gd name="T85" fmla="*/ 410 h 762"/>
                <a:gd name="T86" fmla="*/ 217 w 694"/>
                <a:gd name="T87" fmla="*/ 439 h 762"/>
                <a:gd name="T88" fmla="*/ 252 w 694"/>
                <a:gd name="T89" fmla="*/ 465 h 762"/>
                <a:gd name="T90" fmla="*/ 289 w 694"/>
                <a:gd name="T91" fmla="*/ 489 h 762"/>
                <a:gd name="T92" fmla="*/ 328 w 694"/>
                <a:gd name="T93" fmla="*/ 512 h 762"/>
                <a:gd name="T94" fmla="*/ 368 w 694"/>
                <a:gd name="T95" fmla="*/ 533 h 762"/>
                <a:gd name="T96" fmla="*/ 368 w 694"/>
                <a:gd name="T97" fmla="*/ 533 h 762"/>
                <a:gd name="T98" fmla="*/ 403 w 694"/>
                <a:gd name="T99" fmla="*/ 549 h 762"/>
                <a:gd name="T100" fmla="*/ 440 w 694"/>
                <a:gd name="T101" fmla="*/ 561 h 762"/>
                <a:gd name="T102" fmla="*/ 477 w 694"/>
                <a:gd name="T103" fmla="*/ 573 h 762"/>
                <a:gd name="T104" fmla="*/ 516 w 694"/>
                <a:gd name="T105" fmla="*/ 584 h 762"/>
                <a:gd name="T106" fmla="*/ 556 w 694"/>
                <a:gd name="T107" fmla="*/ 592 h 762"/>
                <a:gd name="T108" fmla="*/ 596 w 694"/>
                <a:gd name="T109" fmla="*/ 597 h 762"/>
                <a:gd name="T110" fmla="*/ 637 w 694"/>
                <a:gd name="T111" fmla="*/ 602 h 762"/>
                <a:gd name="T112" fmla="*/ 678 w 694"/>
                <a:gd name="T113" fmla="*/ 603 h 762"/>
                <a:gd name="T114" fmla="*/ 678 w 694"/>
                <a:gd name="T115" fmla="*/ 603 h 762"/>
                <a:gd name="T116" fmla="*/ 694 w 694"/>
                <a:gd name="T117" fmla="*/ 603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94" h="762">
                  <a:moveTo>
                    <a:pt x="694" y="603"/>
                  </a:moveTo>
                  <a:lnTo>
                    <a:pt x="694" y="762"/>
                  </a:lnTo>
                  <a:lnTo>
                    <a:pt x="694" y="762"/>
                  </a:lnTo>
                  <a:lnTo>
                    <a:pt x="678" y="762"/>
                  </a:lnTo>
                  <a:lnTo>
                    <a:pt x="678" y="762"/>
                  </a:lnTo>
                  <a:lnTo>
                    <a:pt x="637" y="761"/>
                  </a:lnTo>
                  <a:lnTo>
                    <a:pt x="596" y="758"/>
                  </a:lnTo>
                  <a:lnTo>
                    <a:pt x="556" y="751"/>
                  </a:lnTo>
                  <a:lnTo>
                    <a:pt x="516" y="743"/>
                  </a:lnTo>
                  <a:lnTo>
                    <a:pt x="477" y="733"/>
                  </a:lnTo>
                  <a:lnTo>
                    <a:pt x="440" y="721"/>
                  </a:lnTo>
                  <a:lnTo>
                    <a:pt x="403" y="708"/>
                  </a:lnTo>
                  <a:lnTo>
                    <a:pt x="368" y="692"/>
                  </a:lnTo>
                  <a:lnTo>
                    <a:pt x="368" y="692"/>
                  </a:lnTo>
                  <a:lnTo>
                    <a:pt x="328" y="671"/>
                  </a:lnTo>
                  <a:lnTo>
                    <a:pt x="289" y="648"/>
                  </a:lnTo>
                  <a:lnTo>
                    <a:pt x="252" y="624"/>
                  </a:lnTo>
                  <a:lnTo>
                    <a:pt x="217" y="598"/>
                  </a:lnTo>
                  <a:lnTo>
                    <a:pt x="185" y="569"/>
                  </a:lnTo>
                  <a:lnTo>
                    <a:pt x="154" y="539"/>
                  </a:lnTo>
                  <a:lnTo>
                    <a:pt x="127" y="507"/>
                  </a:lnTo>
                  <a:lnTo>
                    <a:pt x="101" y="473"/>
                  </a:lnTo>
                  <a:lnTo>
                    <a:pt x="78" y="438"/>
                  </a:lnTo>
                  <a:lnTo>
                    <a:pt x="57" y="402"/>
                  </a:lnTo>
                  <a:lnTo>
                    <a:pt x="41" y="364"/>
                  </a:lnTo>
                  <a:lnTo>
                    <a:pt x="27" y="325"/>
                  </a:lnTo>
                  <a:lnTo>
                    <a:pt x="14" y="285"/>
                  </a:lnTo>
                  <a:lnTo>
                    <a:pt x="6" y="243"/>
                  </a:lnTo>
                  <a:lnTo>
                    <a:pt x="1" y="201"/>
                  </a:lnTo>
                  <a:lnTo>
                    <a:pt x="0" y="16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42"/>
                  </a:lnTo>
                  <a:lnTo>
                    <a:pt x="6" y="84"/>
                  </a:lnTo>
                  <a:lnTo>
                    <a:pt x="14" y="126"/>
                  </a:lnTo>
                  <a:lnTo>
                    <a:pt x="27" y="166"/>
                  </a:lnTo>
                  <a:lnTo>
                    <a:pt x="41" y="205"/>
                  </a:lnTo>
                  <a:lnTo>
                    <a:pt x="57" y="243"/>
                  </a:lnTo>
                  <a:lnTo>
                    <a:pt x="78" y="278"/>
                  </a:lnTo>
                  <a:lnTo>
                    <a:pt x="101" y="314"/>
                  </a:lnTo>
                  <a:lnTo>
                    <a:pt x="127" y="348"/>
                  </a:lnTo>
                  <a:lnTo>
                    <a:pt x="154" y="380"/>
                  </a:lnTo>
                  <a:lnTo>
                    <a:pt x="185" y="410"/>
                  </a:lnTo>
                  <a:lnTo>
                    <a:pt x="217" y="439"/>
                  </a:lnTo>
                  <a:lnTo>
                    <a:pt x="252" y="465"/>
                  </a:lnTo>
                  <a:lnTo>
                    <a:pt x="289" y="489"/>
                  </a:lnTo>
                  <a:lnTo>
                    <a:pt x="328" y="512"/>
                  </a:lnTo>
                  <a:lnTo>
                    <a:pt x="368" y="533"/>
                  </a:lnTo>
                  <a:lnTo>
                    <a:pt x="368" y="533"/>
                  </a:lnTo>
                  <a:lnTo>
                    <a:pt x="403" y="549"/>
                  </a:lnTo>
                  <a:lnTo>
                    <a:pt x="440" y="561"/>
                  </a:lnTo>
                  <a:lnTo>
                    <a:pt x="477" y="573"/>
                  </a:lnTo>
                  <a:lnTo>
                    <a:pt x="516" y="584"/>
                  </a:lnTo>
                  <a:lnTo>
                    <a:pt x="556" y="592"/>
                  </a:lnTo>
                  <a:lnTo>
                    <a:pt x="596" y="597"/>
                  </a:lnTo>
                  <a:lnTo>
                    <a:pt x="637" y="602"/>
                  </a:lnTo>
                  <a:lnTo>
                    <a:pt x="678" y="603"/>
                  </a:lnTo>
                  <a:lnTo>
                    <a:pt x="678" y="603"/>
                  </a:lnTo>
                  <a:lnTo>
                    <a:pt x="694" y="60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17" name="Group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573BD154-63FD-42E6-AAAF-3726097F5191}"/>
              </a:ext>
            </a:extLst>
          </p:cNvPr>
          <p:cNvGrpSpPr/>
          <p:nvPr/>
        </p:nvGrpSpPr>
        <p:grpSpPr>
          <a:xfrm>
            <a:off x="8373145" y="3499213"/>
            <a:ext cx="935963" cy="1461541"/>
            <a:chOff x="8666970" y="3159389"/>
            <a:chExt cx="1203759" cy="1879716"/>
          </a:xfrm>
        </p:grpSpPr>
        <p:sp>
          <p:nvSpPr>
            <p:cNvPr id="18" name="Freeform 26">
              <a:extLst>
                <a:ext uri="{FF2B5EF4-FFF2-40B4-BE49-F238E27FC236}">
                  <a16:creationId xmlns:a16="http://schemas.microsoft.com/office/drawing/2014/main" id="{E4618842-B7C4-4F8B-9489-056F35922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970" y="3159389"/>
              <a:ext cx="1202440" cy="1719977"/>
            </a:xfrm>
            <a:custGeom>
              <a:avLst/>
              <a:gdLst>
                <a:gd name="T0" fmla="*/ 750 w 935"/>
                <a:gd name="T1" fmla="*/ 971 h 1336"/>
                <a:gd name="T2" fmla="*/ 750 w 935"/>
                <a:gd name="T3" fmla="*/ 603 h 1336"/>
                <a:gd name="T4" fmla="*/ 750 w 935"/>
                <a:gd name="T5" fmla="*/ 603 h 1336"/>
                <a:gd name="T6" fmla="*/ 748 w 935"/>
                <a:gd name="T7" fmla="*/ 561 h 1336"/>
                <a:gd name="T8" fmla="*/ 742 w 935"/>
                <a:gd name="T9" fmla="*/ 517 h 1336"/>
                <a:gd name="T10" fmla="*/ 734 w 935"/>
                <a:gd name="T11" fmla="*/ 477 h 1336"/>
                <a:gd name="T12" fmla="*/ 722 w 935"/>
                <a:gd name="T13" fmla="*/ 437 h 1336"/>
                <a:gd name="T14" fmla="*/ 708 w 935"/>
                <a:gd name="T15" fmla="*/ 398 h 1336"/>
                <a:gd name="T16" fmla="*/ 690 w 935"/>
                <a:gd name="T17" fmla="*/ 360 h 1336"/>
                <a:gd name="T18" fmla="*/ 671 w 935"/>
                <a:gd name="T19" fmla="*/ 323 h 1336"/>
                <a:gd name="T20" fmla="*/ 647 w 935"/>
                <a:gd name="T21" fmla="*/ 289 h 1336"/>
                <a:gd name="T22" fmla="*/ 621 w 935"/>
                <a:gd name="T23" fmla="*/ 255 h 1336"/>
                <a:gd name="T24" fmla="*/ 594 w 935"/>
                <a:gd name="T25" fmla="*/ 223 h 1336"/>
                <a:gd name="T26" fmla="*/ 563 w 935"/>
                <a:gd name="T27" fmla="*/ 193 h 1336"/>
                <a:gd name="T28" fmla="*/ 531 w 935"/>
                <a:gd name="T29" fmla="*/ 164 h 1336"/>
                <a:gd name="T30" fmla="*/ 497 w 935"/>
                <a:gd name="T31" fmla="*/ 138 h 1336"/>
                <a:gd name="T32" fmla="*/ 460 w 935"/>
                <a:gd name="T33" fmla="*/ 114 h 1336"/>
                <a:gd name="T34" fmla="*/ 422 w 935"/>
                <a:gd name="T35" fmla="*/ 91 h 1336"/>
                <a:gd name="T36" fmla="*/ 381 w 935"/>
                <a:gd name="T37" fmla="*/ 70 h 1336"/>
                <a:gd name="T38" fmla="*/ 381 w 935"/>
                <a:gd name="T39" fmla="*/ 70 h 1336"/>
                <a:gd name="T40" fmla="*/ 344 w 935"/>
                <a:gd name="T41" fmla="*/ 54 h 1336"/>
                <a:gd name="T42" fmla="*/ 306 w 935"/>
                <a:gd name="T43" fmla="*/ 40 h 1336"/>
                <a:gd name="T44" fmla="*/ 266 w 935"/>
                <a:gd name="T45" fmla="*/ 27 h 1336"/>
                <a:gd name="T46" fmla="*/ 225 w 935"/>
                <a:gd name="T47" fmla="*/ 17 h 1336"/>
                <a:gd name="T48" fmla="*/ 184 w 935"/>
                <a:gd name="T49" fmla="*/ 9 h 1336"/>
                <a:gd name="T50" fmla="*/ 142 w 935"/>
                <a:gd name="T51" fmla="*/ 3 h 1336"/>
                <a:gd name="T52" fmla="*/ 98 w 935"/>
                <a:gd name="T53" fmla="*/ 0 h 1336"/>
                <a:gd name="T54" fmla="*/ 53 w 935"/>
                <a:gd name="T55" fmla="*/ 0 h 1336"/>
                <a:gd name="T56" fmla="*/ 2 w 935"/>
                <a:gd name="T57" fmla="*/ 0 h 1336"/>
                <a:gd name="T58" fmla="*/ 233 w 935"/>
                <a:gd name="T59" fmla="*/ 201 h 1336"/>
                <a:gd name="T60" fmla="*/ 0 w 935"/>
                <a:gd name="T61" fmla="*/ 403 h 1336"/>
                <a:gd name="T62" fmla="*/ 53 w 935"/>
                <a:gd name="T63" fmla="*/ 403 h 1336"/>
                <a:gd name="T64" fmla="*/ 53 w 935"/>
                <a:gd name="T65" fmla="*/ 403 h 1336"/>
                <a:gd name="T66" fmla="*/ 77 w 935"/>
                <a:gd name="T67" fmla="*/ 403 h 1336"/>
                <a:gd name="T68" fmla="*/ 100 w 935"/>
                <a:gd name="T69" fmla="*/ 406 h 1336"/>
                <a:gd name="T70" fmla="*/ 122 w 935"/>
                <a:gd name="T71" fmla="*/ 411 h 1336"/>
                <a:gd name="T72" fmla="*/ 143 w 935"/>
                <a:gd name="T73" fmla="*/ 418 h 1336"/>
                <a:gd name="T74" fmla="*/ 164 w 935"/>
                <a:gd name="T75" fmla="*/ 427 h 1336"/>
                <a:gd name="T76" fmla="*/ 182 w 935"/>
                <a:gd name="T77" fmla="*/ 437 h 1336"/>
                <a:gd name="T78" fmla="*/ 200 w 935"/>
                <a:gd name="T79" fmla="*/ 448 h 1336"/>
                <a:gd name="T80" fmla="*/ 217 w 935"/>
                <a:gd name="T81" fmla="*/ 461 h 1336"/>
                <a:gd name="T82" fmla="*/ 232 w 935"/>
                <a:gd name="T83" fmla="*/ 476 h 1336"/>
                <a:gd name="T84" fmla="*/ 245 w 935"/>
                <a:gd name="T85" fmla="*/ 492 h 1336"/>
                <a:gd name="T86" fmla="*/ 256 w 935"/>
                <a:gd name="T87" fmla="*/ 508 h 1336"/>
                <a:gd name="T88" fmla="*/ 266 w 935"/>
                <a:gd name="T89" fmla="*/ 525 h 1336"/>
                <a:gd name="T90" fmla="*/ 274 w 935"/>
                <a:gd name="T91" fmla="*/ 543 h 1336"/>
                <a:gd name="T92" fmla="*/ 280 w 935"/>
                <a:gd name="T93" fmla="*/ 562 h 1336"/>
                <a:gd name="T94" fmla="*/ 283 w 935"/>
                <a:gd name="T95" fmla="*/ 582 h 1336"/>
                <a:gd name="T96" fmla="*/ 285 w 935"/>
                <a:gd name="T97" fmla="*/ 603 h 1336"/>
                <a:gd name="T98" fmla="*/ 285 w 935"/>
                <a:gd name="T99" fmla="*/ 971 h 1336"/>
                <a:gd name="T100" fmla="*/ 93 w 935"/>
                <a:gd name="T101" fmla="*/ 971 h 1336"/>
                <a:gd name="T102" fmla="*/ 285 w 935"/>
                <a:gd name="T103" fmla="*/ 1136 h 1336"/>
                <a:gd name="T104" fmla="*/ 515 w 935"/>
                <a:gd name="T105" fmla="*/ 1336 h 1336"/>
                <a:gd name="T106" fmla="*/ 935 w 935"/>
                <a:gd name="T107" fmla="*/ 971 h 1336"/>
                <a:gd name="T108" fmla="*/ 750 w 935"/>
                <a:gd name="T109" fmla="*/ 971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35" h="1336">
                  <a:moveTo>
                    <a:pt x="750" y="971"/>
                  </a:moveTo>
                  <a:lnTo>
                    <a:pt x="750" y="603"/>
                  </a:lnTo>
                  <a:lnTo>
                    <a:pt x="750" y="603"/>
                  </a:lnTo>
                  <a:lnTo>
                    <a:pt x="748" y="561"/>
                  </a:lnTo>
                  <a:lnTo>
                    <a:pt x="742" y="517"/>
                  </a:lnTo>
                  <a:lnTo>
                    <a:pt x="734" y="477"/>
                  </a:lnTo>
                  <a:lnTo>
                    <a:pt x="722" y="437"/>
                  </a:lnTo>
                  <a:lnTo>
                    <a:pt x="708" y="398"/>
                  </a:lnTo>
                  <a:lnTo>
                    <a:pt x="690" y="360"/>
                  </a:lnTo>
                  <a:lnTo>
                    <a:pt x="671" y="323"/>
                  </a:lnTo>
                  <a:lnTo>
                    <a:pt x="647" y="289"/>
                  </a:lnTo>
                  <a:lnTo>
                    <a:pt x="621" y="255"/>
                  </a:lnTo>
                  <a:lnTo>
                    <a:pt x="594" y="223"/>
                  </a:lnTo>
                  <a:lnTo>
                    <a:pt x="563" y="193"/>
                  </a:lnTo>
                  <a:lnTo>
                    <a:pt x="531" y="164"/>
                  </a:lnTo>
                  <a:lnTo>
                    <a:pt x="497" y="138"/>
                  </a:lnTo>
                  <a:lnTo>
                    <a:pt x="460" y="114"/>
                  </a:lnTo>
                  <a:lnTo>
                    <a:pt x="422" y="91"/>
                  </a:lnTo>
                  <a:lnTo>
                    <a:pt x="381" y="70"/>
                  </a:lnTo>
                  <a:lnTo>
                    <a:pt x="381" y="70"/>
                  </a:lnTo>
                  <a:lnTo>
                    <a:pt x="344" y="54"/>
                  </a:lnTo>
                  <a:lnTo>
                    <a:pt x="306" y="40"/>
                  </a:lnTo>
                  <a:lnTo>
                    <a:pt x="266" y="27"/>
                  </a:lnTo>
                  <a:lnTo>
                    <a:pt x="225" y="17"/>
                  </a:lnTo>
                  <a:lnTo>
                    <a:pt x="184" y="9"/>
                  </a:lnTo>
                  <a:lnTo>
                    <a:pt x="142" y="3"/>
                  </a:lnTo>
                  <a:lnTo>
                    <a:pt x="98" y="0"/>
                  </a:lnTo>
                  <a:lnTo>
                    <a:pt x="53" y="0"/>
                  </a:lnTo>
                  <a:lnTo>
                    <a:pt x="2" y="0"/>
                  </a:lnTo>
                  <a:lnTo>
                    <a:pt x="233" y="201"/>
                  </a:lnTo>
                  <a:lnTo>
                    <a:pt x="0" y="403"/>
                  </a:lnTo>
                  <a:lnTo>
                    <a:pt x="53" y="403"/>
                  </a:lnTo>
                  <a:lnTo>
                    <a:pt x="53" y="403"/>
                  </a:lnTo>
                  <a:lnTo>
                    <a:pt x="77" y="403"/>
                  </a:lnTo>
                  <a:lnTo>
                    <a:pt x="100" y="406"/>
                  </a:lnTo>
                  <a:lnTo>
                    <a:pt x="122" y="411"/>
                  </a:lnTo>
                  <a:lnTo>
                    <a:pt x="143" y="418"/>
                  </a:lnTo>
                  <a:lnTo>
                    <a:pt x="164" y="427"/>
                  </a:lnTo>
                  <a:lnTo>
                    <a:pt x="182" y="437"/>
                  </a:lnTo>
                  <a:lnTo>
                    <a:pt x="200" y="448"/>
                  </a:lnTo>
                  <a:lnTo>
                    <a:pt x="217" y="461"/>
                  </a:lnTo>
                  <a:lnTo>
                    <a:pt x="232" y="476"/>
                  </a:lnTo>
                  <a:lnTo>
                    <a:pt x="245" y="492"/>
                  </a:lnTo>
                  <a:lnTo>
                    <a:pt x="256" y="508"/>
                  </a:lnTo>
                  <a:lnTo>
                    <a:pt x="266" y="525"/>
                  </a:lnTo>
                  <a:lnTo>
                    <a:pt x="274" y="543"/>
                  </a:lnTo>
                  <a:lnTo>
                    <a:pt x="280" y="562"/>
                  </a:lnTo>
                  <a:lnTo>
                    <a:pt x="283" y="582"/>
                  </a:lnTo>
                  <a:lnTo>
                    <a:pt x="285" y="603"/>
                  </a:lnTo>
                  <a:lnTo>
                    <a:pt x="285" y="971"/>
                  </a:lnTo>
                  <a:lnTo>
                    <a:pt x="93" y="971"/>
                  </a:lnTo>
                  <a:lnTo>
                    <a:pt x="285" y="1136"/>
                  </a:lnTo>
                  <a:lnTo>
                    <a:pt x="515" y="1336"/>
                  </a:lnTo>
                  <a:lnTo>
                    <a:pt x="935" y="971"/>
                  </a:lnTo>
                  <a:lnTo>
                    <a:pt x="750" y="971"/>
                  </a:lnTo>
                  <a:close/>
                </a:path>
              </a:pathLst>
            </a:custGeom>
            <a:gradFill>
              <a:gsLst>
                <a:gs pos="2000">
                  <a:schemeClr val="accent4"/>
                </a:gs>
                <a:gs pos="100000">
                  <a:schemeClr val="accent4">
                    <a:lumMod val="75000"/>
                  </a:scheme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19" name="Freeform 95">
              <a:extLst>
                <a:ext uri="{FF2B5EF4-FFF2-40B4-BE49-F238E27FC236}">
                  <a16:creationId xmlns:a16="http://schemas.microsoft.com/office/drawing/2014/main" id="{E92279D3-D489-403F-8DC7-19AD0B17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7442" y="4406026"/>
              <a:ext cx="543287" cy="633079"/>
            </a:xfrm>
            <a:custGeom>
              <a:avLst/>
              <a:gdLst>
                <a:gd name="connsiteX0" fmla="*/ 543287 w 543287"/>
                <a:gd name="connsiteY0" fmla="*/ 0 h 633079"/>
                <a:gd name="connsiteX1" fmla="*/ 543287 w 543287"/>
                <a:gd name="connsiteY1" fmla="*/ 161086 h 633079"/>
                <a:gd name="connsiteX2" fmla="*/ 0 w 543287"/>
                <a:gd name="connsiteY2" fmla="*/ 633079 h 633079"/>
                <a:gd name="connsiteX3" fmla="*/ 0 w 543287"/>
                <a:gd name="connsiteY3" fmla="*/ 469904 h 633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3287" h="633079">
                  <a:moveTo>
                    <a:pt x="543287" y="0"/>
                  </a:moveTo>
                  <a:lnTo>
                    <a:pt x="543287" y="161086"/>
                  </a:lnTo>
                  <a:lnTo>
                    <a:pt x="0" y="633079"/>
                  </a:lnTo>
                  <a:lnTo>
                    <a:pt x="0" y="469904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D689DE7E-BD18-45A2-B6AD-CCBFEC1E8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6612" y="4406025"/>
              <a:ext cx="545861" cy="630831"/>
            </a:xfrm>
            <a:custGeom>
              <a:avLst/>
              <a:gdLst>
                <a:gd name="T0" fmla="*/ 420 w 423"/>
                <a:gd name="T1" fmla="*/ 365 h 489"/>
                <a:gd name="T2" fmla="*/ 423 w 423"/>
                <a:gd name="T3" fmla="*/ 489 h 489"/>
                <a:gd name="T4" fmla="*/ 0 w 423"/>
                <a:gd name="T5" fmla="*/ 160 h 489"/>
                <a:gd name="T6" fmla="*/ 0 w 423"/>
                <a:gd name="T7" fmla="*/ 0 h 489"/>
                <a:gd name="T8" fmla="*/ 420 w 423"/>
                <a:gd name="T9" fmla="*/ 365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3" h="489">
                  <a:moveTo>
                    <a:pt x="420" y="365"/>
                  </a:moveTo>
                  <a:lnTo>
                    <a:pt x="423" y="489"/>
                  </a:lnTo>
                  <a:lnTo>
                    <a:pt x="0" y="160"/>
                  </a:lnTo>
                  <a:lnTo>
                    <a:pt x="0" y="0"/>
                  </a:lnTo>
                  <a:lnTo>
                    <a:pt x="420" y="36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21" name="Freeform 30">
              <a:extLst>
                <a:ext uri="{FF2B5EF4-FFF2-40B4-BE49-F238E27FC236}">
                  <a16:creationId xmlns:a16="http://schemas.microsoft.com/office/drawing/2014/main" id="{7E31BD7A-ABFD-49AC-A9DF-726106942D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9214" y="3673063"/>
              <a:ext cx="363050" cy="463467"/>
            </a:xfrm>
            <a:custGeom>
              <a:avLst/>
              <a:gdLst>
                <a:gd name="T0" fmla="*/ 53 w 283"/>
                <a:gd name="T1" fmla="*/ 0 h 360"/>
                <a:gd name="T2" fmla="*/ 0 w 283"/>
                <a:gd name="T3" fmla="*/ 0 h 360"/>
                <a:gd name="T4" fmla="*/ 0 w 283"/>
                <a:gd name="T5" fmla="*/ 159 h 360"/>
                <a:gd name="T6" fmla="*/ 53 w 283"/>
                <a:gd name="T7" fmla="*/ 159 h 360"/>
                <a:gd name="T8" fmla="*/ 53 w 283"/>
                <a:gd name="T9" fmla="*/ 159 h 360"/>
                <a:gd name="T10" fmla="*/ 53 w 283"/>
                <a:gd name="T11" fmla="*/ 159 h 360"/>
                <a:gd name="T12" fmla="*/ 78 w 283"/>
                <a:gd name="T13" fmla="*/ 161 h 360"/>
                <a:gd name="T14" fmla="*/ 100 w 283"/>
                <a:gd name="T15" fmla="*/ 164 h 360"/>
                <a:gd name="T16" fmla="*/ 121 w 283"/>
                <a:gd name="T17" fmla="*/ 169 h 360"/>
                <a:gd name="T18" fmla="*/ 144 w 283"/>
                <a:gd name="T19" fmla="*/ 175 h 360"/>
                <a:gd name="T20" fmla="*/ 163 w 283"/>
                <a:gd name="T21" fmla="*/ 183 h 360"/>
                <a:gd name="T22" fmla="*/ 182 w 283"/>
                <a:gd name="T23" fmla="*/ 193 h 360"/>
                <a:gd name="T24" fmla="*/ 200 w 283"/>
                <a:gd name="T25" fmla="*/ 206 h 360"/>
                <a:gd name="T26" fmla="*/ 216 w 283"/>
                <a:gd name="T27" fmla="*/ 219 h 360"/>
                <a:gd name="T28" fmla="*/ 230 w 283"/>
                <a:gd name="T29" fmla="*/ 232 h 360"/>
                <a:gd name="T30" fmla="*/ 245 w 283"/>
                <a:gd name="T31" fmla="*/ 248 h 360"/>
                <a:gd name="T32" fmla="*/ 256 w 283"/>
                <a:gd name="T33" fmla="*/ 264 h 360"/>
                <a:gd name="T34" fmla="*/ 266 w 283"/>
                <a:gd name="T35" fmla="*/ 282 h 360"/>
                <a:gd name="T36" fmla="*/ 274 w 283"/>
                <a:gd name="T37" fmla="*/ 301 h 360"/>
                <a:gd name="T38" fmla="*/ 279 w 283"/>
                <a:gd name="T39" fmla="*/ 320 h 360"/>
                <a:gd name="T40" fmla="*/ 282 w 283"/>
                <a:gd name="T41" fmla="*/ 339 h 360"/>
                <a:gd name="T42" fmla="*/ 283 w 283"/>
                <a:gd name="T43" fmla="*/ 360 h 360"/>
                <a:gd name="T44" fmla="*/ 283 w 283"/>
                <a:gd name="T45" fmla="*/ 201 h 360"/>
                <a:gd name="T46" fmla="*/ 283 w 283"/>
                <a:gd name="T47" fmla="*/ 201 h 360"/>
                <a:gd name="T48" fmla="*/ 282 w 283"/>
                <a:gd name="T49" fmla="*/ 180 h 360"/>
                <a:gd name="T50" fmla="*/ 279 w 283"/>
                <a:gd name="T51" fmla="*/ 161 h 360"/>
                <a:gd name="T52" fmla="*/ 274 w 283"/>
                <a:gd name="T53" fmla="*/ 142 h 360"/>
                <a:gd name="T54" fmla="*/ 266 w 283"/>
                <a:gd name="T55" fmla="*/ 122 h 360"/>
                <a:gd name="T56" fmla="*/ 256 w 283"/>
                <a:gd name="T57" fmla="*/ 105 h 360"/>
                <a:gd name="T58" fmla="*/ 245 w 283"/>
                <a:gd name="T59" fmla="*/ 89 h 360"/>
                <a:gd name="T60" fmla="*/ 230 w 283"/>
                <a:gd name="T61" fmla="*/ 73 h 360"/>
                <a:gd name="T62" fmla="*/ 216 w 283"/>
                <a:gd name="T63" fmla="*/ 60 h 360"/>
                <a:gd name="T64" fmla="*/ 200 w 283"/>
                <a:gd name="T65" fmla="*/ 47 h 360"/>
                <a:gd name="T66" fmla="*/ 182 w 283"/>
                <a:gd name="T67" fmla="*/ 34 h 360"/>
                <a:gd name="T68" fmla="*/ 163 w 283"/>
                <a:gd name="T69" fmla="*/ 24 h 360"/>
                <a:gd name="T70" fmla="*/ 144 w 283"/>
                <a:gd name="T71" fmla="*/ 16 h 360"/>
                <a:gd name="T72" fmla="*/ 121 w 283"/>
                <a:gd name="T73" fmla="*/ 10 h 360"/>
                <a:gd name="T74" fmla="*/ 100 w 283"/>
                <a:gd name="T75" fmla="*/ 5 h 360"/>
                <a:gd name="T76" fmla="*/ 78 w 283"/>
                <a:gd name="T77" fmla="*/ 2 h 360"/>
                <a:gd name="T78" fmla="*/ 53 w 283"/>
                <a:gd name="T79" fmla="*/ 0 h 360"/>
                <a:gd name="T80" fmla="*/ 53 w 283"/>
                <a:gd name="T8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83" h="360">
                  <a:moveTo>
                    <a:pt x="53" y="0"/>
                  </a:moveTo>
                  <a:lnTo>
                    <a:pt x="0" y="0"/>
                  </a:lnTo>
                  <a:lnTo>
                    <a:pt x="0" y="159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78" y="161"/>
                  </a:lnTo>
                  <a:lnTo>
                    <a:pt x="100" y="164"/>
                  </a:lnTo>
                  <a:lnTo>
                    <a:pt x="121" y="169"/>
                  </a:lnTo>
                  <a:lnTo>
                    <a:pt x="144" y="175"/>
                  </a:lnTo>
                  <a:lnTo>
                    <a:pt x="163" y="183"/>
                  </a:lnTo>
                  <a:lnTo>
                    <a:pt x="182" y="193"/>
                  </a:lnTo>
                  <a:lnTo>
                    <a:pt x="200" y="206"/>
                  </a:lnTo>
                  <a:lnTo>
                    <a:pt x="216" y="219"/>
                  </a:lnTo>
                  <a:lnTo>
                    <a:pt x="230" y="232"/>
                  </a:lnTo>
                  <a:lnTo>
                    <a:pt x="245" y="248"/>
                  </a:lnTo>
                  <a:lnTo>
                    <a:pt x="256" y="264"/>
                  </a:lnTo>
                  <a:lnTo>
                    <a:pt x="266" y="282"/>
                  </a:lnTo>
                  <a:lnTo>
                    <a:pt x="274" y="301"/>
                  </a:lnTo>
                  <a:lnTo>
                    <a:pt x="279" y="320"/>
                  </a:lnTo>
                  <a:lnTo>
                    <a:pt x="282" y="339"/>
                  </a:lnTo>
                  <a:lnTo>
                    <a:pt x="283" y="360"/>
                  </a:lnTo>
                  <a:lnTo>
                    <a:pt x="283" y="201"/>
                  </a:lnTo>
                  <a:lnTo>
                    <a:pt x="283" y="201"/>
                  </a:lnTo>
                  <a:lnTo>
                    <a:pt x="282" y="180"/>
                  </a:lnTo>
                  <a:lnTo>
                    <a:pt x="279" y="161"/>
                  </a:lnTo>
                  <a:lnTo>
                    <a:pt x="274" y="142"/>
                  </a:lnTo>
                  <a:lnTo>
                    <a:pt x="266" y="122"/>
                  </a:lnTo>
                  <a:lnTo>
                    <a:pt x="256" y="105"/>
                  </a:lnTo>
                  <a:lnTo>
                    <a:pt x="245" y="89"/>
                  </a:lnTo>
                  <a:lnTo>
                    <a:pt x="230" y="73"/>
                  </a:lnTo>
                  <a:lnTo>
                    <a:pt x="216" y="60"/>
                  </a:lnTo>
                  <a:lnTo>
                    <a:pt x="200" y="47"/>
                  </a:lnTo>
                  <a:lnTo>
                    <a:pt x="182" y="34"/>
                  </a:lnTo>
                  <a:lnTo>
                    <a:pt x="163" y="24"/>
                  </a:lnTo>
                  <a:lnTo>
                    <a:pt x="144" y="16"/>
                  </a:lnTo>
                  <a:lnTo>
                    <a:pt x="121" y="10"/>
                  </a:lnTo>
                  <a:lnTo>
                    <a:pt x="100" y="5"/>
                  </a:lnTo>
                  <a:lnTo>
                    <a:pt x="78" y="2"/>
                  </a:lnTo>
                  <a:lnTo>
                    <a:pt x="53" y="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62" name="Group 6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DA129372-0B73-429D-8AC6-506FF92FC320}"/>
              </a:ext>
            </a:extLst>
          </p:cNvPr>
          <p:cNvGrpSpPr/>
          <p:nvPr/>
        </p:nvGrpSpPr>
        <p:grpSpPr>
          <a:xfrm>
            <a:off x="8642362" y="4888492"/>
            <a:ext cx="1537542" cy="1121123"/>
            <a:chOff x="13812697" y="7821588"/>
            <a:chExt cx="2460067" cy="1793796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BDC72DDB-508F-4BF2-B2D5-1A8730839757}"/>
                </a:ext>
              </a:extLst>
            </p:cNvPr>
            <p:cNvGrpSpPr/>
            <p:nvPr/>
          </p:nvGrpSpPr>
          <p:grpSpPr>
            <a:xfrm>
              <a:off x="13812697" y="8154720"/>
              <a:ext cx="2460067" cy="1460664"/>
              <a:chOff x="14187836" y="7659923"/>
              <a:chExt cx="2460067" cy="1460664"/>
            </a:xfrm>
          </p:grpSpPr>
          <p:sp>
            <p:nvSpPr>
              <p:cNvPr id="23" name="Freeform 31">
                <a:extLst>
                  <a:ext uri="{FF2B5EF4-FFF2-40B4-BE49-F238E27FC236}">
                    <a16:creationId xmlns:a16="http://schemas.microsoft.com/office/drawing/2014/main" id="{55700D2E-CAC4-460D-AA0E-730D3F3A73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14367" y="8281346"/>
                <a:ext cx="733536" cy="839241"/>
              </a:xfrm>
              <a:custGeom>
                <a:avLst/>
                <a:gdLst>
                  <a:gd name="T0" fmla="*/ 459 w 459"/>
                  <a:gd name="T1" fmla="*/ 0 h 525"/>
                  <a:gd name="T2" fmla="*/ 0 w 459"/>
                  <a:gd name="T3" fmla="*/ 365 h 525"/>
                  <a:gd name="T4" fmla="*/ 0 w 459"/>
                  <a:gd name="T5" fmla="*/ 378 h 525"/>
                  <a:gd name="T6" fmla="*/ 0 w 459"/>
                  <a:gd name="T7" fmla="*/ 525 h 525"/>
                  <a:gd name="T8" fmla="*/ 459 w 459"/>
                  <a:gd name="T9" fmla="*/ 160 h 525"/>
                  <a:gd name="T10" fmla="*/ 459 w 459"/>
                  <a:gd name="T11" fmla="*/ 0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9" h="525">
                    <a:moveTo>
                      <a:pt x="459" y="0"/>
                    </a:moveTo>
                    <a:lnTo>
                      <a:pt x="0" y="365"/>
                    </a:lnTo>
                    <a:lnTo>
                      <a:pt x="0" y="378"/>
                    </a:lnTo>
                    <a:lnTo>
                      <a:pt x="0" y="525"/>
                    </a:lnTo>
                    <a:lnTo>
                      <a:pt x="459" y="160"/>
                    </a:lnTo>
                    <a:lnTo>
                      <a:pt x="459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125">
                  <a:solidFill>
                    <a:schemeClr val="tx2"/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25" name="Rectangle 33">
                <a:extLst>
                  <a:ext uri="{FF2B5EF4-FFF2-40B4-BE49-F238E27FC236}">
                    <a16:creationId xmlns:a16="http://schemas.microsoft.com/office/drawing/2014/main" id="{2A40E8E5-DDFD-4420-A201-086F58B629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01850" y="8627293"/>
                <a:ext cx="550951" cy="25625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125">
                  <a:solidFill>
                    <a:schemeClr val="tx2"/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26" name="Freeform 34">
                <a:extLst>
                  <a:ext uri="{FF2B5EF4-FFF2-40B4-BE49-F238E27FC236}">
                    <a16:creationId xmlns:a16="http://schemas.microsoft.com/office/drawing/2014/main" id="{6EF38D06-911A-4852-A6F1-4C4DD8528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87836" y="7659923"/>
                <a:ext cx="1214017" cy="1223625"/>
              </a:xfrm>
              <a:custGeom>
                <a:avLst/>
                <a:gdLst>
                  <a:gd name="T0" fmla="*/ 0 w 759"/>
                  <a:gd name="T1" fmla="*/ 159 h 764"/>
                  <a:gd name="T2" fmla="*/ 2 w 759"/>
                  <a:gd name="T3" fmla="*/ 190 h 764"/>
                  <a:gd name="T4" fmla="*/ 10 w 759"/>
                  <a:gd name="T5" fmla="*/ 251 h 764"/>
                  <a:gd name="T6" fmla="*/ 24 w 759"/>
                  <a:gd name="T7" fmla="*/ 310 h 764"/>
                  <a:gd name="T8" fmla="*/ 47 w 759"/>
                  <a:gd name="T9" fmla="*/ 367 h 764"/>
                  <a:gd name="T10" fmla="*/ 76 w 759"/>
                  <a:gd name="T11" fmla="*/ 421 h 764"/>
                  <a:gd name="T12" fmla="*/ 111 w 759"/>
                  <a:gd name="T13" fmla="*/ 473 h 764"/>
                  <a:gd name="T14" fmla="*/ 151 w 759"/>
                  <a:gd name="T15" fmla="*/ 521 h 764"/>
                  <a:gd name="T16" fmla="*/ 198 w 759"/>
                  <a:gd name="T17" fmla="*/ 564 h 764"/>
                  <a:gd name="T18" fmla="*/ 250 w 759"/>
                  <a:gd name="T19" fmla="*/ 606 h 764"/>
                  <a:gd name="T20" fmla="*/ 306 w 759"/>
                  <a:gd name="T21" fmla="*/ 643 h 764"/>
                  <a:gd name="T22" fmla="*/ 365 w 759"/>
                  <a:gd name="T23" fmla="*/ 675 h 764"/>
                  <a:gd name="T24" fmla="*/ 431 w 759"/>
                  <a:gd name="T25" fmla="*/ 704 h 764"/>
                  <a:gd name="T26" fmla="*/ 499 w 759"/>
                  <a:gd name="T27" fmla="*/ 727 h 764"/>
                  <a:gd name="T28" fmla="*/ 570 w 759"/>
                  <a:gd name="T29" fmla="*/ 744 h 764"/>
                  <a:gd name="T30" fmla="*/ 644 w 759"/>
                  <a:gd name="T31" fmla="*/ 756 h 764"/>
                  <a:gd name="T32" fmla="*/ 721 w 759"/>
                  <a:gd name="T33" fmla="*/ 762 h 764"/>
                  <a:gd name="T34" fmla="*/ 759 w 759"/>
                  <a:gd name="T35" fmla="*/ 604 h 764"/>
                  <a:gd name="T36" fmla="*/ 721 w 759"/>
                  <a:gd name="T37" fmla="*/ 603 h 764"/>
                  <a:gd name="T38" fmla="*/ 644 w 759"/>
                  <a:gd name="T39" fmla="*/ 596 h 764"/>
                  <a:gd name="T40" fmla="*/ 570 w 759"/>
                  <a:gd name="T41" fmla="*/ 585 h 764"/>
                  <a:gd name="T42" fmla="*/ 499 w 759"/>
                  <a:gd name="T43" fmla="*/ 568 h 764"/>
                  <a:gd name="T44" fmla="*/ 431 w 759"/>
                  <a:gd name="T45" fmla="*/ 543 h 764"/>
                  <a:gd name="T46" fmla="*/ 365 w 759"/>
                  <a:gd name="T47" fmla="*/ 516 h 764"/>
                  <a:gd name="T48" fmla="*/ 306 w 759"/>
                  <a:gd name="T49" fmla="*/ 484 h 764"/>
                  <a:gd name="T50" fmla="*/ 250 w 759"/>
                  <a:gd name="T51" fmla="*/ 447 h 764"/>
                  <a:gd name="T52" fmla="*/ 198 w 759"/>
                  <a:gd name="T53" fmla="*/ 405 h 764"/>
                  <a:gd name="T54" fmla="*/ 151 w 759"/>
                  <a:gd name="T55" fmla="*/ 362 h 764"/>
                  <a:gd name="T56" fmla="*/ 111 w 759"/>
                  <a:gd name="T57" fmla="*/ 313 h 764"/>
                  <a:gd name="T58" fmla="*/ 76 w 759"/>
                  <a:gd name="T59" fmla="*/ 262 h 764"/>
                  <a:gd name="T60" fmla="*/ 47 w 759"/>
                  <a:gd name="T61" fmla="*/ 207 h 764"/>
                  <a:gd name="T62" fmla="*/ 24 w 759"/>
                  <a:gd name="T63" fmla="*/ 151 h 764"/>
                  <a:gd name="T64" fmla="*/ 10 w 759"/>
                  <a:gd name="T65" fmla="*/ 92 h 764"/>
                  <a:gd name="T66" fmla="*/ 2 w 759"/>
                  <a:gd name="T67" fmla="*/ 31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59" h="764">
                    <a:moveTo>
                      <a:pt x="0" y="0"/>
                    </a:moveTo>
                    <a:lnTo>
                      <a:pt x="0" y="159"/>
                    </a:lnTo>
                    <a:lnTo>
                      <a:pt x="0" y="159"/>
                    </a:lnTo>
                    <a:lnTo>
                      <a:pt x="2" y="190"/>
                    </a:lnTo>
                    <a:lnTo>
                      <a:pt x="5" y="220"/>
                    </a:lnTo>
                    <a:lnTo>
                      <a:pt x="10" y="251"/>
                    </a:lnTo>
                    <a:lnTo>
                      <a:pt x="16" y="281"/>
                    </a:lnTo>
                    <a:lnTo>
                      <a:pt x="24" y="310"/>
                    </a:lnTo>
                    <a:lnTo>
                      <a:pt x="36" y="339"/>
                    </a:lnTo>
                    <a:lnTo>
                      <a:pt x="47" y="367"/>
                    </a:lnTo>
                    <a:lnTo>
                      <a:pt x="60" y="394"/>
                    </a:lnTo>
                    <a:lnTo>
                      <a:pt x="76" y="421"/>
                    </a:lnTo>
                    <a:lnTo>
                      <a:pt x="92" y="447"/>
                    </a:lnTo>
                    <a:lnTo>
                      <a:pt x="111" y="473"/>
                    </a:lnTo>
                    <a:lnTo>
                      <a:pt x="130" y="497"/>
                    </a:lnTo>
                    <a:lnTo>
                      <a:pt x="151" y="521"/>
                    </a:lnTo>
                    <a:lnTo>
                      <a:pt x="174" y="543"/>
                    </a:lnTo>
                    <a:lnTo>
                      <a:pt x="198" y="564"/>
                    </a:lnTo>
                    <a:lnTo>
                      <a:pt x="224" y="585"/>
                    </a:lnTo>
                    <a:lnTo>
                      <a:pt x="250" y="606"/>
                    </a:lnTo>
                    <a:lnTo>
                      <a:pt x="277" y="625"/>
                    </a:lnTo>
                    <a:lnTo>
                      <a:pt x="306" y="643"/>
                    </a:lnTo>
                    <a:lnTo>
                      <a:pt x="335" y="659"/>
                    </a:lnTo>
                    <a:lnTo>
                      <a:pt x="365" y="675"/>
                    </a:lnTo>
                    <a:lnTo>
                      <a:pt x="397" y="690"/>
                    </a:lnTo>
                    <a:lnTo>
                      <a:pt x="431" y="704"/>
                    </a:lnTo>
                    <a:lnTo>
                      <a:pt x="463" y="715"/>
                    </a:lnTo>
                    <a:lnTo>
                      <a:pt x="499" y="727"/>
                    </a:lnTo>
                    <a:lnTo>
                      <a:pt x="534" y="736"/>
                    </a:lnTo>
                    <a:lnTo>
                      <a:pt x="570" y="744"/>
                    </a:lnTo>
                    <a:lnTo>
                      <a:pt x="607" y="751"/>
                    </a:lnTo>
                    <a:lnTo>
                      <a:pt x="644" y="756"/>
                    </a:lnTo>
                    <a:lnTo>
                      <a:pt x="682" y="760"/>
                    </a:lnTo>
                    <a:lnTo>
                      <a:pt x="721" y="762"/>
                    </a:lnTo>
                    <a:lnTo>
                      <a:pt x="759" y="764"/>
                    </a:lnTo>
                    <a:lnTo>
                      <a:pt x="759" y="604"/>
                    </a:lnTo>
                    <a:lnTo>
                      <a:pt x="759" y="604"/>
                    </a:lnTo>
                    <a:lnTo>
                      <a:pt x="721" y="603"/>
                    </a:lnTo>
                    <a:lnTo>
                      <a:pt x="682" y="601"/>
                    </a:lnTo>
                    <a:lnTo>
                      <a:pt x="644" y="596"/>
                    </a:lnTo>
                    <a:lnTo>
                      <a:pt x="607" y="592"/>
                    </a:lnTo>
                    <a:lnTo>
                      <a:pt x="570" y="585"/>
                    </a:lnTo>
                    <a:lnTo>
                      <a:pt x="534" y="577"/>
                    </a:lnTo>
                    <a:lnTo>
                      <a:pt x="499" y="568"/>
                    </a:lnTo>
                    <a:lnTo>
                      <a:pt x="463" y="556"/>
                    </a:lnTo>
                    <a:lnTo>
                      <a:pt x="431" y="543"/>
                    </a:lnTo>
                    <a:lnTo>
                      <a:pt x="397" y="531"/>
                    </a:lnTo>
                    <a:lnTo>
                      <a:pt x="365" y="516"/>
                    </a:lnTo>
                    <a:lnTo>
                      <a:pt x="335" y="500"/>
                    </a:lnTo>
                    <a:lnTo>
                      <a:pt x="306" y="484"/>
                    </a:lnTo>
                    <a:lnTo>
                      <a:pt x="277" y="466"/>
                    </a:lnTo>
                    <a:lnTo>
                      <a:pt x="250" y="447"/>
                    </a:lnTo>
                    <a:lnTo>
                      <a:pt x="224" y="426"/>
                    </a:lnTo>
                    <a:lnTo>
                      <a:pt x="198" y="405"/>
                    </a:lnTo>
                    <a:lnTo>
                      <a:pt x="174" y="384"/>
                    </a:lnTo>
                    <a:lnTo>
                      <a:pt x="151" y="362"/>
                    </a:lnTo>
                    <a:lnTo>
                      <a:pt x="130" y="338"/>
                    </a:lnTo>
                    <a:lnTo>
                      <a:pt x="111" y="313"/>
                    </a:lnTo>
                    <a:lnTo>
                      <a:pt x="92" y="288"/>
                    </a:lnTo>
                    <a:lnTo>
                      <a:pt x="76" y="262"/>
                    </a:lnTo>
                    <a:lnTo>
                      <a:pt x="60" y="235"/>
                    </a:lnTo>
                    <a:lnTo>
                      <a:pt x="47" y="207"/>
                    </a:lnTo>
                    <a:lnTo>
                      <a:pt x="36" y="180"/>
                    </a:lnTo>
                    <a:lnTo>
                      <a:pt x="24" y="151"/>
                    </a:lnTo>
                    <a:lnTo>
                      <a:pt x="16" y="122"/>
                    </a:lnTo>
                    <a:lnTo>
                      <a:pt x="10" y="92"/>
                    </a:lnTo>
                    <a:lnTo>
                      <a:pt x="5" y="61"/>
                    </a:lnTo>
                    <a:lnTo>
                      <a:pt x="2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57150" tIns="28575" rIns="57150" bIns="2857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125">
                  <a:solidFill>
                    <a:schemeClr val="tx2"/>
                  </a:solidFill>
                  <a:latin typeface="+mj-ea"/>
                  <a:ea typeface="+mj-ea"/>
                </a:endParaRPr>
              </a:p>
            </p:txBody>
          </p:sp>
        </p:grp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58B68FBA-8DD0-47D0-B0BB-292D45DCE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2697" y="8154720"/>
              <a:ext cx="1214017" cy="1223625"/>
            </a:xfrm>
            <a:custGeom>
              <a:avLst/>
              <a:gdLst>
                <a:gd name="T0" fmla="*/ 0 w 759"/>
                <a:gd name="T1" fmla="*/ 159 h 764"/>
                <a:gd name="T2" fmla="*/ 2 w 759"/>
                <a:gd name="T3" fmla="*/ 190 h 764"/>
                <a:gd name="T4" fmla="*/ 10 w 759"/>
                <a:gd name="T5" fmla="*/ 251 h 764"/>
                <a:gd name="T6" fmla="*/ 24 w 759"/>
                <a:gd name="T7" fmla="*/ 310 h 764"/>
                <a:gd name="T8" fmla="*/ 47 w 759"/>
                <a:gd name="T9" fmla="*/ 367 h 764"/>
                <a:gd name="T10" fmla="*/ 76 w 759"/>
                <a:gd name="T11" fmla="*/ 421 h 764"/>
                <a:gd name="T12" fmla="*/ 111 w 759"/>
                <a:gd name="T13" fmla="*/ 473 h 764"/>
                <a:gd name="T14" fmla="*/ 151 w 759"/>
                <a:gd name="T15" fmla="*/ 521 h 764"/>
                <a:gd name="T16" fmla="*/ 198 w 759"/>
                <a:gd name="T17" fmla="*/ 564 h 764"/>
                <a:gd name="T18" fmla="*/ 250 w 759"/>
                <a:gd name="T19" fmla="*/ 606 h 764"/>
                <a:gd name="T20" fmla="*/ 306 w 759"/>
                <a:gd name="T21" fmla="*/ 643 h 764"/>
                <a:gd name="T22" fmla="*/ 365 w 759"/>
                <a:gd name="T23" fmla="*/ 675 h 764"/>
                <a:gd name="T24" fmla="*/ 431 w 759"/>
                <a:gd name="T25" fmla="*/ 704 h 764"/>
                <a:gd name="T26" fmla="*/ 499 w 759"/>
                <a:gd name="T27" fmla="*/ 727 h 764"/>
                <a:gd name="T28" fmla="*/ 570 w 759"/>
                <a:gd name="T29" fmla="*/ 744 h 764"/>
                <a:gd name="T30" fmla="*/ 644 w 759"/>
                <a:gd name="T31" fmla="*/ 756 h 764"/>
                <a:gd name="T32" fmla="*/ 721 w 759"/>
                <a:gd name="T33" fmla="*/ 762 h 764"/>
                <a:gd name="T34" fmla="*/ 759 w 759"/>
                <a:gd name="T35" fmla="*/ 604 h 764"/>
                <a:gd name="T36" fmla="*/ 721 w 759"/>
                <a:gd name="T37" fmla="*/ 603 h 764"/>
                <a:gd name="T38" fmla="*/ 644 w 759"/>
                <a:gd name="T39" fmla="*/ 596 h 764"/>
                <a:gd name="T40" fmla="*/ 570 w 759"/>
                <a:gd name="T41" fmla="*/ 585 h 764"/>
                <a:gd name="T42" fmla="*/ 499 w 759"/>
                <a:gd name="T43" fmla="*/ 568 h 764"/>
                <a:gd name="T44" fmla="*/ 431 w 759"/>
                <a:gd name="T45" fmla="*/ 543 h 764"/>
                <a:gd name="T46" fmla="*/ 365 w 759"/>
                <a:gd name="T47" fmla="*/ 516 h 764"/>
                <a:gd name="T48" fmla="*/ 306 w 759"/>
                <a:gd name="T49" fmla="*/ 484 h 764"/>
                <a:gd name="T50" fmla="*/ 250 w 759"/>
                <a:gd name="T51" fmla="*/ 447 h 764"/>
                <a:gd name="T52" fmla="*/ 198 w 759"/>
                <a:gd name="T53" fmla="*/ 405 h 764"/>
                <a:gd name="T54" fmla="*/ 151 w 759"/>
                <a:gd name="T55" fmla="*/ 362 h 764"/>
                <a:gd name="T56" fmla="*/ 111 w 759"/>
                <a:gd name="T57" fmla="*/ 313 h 764"/>
                <a:gd name="T58" fmla="*/ 76 w 759"/>
                <a:gd name="T59" fmla="*/ 262 h 764"/>
                <a:gd name="T60" fmla="*/ 47 w 759"/>
                <a:gd name="T61" fmla="*/ 207 h 764"/>
                <a:gd name="T62" fmla="*/ 24 w 759"/>
                <a:gd name="T63" fmla="*/ 151 h 764"/>
                <a:gd name="T64" fmla="*/ 10 w 759"/>
                <a:gd name="T65" fmla="*/ 92 h 764"/>
                <a:gd name="T66" fmla="*/ 2 w 759"/>
                <a:gd name="T67" fmla="*/ 31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59" h="764">
                  <a:moveTo>
                    <a:pt x="0" y="0"/>
                  </a:moveTo>
                  <a:lnTo>
                    <a:pt x="0" y="159"/>
                  </a:lnTo>
                  <a:lnTo>
                    <a:pt x="0" y="159"/>
                  </a:lnTo>
                  <a:lnTo>
                    <a:pt x="2" y="190"/>
                  </a:lnTo>
                  <a:lnTo>
                    <a:pt x="5" y="220"/>
                  </a:lnTo>
                  <a:lnTo>
                    <a:pt x="10" y="251"/>
                  </a:lnTo>
                  <a:lnTo>
                    <a:pt x="16" y="281"/>
                  </a:lnTo>
                  <a:lnTo>
                    <a:pt x="24" y="310"/>
                  </a:lnTo>
                  <a:lnTo>
                    <a:pt x="36" y="339"/>
                  </a:lnTo>
                  <a:lnTo>
                    <a:pt x="47" y="367"/>
                  </a:lnTo>
                  <a:lnTo>
                    <a:pt x="60" y="394"/>
                  </a:lnTo>
                  <a:lnTo>
                    <a:pt x="76" y="421"/>
                  </a:lnTo>
                  <a:lnTo>
                    <a:pt x="92" y="447"/>
                  </a:lnTo>
                  <a:lnTo>
                    <a:pt x="111" y="473"/>
                  </a:lnTo>
                  <a:lnTo>
                    <a:pt x="130" y="497"/>
                  </a:lnTo>
                  <a:lnTo>
                    <a:pt x="151" y="521"/>
                  </a:lnTo>
                  <a:lnTo>
                    <a:pt x="174" y="543"/>
                  </a:lnTo>
                  <a:lnTo>
                    <a:pt x="198" y="564"/>
                  </a:lnTo>
                  <a:lnTo>
                    <a:pt x="224" y="585"/>
                  </a:lnTo>
                  <a:lnTo>
                    <a:pt x="250" y="606"/>
                  </a:lnTo>
                  <a:lnTo>
                    <a:pt x="277" y="625"/>
                  </a:lnTo>
                  <a:lnTo>
                    <a:pt x="306" y="643"/>
                  </a:lnTo>
                  <a:lnTo>
                    <a:pt x="335" y="659"/>
                  </a:lnTo>
                  <a:lnTo>
                    <a:pt x="365" y="675"/>
                  </a:lnTo>
                  <a:lnTo>
                    <a:pt x="397" y="690"/>
                  </a:lnTo>
                  <a:lnTo>
                    <a:pt x="431" y="704"/>
                  </a:lnTo>
                  <a:lnTo>
                    <a:pt x="463" y="715"/>
                  </a:lnTo>
                  <a:lnTo>
                    <a:pt x="499" y="727"/>
                  </a:lnTo>
                  <a:lnTo>
                    <a:pt x="534" y="736"/>
                  </a:lnTo>
                  <a:lnTo>
                    <a:pt x="570" y="744"/>
                  </a:lnTo>
                  <a:lnTo>
                    <a:pt x="607" y="751"/>
                  </a:lnTo>
                  <a:lnTo>
                    <a:pt x="644" y="756"/>
                  </a:lnTo>
                  <a:lnTo>
                    <a:pt x="682" y="760"/>
                  </a:lnTo>
                  <a:lnTo>
                    <a:pt x="721" y="762"/>
                  </a:lnTo>
                  <a:lnTo>
                    <a:pt x="759" y="764"/>
                  </a:lnTo>
                  <a:lnTo>
                    <a:pt x="759" y="604"/>
                  </a:lnTo>
                  <a:lnTo>
                    <a:pt x="759" y="604"/>
                  </a:lnTo>
                  <a:lnTo>
                    <a:pt x="721" y="603"/>
                  </a:lnTo>
                  <a:lnTo>
                    <a:pt x="682" y="601"/>
                  </a:lnTo>
                  <a:lnTo>
                    <a:pt x="644" y="596"/>
                  </a:lnTo>
                  <a:lnTo>
                    <a:pt x="607" y="592"/>
                  </a:lnTo>
                  <a:lnTo>
                    <a:pt x="570" y="585"/>
                  </a:lnTo>
                  <a:lnTo>
                    <a:pt x="534" y="577"/>
                  </a:lnTo>
                  <a:lnTo>
                    <a:pt x="499" y="568"/>
                  </a:lnTo>
                  <a:lnTo>
                    <a:pt x="463" y="556"/>
                  </a:lnTo>
                  <a:lnTo>
                    <a:pt x="431" y="543"/>
                  </a:lnTo>
                  <a:lnTo>
                    <a:pt x="397" y="531"/>
                  </a:lnTo>
                  <a:lnTo>
                    <a:pt x="365" y="516"/>
                  </a:lnTo>
                  <a:lnTo>
                    <a:pt x="335" y="500"/>
                  </a:lnTo>
                  <a:lnTo>
                    <a:pt x="306" y="484"/>
                  </a:lnTo>
                  <a:lnTo>
                    <a:pt x="277" y="466"/>
                  </a:lnTo>
                  <a:lnTo>
                    <a:pt x="250" y="447"/>
                  </a:lnTo>
                  <a:lnTo>
                    <a:pt x="224" y="426"/>
                  </a:lnTo>
                  <a:lnTo>
                    <a:pt x="198" y="405"/>
                  </a:lnTo>
                  <a:lnTo>
                    <a:pt x="174" y="384"/>
                  </a:lnTo>
                  <a:lnTo>
                    <a:pt x="151" y="362"/>
                  </a:lnTo>
                  <a:lnTo>
                    <a:pt x="130" y="338"/>
                  </a:lnTo>
                  <a:lnTo>
                    <a:pt x="111" y="313"/>
                  </a:lnTo>
                  <a:lnTo>
                    <a:pt x="92" y="288"/>
                  </a:lnTo>
                  <a:lnTo>
                    <a:pt x="76" y="262"/>
                  </a:lnTo>
                  <a:lnTo>
                    <a:pt x="60" y="235"/>
                  </a:lnTo>
                  <a:lnTo>
                    <a:pt x="47" y="207"/>
                  </a:lnTo>
                  <a:lnTo>
                    <a:pt x="36" y="180"/>
                  </a:lnTo>
                  <a:lnTo>
                    <a:pt x="24" y="151"/>
                  </a:lnTo>
                  <a:lnTo>
                    <a:pt x="16" y="122"/>
                  </a:lnTo>
                  <a:lnTo>
                    <a:pt x="10" y="92"/>
                  </a:lnTo>
                  <a:lnTo>
                    <a:pt x="5" y="61"/>
                  </a:lnTo>
                  <a:lnTo>
                    <a:pt x="2" y="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E3EA5F4C-B880-4AEE-AD19-080896849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2697" y="7821588"/>
              <a:ext cx="2460067" cy="1537540"/>
            </a:xfrm>
            <a:custGeom>
              <a:avLst/>
              <a:gdLst>
                <a:gd name="connsiteX0" fmla="*/ 812141 w 2460067"/>
                <a:gd name="connsiteY0" fmla="*/ 0 h 1537540"/>
                <a:gd name="connsiteX1" fmla="*/ 812141 w 2460067"/>
                <a:gd name="connsiteY1" fmla="*/ 331941 h 1537540"/>
                <a:gd name="connsiteX2" fmla="*/ 812141 w 2460067"/>
                <a:gd name="connsiteY2" fmla="*/ 365616 h 1537540"/>
                <a:gd name="connsiteX3" fmla="*/ 820135 w 2460067"/>
                <a:gd name="connsiteY3" fmla="*/ 396084 h 1537540"/>
                <a:gd name="connsiteX4" fmla="*/ 831326 w 2460067"/>
                <a:gd name="connsiteY4" fmla="*/ 426552 h 1537540"/>
                <a:gd name="connsiteX5" fmla="*/ 844115 w 2460067"/>
                <a:gd name="connsiteY5" fmla="*/ 455416 h 1537540"/>
                <a:gd name="connsiteX6" fmla="*/ 858503 w 2460067"/>
                <a:gd name="connsiteY6" fmla="*/ 484281 h 1537540"/>
                <a:gd name="connsiteX7" fmla="*/ 879287 w 2460067"/>
                <a:gd name="connsiteY7" fmla="*/ 511542 h 1537540"/>
                <a:gd name="connsiteX8" fmla="*/ 903267 w 2460067"/>
                <a:gd name="connsiteY8" fmla="*/ 535595 h 1537540"/>
                <a:gd name="connsiteX9" fmla="*/ 928846 w 2460067"/>
                <a:gd name="connsiteY9" fmla="*/ 558045 h 1537540"/>
                <a:gd name="connsiteX10" fmla="*/ 957623 w 2460067"/>
                <a:gd name="connsiteY10" fmla="*/ 578892 h 1537540"/>
                <a:gd name="connsiteX11" fmla="*/ 987998 w 2460067"/>
                <a:gd name="connsiteY11" fmla="*/ 598135 h 1537540"/>
                <a:gd name="connsiteX12" fmla="*/ 1021571 w 2460067"/>
                <a:gd name="connsiteY12" fmla="*/ 612567 h 1537540"/>
                <a:gd name="connsiteX13" fmla="*/ 1056743 w 2460067"/>
                <a:gd name="connsiteY13" fmla="*/ 628603 h 1537540"/>
                <a:gd name="connsiteX14" fmla="*/ 1093513 w 2460067"/>
                <a:gd name="connsiteY14" fmla="*/ 638224 h 1537540"/>
                <a:gd name="connsiteX15" fmla="*/ 1131882 w 2460067"/>
                <a:gd name="connsiteY15" fmla="*/ 646242 h 1537540"/>
                <a:gd name="connsiteX16" fmla="*/ 1173448 w 2460067"/>
                <a:gd name="connsiteY16" fmla="*/ 651053 h 1537540"/>
                <a:gd name="connsiteX17" fmla="*/ 1213416 w 2460067"/>
                <a:gd name="connsiteY17" fmla="*/ 651053 h 1537540"/>
                <a:gd name="connsiteX18" fmla="*/ 1726531 w 2460067"/>
                <a:gd name="connsiteY18" fmla="*/ 651053 h 1537540"/>
                <a:gd name="connsiteX19" fmla="*/ 1726531 w 2460067"/>
                <a:gd name="connsiteY19" fmla="*/ 368368 h 1537540"/>
                <a:gd name="connsiteX20" fmla="*/ 2460067 w 2460067"/>
                <a:gd name="connsiteY20" fmla="*/ 952954 h 1537540"/>
                <a:gd name="connsiteX21" fmla="*/ 1726531 w 2460067"/>
                <a:gd name="connsiteY21" fmla="*/ 1537540 h 1537540"/>
                <a:gd name="connsiteX22" fmla="*/ 1726531 w 2460067"/>
                <a:gd name="connsiteY22" fmla="*/ 1303706 h 1537540"/>
                <a:gd name="connsiteX23" fmla="*/ 1726531 w 2460067"/>
                <a:gd name="connsiteY23" fmla="*/ 1300502 h 1537540"/>
                <a:gd name="connsiteX24" fmla="*/ 1213416 w 2460067"/>
                <a:gd name="connsiteY24" fmla="*/ 1300502 h 1537540"/>
                <a:gd name="connsiteX25" fmla="*/ 1152665 w 2460067"/>
                <a:gd name="connsiteY25" fmla="*/ 1298898 h 1537540"/>
                <a:gd name="connsiteX26" fmla="*/ 1090315 w 2460067"/>
                <a:gd name="connsiteY26" fmla="*/ 1295691 h 1537540"/>
                <a:gd name="connsiteX27" fmla="*/ 1029565 w 2460067"/>
                <a:gd name="connsiteY27" fmla="*/ 1287673 h 1537540"/>
                <a:gd name="connsiteX28" fmla="*/ 970413 w 2460067"/>
                <a:gd name="connsiteY28" fmla="*/ 1281259 h 1537540"/>
                <a:gd name="connsiteX29" fmla="*/ 911261 w 2460067"/>
                <a:gd name="connsiteY29" fmla="*/ 1270034 h 1537540"/>
                <a:gd name="connsiteX30" fmla="*/ 853707 w 2460067"/>
                <a:gd name="connsiteY30" fmla="*/ 1257205 h 1537540"/>
                <a:gd name="connsiteX31" fmla="*/ 797753 w 2460067"/>
                <a:gd name="connsiteY31" fmla="*/ 1242773 h 1537540"/>
                <a:gd name="connsiteX32" fmla="*/ 740199 w 2460067"/>
                <a:gd name="connsiteY32" fmla="*/ 1223530 h 1537540"/>
                <a:gd name="connsiteX33" fmla="*/ 689041 w 2460067"/>
                <a:gd name="connsiteY33" fmla="*/ 1202684 h 1537540"/>
                <a:gd name="connsiteX34" fmla="*/ 634685 w 2460067"/>
                <a:gd name="connsiteY34" fmla="*/ 1183441 h 1537540"/>
                <a:gd name="connsiteX35" fmla="*/ 583527 w 2460067"/>
                <a:gd name="connsiteY35" fmla="*/ 1159387 h 1537540"/>
                <a:gd name="connsiteX36" fmla="*/ 535566 w 2460067"/>
                <a:gd name="connsiteY36" fmla="*/ 1133730 h 1537540"/>
                <a:gd name="connsiteX37" fmla="*/ 489203 w 2460067"/>
                <a:gd name="connsiteY37" fmla="*/ 1108073 h 1537540"/>
                <a:gd name="connsiteX38" fmla="*/ 442841 w 2460067"/>
                <a:gd name="connsiteY38" fmla="*/ 1079208 h 1537540"/>
                <a:gd name="connsiteX39" fmla="*/ 399676 w 2460067"/>
                <a:gd name="connsiteY39" fmla="*/ 1048740 h 1537540"/>
                <a:gd name="connsiteX40" fmla="*/ 358109 w 2460067"/>
                <a:gd name="connsiteY40" fmla="*/ 1015065 h 1537540"/>
                <a:gd name="connsiteX41" fmla="*/ 316543 w 2460067"/>
                <a:gd name="connsiteY41" fmla="*/ 981390 h 1537540"/>
                <a:gd name="connsiteX42" fmla="*/ 278174 w 2460067"/>
                <a:gd name="connsiteY42" fmla="*/ 947715 h 1537540"/>
                <a:gd name="connsiteX43" fmla="*/ 241404 w 2460067"/>
                <a:gd name="connsiteY43" fmla="*/ 912436 h 1537540"/>
                <a:gd name="connsiteX44" fmla="*/ 207831 w 2460067"/>
                <a:gd name="connsiteY44" fmla="*/ 873950 h 1537540"/>
                <a:gd name="connsiteX45" fmla="*/ 177456 w 2460067"/>
                <a:gd name="connsiteY45" fmla="*/ 833861 h 1537540"/>
                <a:gd name="connsiteX46" fmla="*/ 147081 w 2460067"/>
                <a:gd name="connsiteY46" fmla="*/ 793771 h 1537540"/>
                <a:gd name="connsiteX47" fmla="*/ 121501 w 2460067"/>
                <a:gd name="connsiteY47" fmla="*/ 752078 h 1537540"/>
                <a:gd name="connsiteX48" fmla="*/ 95922 w 2460067"/>
                <a:gd name="connsiteY48" fmla="*/ 708782 h 1537540"/>
                <a:gd name="connsiteX49" fmla="*/ 75139 w 2460067"/>
                <a:gd name="connsiteY49" fmla="*/ 663882 h 1537540"/>
                <a:gd name="connsiteX50" fmla="*/ 57553 w 2460067"/>
                <a:gd name="connsiteY50" fmla="*/ 620585 h 1537540"/>
                <a:gd name="connsiteX51" fmla="*/ 38369 w 2460067"/>
                <a:gd name="connsiteY51" fmla="*/ 574081 h 1537540"/>
                <a:gd name="connsiteX52" fmla="*/ 25579 w 2460067"/>
                <a:gd name="connsiteY52" fmla="*/ 527577 h 1537540"/>
                <a:gd name="connsiteX53" fmla="*/ 15987 w 2460067"/>
                <a:gd name="connsiteY53" fmla="*/ 479470 h 1537540"/>
                <a:gd name="connsiteX54" fmla="*/ 7994 w 2460067"/>
                <a:gd name="connsiteY54" fmla="*/ 429759 h 1537540"/>
                <a:gd name="connsiteX55" fmla="*/ 3197 w 2460067"/>
                <a:gd name="connsiteY55" fmla="*/ 381652 h 1537540"/>
                <a:gd name="connsiteX56" fmla="*/ 0 w 2460067"/>
                <a:gd name="connsiteY56" fmla="*/ 331941 h 1537540"/>
                <a:gd name="connsiteX57" fmla="*/ 0 w 2460067"/>
                <a:gd name="connsiteY57" fmla="*/ 4811 h 1537540"/>
                <a:gd name="connsiteX58" fmla="*/ 401274 w 2460067"/>
                <a:gd name="connsiteY58" fmla="*/ 327130 h 1537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460067" h="1537540">
                  <a:moveTo>
                    <a:pt x="812141" y="0"/>
                  </a:moveTo>
                  <a:lnTo>
                    <a:pt x="812141" y="331941"/>
                  </a:lnTo>
                  <a:lnTo>
                    <a:pt x="812141" y="365616"/>
                  </a:lnTo>
                  <a:lnTo>
                    <a:pt x="820135" y="396084"/>
                  </a:lnTo>
                  <a:lnTo>
                    <a:pt x="831326" y="426552"/>
                  </a:lnTo>
                  <a:lnTo>
                    <a:pt x="844115" y="455416"/>
                  </a:lnTo>
                  <a:lnTo>
                    <a:pt x="858503" y="484281"/>
                  </a:lnTo>
                  <a:lnTo>
                    <a:pt x="879287" y="511542"/>
                  </a:lnTo>
                  <a:lnTo>
                    <a:pt x="903267" y="535595"/>
                  </a:lnTo>
                  <a:lnTo>
                    <a:pt x="928846" y="558045"/>
                  </a:lnTo>
                  <a:lnTo>
                    <a:pt x="957623" y="578892"/>
                  </a:lnTo>
                  <a:lnTo>
                    <a:pt x="987998" y="598135"/>
                  </a:lnTo>
                  <a:lnTo>
                    <a:pt x="1021571" y="612567"/>
                  </a:lnTo>
                  <a:lnTo>
                    <a:pt x="1056743" y="628603"/>
                  </a:lnTo>
                  <a:lnTo>
                    <a:pt x="1093513" y="638224"/>
                  </a:lnTo>
                  <a:lnTo>
                    <a:pt x="1131882" y="646242"/>
                  </a:lnTo>
                  <a:lnTo>
                    <a:pt x="1173448" y="651053"/>
                  </a:lnTo>
                  <a:lnTo>
                    <a:pt x="1213416" y="651053"/>
                  </a:lnTo>
                  <a:lnTo>
                    <a:pt x="1726531" y="651053"/>
                  </a:lnTo>
                  <a:lnTo>
                    <a:pt x="1726531" y="368368"/>
                  </a:lnTo>
                  <a:lnTo>
                    <a:pt x="2460067" y="952954"/>
                  </a:lnTo>
                  <a:lnTo>
                    <a:pt x="1726531" y="1537540"/>
                  </a:lnTo>
                  <a:lnTo>
                    <a:pt x="1726531" y="1303706"/>
                  </a:lnTo>
                  <a:lnTo>
                    <a:pt x="1726531" y="1300502"/>
                  </a:lnTo>
                  <a:lnTo>
                    <a:pt x="1213416" y="1300502"/>
                  </a:lnTo>
                  <a:lnTo>
                    <a:pt x="1152665" y="1298898"/>
                  </a:lnTo>
                  <a:lnTo>
                    <a:pt x="1090315" y="1295691"/>
                  </a:lnTo>
                  <a:lnTo>
                    <a:pt x="1029565" y="1287673"/>
                  </a:lnTo>
                  <a:lnTo>
                    <a:pt x="970413" y="1281259"/>
                  </a:lnTo>
                  <a:lnTo>
                    <a:pt x="911261" y="1270034"/>
                  </a:lnTo>
                  <a:lnTo>
                    <a:pt x="853707" y="1257205"/>
                  </a:lnTo>
                  <a:lnTo>
                    <a:pt x="797753" y="1242773"/>
                  </a:lnTo>
                  <a:lnTo>
                    <a:pt x="740199" y="1223530"/>
                  </a:lnTo>
                  <a:lnTo>
                    <a:pt x="689041" y="1202684"/>
                  </a:lnTo>
                  <a:lnTo>
                    <a:pt x="634685" y="1183441"/>
                  </a:lnTo>
                  <a:lnTo>
                    <a:pt x="583527" y="1159387"/>
                  </a:lnTo>
                  <a:lnTo>
                    <a:pt x="535566" y="1133730"/>
                  </a:lnTo>
                  <a:lnTo>
                    <a:pt x="489203" y="1108073"/>
                  </a:lnTo>
                  <a:lnTo>
                    <a:pt x="442841" y="1079208"/>
                  </a:lnTo>
                  <a:lnTo>
                    <a:pt x="399676" y="1048740"/>
                  </a:lnTo>
                  <a:lnTo>
                    <a:pt x="358109" y="1015065"/>
                  </a:lnTo>
                  <a:lnTo>
                    <a:pt x="316543" y="981390"/>
                  </a:lnTo>
                  <a:lnTo>
                    <a:pt x="278174" y="947715"/>
                  </a:lnTo>
                  <a:lnTo>
                    <a:pt x="241404" y="912436"/>
                  </a:lnTo>
                  <a:lnTo>
                    <a:pt x="207831" y="873950"/>
                  </a:lnTo>
                  <a:lnTo>
                    <a:pt x="177456" y="833861"/>
                  </a:lnTo>
                  <a:lnTo>
                    <a:pt x="147081" y="793771"/>
                  </a:lnTo>
                  <a:lnTo>
                    <a:pt x="121501" y="752078"/>
                  </a:lnTo>
                  <a:lnTo>
                    <a:pt x="95922" y="708782"/>
                  </a:lnTo>
                  <a:lnTo>
                    <a:pt x="75139" y="663882"/>
                  </a:lnTo>
                  <a:lnTo>
                    <a:pt x="57553" y="620585"/>
                  </a:lnTo>
                  <a:lnTo>
                    <a:pt x="38369" y="574081"/>
                  </a:lnTo>
                  <a:lnTo>
                    <a:pt x="25579" y="527577"/>
                  </a:lnTo>
                  <a:lnTo>
                    <a:pt x="15987" y="479470"/>
                  </a:lnTo>
                  <a:lnTo>
                    <a:pt x="7994" y="429759"/>
                  </a:lnTo>
                  <a:lnTo>
                    <a:pt x="3197" y="381652"/>
                  </a:lnTo>
                  <a:lnTo>
                    <a:pt x="0" y="331941"/>
                  </a:lnTo>
                  <a:lnTo>
                    <a:pt x="0" y="4811"/>
                  </a:lnTo>
                  <a:lnTo>
                    <a:pt x="401274" y="327130"/>
                  </a:lnTo>
                  <a:close/>
                </a:path>
              </a:pathLst>
            </a:custGeom>
            <a:gradFill>
              <a:gsLst>
                <a:gs pos="2000">
                  <a:schemeClr val="accent5"/>
                </a:gs>
                <a:gs pos="100000">
                  <a:schemeClr val="accent5">
                    <a:lumMod val="75000"/>
                  </a:schemeClr>
                </a:gs>
              </a:gsLst>
              <a:lin ang="2700000" scaled="1"/>
            </a:gradFill>
            <a:ln>
              <a:noFill/>
            </a:ln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A4E62309-1A3E-4A85-B5B2-308A037AD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2697" y="7821588"/>
              <a:ext cx="1764968" cy="1300502"/>
            </a:xfrm>
            <a:custGeom>
              <a:avLst/>
              <a:gdLst>
                <a:gd name="T0" fmla="*/ 508 w 1104"/>
                <a:gd name="T1" fmla="*/ 207 h 811"/>
                <a:gd name="T2" fmla="*/ 508 w 1104"/>
                <a:gd name="T3" fmla="*/ 0 h 811"/>
                <a:gd name="T4" fmla="*/ 251 w 1104"/>
                <a:gd name="T5" fmla="*/ 204 h 811"/>
                <a:gd name="T6" fmla="*/ 0 w 1104"/>
                <a:gd name="T7" fmla="*/ 3 h 811"/>
                <a:gd name="T8" fmla="*/ 0 w 1104"/>
                <a:gd name="T9" fmla="*/ 207 h 811"/>
                <a:gd name="T10" fmla="*/ 0 w 1104"/>
                <a:gd name="T11" fmla="*/ 207 h 811"/>
                <a:gd name="T12" fmla="*/ 2 w 1104"/>
                <a:gd name="T13" fmla="*/ 238 h 811"/>
                <a:gd name="T14" fmla="*/ 5 w 1104"/>
                <a:gd name="T15" fmla="*/ 268 h 811"/>
                <a:gd name="T16" fmla="*/ 10 w 1104"/>
                <a:gd name="T17" fmla="*/ 299 h 811"/>
                <a:gd name="T18" fmla="*/ 16 w 1104"/>
                <a:gd name="T19" fmla="*/ 329 h 811"/>
                <a:gd name="T20" fmla="*/ 24 w 1104"/>
                <a:gd name="T21" fmla="*/ 358 h 811"/>
                <a:gd name="T22" fmla="*/ 36 w 1104"/>
                <a:gd name="T23" fmla="*/ 387 h 811"/>
                <a:gd name="T24" fmla="*/ 47 w 1104"/>
                <a:gd name="T25" fmla="*/ 414 h 811"/>
                <a:gd name="T26" fmla="*/ 60 w 1104"/>
                <a:gd name="T27" fmla="*/ 442 h 811"/>
                <a:gd name="T28" fmla="*/ 76 w 1104"/>
                <a:gd name="T29" fmla="*/ 469 h 811"/>
                <a:gd name="T30" fmla="*/ 92 w 1104"/>
                <a:gd name="T31" fmla="*/ 495 h 811"/>
                <a:gd name="T32" fmla="*/ 111 w 1104"/>
                <a:gd name="T33" fmla="*/ 520 h 811"/>
                <a:gd name="T34" fmla="*/ 130 w 1104"/>
                <a:gd name="T35" fmla="*/ 545 h 811"/>
                <a:gd name="T36" fmla="*/ 151 w 1104"/>
                <a:gd name="T37" fmla="*/ 569 h 811"/>
                <a:gd name="T38" fmla="*/ 174 w 1104"/>
                <a:gd name="T39" fmla="*/ 591 h 811"/>
                <a:gd name="T40" fmla="*/ 198 w 1104"/>
                <a:gd name="T41" fmla="*/ 612 h 811"/>
                <a:gd name="T42" fmla="*/ 224 w 1104"/>
                <a:gd name="T43" fmla="*/ 633 h 811"/>
                <a:gd name="T44" fmla="*/ 250 w 1104"/>
                <a:gd name="T45" fmla="*/ 654 h 811"/>
                <a:gd name="T46" fmla="*/ 277 w 1104"/>
                <a:gd name="T47" fmla="*/ 673 h 811"/>
                <a:gd name="T48" fmla="*/ 306 w 1104"/>
                <a:gd name="T49" fmla="*/ 691 h 811"/>
                <a:gd name="T50" fmla="*/ 335 w 1104"/>
                <a:gd name="T51" fmla="*/ 707 h 811"/>
                <a:gd name="T52" fmla="*/ 365 w 1104"/>
                <a:gd name="T53" fmla="*/ 723 h 811"/>
                <a:gd name="T54" fmla="*/ 397 w 1104"/>
                <a:gd name="T55" fmla="*/ 738 h 811"/>
                <a:gd name="T56" fmla="*/ 431 w 1104"/>
                <a:gd name="T57" fmla="*/ 750 h 811"/>
                <a:gd name="T58" fmla="*/ 463 w 1104"/>
                <a:gd name="T59" fmla="*/ 763 h 811"/>
                <a:gd name="T60" fmla="*/ 499 w 1104"/>
                <a:gd name="T61" fmla="*/ 775 h 811"/>
                <a:gd name="T62" fmla="*/ 534 w 1104"/>
                <a:gd name="T63" fmla="*/ 784 h 811"/>
                <a:gd name="T64" fmla="*/ 570 w 1104"/>
                <a:gd name="T65" fmla="*/ 792 h 811"/>
                <a:gd name="T66" fmla="*/ 607 w 1104"/>
                <a:gd name="T67" fmla="*/ 799 h 811"/>
                <a:gd name="T68" fmla="*/ 644 w 1104"/>
                <a:gd name="T69" fmla="*/ 803 h 811"/>
                <a:gd name="T70" fmla="*/ 682 w 1104"/>
                <a:gd name="T71" fmla="*/ 808 h 811"/>
                <a:gd name="T72" fmla="*/ 721 w 1104"/>
                <a:gd name="T73" fmla="*/ 810 h 811"/>
                <a:gd name="T74" fmla="*/ 759 w 1104"/>
                <a:gd name="T75" fmla="*/ 811 h 811"/>
                <a:gd name="T76" fmla="*/ 1104 w 1104"/>
                <a:gd name="T77" fmla="*/ 811 h 811"/>
                <a:gd name="T78" fmla="*/ 1104 w 1104"/>
                <a:gd name="T79" fmla="*/ 406 h 811"/>
                <a:gd name="T80" fmla="*/ 759 w 1104"/>
                <a:gd name="T81" fmla="*/ 406 h 811"/>
                <a:gd name="T82" fmla="*/ 759 w 1104"/>
                <a:gd name="T83" fmla="*/ 406 h 811"/>
                <a:gd name="T84" fmla="*/ 734 w 1104"/>
                <a:gd name="T85" fmla="*/ 406 h 811"/>
                <a:gd name="T86" fmla="*/ 708 w 1104"/>
                <a:gd name="T87" fmla="*/ 403 h 811"/>
                <a:gd name="T88" fmla="*/ 684 w 1104"/>
                <a:gd name="T89" fmla="*/ 398 h 811"/>
                <a:gd name="T90" fmla="*/ 661 w 1104"/>
                <a:gd name="T91" fmla="*/ 392 h 811"/>
                <a:gd name="T92" fmla="*/ 639 w 1104"/>
                <a:gd name="T93" fmla="*/ 382 h 811"/>
                <a:gd name="T94" fmla="*/ 618 w 1104"/>
                <a:gd name="T95" fmla="*/ 373 h 811"/>
                <a:gd name="T96" fmla="*/ 599 w 1104"/>
                <a:gd name="T97" fmla="*/ 361 h 811"/>
                <a:gd name="T98" fmla="*/ 581 w 1104"/>
                <a:gd name="T99" fmla="*/ 348 h 811"/>
                <a:gd name="T100" fmla="*/ 565 w 1104"/>
                <a:gd name="T101" fmla="*/ 334 h 811"/>
                <a:gd name="T102" fmla="*/ 550 w 1104"/>
                <a:gd name="T103" fmla="*/ 319 h 811"/>
                <a:gd name="T104" fmla="*/ 537 w 1104"/>
                <a:gd name="T105" fmla="*/ 302 h 811"/>
                <a:gd name="T106" fmla="*/ 528 w 1104"/>
                <a:gd name="T107" fmla="*/ 284 h 811"/>
                <a:gd name="T108" fmla="*/ 520 w 1104"/>
                <a:gd name="T109" fmla="*/ 266 h 811"/>
                <a:gd name="T110" fmla="*/ 513 w 1104"/>
                <a:gd name="T111" fmla="*/ 247 h 811"/>
                <a:gd name="T112" fmla="*/ 508 w 1104"/>
                <a:gd name="T113" fmla="*/ 228 h 811"/>
                <a:gd name="T114" fmla="*/ 508 w 1104"/>
                <a:gd name="T115" fmla="*/ 207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04" h="811">
                  <a:moveTo>
                    <a:pt x="508" y="207"/>
                  </a:moveTo>
                  <a:lnTo>
                    <a:pt x="508" y="0"/>
                  </a:lnTo>
                  <a:lnTo>
                    <a:pt x="251" y="204"/>
                  </a:lnTo>
                  <a:lnTo>
                    <a:pt x="0" y="3"/>
                  </a:lnTo>
                  <a:lnTo>
                    <a:pt x="0" y="207"/>
                  </a:lnTo>
                  <a:lnTo>
                    <a:pt x="0" y="207"/>
                  </a:lnTo>
                  <a:lnTo>
                    <a:pt x="2" y="238"/>
                  </a:lnTo>
                  <a:lnTo>
                    <a:pt x="5" y="268"/>
                  </a:lnTo>
                  <a:lnTo>
                    <a:pt x="10" y="299"/>
                  </a:lnTo>
                  <a:lnTo>
                    <a:pt x="16" y="329"/>
                  </a:lnTo>
                  <a:lnTo>
                    <a:pt x="24" y="358"/>
                  </a:lnTo>
                  <a:lnTo>
                    <a:pt x="36" y="387"/>
                  </a:lnTo>
                  <a:lnTo>
                    <a:pt x="47" y="414"/>
                  </a:lnTo>
                  <a:lnTo>
                    <a:pt x="60" y="442"/>
                  </a:lnTo>
                  <a:lnTo>
                    <a:pt x="76" y="469"/>
                  </a:lnTo>
                  <a:lnTo>
                    <a:pt x="92" y="495"/>
                  </a:lnTo>
                  <a:lnTo>
                    <a:pt x="111" y="520"/>
                  </a:lnTo>
                  <a:lnTo>
                    <a:pt x="130" y="545"/>
                  </a:lnTo>
                  <a:lnTo>
                    <a:pt x="151" y="569"/>
                  </a:lnTo>
                  <a:lnTo>
                    <a:pt x="174" y="591"/>
                  </a:lnTo>
                  <a:lnTo>
                    <a:pt x="198" y="612"/>
                  </a:lnTo>
                  <a:lnTo>
                    <a:pt x="224" y="633"/>
                  </a:lnTo>
                  <a:lnTo>
                    <a:pt x="250" y="654"/>
                  </a:lnTo>
                  <a:lnTo>
                    <a:pt x="277" y="673"/>
                  </a:lnTo>
                  <a:lnTo>
                    <a:pt x="306" y="691"/>
                  </a:lnTo>
                  <a:lnTo>
                    <a:pt x="335" y="707"/>
                  </a:lnTo>
                  <a:lnTo>
                    <a:pt x="365" y="723"/>
                  </a:lnTo>
                  <a:lnTo>
                    <a:pt x="397" y="738"/>
                  </a:lnTo>
                  <a:lnTo>
                    <a:pt x="431" y="750"/>
                  </a:lnTo>
                  <a:lnTo>
                    <a:pt x="463" y="763"/>
                  </a:lnTo>
                  <a:lnTo>
                    <a:pt x="499" y="775"/>
                  </a:lnTo>
                  <a:lnTo>
                    <a:pt x="534" y="784"/>
                  </a:lnTo>
                  <a:lnTo>
                    <a:pt x="570" y="792"/>
                  </a:lnTo>
                  <a:lnTo>
                    <a:pt x="607" y="799"/>
                  </a:lnTo>
                  <a:lnTo>
                    <a:pt x="644" y="803"/>
                  </a:lnTo>
                  <a:lnTo>
                    <a:pt x="682" y="808"/>
                  </a:lnTo>
                  <a:lnTo>
                    <a:pt x="721" y="810"/>
                  </a:lnTo>
                  <a:lnTo>
                    <a:pt x="759" y="811"/>
                  </a:lnTo>
                  <a:lnTo>
                    <a:pt x="1104" y="811"/>
                  </a:lnTo>
                  <a:lnTo>
                    <a:pt x="1104" y="406"/>
                  </a:lnTo>
                  <a:lnTo>
                    <a:pt x="759" y="406"/>
                  </a:lnTo>
                  <a:lnTo>
                    <a:pt x="759" y="406"/>
                  </a:lnTo>
                  <a:lnTo>
                    <a:pt x="734" y="406"/>
                  </a:lnTo>
                  <a:lnTo>
                    <a:pt x="708" y="403"/>
                  </a:lnTo>
                  <a:lnTo>
                    <a:pt x="684" y="398"/>
                  </a:lnTo>
                  <a:lnTo>
                    <a:pt x="661" y="392"/>
                  </a:lnTo>
                  <a:lnTo>
                    <a:pt x="639" y="382"/>
                  </a:lnTo>
                  <a:lnTo>
                    <a:pt x="618" y="373"/>
                  </a:lnTo>
                  <a:lnTo>
                    <a:pt x="599" y="361"/>
                  </a:lnTo>
                  <a:lnTo>
                    <a:pt x="581" y="348"/>
                  </a:lnTo>
                  <a:lnTo>
                    <a:pt x="565" y="334"/>
                  </a:lnTo>
                  <a:lnTo>
                    <a:pt x="550" y="319"/>
                  </a:lnTo>
                  <a:lnTo>
                    <a:pt x="537" y="302"/>
                  </a:lnTo>
                  <a:lnTo>
                    <a:pt x="528" y="284"/>
                  </a:lnTo>
                  <a:lnTo>
                    <a:pt x="520" y="266"/>
                  </a:lnTo>
                  <a:lnTo>
                    <a:pt x="513" y="247"/>
                  </a:lnTo>
                  <a:lnTo>
                    <a:pt x="508" y="228"/>
                  </a:lnTo>
                  <a:lnTo>
                    <a:pt x="508" y="20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prstTxWarp prst="textNoShape">
                <a:avLst/>
              </a:prstTxWarp>
            </a:bodyPr>
            <a:lstStyle/>
            <a:p>
              <a:endParaRPr lang="en-AU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46" name="Group 4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442004FB-6634-49ED-A648-6E84485FFE11}"/>
              </a:ext>
            </a:extLst>
          </p:cNvPr>
          <p:cNvGrpSpPr/>
          <p:nvPr/>
        </p:nvGrpSpPr>
        <p:grpSpPr>
          <a:xfrm>
            <a:off x="5182014" y="524246"/>
            <a:ext cx="2122549" cy="776125"/>
            <a:chOff x="14297370" y="1174010"/>
            <a:chExt cx="3396078" cy="124180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7FFFE81-B486-499A-96BE-9BDA0FB4FF8F}"/>
                </a:ext>
              </a:extLst>
            </p:cNvPr>
            <p:cNvSpPr/>
            <p:nvPr/>
          </p:nvSpPr>
          <p:spPr>
            <a:xfrm>
              <a:off x="14297370" y="1174010"/>
              <a:ext cx="3262289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50" dirty="0">
                  <a:solidFill>
                    <a:schemeClr val="tx2"/>
                  </a:solidFill>
                  <a:latin typeface="+mj-ea"/>
                  <a:ea typeface="+mj-ea"/>
                  <a:cs typeface="Segoe UI" panose="020B0502040204020203" pitchFamily="34" charset="0"/>
                </a:rPr>
                <a:t>Your Text Here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B91FC6B-3CBE-4497-A2CA-7CB582534D5E}"/>
                </a:ext>
              </a:extLst>
            </p:cNvPr>
            <p:cNvSpPr/>
            <p:nvPr/>
          </p:nvSpPr>
          <p:spPr>
            <a:xfrm>
              <a:off x="14297370" y="1677146"/>
              <a:ext cx="339607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000" dirty="0">
                  <a:solidFill>
                    <a:schemeClr val="tx2"/>
                  </a:solidFill>
                  <a:latin typeface="+mj-ea"/>
                  <a:ea typeface="+mj-ea"/>
                  <a:cs typeface="Segoe UI" panose="020B0502040204020203" pitchFamily="34" charset="0"/>
                </a:rPr>
                <a:t>A wonderful serenity has taken possession of my entire soul</a:t>
              </a:r>
            </a:p>
          </p:txBody>
        </p:sp>
      </p:grpSp>
      <p:grpSp>
        <p:nvGrpSpPr>
          <p:cNvPr id="49" name="Group 4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2AB68C1E-58F9-40CA-818A-A93F2977C460}"/>
              </a:ext>
            </a:extLst>
          </p:cNvPr>
          <p:cNvGrpSpPr/>
          <p:nvPr/>
        </p:nvGrpSpPr>
        <p:grpSpPr>
          <a:xfrm>
            <a:off x="7960467" y="1708322"/>
            <a:ext cx="2122549" cy="776125"/>
            <a:chOff x="14297370" y="1174010"/>
            <a:chExt cx="3396078" cy="1241800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A5D5344-03C6-49EB-A2B9-0955203A2024}"/>
                </a:ext>
              </a:extLst>
            </p:cNvPr>
            <p:cNvSpPr/>
            <p:nvPr/>
          </p:nvSpPr>
          <p:spPr>
            <a:xfrm>
              <a:off x="14297370" y="1174010"/>
              <a:ext cx="3262289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50" dirty="0">
                  <a:solidFill>
                    <a:schemeClr val="tx2"/>
                  </a:solidFill>
                  <a:latin typeface="+mj-ea"/>
                  <a:ea typeface="+mj-ea"/>
                  <a:cs typeface="Segoe UI" panose="020B0502040204020203" pitchFamily="34" charset="0"/>
                </a:rPr>
                <a:t>Your Text Here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63DB634-3D26-4EAB-B5E4-1B71425D110D}"/>
                </a:ext>
              </a:extLst>
            </p:cNvPr>
            <p:cNvSpPr/>
            <p:nvPr/>
          </p:nvSpPr>
          <p:spPr>
            <a:xfrm>
              <a:off x="14297370" y="1677146"/>
              <a:ext cx="339607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000" dirty="0">
                  <a:solidFill>
                    <a:schemeClr val="tx2"/>
                  </a:solidFill>
                  <a:latin typeface="+mj-ea"/>
                  <a:ea typeface="+mj-ea"/>
                  <a:cs typeface="Segoe UI" panose="020B0502040204020203" pitchFamily="34" charset="0"/>
                </a:rPr>
                <a:t>A wonderful serenity has taken possession of my entire soul</a:t>
              </a:r>
            </a:p>
          </p:txBody>
        </p:sp>
      </p:grpSp>
      <p:grpSp>
        <p:nvGrpSpPr>
          <p:cNvPr id="52" name="Group 5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0220F833-F99C-4EB2-A9D1-1587C0748C50}"/>
              </a:ext>
            </a:extLst>
          </p:cNvPr>
          <p:cNvGrpSpPr/>
          <p:nvPr/>
        </p:nvGrpSpPr>
        <p:grpSpPr>
          <a:xfrm flipH="1">
            <a:off x="4693858" y="3081773"/>
            <a:ext cx="2122549" cy="776125"/>
            <a:chOff x="14297370" y="1174010"/>
            <a:chExt cx="3396078" cy="1241800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CF33948B-373E-4461-AD25-2A7F75ECE9ED}"/>
                </a:ext>
              </a:extLst>
            </p:cNvPr>
            <p:cNvSpPr/>
            <p:nvPr/>
          </p:nvSpPr>
          <p:spPr>
            <a:xfrm>
              <a:off x="14297370" y="1174010"/>
              <a:ext cx="3262289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1250" dirty="0">
                  <a:solidFill>
                    <a:schemeClr val="tx2"/>
                  </a:solidFill>
                  <a:latin typeface="+mj-ea"/>
                  <a:ea typeface="+mj-ea"/>
                  <a:cs typeface="Segoe UI" panose="020B0502040204020203" pitchFamily="34" charset="0"/>
                </a:rPr>
                <a:t>Your Text Here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525A1B7-FA0C-4411-A1E2-A6E92403E239}"/>
                </a:ext>
              </a:extLst>
            </p:cNvPr>
            <p:cNvSpPr/>
            <p:nvPr/>
          </p:nvSpPr>
          <p:spPr>
            <a:xfrm>
              <a:off x="14297370" y="1677146"/>
              <a:ext cx="339607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sz="1000" dirty="0">
                  <a:solidFill>
                    <a:schemeClr val="tx2"/>
                  </a:solidFill>
                  <a:latin typeface="+mj-ea"/>
                  <a:ea typeface="+mj-ea"/>
                  <a:cs typeface="Segoe UI" panose="020B0502040204020203" pitchFamily="34" charset="0"/>
                </a:rPr>
                <a:t>A wonderful serenity has taken possession of my entire soul</a:t>
              </a:r>
            </a:p>
          </p:txBody>
        </p:sp>
      </p:grpSp>
      <p:grpSp>
        <p:nvGrpSpPr>
          <p:cNvPr id="55" name="Group 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01D572AB-E38C-41FF-AA0E-4B267324727E}"/>
              </a:ext>
            </a:extLst>
          </p:cNvPr>
          <p:cNvGrpSpPr/>
          <p:nvPr/>
        </p:nvGrpSpPr>
        <p:grpSpPr>
          <a:xfrm>
            <a:off x="9401120" y="3642397"/>
            <a:ext cx="2122549" cy="776125"/>
            <a:chOff x="14297370" y="1174010"/>
            <a:chExt cx="3396078" cy="1241800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4CFA513-5A5E-4098-88F8-40DADC942A02}"/>
                </a:ext>
              </a:extLst>
            </p:cNvPr>
            <p:cNvSpPr/>
            <p:nvPr/>
          </p:nvSpPr>
          <p:spPr>
            <a:xfrm>
              <a:off x="14297370" y="1174010"/>
              <a:ext cx="3262289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50" dirty="0">
                  <a:solidFill>
                    <a:schemeClr val="tx2"/>
                  </a:solidFill>
                  <a:latin typeface="+mj-ea"/>
                  <a:ea typeface="+mj-ea"/>
                  <a:cs typeface="Segoe UI" panose="020B0502040204020203" pitchFamily="34" charset="0"/>
                </a:rPr>
                <a:t>Your Text Here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21339E1-EE48-484F-B176-1D2D62A55F50}"/>
                </a:ext>
              </a:extLst>
            </p:cNvPr>
            <p:cNvSpPr/>
            <p:nvPr/>
          </p:nvSpPr>
          <p:spPr>
            <a:xfrm>
              <a:off x="14297370" y="1677146"/>
              <a:ext cx="339607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000" dirty="0">
                  <a:solidFill>
                    <a:schemeClr val="tx2"/>
                  </a:solidFill>
                  <a:latin typeface="+mj-ea"/>
                  <a:ea typeface="+mj-ea"/>
                  <a:cs typeface="Segoe UI" panose="020B0502040204020203" pitchFamily="34" charset="0"/>
                </a:rPr>
                <a:t>A wonderful serenity has taken possession of my entire soul</a:t>
              </a:r>
            </a:p>
          </p:txBody>
        </p:sp>
      </p:grpSp>
      <p:grpSp>
        <p:nvGrpSpPr>
          <p:cNvPr id="58" name="Group 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D4148BC1-8EDE-4B7B-A824-8734D8A32183}"/>
              </a:ext>
            </a:extLst>
          </p:cNvPr>
          <p:cNvGrpSpPr/>
          <p:nvPr/>
        </p:nvGrpSpPr>
        <p:grpSpPr>
          <a:xfrm flipH="1">
            <a:off x="6217300" y="5033148"/>
            <a:ext cx="2122549" cy="776125"/>
            <a:chOff x="14297370" y="1174010"/>
            <a:chExt cx="3396078" cy="1241800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CE61EEC-7EF1-4631-A7BB-4185A3EEAD7C}"/>
                </a:ext>
              </a:extLst>
            </p:cNvPr>
            <p:cNvSpPr/>
            <p:nvPr/>
          </p:nvSpPr>
          <p:spPr>
            <a:xfrm>
              <a:off x="14297370" y="1174010"/>
              <a:ext cx="3262289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1250" dirty="0">
                  <a:solidFill>
                    <a:schemeClr val="tx2"/>
                  </a:solidFill>
                  <a:latin typeface="+mj-ea"/>
                  <a:ea typeface="+mj-ea"/>
                  <a:cs typeface="Segoe UI" panose="020B0502040204020203" pitchFamily="34" charset="0"/>
                </a:rPr>
                <a:t>Your Text Here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787032B-914C-4A3D-965D-04B1CD40B4B9}"/>
                </a:ext>
              </a:extLst>
            </p:cNvPr>
            <p:cNvSpPr/>
            <p:nvPr/>
          </p:nvSpPr>
          <p:spPr>
            <a:xfrm>
              <a:off x="14297370" y="1677146"/>
              <a:ext cx="339607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sz="1000" dirty="0">
                  <a:solidFill>
                    <a:schemeClr val="tx2"/>
                  </a:solidFill>
                  <a:latin typeface="+mj-ea"/>
                  <a:ea typeface="+mj-ea"/>
                  <a:cs typeface="Segoe UI" panose="020B0502040204020203" pitchFamily="34" charset="0"/>
                </a:rPr>
                <a:t>A wonderful serenity has taken possession of my entire soul</a:t>
              </a:r>
            </a:p>
          </p:txBody>
        </p:sp>
      </p:grpSp>
      <p:sp>
        <p:nvSpPr>
          <p:cNvPr id="63" name="Freeform 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54C8A7A7-476E-4365-A51C-62FB2A148E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7177" y="1220899"/>
            <a:ext cx="368995" cy="374228"/>
          </a:xfrm>
          <a:custGeom>
            <a:avLst/>
            <a:gdLst>
              <a:gd name="T0" fmla="*/ 211227 w 497"/>
              <a:gd name="T1" fmla="*/ 3596 h 505"/>
              <a:gd name="T2" fmla="*/ 211227 w 497"/>
              <a:gd name="T3" fmla="*/ 3596 h 505"/>
              <a:gd name="T4" fmla="*/ 203571 w 497"/>
              <a:gd name="T5" fmla="*/ 0 h 505"/>
              <a:gd name="T6" fmla="*/ 199518 w 497"/>
              <a:gd name="T7" fmla="*/ 7642 h 505"/>
              <a:gd name="T8" fmla="*/ 171594 w 497"/>
              <a:gd name="T9" fmla="*/ 75521 h 505"/>
              <a:gd name="T10" fmla="*/ 167541 w 497"/>
              <a:gd name="T11" fmla="*/ 63384 h 505"/>
              <a:gd name="T12" fmla="*/ 155831 w 497"/>
              <a:gd name="T13" fmla="*/ 59338 h 505"/>
              <a:gd name="T14" fmla="*/ 119350 w 497"/>
              <a:gd name="T15" fmla="*/ 59338 h 505"/>
              <a:gd name="T16" fmla="*/ 108091 w 497"/>
              <a:gd name="T17" fmla="*/ 63384 h 505"/>
              <a:gd name="T18" fmla="*/ 4053 w 497"/>
              <a:gd name="T19" fmla="*/ 134859 h 505"/>
              <a:gd name="T20" fmla="*/ 4053 w 497"/>
              <a:gd name="T21" fmla="*/ 151042 h 505"/>
              <a:gd name="T22" fmla="*/ 47740 w 497"/>
              <a:gd name="T23" fmla="*/ 218472 h 505"/>
              <a:gd name="T24" fmla="*/ 63954 w 497"/>
              <a:gd name="T25" fmla="*/ 222518 h 505"/>
              <a:gd name="T26" fmla="*/ 167541 w 497"/>
              <a:gd name="T27" fmla="*/ 146997 h 505"/>
              <a:gd name="T28" fmla="*/ 175648 w 497"/>
              <a:gd name="T29" fmla="*/ 138905 h 505"/>
              <a:gd name="T30" fmla="*/ 187357 w 497"/>
              <a:gd name="T31" fmla="*/ 102943 h 505"/>
              <a:gd name="T32" fmla="*/ 183754 w 497"/>
              <a:gd name="T33" fmla="*/ 91255 h 505"/>
              <a:gd name="T34" fmla="*/ 179701 w 497"/>
              <a:gd name="T35" fmla="*/ 83163 h 505"/>
              <a:gd name="T36" fmla="*/ 211227 w 497"/>
              <a:gd name="T37" fmla="*/ 3596 h 505"/>
              <a:gd name="T38" fmla="*/ 163487 w 497"/>
              <a:gd name="T39" fmla="*/ 111034 h 505"/>
              <a:gd name="T40" fmla="*/ 163487 w 497"/>
              <a:gd name="T41" fmla="*/ 111034 h 505"/>
              <a:gd name="T42" fmla="*/ 139617 w 497"/>
              <a:gd name="T43" fmla="*/ 102943 h 505"/>
              <a:gd name="T44" fmla="*/ 143671 w 497"/>
              <a:gd name="T45" fmla="*/ 79117 h 505"/>
              <a:gd name="T46" fmla="*/ 163487 w 497"/>
              <a:gd name="T47" fmla="*/ 79117 h 505"/>
              <a:gd name="T48" fmla="*/ 159884 w 497"/>
              <a:gd name="T49" fmla="*/ 83163 h 505"/>
              <a:gd name="T50" fmla="*/ 155831 w 497"/>
              <a:gd name="T51" fmla="*/ 91255 h 505"/>
              <a:gd name="T52" fmla="*/ 159884 w 497"/>
              <a:gd name="T53" fmla="*/ 95301 h 505"/>
              <a:gd name="T54" fmla="*/ 163487 w 497"/>
              <a:gd name="T55" fmla="*/ 95301 h 505"/>
              <a:gd name="T56" fmla="*/ 171594 w 497"/>
              <a:gd name="T57" fmla="*/ 91255 h 505"/>
              <a:gd name="T58" fmla="*/ 163487 w 497"/>
              <a:gd name="T59" fmla="*/ 111034 h 50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497" h="505">
                <a:moveTo>
                  <a:pt x="469" y="8"/>
                </a:moveTo>
                <a:lnTo>
                  <a:pt x="469" y="8"/>
                </a:lnTo>
                <a:cubicBezTo>
                  <a:pt x="469" y="8"/>
                  <a:pt x="461" y="0"/>
                  <a:pt x="452" y="0"/>
                </a:cubicBezTo>
                <a:cubicBezTo>
                  <a:pt x="443" y="8"/>
                  <a:pt x="443" y="17"/>
                  <a:pt x="443" y="17"/>
                </a:cubicBezTo>
                <a:cubicBezTo>
                  <a:pt x="461" y="88"/>
                  <a:pt x="416" y="141"/>
                  <a:pt x="381" y="168"/>
                </a:cubicBezTo>
                <a:cubicBezTo>
                  <a:pt x="372" y="141"/>
                  <a:pt x="372" y="141"/>
                  <a:pt x="372" y="141"/>
                </a:cubicBezTo>
                <a:cubicBezTo>
                  <a:pt x="363" y="141"/>
                  <a:pt x="355" y="132"/>
                  <a:pt x="346" y="132"/>
                </a:cubicBezTo>
                <a:cubicBezTo>
                  <a:pt x="265" y="132"/>
                  <a:pt x="265" y="132"/>
                  <a:pt x="265" y="132"/>
                </a:cubicBezTo>
                <a:cubicBezTo>
                  <a:pt x="257" y="132"/>
                  <a:pt x="248" y="132"/>
                  <a:pt x="240" y="141"/>
                </a:cubicBezTo>
                <a:cubicBezTo>
                  <a:pt x="9" y="300"/>
                  <a:pt x="9" y="300"/>
                  <a:pt x="9" y="300"/>
                </a:cubicBezTo>
                <a:cubicBezTo>
                  <a:pt x="0" y="309"/>
                  <a:pt x="0" y="327"/>
                  <a:pt x="9" y="336"/>
                </a:cubicBezTo>
                <a:cubicBezTo>
                  <a:pt x="106" y="486"/>
                  <a:pt x="106" y="486"/>
                  <a:pt x="106" y="486"/>
                </a:cubicBezTo>
                <a:cubicBezTo>
                  <a:pt x="115" y="504"/>
                  <a:pt x="133" y="495"/>
                  <a:pt x="142" y="495"/>
                </a:cubicBezTo>
                <a:cubicBezTo>
                  <a:pt x="372" y="327"/>
                  <a:pt x="372" y="327"/>
                  <a:pt x="372" y="327"/>
                </a:cubicBezTo>
                <a:cubicBezTo>
                  <a:pt x="381" y="327"/>
                  <a:pt x="390" y="309"/>
                  <a:pt x="390" y="309"/>
                </a:cubicBezTo>
                <a:cubicBezTo>
                  <a:pt x="416" y="229"/>
                  <a:pt x="416" y="229"/>
                  <a:pt x="416" y="229"/>
                </a:cubicBezTo>
                <a:cubicBezTo>
                  <a:pt x="416" y="221"/>
                  <a:pt x="416" y="212"/>
                  <a:pt x="408" y="203"/>
                </a:cubicBezTo>
                <a:cubicBezTo>
                  <a:pt x="399" y="185"/>
                  <a:pt x="399" y="185"/>
                  <a:pt x="399" y="185"/>
                </a:cubicBezTo>
                <a:cubicBezTo>
                  <a:pt x="452" y="150"/>
                  <a:pt x="496" y="88"/>
                  <a:pt x="469" y="8"/>
                </a:cubicBezTo>
                <a:close/>
                <a:moveTo>
                  <a:pt x="363" y="247"/>
                </a:moveTo>
                <a:lnTo>
                  <a:pt x="363" y="247"/>
                </a:lnTo>
                <a:cubicBezTo>
                  <a:pt x="346" y="256"/>
                  <a:pt x="319" y="256"/>
                  <a:pt x="310" y="229"/>
                </a:cubicBezTo>
                <a:cubicBezTo>
                  <a:pt x="293" y="212"/>
                  <a:pt x="301" y="194"/>
                  <a:pt x="319" y="176"/>
                </a:cubicBezTo>
                <a:cubicBezTo>
                  <a:pt x="328" y="168"/>
                  <a:pt x="346" y="168"/>
                  <a:pt x="363" y="176"/>
                </a:cubicBezTo>
                <a:cubicBezTo>
                  <a:pt x="355" y="185"/>
                  <a:pt x="355" y="185"/>
                  <a:pt x="355" y="185"/>
                </a:cubicBezTo>
                <a:cubicBezTo>
                  <a:pt x="346" y="185"/>
                  <a:pt x="337" y="194"/>
                  <a:pt x="346" y="203"/>
                </a:cubicBezTo>
                <a:cubicBezTo>
                  <a:pt x="346" y="212"/>
                  <a:pt x="355" y="212"/>
                  <a:pt x="355" y="212"/>
                </a:cubicBezTo>
                <a:cubicBezTo>
                  <a:pt x="363" y="212"/>
                  <a:pt x="363" y="212"/>
                  <a:pt x="363" y="212"/>
                </a:cubicBezTo>
                <a:cubicBezTo>
                  <a:pt x="372" y="212"/>
                  <a:pt x="372" y="212"/>
                  <a:pt x="381" y="203"/>
                </a:cubicBezTo>
                <a:cubicBezTo>
                  <a:pt x="381" y="221"/>
                  <a:pt x="372" y="238"/>
                  <a:pt x="363" y="247"/>
                </a:cubicBezTo>
                <a:close/>
              </a:path>
            </a:pathLst>
          </a:custGeom>
          <a:gradFill>
            <a:gsLst>
              <a:gs pos="200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21431" tIns="10716" rIns="21431" bIns="10716" anchor="ctr"/>
          <a:lstStyle/>
          <a:p>
            <a:endParaRPr lang="en-US" sz="1125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64" name="Freeform 2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A0A6843A-A0E8-4857-BEB8-311670A6AE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3859" y="732746"/>
            <a:ext cx="329739" cy="340207"/>
          </a:xfrm>
          <a:custGeom>
            <a:avLst/>
            <a:gdLst>
              <a:gd name="T0" fmla="*/ 111726 w 444"/>
              <a:gd name="T1" fmla="*/ 150538 h 462"/>
              <a:gd name="T2" fmla="*/ 111726 w 444"/>
              <a:gd name="T3" fmla="*/ 150538 h 462"/>
              <a:gd name="T4" fmla="*/ 144162 w 444"/>
              <a:gd name="T5" fmla="*/ 114802 h 462"/>
              <a:gd name="T6" fmla="*/ 199574 w 444"/>
              <a:gd name="T7" fmla="*/ 31716 h 462"/>
              <a:gd name="T8" fmla="*/ 191916 w 444"/>
              <a:gd name="T9" fmla="*/ 23675 h 462"/>
              <a:gd name="T10" fmla="*/ 155875 w 444"/>
              <a:gd name="T11" fmla="*/ 23675 h 462"/>
              <a:gd name="T12" fmla="*/ 100013 w 444"/>
              <a:gd name="T13" fmla="*/ 0 h 462"/>
              <a:gd name="T14" fmla="*/ 44150 w 444"/>
              <a:gd name="T15" fmla="*/ 23675 h 462"/>
              <a:gd name="T16" fmla="*/ 8109 w 444"/>
              <a:gd name="T17" fmla="*/ 23675 h 462"/>
              <a:gd name="T18" fmla="*/ 0 w 444"/>
              <a:gd name="T19" fmla="*/ 31716 h 462"/>
              <a:gd name="T20" fmla="*/ 55863 w 444"/>
              <a:gd name="T21" fmla="*/ 114802 h 462"/>
              <a:gd name="T22" fmla="*/ 87849 w 444"/>
              <a:gd name="T23" fmla="*/ 150538 h 462"/>
              <a:gd name="T24" fmla="*/ 87849 w 444"/>
              <a:gd name="T25" fmla="*/ 166172 h 462"/>
              <a:gd name="T26" fmla="*/ 48204 w 444"/>
              <a:gd name="T27" fmla="*/ 185827 h 462"/>
              <a:gd name="T28" fmla="*/ 100013 w 444"/>
              <a:gd name="T29" fmla="*/ 205928 h 462"/>
              <a:gd name="T30" fmla="*/ 147766 w 444"/>
              <a:gd name="T31" fmla="*/ 185827 h 462"/>
              <a:gd name="T32" fmla="*/ 111726 w 444"/>
              <a:gd name="T33" fmla="*/ 166172 h 462"/>
              <a:gd name="T34" fmla="*/ 111726 w 444"/>
              <a:gd name="T35" fmla="*/ 150538 h 462"/>
              <a:gd name="T36" fmla="*/ 144162 w 444"/>
              <a:gd name="T37" fmla="*/ 94700 h 462"/>
              <a:gd name="T38" fmla="*/ 144162 w 444"/>
              <a:gd name="T39" fmla="*/ 94700 h 462"/>
              <a:gd name="T40" fmla="*/ 155875 w 444"/>
              <a:gd name="T41" fmla="*/ 39756 h 462"/>
              <a:gd name="T42" fmla="*/ 183807 w 444"/>
              <a:gd name="T43" fmla="*/ 39756 h 462"/>
              <a:gd name="T44" fmla="*/ 144162 w 444"/>
              <a:gd name="T45" fmla="*/ 94700 h 462"/>
              <a:gd name="T46" fmla="*/ 100013 w 444"/>
              <a:gd name="T47" fmla="*/ 16081 h 462"/>
              <a:gd name="T48" fmla="*/ 100013 w 444"/>
              <a:gd name="T49" fmla="*/ 16081 h 462"/>
              <a:gd name="T50" fmla="*/ 144162 w 444"/>
              <a:gd name="T51" fmla="*/ 31716 h 462"/>
              <a:gd name="T52" fmla="*/ 100013 w 444"/>
              <a:gd name="T53" fmla="*/ 51370 h 462"/>
              <a:gd name="T54" fmla="*/ 55863 w 444"/>
              <a:gd name="T55" fmla="*/ 31716 h 462"/>
              <a:gd name="T56" fmla="*/ 100013 w 444"/>
              <a:gd name="T57" fmla="*/ 16081 h 462"/>
              <a:gd name="T58" fmla="*/ 16218 w 444"/>
              <a:gd name="T59" fmla="*/ 39756 h 462"/>
              <a:gd name="T60" fmla="*/ 16218 w 444"/>
              <a:gd name="T61" fmla="*/ 39756 h 462"/>
              <a:gd name="T62" fmla="*/ 44150 w 444"/>
              <a:gd name="T63" fmla="*/ 39756 h 462"/>
              <a:gd name="T64" fmla="*/ 55863 w 444"/>
              <a:gd name="T65" fmla="*/ 94700 h 462"/>
              <a:gd name="T66" fmla="*/ 16218 w 444"/>
              <a:gd name="T67" fmla="*/ 39756 h 46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444" h="462">
                <a:moveTo>
                  <a:pt x="248" y="337"/>
                </a:moveTo>
                <a:lnTo>
                  <a:pt x="248" y="337"/>
                </a:lnTo>
                <a:cubicBezTo>
                  <a:pt x="248" y="302"/>
                  <a:pt x="275" y="283"/>
                  <a:pt x="320" y="257"/>
                </a:cubicBezTo>
                <a:cubicBezTo>
                  <a:pt x="373" y="221"/>
                  <a:pt x="443" y="177"/>
                  <a:pt x="443" y="71"/>
                </a:cubicBezTo>
                <a:cubicBezTo>
                  <a:pt x="443" y="62"/>
                  <a:pt x="434" y="53"/>
                  <a:pt x="426" y="53"/>
                </a:cubicBezTo>
                <a:cubicBezTo>
                  <a:pt x="346" y="53"/>
                  <a:pt x="346" y="53"/>
                  <a:pt x="346" y="53"/>
                </a:cubicBezTo>
                <a:cubicBezTo>
                  <a:pt x="328" y="27"/>
                  <a:pt x="293" y="0"/>
                  <a:pt x="222" y="0"/>
                </a:cubicBezTo>
                <a:cubicBezTo>
                  <a:pt x="151" y="0"/>
                  <a:pt x="116" y="27"/>
                  <a:pt x="98" y="53"/>
                </a:cubicBezTo>
                <a:cubicBezTo>
                  <a:pt x="18" y="53"/>
                  <a:pt x="18" y="53"/>
                  <a:pt x="18" y="53"/>
                </a:cubicBezTo>
                <a:cubicBezTo>
                  <a:pt x="9" y="53"/>
                  <a:pt x="0" y="62"/>
                  <a:pt x="0" y="71"/>
                </a:cubicBezTo>
                <a:cubicBezTo>
                  <a:pt x="0" y="177"/>
                  <a:pt x="62" y="221"/>
                  <a:pt x="124" y="257"/>
                </a:cubicBezTo>
                <a:cubicBezTo>
                  <a:pt x="169" y="283"/>
                  <a:pt x="195" y="302"/>
                  <a:pt x="195" y="337"/>
                </a:cubicBezTo>
                <a:cubicBezTo>
                  <a:pt x="195" y="372"/>
                  <a:pt x="195" y="372"/>
                  <a:pt x="195" y="372"/>
                </a:cubicBezTo>
                <a:cubicBezTo>
                  <a:pt x="142" y="381"/>
                  <a:pt x="107" y="399"/>
                  <a:pt x="107" y="416"/>
                </a:cubicBezTo>
                <a:cubicBezTo>
                  <a:pt x="107" y="443"/>
                  <a:pt x="160" y="461"/>
                  <a:pt x="222" y="461"/>
                </a:cubicBezTo>
                <a:cubicBezTo>
                  <a:pt x="283" y="461"/>
                  <a:pt x="328" y="443"/>
                  <a:pt x="328" y="416"/>
                </a:cubicBezTo>
                <a:cubicBezTo>
                  <a:pt x="328" y="399"/>
                  <a:pt x="302" y="381"/>
                  <a:pt x="248" y="372"/>
                </a:cubicBezTo>
                <a:lnTo>
                  <a:pt x="248" y="337"/>
                </a:lnTo>
                <a:close/>
                <a:moveTo>
                  <a:pt x="320" y="212"/>
                </a:moveTo>
                <a:lnTo>
                  <a:pt x="320" y="212"/>
                </a:lnTo>
                <a:cubicBezTo>
                  <a:pt x="337" y="186"/>
                  <a:pt x="346" y="142"/>
                  <a:pt x="346" y="89"/>
                </a:cubicBezTo>
                <a:cubicBezTo>
                  <a:pt x="408" y="89"/>
                  <a:pt x="408" y="89"/>
                  <a:pt x="408" y="89"/>
                </a:cubicBezTo>
                <a:cubicBezTo>
                  <a:pt x="399" y="151"/>
                  <a:pt x="364" y="186"/>
                  <a:pt x="320" y="212"/>
                </a:cubicBezTo>
                <a:close/>
                <a:moveTo>
                  <a:pt x="222" y="36"/>
                </a:moveTo>
                <a:lnTo>
                  <a:pt x="222" y="36"/>
                </a:lnTo>
                <a:cubicBezTo>
                  <a:pt x="293" y="36"/>
                  <a:pt x="320" y="62"/>
                  <a:pt x="320" y="71"/>
                </a:cubicBezTo>
                <a:cubicBezTo>
                  <a:pt x="320" y="80"/>
                  <a:pt x="293" y="106"/>
                  <a:pt x="222" y="115"/>
                </a:cubicBezTo>
                <a:cubicBezTo>
                  <a:pt x="151" y="106"/>
                  <a:pt x="124" y="80"/>
                  <a:pt x="124" y="71"/>
                </a:cubicBezTo>
                <a:cubicBezTo>
                  <a:pt x="124" y="62"/>
                  <a:pt x="151" y="36"/>
                  <a:pt x="222" y="36"/>
                </a:cubicBezTo>
                <a:close/>
                <a:moveTo>
                  <a:pt x="36" y="89"/>
                </a:moveTo>
                <a:lnTo>
                  <a:pt x="36" y="89"/>
                </a:lnTo>
                <a:cubicBezTo>
                  <a:pt x="98" y="89"/>
                  <a:pt x="98" y="89"/>
                  <a:pt x="98" y="89"/>
                </a:cubicBezTo>
                <a:cubicBezTo>
                  <a:pt x="98" y="142"/>
                  <a:pt x="107" y="186"/>
                  <a:pt x="124" y="212"/>
                </a:cubicBezTo>
                <a:cubicBezTo>
                  <a:pt x="80" y="186"/>
                  <a:pt x="36" y="151"/>
                  <a:pt x="36" y="89"/>
                </a:cubicBezTo>
                <a:close/>
              </a:path>
            </a:pathLst>
          </a:custGeom>
          <a:gradFill>
            <a:gsLst>
              <a:gs pos="200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21431" tIns="10716" rIns="21431" bIns="10716" anchor="ctr"/>
          <a:lstStyle/>
          <a:p>
            <a:endParaRPr lang="en-US" sz="1125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65" name="Freeform 7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779FD3B8-FEF9-4894-AC32-04B92BD90C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11132" y="3194543"/>
            <a:ext cx="353293" cy="355908"/>
          </a:xfrm>
          <a:custGeom>
            <a:avLst/>
            <a:gdLst>
              <a:gd name="T0" fmla="*/ 106933 w 479"/>
              <a:gd name="T1" fmla="*/ 0 h 479"/>
              <a:gd name="T2" fmla="*/ 106933 w 479"/>
              <a:gd name="T3" fmla="*/ 0 h 479"/>
              <a:gd name="T4" fmla="*/ 0 w 479"/>
              <a:gd name="T5" fmla="*/ 107725 h 479"/>
              <a:gd name="T6" fmla="*/ 106933 w 479"/>
              <a:gd name="T7" fmla="*/ 215449 h 479"/>
              <a:gd name="T8" fmla="*/ 213866 w 479"/>
              <a:gd name="T9" fmla="*/ 107725 h 479"/>
              <a:gd name="T10" fmla="*/ 106933 w 479"/>
              <a:gd name="T11" fmla="*/ 0 h 479"/>
              <a:gd name="T12" fmla="*/ 198206 w 479"/>
              <a:gd name="T13" fmla="*/ 107725 h 479"/>
              <a:gd name="T14" fmla="*/ 198206 w 479"/>
              <a:gd name="T15" fmla="*/ 107725 h 479"/>
              <a:gd name="T16" fmla="*/ 178520 w 479"/>
              <a:gd name="T17" fmla="*/ 163615 h 479"/>
              <a:gd name="T18" fmla="*/ 174493 w 479"/>
              <a:gd name="T19" fmla="*/ 147840 h 479"/>
              <a:gd name="T20" fmla="*/ 178520 w 479"/>
              <a:gd name="T21" fmla="*/ 115838 h 479"/>
              <a:gd name="T22" fmla="*/ 166439 w 479"/>
              <a:gd name="T23" fmla="*/ 91949 h 479"/>
              <a:gd name="T24" fmla="*/ 142726 w 479"/>
              <a:gd name="T25" fmla="*/ 80230 h 479"/>
              <a:gd name="T26" fmla="*/ 154806 w 479"/>
              <a:gd name="T27" fmla="*/ 39664 h 479"/>
              <a:gd name="T28" fmla="*/ 131093 w 479"/>
              <a:gd name="T29" fmla="*/ 27945 h 479"/>
              <a:gd name="T30" fmla="*/ 134673 w 479"/>
              <a:gd name="T31" fmla="*/ 23889 h 479"/>
              <a:gd name="T32" fmla="*/ 198206 w 479"/>
              <a:gd name="T33" fmla="*/ 107725 h 479"/>
              <a:gd name="T34" fmla="*/ 94853 w 479"/>
              <a:gd name="T35" fmla="*/ 19832 h 479"/>
              <a:gd name="T36" fmla="*/ 94853 w 479"/>
              <a:gd name="T37" fmla="*/ 19832 h 479"/>
              <a:gd name="T38" fmla="*/ 83220 w 479"/>
              <a:gd name="T39" fmla="*/ 27945 h 479"/>
              <a:gd name="T40" fmla="*/ 67113 w 479"/>
              <a:gd name="T41" fmla="*/ 39664 h 479"/>
              <a:gd name="T42" fmla="*/ 51453 w 479"/>
              <a:gd name="T43" fmla="*/ 59947 h 479"/>
              <a:gd name="T44" fmla="*/ 59507 w 479"/>
              <a:gd name="T45" fmla="*/ 71666 h 479"/>
              <a:gd name="T46" fmla="*/ 79193 w 479"/>
              <a:gd name="T47" fmla="*/ 71666 h 479"/>
              <a:gd name="T48" fmla="*/ 110960 w 479"/>
              <a:gd name="T49" fmla="*/ 107725 h 479"/>
              <a:gd name="T50" fmla="*/ 83220 w 479"/>
              <a:gd name="T51" fmla="*/ 131613 h 479"/>
              <a:gd name="T52" fmla="*/ 79193 w 479"/>
              <a:gd name="T53" fmla="*/ 151896 h 479"/>
              <a:gd name="T54" fmla="*/ 79193 w 479"/>
              <a:gd name="T55" fmla="*/ 175785 h 479"/>
              <a:gd name="T56" fmla="*/ 59507 w 479"/>
              <a:gd name="T57" fmla="*/ 155502 h 479"/>
              <a:gd name="T58" fmla="*/ 55480 w 479"/>
              <a:gd name="T59" fmla="*/ 128008 h 479"/>
              <a:gd name="T60" fmla="*/ 39373 w 479"/>
              <a:gd name="T61" fmla="*/ 107725 h 479"/>
              <a:gd name="T62" fmla="*/ 47426 w 479"/>
              <a:gd name="T63" fmla="*/ 83836 h 479"/>
              <a:gd name="T64" fmla="*/ 23713 w 479"/>
              <a:gd name="T65" fmla="*/ 76173 h 479"/>
              <a:gd name="T66" fmla="*/ 94853 w 479"/>
              <a:gd name="T67" fmla="*/ 19832 h 479"/>
              <a:gd name="T68" fmla="*/ 79193 w 479"/>
              <a:gd name="T69" fmla="*/ 195617 h 479"/>
              <a:gd name="T70" fmla="*/ 79193 w 479"/>
              <a:gd name="T71" fmla="*/ 195617 h 479"/>
              <a:gd name="T72" fmla="*/ 91273 w 479"/>
              <a:gd name="T73" fmla="*/ 187504 h 479"/>
              <a:gd name="T74" fmla="*/ 106933 w 479"/>
              <a:gd name="T75" fmla="*/ 183447 h 479"/>
              <a:gd name="T76" fmla="*/ 131093 w 479"/>
              <a:gd name="T77" fmla="*/ 175785 h 479"/>
              <a:gd name="T78" fmla="*/ 158386 w 479"/>
              <a:gd name="T79" fmla="*/ 183447 h 479"/>
              <a:gd name="T80" fmla="*/ 106933 w 479"/>
              <a:gd name="T81" fmla="*/ 199674 h 479"/>
              <a:gd name="T82" fmla="*/ 79193 w 479"/>
              <a:gd name="T83" fmla="*/ 195617 h 47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479" h="479">
                <a:moveTo>
                  <a:pt x="239" y="0"/>
                </a:moveTo>
                <a:lnTo>
                  <a:pt x="239" y="0"/>
                </a:lnTo>
                <a:cubicBezTo>
                  <a:pt x="106" y="0"/>
                  <a:pt x="0" y="106"/>
                  <a:pt x="0" y="239"/>
                </a:cubicBezTo>
                <a:cubicBezTo>
                  <a:pt x="0" y="372"/>
                  <a:pt x="106" y="478"/>
                  <a:pt x="239" y="478"/>
                </a:cubicBezTo>
                <a:cubicBezTo>
                  <a:pt x="372" y="478"/>
                  <a:pt x="478" y="372"/>
                  <a:pt x="478" y="239"/>
                </a:cubicBezTo>
                <a:cubicBezTo>
                  <a:pt x="478" y="106"/>
                  <a:pt x="372" y="0"/>
                  <a:pt x="239" y="0"/>
                </a:cubicBezTo>
                <a:close/>
                <a:moveTo>
                  <a:pt x="443" y="239"/>
                </a:moveTo>
                <a:lnTo>
                  <a:pt x="443" y="239"/>
                </a:lnTo>
                <a:cubicBezTo>
                  <a:pt x="443" y="292"/>
                  <a:pt x="425" y="328"/>
                  <a:pt x="399" y="363"/>
                </a:cubicBezTo>
                <a:cubicBezTo>
                  <a:pt x="390" y="363"/>
                  <a:pt x="381" y="345"/>
                  <a:pt x="390" y="328"/>
                </a:cubicBezTo>
                <a:cubicBezTo>
                  <a:pt x="399" y="310"/>
                  <a:pt x="399" y="275"/>
                  <a:pt x="399" y="257"/>
                </a:cubicBezTo>
                <a:cubicBezTo>
                  <a:pt x="399" y="239"/>
                  <a:pt x="390" y="204"/>
                  <a:pt x="372" y="204"/>
                </a:cubicBezTo>
                <a:cubicBezTo>
                  <a:pt x="346" y="204"/>
                  <a:pt x="337" y="204"/>
                  <a:pt x="319" y="178"/>
                </a:cubicBezTo>
                <a:cubicBezTo>
                  <a:pt x="301" y="124"/>
                  <a:pt x="372" y="115"/>
                  <a:pt x="346" y="88"/>
                </a:cubicBezTo>
                <a:cubicBezTo>
                  <a:pt x="337" y="80"/>
                  <a:pt x="301" y="115"/>
                  <a:pt x="293" y="62"/>
                </a:cubicBezTo>
                <a:lnTo>
                  <a:pt x="301" y="53"/>
                </a:lnTo>
                <a:cubicBezTo>
                  <a:pt x="381" y="80"/>
                  <a:pt x="443" y="150"/>
                  <a:pt x="443" y="239"/>
                </a:cubicBezTo>
                <a:close/>
                <a:moveTo>
                  <a:pt x="212" y="44"/>
                </a:moveTo>
                <a:lnTo>
                  <a:pt x="212" y="44"/>
                </a:lnTo>
                <a:cubicBezTo>
                  <a:pt x="204" y="53"/>
                  <a:pt x="194" y="53"/>
                  <a:pt x="186" y="62"/>
                </a:cubicBezTo>
                <a:cubicBezTo>
                  <a:pt x="168" y="80"/>
                  <a:pt x="159" y="71"/>
                  <a:pt x="150" y="88"/>
                </a:cubicBezTo>
                <a:cubicBezTo>
                  <a:pt x="141" y="106"/>
                  <a:pt x="115" y="124"/>
                  <a:pt x="115" y="133"/>
                </a:cubicBezTo>
                <a:cubicBezTo>
                  <a:pt x="115" y="142"/>
                  <a:pt x="133" y="159"/>
                  <a:pt x="133" y="159"/>
                </a:cubicBezTo>
                <a:cubicBezTo>
                  <a:pt x="141" y="150"/>
                  <a:pt x="159" y="150"/>
                  <a:pt x="177" y="159"/>
                </a:cubicBezTo>
                <a:cubicBezTo>
                  <a:pt x="186" y="159"/>
                  <a:pt x="275" y="169"/>
                  <a:pt x="248" y="239"/>
                </a:cubicBezTo>
                <a:cubicBezTo>
                  <a:pt x="239" y="266"/>
                  <a:pt x="194" y="257"/>
                  <a:pt x="186" y="292"/>
                </a:cubicBezTo>
                <a:cubicBezTo>
                  <a:pt x="186" y="301"/>
                  <a:pt x="186" y="328"/>
                  <a:pt x="177" y="337"/>
                </a:cubicBezTo>
                <a:cubicBezTo>
                  <a:pt x="177" y="345"/>
                  <a:pt x="186" y="390"/>
                  <a:pt x="177" y="390"/>
                </a:cubicBezTo>
                <a:cubicBezTo>
                  <a:pt x="168" y="390"/>
                  <a:pt x="133" y="345"/>
                  <a:pt x="133" y="345"/>
                </a:cubicBezTo>
                <a:cubicBezTo>
                  <a:pt x="133" y="337"/>
                  <a:pt x="124" y="310"/>
                  <a:pt x="124" y="284"/>
                </a:cubicBezTo>
                <a:cubicBezTo>
                  <a:pt x="124" y="266"/>
                  <a:pt x="88" y="266"/>
                  <a:pt x="88" y="239"/>
                </a:cubicBezTo>
                <a:cubicBezTo>
                  <a:pt x="88" y="213"/>
                  <a:pt x="106" y="195"/>
                  <a:pt x="106" y="186"/>
                </a:cubicBezTo>
                <a:cubicBezTo>
                  <a:pt x="97" y="169"/>
                  <a:pt x="62" y="169"/>
                  <a:pt x="53" y="169"/>
                </a:cubicBezTo>
                <a:cubicBezTo>
                  <a:pt x="80" y="97"/>
                  <a:pt x="141" y="53"/>
                  <a:pt x="212" y="44"/>
                </a:cubicBezTo>
                <a:close/>
                <a:moveTo>
                  <a:pt x="177" y="434"/>
                </a:moveTo>
                <a:lnTo>
                  <a:pt x="177" y="434"/>
                </a:lnTo>
                <a:cubicBezTo>
                  <a:pt x="186" y="425"/>
                  <a:pt x="186" y="416"/>
                  <a:pt x="204" y="416"/>
                </a:cubicBezTo>
                <a:cubicBezTo>
                  <a:pt x="212" y="416"/>
                  <a:pt x="221" y="416"/>
                  <a:pt x="239" y="407"/>
                </a:cubicBezTo>
                <a:cubicBezTo>
                  <a:pt x="248" y="407"/>
                  <a:pt x="275" y="398"/>
                  <a:pt x="293" y="390"/>
                </a:cubicBezTo>
                <a:cubicBezTo>
                  <a:pt x="310" y="390"/>
                  <a:pt x="346" y="398"/>
                  <a:pt x="354" y="407"/>
                </a:cubicBezTo>
                <a:cubicBezTo>
                  <a:pt x="319" y="434"/>
                  <a:pt x="284" y="443"/>
                  <a:pt x="239" y="443"/>
                </a:cubicBezTo>
                <a:cubicBezTo>
                  <a:pt x="221" y="443"/>
                  <a:pt x="194" y="443"/>
                  <a:pt x="177" y="434"/>
                </a:cubicBezTo>
                <a:close/>
              </a:path>
            </a:pathLst>
          </a:custGeom>
          <a:gradFill>
            <a:gsLst>
              <a:gs pos="200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21431" tIns="10716" rIns="21431" bIns="10716" anchor="ctr"/>
          <a:lstStyle/>
          <a:p>
            <a:endParaRPr lang="en-US" sz="1125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66" name="Freeform 1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D7E3A03B-75EF-4CDC-A795-B5661511A7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1113" y="4563037"/>
            <a:ext cx="368995" cy="329739"/>
          </a:xfrm>
          <a:custGeom>
            <a:avLst/>
            <a:gdLst>
              <a:gd name="T0" fmla="*/ 199518 w 497"/>
              <a:gd name="T1" fmla="*/ 31535 h 444"/>
              <a:gd name="T2" fmla="*/ 199518 w 497"/>
              <a:gd name="T3" fmla="*/ 31535 h 444"/>
              <a:gd name="T4" fmla="*/ 191861 w 497"/>
              <a:gd name="T5" fmla="*/ 31535 h 444"/>
              <a:gd name="T6" fmla="*/ 191861 w 497"/>
              <a:gd name="T7" fmla="*/ 199574 h 444"/>
              <a:gd name="T8" fmla="*/ 199518 w 497"/>
              <a:gd name="T9" fmla="*/ 199574 h 444"/>
              <a:gd name="T10" fmla="*/ 223388 w 497"/>
              <a:gd name="T11" fmla="*/ 179302 h 444"/>
              <a:gd name="T12" fmla="*/ 223388 w 497"/>
              <a:gd name="T13" fmla="*/ 55863 h 444"/>
              <a:gd name="T14" fmla="*/ 199518 w 497"/>
              <a:gd name="T15" fmla="*/ 31535 h 444"/>
              <a:gd name="T16" fmla="*/ 0 w 497"/>
              <a:gd name="T17" fmla="*/ 55863 h 444"/>
              <a:gd name="T18" fmla="*/ 0 w 497"/>
              <a:gd name="T19" fmla="*/ 55863 h 444"/>
              <a:gd name="T20" fmla="*/ 0 w 497"/>
              <a:gd name="T21" fmla="*/ 179302 h 444"/>
              <a:gd name="T22" fmla="*/ 23870 w 497"/>
              <a:gd name="T23" fmla="*/ 199574 h 444"/>
              <a:gd name="T24" fmla="*/ 31977 w 497"/>
              <a:gd name="T25" fmla="*/ 199574 h 444"/>
              <a:gd name="T26" fmla="*/ 31977 w 497"/>
              <a:gd name="T27" fmla="*/ 31535 h 444"/>
              <a:gd name="T28" fmla="*/ 23870 w 497"/>
              <a:gd name="T29" fmla="*/ 31535 h 444"/>
              <a:gd name="T30" fmla="*/ 0 w 497"/>
              <a:gd name="T31" fmla="*/ 55863 h 444"/>
              <a:gd name="T32" fmla="*/ 151777 w 497"/>
              <a:gd name="T33" fmla="*/ 11713 h 444"/>
              <a:gd name="T34" fmla="*/ 151777 w 497"/>
              <a:gd name="T35" fmla="*/ 11713 h 444"/>
              <a:gd name="T36" fmla="*/ 111694 w 497"/>
              <a:gd name="T37" fmla="*/ 0 h 444"/>
              <a:gd name="T38" fmla="*/ 72061 w 497"/>
              <a:gd name="T39" fmla="*/ 11713 h 444"/>
              <a:gd name="T40" fmla="*/ 72061 w 497"/>
              <a:gd name="T41" fmla="*/ 31535 h 444"/>
              <a:gd name="T42" fmla="*/ 48190 w 497"/>
              <a:gd name="T43" fmla="*/ 31535 h 444"/>
              <a:gd name="T44" fmla="*/ 48190 w 497"/>
              <a:gd name="T45" fmla="*/ 199574 h 444"/>
              <a:gd name="T46" fmla="*/ 175648 w 497"/>
              <a:gd name="T47" fmla="*/ 199574 h 444"/>
              <a:gd name="T48" fmla="*/ 175648 w 497"/>
              <a:gd name="T49" fmla="*/ 31535 h 444"/>
              <a:gd name="T50" fmla="*/ 151777 w 497"/>
              <a:gd name="T51" fmla="*/ 31535 h 444"/>
              <a:gd name="T52" fmla="*/ 151777 w 497"/>
              <a:gd name="T53" fmla="*/ 11713 h 444"/>
              <a:gd name="T54" fmla="*/ 135564 w 497"/>
              <a:gd name="T55" fmla="*/ 31535 h 444"/>
              <a:gd name="T56" fmla="*/ 135564 w 497"/>
              <a:gd name="T57" fmla="*/ 31535 h 444"/>
              <a:gd name="T58" fmla="*/ 87824 w 497"/>
              <a:gd name="T59" fmla="*/ 31535 h 444"/>
              <a:gd name="T60" fmla="*/ 87824 w 497"/>
              <a:gd name="T61" fmla="*/ 19822 h 444"/>
              <a:gd name="T62" fmla="*/ 111694 w 497"/>
              <a:gd name="T63" fmla="*/ 11713 h 444"/>
              <a:gd name="T64" fmla="*/ 135564 w 497"/>
              <a:gd name="T65" fmla="*/ 19822 h 444"/>
              <a:gd name="T66" fmla="*/ 135564 w 497"/>
              <a:gd name="T67" fmla="*/ 31535 h 44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497" h="444">
                <a:moveTo>
                  <a:pt x="443" y="70"/>
                </a:moveTo>
                <a:lnTo>
                  <a:pt x="443" y="70"/>
                </a:lnTo>
                <a:cubicBezTo>
                  <a:pt x="426" y="70"/>
                  <a:pt x="426" y="70"/>
                  <a:pt x="426" y="70"/>
                </a:cubicBezTo>
                <a:cubicBezTo>
                  <a:pt x="426" y="443"/>
                  <a:pt x="426" y="443"/>
                  <a:pt x="426" y="443"/>
                </a:cubicBezTo>
                <a:cubicBezTo>
                  <a:pt x="443" y="443"/>
                  <a:pt x="443" y="443"/>
                  <a:pt x="443" y="443"/>
                </a:cubicBezTo>
                <a:cubicBezTo>
                  <a:pt x="479" y="443"/>
                  <a:pt x="496" y="425"/>
                  <a:pt x="496" y="398"/>
                </a:cubicBezTo>
                <a:cubicBezTo>
                  <a:pt x="496" y="124"/>
                  <a:pt x="496" y="124"/>
                  <a:pt x="496" y="124"/>
                </a:cubicBezTo>
                <a:cubicBezTo>
                  <a:pt x="496" y="97"/>
                  <a:pt x="479" y="70"/>
                  <a:pt x="443" y="70"/>
                </a:cubicBezTo>
                <a:close/>
                <a:moveTo>
                  <a:pt x="0" y="124"/>
                </a:moveTo>
                <a:lnTo>
                  <a:pt x="0" y="124"/>
                </a:lnTo>
                <a:cubicBezTo>
                  <a:pt x="0" y="398"/>
                  <a:pt x="0" y="398"/>
                  <a:pt x="0" y="398"/>
                </a:cubicBezTo>
                <a:cubicBezTo>
                  <a:pt x="0" y="425"/>
                  <a:pt x="26" y="443"/>
                  <a:pt x="53" y="443"/>
                </a:cubicBezTo>
                <a:cubicBezTo>
                  <a:pt x="71" y="443"/>
                  <a:pt x="71" y="443"/>
                  <a:pt x="71" y="443"/>
                </a:cubicBezTo>
                <a:cubicBezTo>
                  <a:pt x="71" y="70"/>
                  <a:pt x="71" y="70"/>
                  <a:pt x="71" y="70"/>
                </a:cubicBezTo>
                <a:cubicBezTo>
                  <a:pt x="53" y="70"/>
                  <a:pt x="53" y="70"/>
                  <a:pt x="53" y="70"/>
                </a:cubicBezTo>
                <a:cubicBezTo>
                  <a:pt x="26" y="70"/>
                  <a:pt x="0" y="97"/>
                  <a:pt x="0" y="124"/>
                </a:cubicBezTo>
                <a:close/>
                <a:moveTo>
                  <a:pt x="337" y="26"/>
                </a:moveTo>
                <a:lnTo>
                  <a:pt x="337" y="26"/>
                </a:lnTo>
                <a:cubicBezTo>
                  <a:pt x="319" y="17"/>
                  <a:pt x="292" y="0"/>
                  <a:pt x="248" y="0"/>
                </a:cubicBezTo>
                <a:cubicBezTo>
                  <a:pt x="204" y="0"/>
                  <a:pt x="177" y="17"/>
                  <a:pt x="160" y="26"/>
                </a:cubicBezTo>
                <a:cubicBezTo>
                  <a:pt x="160" y="70"/>
                  <a:pt x="160" y="70"/>
                  <a:pt x="160" y="70"/>
                </a:cubicBezTo>
                <a:cubicBezTo>
                  <a:pt x="107" y="70"/>
                  <a:pt x="107" y="70"/>
                  <a:pt x="107" y="70"/>
                </a:cubicBezTo>
                <a:cubicBezTo>
                  <a:pt x="107" y="443"/>
                  <a:pt x="107" y="443"/>
                  <a:pt x="107" y="443"/>
                </a:cubicBezTo>
                <a:cubicBezTo>
                  <a:pt x="390" y="443"/>
                  <a:pt x="390" y="443"/>
                  <a:pt x="390" y="443"/>
                </a:cubicBezTo>
                <a:cubicBezTo>
                  <a:pt x="390" y="70"/>
                  <a:pt x="390" y="70"/>
                  <a:pt x="390" y="70"/>
                </a:cubicBezTo>
                <a:cubicBezTo>
                  <a:pt x="337" y="70"/>
                  <a:pt x="337" y="70"/>
                  <a:pt x="337" y="70"/>
                </a:cubicBezTo>
                <a:lnTo>
                  <a:pt x="337" y="26"/>
                </a:lnTo>
                <a:close/>
                <a:moveTo>
                  <a:pt x="301" y="70"/>
                </a:moveTo>
                <a:lnTo>
                  <a:pt x="301" y="70"/>
                </a:lnTo>
                <a:cubicBezTo>
                  <a:pt x="195" y="70"/>
                  <a:pt x="195" y="70"/>
                  <a:pt x="195" y="70"/>
                </a:cubicBezTo>
                <a:cubicBezTo>
                  <a:pt x="195" y="44"/>
                  <a:pt x="195" y="44"/>
                  <a:pt x="195" y="44"/>
                </a:cubicBezTo>
                <a:cubicBezTo>
                  <a:pt x="204" y="35"/>
                  <a:pt x="222" y="26"/>
                  <a:pt x="248" y="26"/>
                </a:cubicBezTo>
                <a:cubicBezTo>
                  <a:pt x="275" y="26"/>
                  <a:pt x="292" y="35"/>
                  <a:pt x="301" y="44"/>
                </a:cubicBezTo>
                <a:lnTo>
                  <a:pt x="301" y="70"/>
                </a:lnTo>
                <a:close/>
              </a:path>
            </a:pathLst>
          </a:custGeom>
          <a:gradFill>
            <a:gsLst>
              <a:gs pos="2000">
                <a:schemeClr val="accent5"/>
              </a:gs>
              <a:gs pos="100000">
                <a:schemeClr val="accent5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21431" tIns="10716" rIns="21431" bIns="10716" anchor="ctr"/>
          <a:lstStyle/>
          <a:p>
            <a:endParaRPr lang="en-US" sz="1125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67" name="Freeform 12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64E901CF-F2F1-4153-9E7D-9B3CF2079A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3261" y="2645584"/>
            <a:ext cx="334973" cy="342823"/>
          </a:xfrm>
          <a:custGeom>
            <a:avLst/>
            <a:gdLst>
              <a:gd name="T0" fmla="*/ 123628 w 452"/>
              <a:gd name="T1" fmla="*/ 135490 h 462"/>
              <a:gd name="T2" fmla="*/ 123628 w 452"/>
              <a:gd name="T3" fmla="*/ 135490 h 462"/>
              <a:gd name="T4" fmla="*/ 195108 w 452"/>
              <a:gd name="T5" fmla="*/ 11703 h 462"/>
              <a:gd name="T6" fmla="*/ 195108 w 452"/>
              <a:gd name="T7" fmla="*/ 8102 h 462"/>
              <a:gd name="T8" fmla="*/ 191062 w 452"/>
              <a:gd name="T9" fmla="*/ 8102 h 462"/>
              <a:gd name="T10" fmla="*/ 71480 w 452"/>
              <a:gd name="T11" fmla="*/ 80124 h 462"/>
              <a:gd name="T12" fmla="*/ 4046 w 452"/>
              <a:gd name="T13" fmla="*/ 135490 h 462"/>
              <a:gd name="T14" fmla="*/ 15735 w 452"/>
              <a:gd name="T15" fmla="*/ 147644 h 462"/>
              <a:gd name="T16" fmla="*/ 39561 w 452"/>
              <a:gd name="T17" fmla="*/ 139542 h 462"/>
              <a:gd name="T18" fmla="*/ 67883 w 452"/>
              <a:gd name="T19" fmla="*/ 167450 h 462"/>
              <a:gd name="T20" fmla="*/ 59791 w 452"/>
              <a:gd name="T21" fmla="*/ 191307 h 462"/>
              <a:gd name="T22" fmla="*/ 67883 w 452"/>
              <a:gd name="T23" fmla="*/ 203461 h 462"/>
              <a:gd name="T24" fmla="*/ 123628 w 452"/>
              <a:gd name="T25" fmla="*/ 135490 h 462"/>
              <a:gd name="T26" fmla="*/ 135317 w 452"/>
              <a:gd name="T27" fmla="*/ 67520 h 462"/>
              <a:gd name="T28" fmla="*/ 135317 w 452"/>
              <a:gd name="T29" fmla="*/ 67520 h 462"/>
              <a:gd name="T30" fmla="*/ 135317 w 452"/>
              <a:gd name="T31" fmla="*/ 43663 h 462"/>
              <a:gd name="T32" fmla="*/ 159143 w 452"/>
              <a:gd name="T33" fmla="*/ 43663 h 462"/>
              <a:gd name="T34" fmla="*/ 159143 w 452"/>
              <a:gd name="T35" fmla="*/ 67520 h 462"/>
              <a:gd name="T36" fmla="*/ 135317 w 452"/>
              <a:gd name="T37" fmla="*/ 67520 h 46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52" h="462">
                <a:moveTo>
                  <a:pt x="275" y="301"/>
                </a:moveTo>
                <a:lnTo>
                  <a:pt x="275" y="301"/>
                </a:lnTo>
                <a:cubicBezTo>
                  <a:pt x="275" y="301"/>
                  <a:pt x="451" y="169"/>
                  <a:pt x="434" y="26"/>
                </a:cubicBezTo>
                <a:lnTo>
                  <a:pt x="434" y="18"/>
                </a:lnTo>
                <a:cubicBezTo>
                  <a:pt x="425" y="18"/>
                  <a:pt x="425" y="18"/>
                  <a:pt x="425" y="18"/>
                </a:cubicBezTo>
                <a:cubicBezTo>
                  <a:pt x="284" y="0"/>
                  <a:pt x="159" y="178"/>
                  <a:pt x="159" y="178"/>
                </a:cubicBezTo>
                <a:cubicBezTo>
                  <a:pt x="53" y="159"/>
                  <a:pt x="62" y="186"/>
                  <a:pt x="9" y="301"/>
                </a:cubicBezTo>
                <a:cubicBezTo>
                  <a:pt x="0" y="328"/>
                  <a:pt x="18" y="328"/>
                  <a:pt x="35" y="328"/>
                </a:cubicBezTo>
                <a:cubicBezTo>
                  <a:pt x="53" y="319"/>
                  <a:pt x="88" y="310"/>
                  <a:pt x="88" y="310"/>
                </a:cubicBezTo>
                <a:cubicBezTo>
                  <a:pt x="151" y="372"/>
                  <a:pt x="151" y="372"/>
                  <a:pt x="151" y="372"/>
                </a:cubicBezTo>
                <a:cubicBezTo>
                  <a:pt x="151" y="372"/>
                  <a:pt x="141" y="407"/>
                  <a:pt x="133" y="425"/>
                </a:cubicBezTo>
                <a:cubicBezTo>
                  <a:pt x="124" y="443"/>
                  <a:pt x="133" y="461"/>
                  <a:pt x="151" y="452"/>
                </a:cubicBezTo>
                <a:cubicBezTo>
                  <a:pt x="266" y="398"/>
                  <a:pt x="292" y="407"/>
                  <a:pt x="275" y="301"/>
                </a:cubicBezTo>
                <a:close/>
                <a:moveTo>
                  <a:pt x="301" y="150"/>
                </a:moveTo>
                <a:lnTo>
                  <a:pt x="301" y="150"/>
                </a:lnTo>
                <a:cubicBezTo>
                  <a:pt x="284" y="133"/>
                  <a:pt x="284" y="115"/>
                  <a:pt x="301" y="97"/>
                </a:cubicBezTo>
                <a:cubicBezTo>
                  <a:pt x="319" y="80"/>
                  <a:pt x="345" y="80"/>
                  <a:pt x="354" y="97"/>
                </a:cubicBezTo>
                <a:cubicBezTo>
                  <a:pt x="372" y="115"/>
                  <a:pt x="372" y="133"/>
                  <a:pt x="354" y="150"/>
                </a:cubicBezTo>
                <a:cubicBezTo>
                  <a:pt x="345" y="169"/>
                  <a:pt x="319" y="169"/>
                  <a:pt x="301" y="150"/>
                </a:cubicBezTo>
                <a:close/>
              </a:path>
            </a:pathLst>
          </a:custGeom>
          <a:gradFill>
            <a:gsLst>
              <a:gs pos="2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21431" tIns="10716" rIns="21431" bIns="10716" anchor="ctr"/>
          <a:lstStyle/>
          <a:p>
            <a:endParaRPr lang="en-US" sz="1125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68" name="Text Placeholder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8E7386A1-FE96-44EF-8360-E8D385E86EEC}"/>
              </a:ext>
            </a:extLst>
          </p:cNvPr>
          <p:cNvSpPr txBox="1">
            <a:spLocks/>
          </p:cNvSpPr>
          <p:nvPr/>
        </p:nvSpPr>
        <p:spPr>
          <a:xfrm>
            <a:off x="1108091" y="1905809"/>
            <a:ext cx="3209076" cy="120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80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Process </a:t>
            </a:r>
            <a:r>
              <a:rPr lang="en-US" dirty="0">
                <a:solidFill>
                  <a:schemeClr val="tx2"/>
                </a:solidFill>
              </a:rPr>
              <a:t>Infographic</a:t>
            </a:r>
            <a:endParaRPr lang="id-ID" dirty="0">
              <a:solidFill>
                <a:schemeClr val="tx2"/>
              </a:solidFill>
            </a:endParaRPr>
          </a:p>
        </p:txBody>
      </p:sp>
      <p:grpSp>
        <p:nvGrpSpPr>
          <p:cNvPr id="71" name="Group 7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A7E07F30-14BE-4727-98C9-4168BE57DE56}"/>
              </a:ext>
            </a:extLst>
          </p:cNvPr>
          <p:cNvGrpSpPr/>
          <p:nvPr/>
        </p:nvGrpSpPr>
        <p:grpSpPr>
          <a:xfrm>
            <a:off x="1242545" y="3172420"/>
            <a:ext cx="451293" cy="94511"/>
            <a:chOff x="1464244" y="3674277"/>
            <a:chExt cx="1830619" cy="383373"/>
          </a:xfrm>
        </p:grpSpPr>
        <p:sp>
          <p:nvSpPr>
            <p:cNvPr id="72" name="Arc 71">
              <a:extLst>
                <a:ext uri="{FF2B5EF4-FFF2-40B4-BE49-F238E27FC236}">
                  <a16:creationId xmlns:a16="http://schemas.microsoft.com/office/drawing/2014/main" id="{04960081-F253-472D-BF96-3827B5BA2055}"/>
                </a:ext>
              </a:extLst>
            </p:cNvPr>
            <p:cNvSpPr/>
            <p:nvPr/>
          </p:nvSpPr>
          <p:spPr>
            <a:xfrm>
              <a:off x="2911491" y="3674277"/>
              <a:ext cx="383372" cy="383373"/>
            </a:xfrm>
            <a:prstGeom prst="arc">
              <a:avLst>
                <a:gd name="adj1" fmla="val 16200000"/>
                <a:gd name="adj2" fmla="val 5435974"/>
              </a:avLst>
            </a:prstGeom>
            <a:ln w="31750" cap="rnd"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d-ID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73" name="Arc 72">
              <a:extLst>
                <a:ext uri="{FF2B5EF4-FFF2-40B4-BE49-F238E27FC236}">
                  <a16:creationId xmlns:a16="http://schemas.microsoft.com/office/drawing/2014/main" id="{463C7C76-6A1C-4FB1-A1CA-ADEEE3CBFECD}"/>
                </a:ext>
              </a:extLst>
            </p:cNvPr>
            <p:cNvSpPr/>
            <p:nvPr/>
          </p:nvSpPr>
          <p:spPr>
            <a:xfrm>
              <a:off x="2187866" y="3674277"/>
              <a:ext cx="383372" cy="383373"/>
            </a:xfrm>
            <a:prstGeom prst="arc">
              <a:avLst>
                <a:gd name="adj1" fmla="val 16200000"/>
                <a:gd name="adj2" fmla="val 5435974"/>
              </a:avLst>
            </a:prstGeom>
            <a:ln w="31750" cap="rnd">
              <a:solidFill>
                <a:schemeClr val="accent1">
                  <a:alpha val="2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d-ID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  <p:sp>
          <p:nvSpPr>
            <p:cNvPr id="74" name="Arc 73">
              <a:extLst>
                <a:ext uri="{FF2B5EF4-FFF2-40B4-BE49-F238E27FC236}">
                  <a16:creationId xmlns:a16="http://schemas.microsoft.com/office/drawing/2014/main" id="{4F57D879-CC68-41CE-978A-010549855CC3}"/>
                </a:ext>
              </a:extLst>
            </p:cNvPr>
            <p:cNvSpPr/>
            <p:nvPr/>
          </p:nvSpPr>
          <p:spPr>
            <a:xfrm>
              <a:off x="1464244" y="3674277"/>
              <a:ext cx="383372" cy="383373"/>
            </a:xfrm>
            <a:prstGeom prst="arc">
              <a:avLst>
                <a:gd name="adj1" fmla="val 16200000"/>
                <a:gd name="adj2" fmla="val 5435974"/>
              </a:avLst>
            </a:prstGeom>
            <a:ln w="31750" cap="rnd">
              <a:solidFill>
                <a:schemeClr val="accent1">
                  <a:alpha val="1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d-ID" sz="1125"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75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1174957" y="3602021"/>
            <a:ext cx="2707496" cy="1523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76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>
            <a:extLst>
              <a:ext uri="{FF2B5EF4-FFF2-40B4-BE49-F238E27FC236}">
                <a16:creationId xmlns:a16="http://schemas.microsoft.com/office/drawing/2014/main" id="{ACFE4B90-E753-469A-A320-B7FC6527FECC}"/>
              </a:ext>
            </a:extLst>
          </p:cNvPr>
          <p:cNvSpPr/>
          <p:nvPr/>
        </p:nvSpPr>
        <p:spPr>
          <a:xfrm>
            <a:off x="1108823" y="5464529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  <a:tileRect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/>
              <a:t>Read Here</a:t>
            </a:r>
          </a:p>
        </p:txBody>
      </p:sp>
      <p:sp>
        <p:nvSpPr>
          <p:cNvPr id="22" name="e7d195523061f1c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 hidden="1"/>
          <p:cNvSpPr txBox="1"/>
          <p:nvPr/>
        </p:nvSpPr>
        <p:spPr>
          <a:xfrm>
            <a:off x="-355600" y="1803400"/>
            <a:ext cx="329642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2754097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9" name="Group 69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 rot="10800000" flipH="1">
            <a:off x="7829550" y="2345420"/>
            <a:ext cx="869837" cy="772431"/>
            <a:chOff x="0" y="0"/>
            <a:chExt cx="1739673" cy="1544860"/>
          </a:xfrm>
        </p:grpSpPr>
        <p:sp>
          <p:nvSpPr>
            <p:cNvPr id="686" name="Shape 686"/>
            <p:cNvSpPr/>
            <p:nvPr/>
          </p:nvSpPr>
          <p:spPr>
            <a:xfrm>
              <a:off x="0" y="0"/>
              <a:ext cx="1739674" cy="15448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9847"/>
                  </a:moveTo>
                  <a:lnTo>
                    <a:pt x="1796" y="20374"/>
                  </a:lnTo>
                  <a:cubicBezTo>
                    <a:pt x="1796" y="20374"/>
                    <a:pt x="3515" y="20662"/>
                    <a:pt x="3610" y="20764"/>
                  </a:cubicBezTo>
                  <a:cubicBezTo>
                    <a:pt x="3704" y="20865"/>
                    <a:pt x="5402" y="20971"/>
                    <a:pt x="5402" y="20971"/>
                  </a:cubicBezTo>
                  <a:cubicBezTo>
                    <a:pt x="5402" y="20971"/>
                    <a:pt x="6612" y="21078"/>
                    <a:pt x="6708" y="21078"/>
                  </a:cubicBezTo>
                  <a:cubicBezTo>
                    <a:pt x="6804" y="21078"/>
                    <a:pt x="8782" y="21219"/>
                    <a:pt x="8782" y="21219"/>
                  </a:cubicBezTo>
                  <a:lnTo>
                    <a:pt x="9857" y="21529"/>
                  </a:lnTo>
                  <a:lnTo>
                    <a:pt x="10574" y="21600"/>
                  </a:lnTo>
                  <a:lnTo>
                    <a:pt x="14169" y="21356"/>
                  </a:lnTo>
                  <a:lnTo>
                    <a:pt x="15332" y="21144"/>
                  </a:lnTo>
                  <a:cubicBezTo>
                    <a:pt x="15332" y="21144"/>
                    <a:pt x="16084" y="20932"/>
                    <a:pt x="16213" y="20932"/>
                  </a:cubicBezTo>
                  <a:cubicBezTo>
                    <a:pt x="16342" y="20932"/>
                    <a:pt x="17466" y="20932"/>
                    <a:pt x="17466" y="20932"/>
                  </a:cubicBezTo>
                  <a:cubicBezTo>
                    <a:pt x="17466" y="20932"/>
                    <a:pt x="18449" y="21034"/>
                    <a:pt x="18578" y="20932"/>
                  </a:cubicBezTo>
                  <a:cubicBezTo>
                    <a:pt x="18707" y="20830"/>
                    <a:pt x="19606" y="20826"/>
                    <a:pt x="19688" y="20724"/>
                  </a:cubicBezTo>
                  <a:cubicBezTo>
                    <a:pt x="19769" y="20622"/>
                    <a:pt x="20916" y="20551"/>
                    <a:pt x="20916" y="20551"/>
                  </a:cubicBezTo>
                  <a:lnTo>
                    <a:pt x="21600" y="20232"/>
                  </a:lnTo>
                  <a:lnTo>
                    <a:pt x="21354" y="18157"/>
                  </a:lnTo>
                  <a:cubicBezTo>
                    <a:pt x="21354" y="18157"/>
                    <a:pt x="21094" y="16985"/>
                    <a:pt x="21000" y="16299"/>
                  </a:cubicBezTo>
                  <a:cubicBezTo>
                    <a:pt x="20906" y="15612"/>
                    <a:pt x="20418" y="14559"/>
                    <a:pt x="20418" y="14559"/>
                  </a:cubicBezTo>
                  <a:lnTo>
                    <a:pt x="19800" y="14134"/>
                  </a:lnTo>
                  <a:lnTo>
                    <a:pt x="19543" y="14343"/>
                  </a:lnTo>
                  <a:lnTo>
                    <a:pt x="19072" y="13930"/>
                  </a:lnTo>
                  <a:lnTo>
                    <a:pt x="18290" y="13718"/>
                  </a:lnTo>
                  <a:lnTo>
                    <a:pt x="17870" y="12700"/>
                  </a:lnTo>
                  <a:lnTo>
                    <a:pt x="17151" y="12382"/>
                  </a:lnTo>
                  <a:lnTo>
                    <a:pt x="16637" y="11408"/>
                  </a:lnTo>
                  <a:lnTo>
                    <a:pt x="15904" y="11514"/>
                  </a:lnTo>
                  <a:lnTo>
                    <a:pt x="15562" y="10328"/>
                  </a:lnTo>
                  <a:lnTo>
                    <a:pt x="15243" y="9841"/>
                  </a:lnTo>
                  <a:lnTo>
                    <a:pt x="14491" y="6253"/>
                  </a:lnTo>
                  <a:lnTo>
                    <a:pt x="14002" y="6358"/>
                  </a:lnTo>
                  <a:lnTo>
                    <a:pt x="13662" y="4823"/>
                  </a:lnTo>
                  <a:lnTo>
                    <a:pt x="12858" y="3840"/>
                  </a:lnTo>
                  <a:lnTo>
                    <a:pt x="12275" y="4752"/>
                  </a:lnTo>
                  <a:lnTo>
                    <a:pt x="11967" y="4858"/>
                  </a:lnTo>
                  <a:lnTo>
                    <a:pt x="11740" y="2385"/>
                  </a:lnTo>
                  <a:lnTo>
                    <a:pt x="10943" y="1960"/>
                  </a:lnTo>
                  <a:lnTo>
                    <a:pt x="10315" y="739"/>
                  </a:lnTo>
                  <a:lnTo>
                    <a:pt x="9612" y="0"/>
                  </a:lnTo>
                  <a:cubicBezTo>
                    <a:pt x="9612" y="0"/>
                    <a:pt x="9090" y="106"/>
                    <a:pt x="9008" y="212"/>
                  </a:cubicBezTo>
                  <a:cubicBezTo>
                    <a:pt x="8926" y="319"/>
                    <a:pt x="8603" y="810"/>
                    <a:pt x="8603" y="810"/>
                  </a:cubicBezTo>
                  <a:lnTo>
                    <a:pt x="7955" y="1124"/>
                  </a:lnTo>
                  <a:lnTo>
                    <a:pt x="6981" y="2362"/>
                  </a:lnTo>
                  <a:lnTo>
                    <a:pt x="6493" y="3876"/>
                  </a:lnTo>
                  <a:lnTo>
                    <a:pt x="5877" y="4398"/>
                  </a:lnTo>
                  <a:lnTo>
                    <a:pt x="5571" y="4154"/>
                  </a:lnTo>
                  <a:lnTo>
                    <a:pt x="5168" y="4469"/>
                  </a:lnTo>
                  <a:lnTo>
                    <a:pt x="4513" y="8919"/>
                  </a:lnTo>
                  <a:lnTo>
                    <a:pt x="4275" y="10220"/>
                  </a:lnTo>
                  <a:lnTo>
                    <a:pt x="3835" y="10605"/>
                  </a:lnTo>
                  <a:lnTo>
                    <a:pt x="3362" y="10181"/>
                  </a:lnTo>
                  <a:lnTo>
                    <a:pt x="3022" y="10181"/>
                  </a:lnTo>
                  <a:lnTo>
                    <a:pt x="2454" y="10464"/>
                  </a:lnTo>
                  <a:lnTo>
                    <a:pt x="2227" y="10955"/>
                  </a:lnTo>
                  <a:lnTo>
                    <a:pt x="1932" y="11729"/>
                  </a:lnTo>
                  <a:lnTo>
                    <a:pt x="1592" y="12637"/>
                  </a:lnTo>
                  <a:lnTo>
                    <a:pt x="73" y="18463"/>
                  </a:lnTo>
                  <a:lnTo>
                    <a:pt x="0" y="19847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687" name="Shape 687"/>
            <p:cNvSpPr/>
            <p:nvPr/>
          </p:nvSpPr>
          <p:spPr>
            <a:xfrm>
              <a:off x="1217" y="350977"/>
              <a:ext cx="803717" cy="11502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77" y="21600"/>
                  </a:moveTo>
                  <a:cubicBezTo>
                    <a:pt x="21277" y="21600"/>
                    <a:pt x="5549" y="20459"/>
                    <a:pt x="3142" y="19936"/>
                  </a:cubicBezTo>
                  <a:cubicBezTo>
                    <a:pt x="736" y="19414"/>
                    <a:pt x="0" y="19271"/>
                    <a:pt x="0" y="19271"/>
                  </a:cubicBezTo>
                  <a:cubicBezTo>
                    <a:pt x="0" y="19271"/>
                    <a:pt x="1364" y="18113"/>
                    <a:pt x="1875" y="17839"/>
                  </a:cubicBezTo>
                  <a:cubicBezTo>
                    <a:pt x="2385" y="17566"/>
                    <a:pt x="3763" y="15813"/>
                    <a:pt x="3763" y="15813"/>
                  </a:cubicBezTo>
                  <a:lnTo>
                    <a:pt x="4606" y="13727"/>
                  </a:lnTo>
                  <a:lnTo>
                    <a:pt x="3941" y="13067"/>
                  </a:lnTo>
                  <a:cubicBezTo>
                    <a:pt x="3941" y="13067"/>
                    <a:pt x="2385" y="15349"/>
                    <a:pt x="2177" y="15628"/>
                  </a:cubicBezTo>
                  <a:cubicBezTo>
                    <a:pt x="1968" y="15907"/>
                    <a:pt x="763" y="17185"/>
                    <a:pt x="763" y="17185"/>
                  </a:cubicBezTo>
                  <a:lnTo>
                    <a:pt x="3099" y="12729"/>
                  </a:lnTo>
                  <a:cubicBezTo>
                    <a:pt x="3099" y="12729"/>
                    <a:pt x="3692" y="11345"/>
                    <a:pt x="3799" y="11065"/>
                  </a:cubicBezTo>
                  <a:cubicBezTo>
                    <a:pt x="3905" y="10786"/>
                    <a:pt x="4535" y="9598"/>
                    <a:pt x="4535" y="9598"/>
                  </a:cubicBezTo>
                  <a:lnTo>
                    <a:pt x="5019" y="10014"/>
                  </a:lnTo>
                  <a:lnTo>
                    <a:pt x="5444" y="8927"/>
                  </a:lnTo>
                  <a:lnTo>
                    <a:pt x="6073" y="9444"/>
                  </a:lnTo>
                  <a:lnTo>
                    <a:pt x="6486" y="8641"/>
                  </a:lnTo>
                  <a:lnTo>
                    <a:pt x="6805" y="9866"/>
                  </a:lnTo>
                  <a:cubicBezTo>
                    <a:pt x="6805" y="9866"/>
                    <a:pt x="5710" y="11559"/>
                    <a:pt x="5604" y="11934"/>
                  </a:cubicBezTo>
                  <a:cubicBezTo>
                    <a:pt x="5498" y="12309"/>
                    <a:pt x="5710" y="13575"/>
                    <a:pt x="5710" y="13575"/>
                  </a:cubicBezTo>
                  <a:lnTo>
                    <a:pt x="6588" y="13480"/>
                  </a:lnTo>
                  <a:lnTo>
                    <a:pt x="6783" y="11310"/>
                  </a:lnTo>
                  <a:lnTo>
                    <a:pt x="7762" y="11168"/>
                  </a:lnTo>
                  <a:lnTo>
                    <a:pt x="8676" y="11917"/>
                  </a:lnTo>
                  <a:lnTo>
                    <a:pt x="9101" y="10556"/>
                  </a:lnTo>
                  <a:lnTo>
                    <a:pt x="9341" y="9449"/>
                  </a:lnTo>
                  <a:cubicBezTo>
                    <a:pt x="9341" y="9449"/>
                    <a:pt x="10502" y="9883"/>
                    <a:pt x="10502" y="10156"/>
                  </a:cubicBezTo>
                  <a:cubicBezTo>
                    <a:pt x="10502" y="10430"/>
                    <a:pt x="9119" y="12290"/>
                    <a:pt x="8942" y="12664"/>
                  </a:cubicBezTo>
                  <a:cubicBezTo>
                    <a:pt x="8765" y="13039"/>
                    <a:pt x="8340" y="13752"/>
                    <a:pt x="8340" y="14311"/>
                  </a:cubicBezTo>
                  <a:cubicBezTo>
                    <a:pt x="8340" y="14869"/>
                    <a:pt x="8690" y="15154"/>
                    <a:pt x="8690" y="15154"/>
                  </a:cubicBezTo>
                  <a:lnTo>
                    <a:pt x="9962" y="12706"/>
                  </a:lnTo>
                  <a:lnTo>
                    <a:pt x="10871" y="11951"/>
                  </a:lnTo>
                  <a:cubicBezTo>
                    <a:pt x="10871" y="11951"/>
                    <a:pt x="11261" y="11655"/>
                    <a:pt x="11363" y="11381"/>
                  </a:cubicBezTo>
                  <a:cubicBezTo>
                    <a:pt x="11465" y="11107"/>
                    <a:pt x="12383" y="10067"/>
                    <a:pt x="12383" y="10067"/>
                  </a:cubicBezTo>
                  <a:lnTo>
                    <a:pt x="13513" y="7951"/>
                  </a:lnTo>
                  <a:cubicBezTo>
                    <a:pt x="13513" y="7951"/>
                    <a:pt x="13895" y="7143"/>
                    <a:pt x="13615" y="7143"/>
                  </a:cubicBezTo>
                  <a:cubicBezTo>
                    <a:pt x="13335" y="7143"/>
                    <a:pt x="11780" y="7001"/>
                    <a:pt x="11780" y="7001"/>
                  </a:cubicBezTo>
                  <a:lnTo>
                    <a:pt x="9905" y="6858"/>
                  </a:lnTo>
                  <a:cubicBezTo>
                    <a:pt x="9905" y="6858"/>
                    <a:pt x="10579" y="1214"/>
                    <a:pt x="11177" y="607"/>
                  </a:cubicBezTo>
                  <a:cubicBezTo>
                    <a:pt x="11776" y="0"/>
                    <a:pt x="12051" y="0"/>
                    <a:pt x="12051" y="0"/>
                  </a:cubicBezTo>
                  <a:lnTo>
                    <a:pt x="11838" y="1213"/>
                  </a:lnTo>
                  <a:lnTo>
                    <a:pt x="12259" y="1629"/>
                  </a:lnTo>
                  <a:lnTo>
                    <a:pt x="12751" y="1107"/>
                  </a:lnTo>
                  <a:lnTo>
                    <a:pt x="13177" y="114"/>
                  </a:lnTo>
                  <a:lnTo>
                    <a:pt x="13696" y="399"/>
                  </a:lnTo>
                  <a:lnTo>
                    <a:pt x="14507" y="263"/>
                  </a:lnTo>
                  <a:lnTo>
                    <a:pt x="13881" y="1565"/>
                  </a:lnTo>
                  <a:lnTo>
                    <a:pt x="14369" y="1939"/>
                  </a:lnTo>
                  <a:lnTo>
                    <a:pt x="14157" y="3027"/>
                  </a:lnTo>
                  <a:lnTo>
                    <a:pt x="13452" y="3918"/>
                  </a:lnTo>
                  <a:lnTo>
                    <a:pt x="13554" y="5054"/>
                  </a:lnTo>
                  <a:lnTo>
                    <a:pt x="14073" y="4769"/>
                  </a:lnTo>
                  <a:lnTo>
                    <a:pt x="14774" y="3206"/>
                  </a:lnTo>
                  <a:lnTo>
                    <a:pt x="15053" y="4383"/>
                  </a:lnTo>
                  <a:lnTo>
                    <a:pt x="14521" y="6510"/>
                  </a:lnTo>
                  <a:lnTo>
                    <a:pt x="13435" y="9482"/>
                  </a:lnTo>
                  <a:lnTo>
                    <a:pt x="13151" y="11122"/>
                  </a:lnTo>
                  <a:lnTo>
                    <a:pt x="13045" y="12875"/>
                  </a:lnTo>
                  <a:lnTo>
                    <a:pt x="14774" y="11788"/>
                  </a:lnTo>
                  <a:lnTo>
                    <a:pt x="14774" y="10659"/>
                  </a:lnTo>
                  <a:lnTo>
                    <a:pt x="15341" y="8995"/>
                  </a:lnTo>
                  <a:lnTo>
                    <a:pt x="16041" y="8097"/>
                  </a:lnTo>
                  <a:lnTo>
                    <a:pt x="16321" y="7105"/>
                  </a:lnTo>
                  <a:lnTo>
                    <a:pt x="17451" y="5839"/>
                  </a:lnTo>
                  <a:lnTo>
                    <a:pt x="18404" y="6831"/>
                  </a:lnTo>
                  <a:cubicBezTo>
                    <a:pt x="18404" y="6831"/>
                    <a:pt x="18931" y="8447"/>
                    <a:pt x="18829" y="8864"/>
                  </a:cubicBezTo>
                  <a:cubicBezTo>
                    <a:pt x="18727" y="9280"/>
                    <a:pt x="18231" y="10314"/>
                    <a:pt x="18231" y="10314"/>
                  </a:cubicBezTo>
                  <a:cubicBezTo>
                    <a:pt x="18231" y="10314"/>
                    <a:pt x="18443" y="11544"/>
                    <a:pt x="18443" y="11824"/>
                  </a:cubicBezTo>
                  <a:cubicBezTo>
                    <a:pt x="18443" y="12103"/>
                    <a:pt x="18337" y="13417"/>
                    <a:pt x="18337" y="13417"/>
                  </a:cubicBezTo>
                  <a:lnTo>
                    <a:pt x="18762" y="14451"/>
                  </a:lnTo>
                  <a:lnTo>
                    <a:pt x="19081" y="15824"/>
                  </a:lnTo>
                  <a:lnTo>
                    <a:pt x="19959" y="15729"/>
                  </a:lnTo>
                  <a:lnTo>
                    <a:pt x="19959" y="14505"/>
                  </a:lnTo>
                  <a:cubicBezTo>
                    <a:pt x="19959" y="14505"/>
                    <a:pt x="19006" y="13216"/>
                    <a:pt x="19006" y="12942"/>
                  </a:cubicBezTo>
                  <a:cubicBezTo>
                    <a:pt x="19006" y="12668"/>
                    <a:pt x="19499" y="12383"/>
                    <a:pt x="19499" y="12383"/>
                  </a:cubicBezTo>
                  <a:cubicBezTo>
                    <a:pt x="19499" y="12383"/>
                    <a:pt x="20261" y="11592"/>
                    <a:pt x="19880" y="11497"/>
                  </a:cubicBezTo>
                  <a:cubicBezTo>
                    <a:pt x="19499" y="11402"/>
                    <a:pt x="18789" y="10868"/>
                    <a:pt x="18789" y="10594"/>
                  </a:cubicBezTo>
                  <a:cubicBezTo>
                    <a:pt x="18789" y="10320"/>
                    <a:pt x="19742" y="9755"/>
                    <a:pt x="19742" y="9755"/>
                  </a:cubicBezTo>
                  <a:lnTo>
                    <a:pt x="20682" y="10320"/>
                  </a:lnTo>
                  <a:lnTo>
                    <a:pt x="21139" y="9666"/>
                  </a:lnTo>
                  <a:lnTo>
                    <a:pt x="21210" y="13558"/>
                  </a:lnTo>
                  <a:cubicBezTo>
                    <a:pt x="21210" y="13558"/>
                    <a:pt x="21600" y="16219"/>
                    <a:pt x="21600" y="16499"/>
                  </a:cubicBezTo>
                  <a:cubicBezTo>
                    <a:pt x="21600" y="16778"/>
                    <a:pt x="21600" y="20385"/>
                    <a:pt x="21600" y="20385"/>
                  </a:cubicBezTo>
                  <a:lnTo>
                    <a:pt x="21277" y="21600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688" name="Shape 688"/>
            <p:cNvSpPr/>
            <p:nvPr/>
          </p:nvSpPr>
          <p:spPr>
            <a:xfrm>
              <a:off x="781456" y="140692"/>
              <a:ext cx="96982" cy="5433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14" y="0"/>
                  </a:moveTo>
                  <a:lnTo>
                    <a:pt x="12196" y="5397"/>
                  </a:lnTo>
                  <a:lnTo>
                    <a:pt x="16312" y="8504"/>
                  </a:lnTo>
                  <a:lnTo>
                    <a:pt x="21600" y="12014"/>
                  </a:lnTo>
                  <a:lnTo>
                    <a:pt x="21600" y="16014"/>
                  </a:lnTo>
                  <a:lnTo>
                    <a:pt x="16312" y="19523"/>
                  </a:lnTo>
                  <a:lnTo>
                    <a:pt x="11645" y="21600"/>
                  </a:lnTo>
                  <a:lnTo>
                    <a:pt x="9037" y="19813"/>
                  </a:lnTo>
                  <a:lnTo>
                    <a:pt x="14289" y="16002"/>
                  </a:lnTo>
                  <a:cubicBezTo>
                    <a:pt x="14289" y="16002"/>
                    <a:pt x="15171" y="13977"/>
                    <a:pt x="15171" y="13386"/>
                  </a:cubicBezTo>
                  <a:cubicBezTo>
                    <a:pt x="15171" y="12795"/>
                    <a:pt x="12563" y="11586"/>
                    <a:pt x="12563" y="10995"/>
                  </a:cubicBezTo>
                  <a:cubicBezTo>
                    <a:pt x="12563" y="10404"/>
                    <a:pt x="4958" y="10493"/>
                    <a:pt x="4958" y="8291"/>
                  </a:cubicBezTo>
                  <a:cubicBezTo>
                    <a:pt x="4958" y="6090"/>
                    <a:pt x="4079" y="4693"/>
                    <a:pt x="4079" y="4693"/>
                  </a:cubicBezTo>
                  <a:lnTo>
                    <a:pt x="0" y="1611"/>
                  </a:lnTo>
                  <a:lnTo>
                    <a:pt x="2314" y="0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689" name="Shape 689"/>
            <p:cNvSpPr/>
            <p:nvPr/>
          </p:nvSpPr>
          <p:spPr>
            <a:xfrm>
              <a:off x="765309" y="441612"/>
              <a:ext cx="52447" cy="2496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28" y="655"/>
                  </a:moveTo>
                  <a:lnTo>
                    <a:pt x="21600" y="0"/>
                  </a:lnTo>
                  <a:lnTo>
                    <a:pt x="21600" y="6954"/>
                  </a:lnTo>
                  <a:lnTo>
                    <a:pt x="13997" y="21600"/>
                  </a:lnTo>
                  <a:lnTo>
                    <a:pt x="0" y="17851"/>
                  </a:lnTo>
                  <a:lnTo>
                    <a:pt x="1626" y="2821"/>
                  </a:lnTo>
                  <a:lnTo>
                    <a:pt x="5366" y="13251"/>
                  </a:lnTo>
                  <a:lnTo>
                    <a:pt x="11210" y="7225"/>
                  </a:lnTo>
                  <a:lnTo>
                    <a:pt x="10928" y="655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690" name="Shape 690"/>
            <p:cNvSpPr/>
            <p:nvPr/>
          </p:nvSpPr>
          <p:spPr>
            <a:xfrm>
              <a:off x="660523" y="79871"/>
              <a:ext cx="61513" cy="349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78" y="0"/>
                  </a:moveTo>
                  <a:lnTo>
                    <a:pt x="13893" y="7460"/>
                  </a:lnTo>
                  <a:lnTo>
                    <a:pt x="12501" y="12279"/>
                  </a:lnTo>
                  <a:lnTo>
                    <a:pt x="20266" y="14434"/>
                  </a:lnTo>
                  <a:lnTo>
                    <a:pt x="21600" y="21600"/>
                  </a:lnTo>
                  <a:lnTo>
                    <a:pt x="11412" y="17565"/>
                  </a:lnTo>
                  <a:lnTo>
                    <a:pt x="3075" y="12260"/>
                  </a:lnTo>
                  <a:lnTo>
                    <a:pt x="7243" y="7737"/>
                  </a:lnTo>
                  <a:lnTo>
                    <a:pt x="0" y="4974"/>
                  </a:lnTo>
                  <a:lnTo>
                    <a:pt x="4278" y="0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691" name="Shape 691"/>
            <p:cNvSpPr/>
            <p:nvPr/>
          </p:nvSpPr>
          <p:spPr>
            <a:xfrm>
              <a:off x="546906" y="157920"/>
              <a:ext cx="186260" cy="492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86" y="4859"/>
                  </a:moveTo>
                  <a:lnTo>
                    <a:pt x="6884" y="0"/>
                  </a:lnTo>
                  <a:lnTo>
                    <a:pt x="9754" y="5387"/>
                  </a:lnTo>
                  <a:lnTo>
                    <a:pt x="9295" y="10037"/>
                  </a:lnTo>
                  <a:lnTo>
                    <a:pt x="11895" y="12022"/>
                  </a:lnTo>
                  <a:lnTo>
                    <a:pt x="14136" y="8150"/>
                  </a:lnTo>
                  <a:lnTo>
                    <a:pt x="16394" y="11217"/>
                  </a:lnTo>
                  <a:lnTo>
                    <a:pt x="16394" y="14522"/>
                  </a:lnTo>
                  <a:lnTo>
                    <a:pt x="19361" y="14842"/>
                  </a:lnTo>
                  <a:lnTo>
                    <a:pt x="21600" y="14189"/>
                  </a:lnTo>
                  <a:lnTo>
                    <a:pt x="21600" y="18922"/>
                  </a:lnTo>
                  <a:lnTo>
                    <a:pt x="20666" y="21600"/>
                  </a:lnTo>
                  <a:lnTo>
                    <a:pt x="16571" y="19713"/>
                  </a:lnTo>
                  <a:lnTo>
                    <a:pt x="12764" y="15104"/>
                  </a:lnTo>
                  <a:lnTo>
                    <a:pt x="9032" y="12590"/>
                  </a:lnTo>
                  <a:lnTo>
                    <a:pt x="5856" y="8659"/>
                  </a:lnTo>
                  <a:lnTo>
                    <a:pt x="900" y="7451"/>
                  </a:lnTo>
                  <a:lnTo>
                    <a:pt x="0" y="3691"/>
                  </a:lnTo>
                  <a:lnTo>
                    <a:pt x="2564" y="1065"/>
                  </a:lnTo>
                  <a:lnTo>
                    <a:pt x="5986" y="4859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692" name="Shape 692"/>
            <p:cNvSpPr/>
            <p:nvPr/>
          </p:nvSpPr>
          <p:spPr>
            <a:xfrm>
              <a:off x="559787" y="402117"/>
              <a:ext cx="86119" cy="3088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211" y="2479"/>
                  </a:lnTo>
                  <a:lnTo>
                    <a:pt x="17707" y="8610"/>
                  </a:lnTo>
                  <a:lnTo>
                    <a:pt x="21600" y="13835"/>
                  </a:lnTo>
                  <a:lnTo>
                    <a:pt x="15023" y="16821"/>
                  </a:lnTo>
                  <a:lnTo>
                    <a:pt x="7452" y="21600"/>
                  </a:lnTo>
                  <a:lnTo>
                    <a:pt x="7452" y="15979"/>
                  </a:lnTo>
                  <a:lnTo>
                    <a:pt x="11673" y="13231"/>
                  </a:lnTo>
                  <a:lnTo>
                    <a:pt x="10020" y="6302"/>
                  </a:lnTo>
                  <a:lnTo>
                    <a:pt x="2278" y="38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693" name="Shape 693"/>
            <p:cNvSpPr/>
            <p:nvPr/>
          </p:nvSpPr>
          <p:spPr>
            <a:xfrm>
              <a:off x="988981" y="300064"/>
              <a:ext cx="64155" cy="2724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24" y="0"/>
                  </a:moveTo>
                  <a:lnTo>
                    <a:pt x="21600" y="9985"/>
                  </a:lnTo>
                  <a:lnTo>
                    <a:pt x="17603" y="21600"/>
                  </a:lnTo>
                  <a:lnTo>
                    <a:pt x="12277" y="12121"/>
                  </a:lnTo>
                  <a:lnTo>
                    <a:pt x="6056" y="20124"/>
                  </a:lnTo>
                  <a:lnTo>
                    <a:pt x="2168" y="16986"/>
                  </a:lnTo>
                  <a:lnTo>
                    <a:pt x="0" y="5371"/>
                  </a:lnTo>
                  <a:lnTo>
                    <a:pt x="7780" y="7554"/>
                  </a:lnTo>
                  <a:lnTo>
                    <a:pt x="16324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694" name="Shape 694"/>
            <p:cNvSpPr/>
            <p:nvPr/>
          </p:nvSpPr>
          <p:spPr>
            <a:xfrm>
              <a:off x="990391" y="684501"/>
              <a:ext cx="34949" cy="10122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589" h="21600" extrusionOk="0">
                  <a:moveTo>
                    <a:pt x="5796" y="0"/>
                  </a:moveTo>
                  <a:cubicBezTo>
                    <a:pt x="5796" y="0"/>
                    <a:pt x="-4011" y="16745"/>
                    <a:pt x="1889" y="18362"/>
                  </a:cubicBezTo>
                  <a:cubicBezTo>
                    <a:pt x="7790" y="19978"/>
                    <a:pt x="13683" y="21600"/>
                    <a:pt x="13683" y="21600"/>
                  </a:cubicBezTo>
                  <a:lnTo>
                    <a:pt x="17589" y="10931"/>
                  </a:lnTo>
                  <a:lnTo>
                    <a:pt x="5796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695" name="Shape 695"/>
            <p:cNvSpPr/>
            <p:nvPr/>
          </p:nvSpPr>
          <p:spPr>
            <a:xfrm>
              <a:off x="1131550" y="472080"/>
              <a:ext cx="75241" cy="2212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29"/>
                  </a:moveTo>
                  <a:lnTo>
                    <a:pt x="21600" y="21600"/>
                  </a:lnTo>
                  <a:lnTo>
                    <a:pt x="8346" y="0"/>
                  </a:lnTo>
                  <a:lnTo>
                    <a:pt x="0" y="1829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696" name="Shape 696"/>
            <p:cNvSpPr/>
            <p:nvPr/>
          </p:nvSpPr>
          <p:spPr>
            <a:xfrm>
              <a:off x="1448507" y="1057375"/>
              <a:ext cx="146326" cy="362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13" y="3264"/>
                  </a:moveTo>
                  <a:lnTo>
                    <a:pt x="6013" y="0"/>
                  </a:lnTo>
                  <a:lnTo>
                    <a:pt x="0" y="0"/>
                  </a:lnTo>
                  <a:lnTo>
                    <a:pt x="0" y="7810"/>
                  </a:lnTo>
                  <a:lnTo>
                    <a:pt x="1168" y="13809"/>
                  </a:lnTo>
                  <a:lnTo>
                    <a:pt x="7525" y="18636"/>
                  </a:lnTo>
                  <a:lnTo>
                    <a:pt x="11302" y="21600"/>
                  </a:lnTo>
                  <a:lnTo>
                    <a:pt x="18336" y="20561"/>
                  </a:lnTo>
                  <a:lnTo>
                    <a:pt x="21015" y="18034"/>
                  </a:lnTo>
                  <a:lnTo>
                    <a:pt x="21600" y="12789"/>
                  </a:lnTo>
                  <a:lnTo>
                    <a:pt x="20042" y="7525"/>
                  </a:lnTo>
                  <a:lnTo>
                    <a:pt x="18312" y="14961"/>
                  </a:lnTo>
                  <a:lnTo>
                    <a:pt x="16754" y="17604"/>
                  </a:lnTo>
                  <a:lnTo>
                    <a:pt x="15587" y="10531"/>
                  </a:lnTo>
                  <a:lnTo>
                    <a:pt x="12734" y="7550"/>
                  </a:lnTo>
                  <a:lnTo>
                    <a:pt x="8086" y="11605"/>
                  </a:lnTo>
                  <a:lnTo>
                    <a:pt x="5967" y="9983"/>
                  </a:lnTo>
                  <a:lnTo>
                    <a:pt x="11543" y="3868"/>
                  </a:lnTo>
                  <a:lnTo>
                    <a:pt x="8498" y="1944"/>
                  </a:lnTo>
                  <a:lnTo>
                    <a:pt x="6013" y="3264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697" name="Shape 697"/>
            <p:cNvSpPr/>
            <p:nvPr/>
          </p:nvSpPr>
          <p:spPr>
            <a:xfrm>
              <a:off x="1571934" y="1064864"/>
              <a:ext cx="79514" cy="3288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780" y="7588"/>
                  </a:lnTo>
                  <a:lnTo>
                    <a:pt x="12856" y="15861"/>
                  </a:lnTo>
                  <a:lnTo>
                    <a:pt x="13888" y="21102"/>
                  </a:lnTo>
                  <a:lnTo>
                    <a:pt x="20524" y="21600"/>
                  </a:lnTo>
                  <a:cubicBezTo>
                    <a:pt x="20524" y="21600"/>
                    <a:pt x="21600" y="15450"/>
                    <a:pt x="21600" y="13993"/>
                  </a:cubicBezTo>
                  <a:cubicBezTo>
                    <a:pt x="21600" y="12536"/>
                    <a:pt x="21600" y="6404"/>
                    <a:pt x="21600" y="6404"/>
                  </a:cubicBezTo>
                  <a:lnTo>
                    <a:pt x="15150" y="3432"/>
                  </a:lnTo>
                  <a:lnTo>
                    <a:pt x="8829" y="24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698" name="Shape 698"/>
            <p:cNvSpPr/>
            <p:nvPr/>
          </p:nvSpPr>
          <p:spPr>
            <a:xfrm>
              <a:off x="1070024" y="353939"/>
              <a:ext cx="51348" cy="3044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94" y="0"/>
                  </a:moveTo>
                  <a:lnTo>
                    <a:pt x="0" y="15424"/>
                  </a:lnTo>
                  <a:lnTo>
                    <a:pt x="10769" y="16501"/>
                  </a:lnTo>
                  <a:lnTo>
                    <a:pt x="10144" y="21600"/>
                  </a:lnTo>
                  <a:lnTo>
                    <a:pt x="21600" y="20523"/>
                  </a:lnTo>
                  <a:lnTo>
                    <a:pt x="10925" y="9411"/>
                  </a:lnTo>
                  <a:lnTo>
                    <a:pt x="4994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</p:grpSp>
      <p:grpSp>
        <p:nvGrpSpPr>
          <p:cNvPr id="715" name="Group 7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4107518" y="1896440"/>
            <a:ext cx="3556001" cy="4083053"/>
            <a:chOff x="0" y="-1"/>
            <a:chExt cx="7112000" cy="8166105"/>
          </a:xfrm>
        </p:grpSpPr>
        <p:sp>
          <p:nvSpPr>
            <p:cNvPr id="702" name="Shape 702"/>
            <p:cNvSpPr/>
            <p:nvPr/>
          </p:nvSpPr>
          <p:spPr>
            <a:xfrm rot="10800000" flipH="1">
              <a:off x="0" y="-1"/>
              <a:ext cx="7112000" cy="8166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05" extrusionOk="0">
                  <a:moveTo>
                    <a:pt x="0" y="19744"/>
                  </a:moveTo>
                  <a:lnTo>
                    <a:pt x="1796" y="20273"/>
                  </a:lnTo>
                  <a:cubicBezTo>
                    <a:pt x="1796" y="20273"/>
                    <a:pt x="3515" y="20562"/>
                    <a:pt x="3610" y="20664"/>
                  </a:cubicBezTo>
                  <a:cubicBezTo>
                    <a:pt x="3704" y="20767"/>
                    <a:pt x="5402" y="20873"/>
                    <a:pt x="5402" y="20873"/>
                  </a:cubicBezTo>
                  <a:cubicBezTo>
                    <a:pt x="5402" y="20873"/>
                    <a:pt x="6612" y="20980"/>
                    <a:pt x="6708" y="20980"/>
                  </a:cubicBezTo>
                  <a:cubicBezTo>
                    <a:pt x="6804" y="20980"/>
                    <a:pt x="8782" y="21122"/>
                    <a:pt x="8782" y="21122"/>
                  </a:cubicBezTo>
                  <a:lnTo>
                    <a:pt x="9857" y="21434"/>
                  </a:lnTo>
                  <a:lnTo>
                    <a:pt x="10574" y="21505"/>
                  </a:lnTo>
                  <a:lnTo>
                    <a:pt x="14169" y="21260"/>
                  </a:lnTo>
                  <a:lnTo>
                    <a:pt x="15332" y="21047"/>
                  </a:lnTo>
                  <a:cubicBezTo>
                    <a:pt x="15332" y="21047"/>
                    <a:pt x="16084" y="20834"/>
                    <a:pt x="16213" y="20834"/>
                  </a:cubicBezTo>
                  <a:cubicBezTo>
                    <a:pt x="16342" y="20834"/>
                    <a:pt x="17466" y="20834"/>
                    <a:pt x="17466" y="20834"/>
                  </a:cubicBezTo>
                  <a:cubicBezTo>
                    <a:pt x="17466" y="20834"/>
                    <a:pt x="18449" y="20936"/>
                    <a:pt x="18578" y="20834"/>
                  </a:cubicBezTo>
                  <a:cubicBezTo>
                    <a:pt x="18707" y="20731"/>
                    <a:pt x="19606" y="20727"/>
                    <a:pt x="19688" y="20624"/>
                  </a:cubicBezTo>
                  <a:cubicBezTo>
                    <a:pt x="19769" y="20522"/>
                    <a:pt x="20916" y="20451"/>
                    <a:pt x="20916" y="20451"/>
                  </a:cubicBezTo>
                  <a:lnTo>
                    <a:pt x="21600" y="20131"/>
                  </a:lnTo>
                  <a:lnTo>
                    <a:pt x="21354" y="18045"/>
                  </a:lnTo>
                  <a:cubicBezTo>
                    <a:pt x="21354" y="18045"/>
                    <a:pt x="21434" y="16726"/>
                    <a:pt x="21340" y="16036"/>
                  </a:cubicBezTo>
                  <a:cubicBezTo>
                    <a:pt x="21246" y="15347"/>
                    <a:pt x="21340" y="14858"/>
                    <a:pt x="21340" y="14858"/>
                  </a:cubicBezTo>
                  <a:lnTo>
                    <a:pt x="20909" y="13807"/>
                  </a:lnTo>
                  <a:lnTo>
                    <a:pt x="20392" y="13470"/>
                  </a:lnTo>
                  <a:lnTo>
                    <a:pt x="19789" y="12545"/>
                  </a:lnTo>
                  <a:lnTo>
                    <a:pt x="19301" y="12515"/>
                  </a:lnTo>
                  <a:lnTo>
                    <a:pt x="18812" y="11157"/>
                  </a:lnTo>
                  <a:lnTo>
                    <a:pt x="18554" y="10063"/>
                  </a:lnTo>
                  <a:lnTo>
                    <a:pt x="17865" y="8927"/>
                  </a:lnTo>
                  <a:lnTo>
                    <a:pt x="17146" y="8464"/>
                  </a:lnTo>
                  <a:lnTo>
                    <a:pt x="16629" y="7160"/>
                  </a:lnTo>
                  <a:lnTo>
                    <a:pt x="15883" y="6193"/>
                  </a:lnTo>
                  <a:lnTo>
                    <a:pt x="15538" y="4931"/>
                  </a:lnTo>
                  <a:lnTo>
                    <a:pt x="14002" y="6188"/>
                  </a:lnTo>
                  <a:lnTo>
                    <a:pt x="13662" y="4645"/>
                  </a:lnTo>
                  <a:lnTo>
                    <a:pt x="12858" y="3658"/>
                  </a:lnTo>
                  <a:lnTo>
                    <a:pt x="12275" y="4574"/>
                  </a:lnTo>
                  <a:lnTo>
                    <a:pt x="12235" y="2925"/>
                  </a:lnTo>
                  <a:lnTo>
                    <a:pt x="11740" y="2196"/>
                  </a:lnTo>
                  <a:lnTo>
                    <a:pt x="11151" y="934"/>
                  </a:lnTo>
                  <a:lnTo>
                    <a:pt x="10315" y="541"/>
                  </a:lnTo>
                  <a:lnTo>
                    <a:pt x="9851" y="556"/>
                  </a:lnTo>
                  <a:cubicBezTo>
                    <a:pt x="9851" y="556"/>
                    <a:pt x="9090" y="-95"/>
                    <a:pt x="9008" y="12"/>
                  </a:cubicBezTo>
                  <a:cubicBezTo>
                    <a:pt x="8926" y="119"/>
                    <a:pt x="8603" y="612"/>
                    <a:pt x="8603" y="612"/>
                  </a:cubicBezTo>
                  <a:lnTo>
                    <a:pt x="7955" y="51"/>
                  </a:lnTo>
                  <a:lnTo>
                    <a:pt x="6921" y="934"/>
                  </a:lnTo>
                  <a:lnTo>
                    <a:pt x="6394" y="1650"/>
                  </a:lnTo>
                  <a:lnTo>
                    <a:pt x="6187" y="2196"/>
                  </a:lnTo>
                  <a:lnTo>
                    <a:pt x="5399" y="2491"/>
                  </a:lnTo>
                  <a:lnTo>
                    <a:pt x="5168" y="4290"/>
                  </a:lnTo>
                  <a:lnTo>
                    <a:pt x="4129" y="6361"/>
                  </a:lnTo>
                  <a:lnTo>
                    <a:pt x="3589" y="7960"/>
                  </a:lnTo>
                  <a:lnTo>
                    <a:pt x="3589" y="9095"/>
                  </a:lnTo>
                  <a:lnTo>
                    <a:pt x="3362" y="10029"/>
                  </a:lnTo>
                  <a:lnTo>
                    <a:pt x="3022" y="10029"/>
                  </a:lnTo>
                  <a:lnTo>
                    <a:pt x="2454" y="10314"/>
                  </a:lnTo>
                  <a:lnTo>
                    <a:pt x="1779" y="10904"/>
                  </a:lnTo>
                  <a:lnTo>
                    <a:pt x="1111" y="11703"/>
                  </a:lnTo>
                  <a:lnTo>
                    <a:pt x="386" y="13807"/>
                  </a:lnTo>
                  <a:lnTo>
                    <a:pt x="73" y="18353"/>
                  </a:lnTo>
                  <a:lnTo>
                    <a:pt x="0" y="19744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>
              <a:outerShdw blurRad="1270000" dir="2700000" rotWithShape="0">
                <a:srgbClr val="EEF3F4"/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03" name="Shape 703"/>
            <p:cNvSpPr/>
            <p:nvPr/>
          </p:nvSpPr>
          <p:spPr>
            <a:xfrm rot="10800000" flipH="1">
              <a:off x="4975" y="232898"/>
              <a:ext cx="3285692" cy="61370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77" y="21600"/>
                  </a:moveTo>
                  <a:cubicBezTo>
                    <a:pt x="21277" y="21600"/>
                    <a:pt x="5549" y="20459"/>
                    <a:pt x="3142" y="19936"/>
                  </a:cubicBezTo>
                  <a:cubicBezTo>
                    <a:pt x="736" y="19414"/>
                    <a:pt x="0" y="19271"/>
                    <a:pt x="0" y="19271"/>
                  </a:cubicBezTo>
                  <a:cubicBezTo>
                    <a:pt x="0" y="19271"/>
                    <a:pt x="1364" y="18113"/>
                    <a:pt x="1875" y="17839"/>
                  </a:cubicBezTo>
                  <a:cubicBezTo>
                    <a:pt x="2385" y="17566"/>
                    <a:pt x="3763" y="15813"/>
                    <a:pt x="3763" y="15813"/>
                  </a:cubicBezTo>
                  <a:lnTo>
                    <a:pt x="4606" y="13727"/>
                  </a:lnTo>
                  <a:lnTo>
                    <a:pt x="3941" y="13067"/>
                  </a:lnTo>
                  <a:cubicBezTo>
                    <a:pt x="3941" y="13067"/>
                    <a:pt x="2385" y="15349"/>
                    <a:pt x="2177" y="15628"/>
                  </a:cubicBezTo>
                  <a:cubicBezTo>
                    <a:pt x="1968" y="15907"/>
                    <a:pt x="763" y="17185"/>
                    <a:pt x="763" y="17185"/>
                  </a:cubicBezTo>
                  <a:lnTo>
                    <a:pt x="3099" y="12729"/>
                  </a:lnTo>
                  <a:cubicBezTo>
                    <a:pt x="3099" y="12729"/>
                    <a:pt x="3692" y="11345"/>
                    <a:pt x="3799" y="11066"/>
                  </a:cubicBezTo>
                  <a:cubicBezTo>
                    <a:pt x="3905" y="10786"/>
                    <a:pt x="4535" y="9598"/>
                    <a:pt x="4535" y="9598"/>
                  </a:cubicBezTo>
                  <a:lnTo>
                    <a:pt x="5019" y="10014"/>
                  </a:lnTo>
                  <a:lnTo>
                    <a:pt x="5444" y="8927"/>
                  </a:lnTo>
                  <a:lnTo>
                    <a:pt x="6073" y="9444"/>
                  </a:lnTo>
                  <a:lnTo>
                    <a:pt x="6486" y="8641"/>
                  </a:lnTo>
                  <a:lnTo>
                    <a:pt x="6805" y="9866"/>
                  </a:lnTo>
                  <a:cubicBezTo>
                    <a:pt x="6805" y="9866"/>
                    <a:pt x="5710" y="11559"/>
                    <a:pt x="5604" y="11934"/>
                  </a:cubicBezTo>
                  <a:cubicBezTo>
                    <a:pt x="5498" y="12309"/>
                    <a:pt x="5710" y="13575"/>
                    <a:pt x="5710" y="13575"/>
                  </a:cubicBezTo>
                  <a:lnTo>
                    <a:pt x="6588" y="13480"/>
                  </a:lnTo>
                  <a:lnTo>
                    <a:pt x="6783" y="11310"/>
                  </a:lnTo>
                  <a:lnTo>
                    <a:pt x="7762" y="11168"/>
                  </a:lnTo>
                  <a:lnTo>
                    <a:pt x="8676" y="11917"/>
                  </a:lnTo>
                  <a:lnTo>
                    <a:pt x="9101" y="10556"/>
                  </a:lnTo>
                  <a:lnTo>
                    <a:pt x="9341" y="9449"/>
                  </a:lnTo>
                  <a:cubicBezTo>
                    <a:pt x="9341" y="9449"/>
                    <a:pt x="10502" y="9883"/>
                    <a:pt x="10502" y="10156"/>
                  </a:cubicBezTo>
                  <a:cubicBezTo>
                    <a:pt x="10502" y="10430"/>
                    <a:pt x="9119" y="12290"/>
                    <a:pt x="8942" y="12664"/>
                  </a:cubicBezTo>
                  <a:cubicBezTo>
                    <a:pt x="8765" y="13039"/>
                    <a:pt x="8340" y="13752"/>
                    <a:pt x="8340" y="14311"/>
                  </a:cubicBezTo>
                  <a:cubicBezTo>
                    <a:pt x="8340" y="14869"/>
                    <a:pt x="8690" y="15154"/>
                    <a:pt x="8690" y="15154"/>
                  </a:cubicBezTo>
                  <a:lnTo>
                    <a:pt x="9962" y="12706"/>
                  </a:lnTo>
                  <a:lnTo>
                    <a:pt x="10871" y="11951"/>
                  </a:lnTo>
                  <a:cubicBezTo>
                    <a:pt x="10871" y="11951"/>
                    <a:pt x="11261" y="11655"/>
                    <a:pt x="11363" y="11381"/>
                  </a:cubicBezTo>
                  <a:cubicBezTo>
                    <a:pt x="11465" y="11107"/>
                    <a:pt x="12383" y="10067"/>
                    <a:pt x="12383" y="10067"/>
                  </a:cubicBezTo>
                  <a:lnTo>
                    <a:pt x="13513" y="7951"/>
                  </a:lnTo>
                  <a:cubicBezTo>
                    <a:pt x="13513" y="7951"/>
                    <a:pt x="13895" y="7143"/>
                    <a:pt x="13615" y="7143"/>
                  </a:cubicBezTo>
                  <a:cubicBezTo>
                    <a:pt x="13335" y="7143"/>
                    <a:pt x="11780" y="7001"/>
                    <a:pt x="11780" y="7001"/>
                  </a:cubicBezTo>
                  <a:lnTo>
                    <a:pt x="9905" y="6858"/>
                  </a:lnTo>
                  <a:cubicBezTo>
                    <a:pt x="9905" y="6858"/>
                    <a:pt x="10579" y="1214"/>
                    <a:pt x="11177" y="607"/>
                  </a:cubicBezTo>
                  <a:cubicBezTo>
                    <a:pt x="11776" y="0"/>
                    <a:pt x="12051" y="0"/>
                    <a:pt x="12051" y="0"/>
                  </a:cubicBezTo>
                  <a:lnTo>
                    <a:pt x="11838" y="1213"/>
                  </a:lnTo>
                  <a:lnTo>
                    <a:pt x="12259" y="1629"/>
                  </a:lnTo>
                  <a:lnTo>
                    <a:pt x="12751" y="1107"/>
                  </a:lnTo>
                  <a:lnTo>
                    <a:pt x="13177" y="114"/>
                  </a:lnTo>
                  <a:lnTo>
                    <a:pt x="13696" y="399"/>
                  </a:lnTo>
                  <a:lnTo>
                    <a:pt x="14507" y="263"/>
                  </a:lnTo>
                  <a:lnTo>
                    <a:pt x="13881" y="1565"/>
                  </a:lnTo>
                  <a:lnTo>
                    <a:pt x="14369" y="1939"/>
                  </a:lnTo>
                  <a:lnTo>
                    <a:pt x="14157" y="3027"/>
                  </a:lnTo>
                  <a:lnTo>
                    <a:pt x="13452" y="3918"/>
                  </a:lnTo>
                  <a:lnTo>
                    <a:pt x="13554" y="5054"/>
                  </a:lnTo>
                  <a:lnTo>
                    <a:pt x="14073" y="4769"/>
                  </a:lnTo>
                  <a:lnTo>
                    <a:pt x="14774" y="3206"/>
                  </a:lnTo>
                  <a:lnTo>
                    <a:pt x="15053" y="4383"/>
                  </a:lnTo>
                  <a:lnTo>
                    <a:pt x="14521" y="6510"/>
                  </a:lnTo>
                  <a:lnTo>
                    <a:pt x="13435" y="9482"/>
                  </a:lnTo>
                  <a:lnTo>
                    <a:pt x="13151" y="11122"/>
                  </a:lnTo>
                  <a:lnTo>
                    <a:pt x="13045" y="12875"/>
                  </a:lnTo>
                  <a:lnTo>
                    <a:pt x="14774" y="11788"/>
                  </a:lnTo>
                  <a:lnTo>
                    <a:pt x="14774" y="10659"/>
                  </a:lnTo>
                  <a:lnTo>
                    <a:pt x="15341" y="8995"/>
                  </a:lnTo>
                  <a:lnTo>
                    <a:pt x="16041" y="8097"/>
                  </a:lnTo>
                  <a:lnTo>
                    <a:pt x="16321" y="7105"/>
                  </a:lnTo>
                  <a:lnTo>
                    <a:pt x="17451" y="5839"/>
                  </a:lnTo>
                  <a:lnTo>
                    <a:pt x="18404" y="6831"/>
                  </a:lnTo>
                  <a:cubicBezTo>
                    <a:pt x="18404" y="6831"/>
                    <a:pt x="18931" y="8447"/>
                    <a:pt x="18829" y="8864"/>
                  </a:cubicBezTo>
                  <a:cubicBezTo>
                    <a:pt x="18727" y="9280"/>
                    <a:pt x="18231" y="10314"/>
                    <a:pt x="18231" y="10314"/>
                  </a:cubicBezTo>
                  <a:cubicBezTo>
                    <a:pt x="18231" y="10314"/>
                    <a:pt x="18443" y="11544"/>
                    <a:pt x="18443" y="11824"/>
                  </a:cubicBezTo>
                  <a:cubicBezTo>
                    <a:pt x="18443" y="12103"/>
                    <a:pt x="18337" y="13417"/>
                    <a:pt x="18337" y="13417"/>
                  </a:cubicBezTo>
                  <a:lnTo>
                    <a:pt x="18762" y="14451"/>
                  </a:lnTo>
                  <a:lnTo>
                    <a:pt x="19081" y="15824"/>
                  </a:lnTo>
                  <a:lnTo>
                    <a:pt x="19959" y="15729"/>
                  </a:lnTo>
                  <a:lnTo>
                    <a:pt x="19959" y="14505"/>
                  </a:lnTo>
                  <a:cubicBezTo>
                    <a:pt x="19959" y="14505"/>
                    <a:pt x="19006" y="13216"/>
                    <a:pt x="19006" y="12942"/>
                  </a:cubicBezTo>
                  <a:cubicBezTo>
                    <a:pt x="19006" y="12668"/>
                    <a:pt x="19499" y="12383"/>
                    <a:pt x="19499" y="12383"/>
                  </a:cubicBezTo>
                  <a:cubicBezTo>
                    <a:pt x="19499" y="12383"/>
                    <a:pt x="20261" y="11592"/>
                    <a:pt x="19880" y="11497"/>
                  </a:cubicBezTo>
                  <a:cubicBezTo>
                    <a:pt x="19499" y="11402"/>
                    <a:pt x="18789" y="10868"/>
                    <a:pt x="18789" y="10594"/>
                  </a:cubicBezTo>
                  <a:cubicBezTo>
                    <a:pt x="18789" y="10320"/>
                    <a:pt x="19742" y="9755"/>
                    <a:pt x="19742" y="9755"/>
                  </a:cubicBezTo>
                  <a:lnTo>
                    <a:pt x="20682" y="10320"/>
                  </a:lnTo>
                  <a:lnTo>
                    <a:pt x="21139" y="9666"/>
                  </a:lnTo>
                  <a:lnTo>
                    <a:pt x="21210" y="13558"/>
                  </a:lnTo>
                  <a:cubicBezTo>
                    <a:pt x="21210" y="13558"/>
                    <a:pt x="21600" y="16219"/>
                    <a:pt x="21600" y="16499"/>
                  </a:cubicBezTo>
                  <a:cubicBezTo>
                    <a:pt x="21600" y="16778"/>
                    <a:pt x="21600" y="20385"/>
                    <a:pt x="21600" y="20385"/>
                  </a:cubicBezTo>
                  <a:lnTo>
                    <a:pt x="21277" y="21600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04" name="Shape 704"/>
            <p:cNvSpPr/>
            <p:nvPr/>
          </p:nvSpPr>
          <p:spPr>
            <a:xfrm rot="10800000" flipH="1">
              <a:off x="3194687" y="4592711"/>
              <a:ext cx="396470" cy="28992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14" y="0"/>
                  </a:moveTo>
                  <a:lnTo>
                    <a:pt x="12196" y="5397"/>
                  </a:lnTo>
                  <a:lnTo>
                    <a:pt x="16312" y="8504"/>
                  </a:lnTo>
                  <a:lnTo>
                    <a:pt x="21600" y="12014"/>
                  </a:lnTo>
                  <a:lnTo>
                    <a:pt x="21600" y="16014"/>
                  </a:lnTo>
                  <a:lnTo>
                    <a:pt x="16312" y="19523"/>
                  </a:lnTo>
                  <a:lnTo>
                    <a:pt x="11644" y="21600"/>
                  </a:lnTo>
                  <a:lnTo>
                    <a:pt x="9037" y="19813"/>
                  </a:lnTo>
                  <a:lnTo>
                    <a:pt x="14289" y="16002"/>
                  </a:lnTo>
                  <a:cubicBezTo>
                    <a:pt x="14289" y="16002"/>
                    <a:pt x="15171" y="13977"/>
                    <a:pt x="15171" y="13386"/>
                  </a:cubicBezTo>
                  <a:cubicBezTo>
                    <a:pt x="15171" y="12795"/>
                    <a:pt x="12563" y="11586"/>
                    <a:pt x="12563" y="10995"/>
                  </a:cubicBezTo>
                  <a:cubicBezTo>
                    <a:pt x="12563" y="10404"/>
                    <a:pt x="4958" y="10493"/>
                    <a:pt x="4958" y="8291"/>
                  </a:cubicBezTo>
                  <a:cubicBezTo>
                    <a:pt x="4958" y="6090"/>
                    <a:pt x="4079" y="4693"/>
                    <a:pt x="4079" y="4693"/>
                  </a:cubicBezTo>
                  <a:lnTo>
                    <a:pt x="0" y="1611"/>
                  </a:lnTo>
                  <a:lnTo>
                    <a:pt x="2314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05" name="Shape 705"/>
            <p:cNvSpPr/>
            <p:nvPr/>
          </p:nvSpPr>
          <p:spPr>
            <a:xfrm rot="10800000" flipH="1">
              <a:off x="3128678" y="4554276"/>
              <a:ext cx="214404" cy="13320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28" y="655"/>
                  </a:moveTo>
                  <a:lnTo>
                    <a:pt x="21600" y="0"/>
                  </a:lnTo>
                  <a:lnTo>
                    <a:pt x="21600" y="6954"/>
                  </a:lnTo>
                  <a:lnTo>
                    <a:pt x="13997" y="21600"/>
                  </a:lnTo>
                  <a:lnTo>
                    <a:pt x="0" y="17851"/>
                  </a:lnTo>
                  <a:lnTo>
                    <a:pt x="1626" y="2821"/>
                  </a:lnTo>
                  <a:lnTo>
                    <a:pt x="5366" y="13251"/>
                  </a:lnTo>
                  <a:lnTo>
                    <a:pt x="11210" y="7225"/>
                  </a:lnTo>
                  <a:lnTo>
                    <a:pt x="10928" y="655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06" name="Shape 706"/>
            <p:cNvSpPr/>
            <p:nvPr/>
          </p:nvSpPr>
          <p:spPr>
            <a:xfrm rot="10800000" flipH="1">
              <a:off x="2700300" y="5953964"/>
              <a:ext cx="251473" cy="18624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78" y="0"/>
                  </a:moveTo>
                  <a:lnTo>
                    <a:pt x="13893" y="7460"/>
                  </a:lnTo>
                  <a:lnTo>
                    <a:pt x="12501" y="12279"/>
                  </a:lnTo>
                  <a:lnTo>
                    <a:pt x="20266" y="14434"/>
                  </a:lnTo>
                  <a:lnTo>
                    <a:pt x="21600" y="21600"/>
                  </a:lnTo>
                  <a:lnTo>
                    <a:pt x="11412" y="17565"/>
                  </a:lnTo>
                  <a:lnTo>
                    <a:pt x="3075" y="12260"/>
                  </a:lnTo>
                  <a:lnTo>
                    <a:pt x="7243" y="7737"/>
                  </a:lnTo>
                  <a:lnTo>
                    <a:pt x="0" y="4974"/>
                  </a:lnTo>
                  <a:lnTo>
                    <a:pt x="4278" y="0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07" name="Shape 707"/>
            <p:cNvSpPr/>
            <p:nvPr/>
          </p:nvSpPr>
          <p:spPr>
            <a:xfrm rot="10800000" flipH="1">
              <a:off x="2235821" y="4772592"/>
              <a:ext cx="761452" cy="2627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86" y="4859"/>
                  </a:moveTo>
                  <a:lnTo>
                    <a:pt x="6884" y="0"/>
                  </a:lnTo>
                  <a:lnTo>
                    <a:pt x="9754" y="5387"/>
                  </a:lnTo>
                  <a:lnTo>
                    <a:pt x="9295" y="10037"/>
                  </a:lnTo>
                  <a:lnTo>
                    <a:pt x="11895" y="12022"/>
                  </a:lnTo>
                  <a:lnTo>
                    <a:pt x="14136" y="8150"/>
                  </a:lnTo>
                  <a:lnTo>
                    <a:pt x="16394" y="11217"/>
                  </a:lnTo>
                  <a:lnTo>
                    <a:pt x="16394" y="14522"/>
                  </a:lnTo>
                  <a:lnTo>
                    <a:pt x="19361" y="14842"/>
                  </a:lnTo>
                  <a:lnTo>
                    <a:pt x="21600" y="14189"/>
                  </a:lnTo>
                  <a:lnTo>
                    <a:pt x="21600" y="18922"/>
                  </a:lnTo>
                  <a:lnTo>
                    <a:pt x="20665" y="21600"/>
                  </a:lnTo>
                  <a:lnTo>
                    <a:pt x="16571" y="19713"/>
                  </a:lnTo>
                  <a:lnTo>
                    <a:pt x="12764" y="15104"/>
                  </a:lnTo>
                  <a:lnTo>
                    <a:pt x="9032" y="12590"/>
                  </a:lnTo>
                  <a:lnTo>
                    <a:pt x="5856" y="8659"/>
                  </a:lnTo>
                  <a:lnTo>
                    <a:pt x="900" y="7451"/>
                  </a:lnTo>
                  <a:lnTo>
                    <a:pt x="0" y="3691"/>
                  </a:lnTo>
                  <a:lnTo>
                    <a:pt x="2564" y="1065"/>
                  </a:lnTo>
                  <a:lnTo>
                    <a:pt x="5986" y="4859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08" name="Shape 708"/>
            <p:cNvSpPr/>
            <p:nvPr/>
          </p:nvSpPr>
          <p:spPr>
            <a:xfrm rot="10800000" flipH="1">
              <a:off x="2288481" y="4448990"/>
              <a:ext cx="352062" cy="16480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211" y="2479"/>
                  </a:lnTo>
                  <a:lnTo>
                    <a:pt x="17707" y="8610"/>
                  </a:lnTo>
                  <a:lnTo>
                    <a:pt x="21600" y="13834"/>
                  </a:lnTo>
                  <a:lnTo>
                    <a:pt x="15023" y="16821"/>
                  </a:lnTo>
                  <a:lnTo>
                    <a:pt x="7452" y="21600"/>
                  </a:lnTo>
                  <a:lnTo>
                    <a:pt x="7452" y="15979"/>
                  </a:lnTo>
                  <a:lnTo>
                    <a:pt x="11673" y="13231"/>
                  </a:lnTo>
                  <a:lnTo>
                    <a:pt x="10020" y="6302"/>
                  </a:lnTo>
                  <a:lnTo>
                    <a:pt x="2278" y="38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09" name="Shape 709"/>
            <p:cNvSpPr/>
            <p:nvPr/>
          </p:nvSpPr>
          <p:spPr>
            <a:xfrm rot="10800000" flipH="1">
              <a:off x="4043077" y="5187959"/>
              <a:ext cx="262270" cy="14536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24" y="0"/>
                  </a:moveTo>
                  <a:lnTo>
                    <a:pt x="21600" y="9985"/>
                  </a:lnTo>
                  <a:lnTo>
                    <a:pt x="17603" y="21600"/>
                  </a:lnTo>
                  <a:lnTo>
                    <a:pt x="12276" y="12121"/>
                  </a:lnTo>
                  <a:lnTo>
                    <a:pt x="6056" y="20124"/>
                  </a:lnTo>
                  <a:lnTo>
                    <a:pt x="2168" y="16986"/>
                  </a:lnTo>
                  <a:lnTo>
                    <a:pt x="0" y="5371"/>
                  </a:lnTo>
                  <a:lnTo>
                    <a:pt x="7780" y="7554"/>
                  </a:lnTo>
                  <a:lnTo>
                    <a:pt x="16324" y="0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10" name="Shape 710"/>
            <p:cNvSpPr/>
            <p:nvPr/>
          </p:nvSpPr>
          <p:spPr>
            <a:xfrm rot="10800000" flipH="1">
              <a:off x="4048845" y="4050341"/>
              <a:ext cx="142872" cy="5400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589" h="21600" extrusionOk="0">
                  <a:moveTo>
                    <a:pt x="5796" y="0"/>
                  </a:moveTo>
                  <a:cubicBezTo>
                    <a:pt x="5796" y="0"/>
                    <a:pt x="-4011" y="16745"/>
                    <a:pt x="1889" y="18362"/>
                  </a:cubicBezTo>
                  <a:cubicBezTo>
                    <a:pt x="7790" y="19978"/>
                    <a:pt x="13683" y="21600"/>
                    <a:pt x="13683" y="21600"/>
                  </a:cubicBezTo>
                  <a:lnTo>
                    <a:pt x="17589" y="10931"/>
                  </a:lnTo>
                  <a:lnTo>
                    <a:pt x="5796" y="0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11" name="Shape 711"/>
            <p:cNvSpPr/>
            <p:nvPr/>
          </p:nvSpPr>
          <p:spPr>
            <a:xfrm rot="10800000" flipH="1">
              <a:off x="4625921" y="4543488"/>
              <a:ext cx="307591" cy="11803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29"/>
                  </a:moveTo>
                  <a:lnTo>
                    <a:pt x="21600" y="21600"/>
                  </a:lnTo>
                  <a:lnTo>
                    <a:pt x="8346" y="0"/>
                  </a:lnTo>
                  <a:lnTo>
                    <a:pt x="0" y="1829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12" name="Shape 712"/>
            <p:cNvSpPr/>
            <p:nvPr/>
          </p:nvSpPr>
          <p:spPr>
            <a:xfrm rot="10800000" flipH="1">
              <a:off x="5921678" y="667711"/>
              <a:ext cx="598193" cy="1933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13" y="3264"/>
                  </a:moveTo>
                  <a:lnTo>
                    <a:pt x="6013" y="0"/>
                  </a:lnTo>
                  <a:lnTo>
                    <a:pt x="0" y="0"/>
                  </a:lnTo>
                  <a:lnTo>
                    <a:pt x="0" y="7810"/>
                  </a:lnTo>
                  <a:lnTo>
                    <a:pt x="1168" y="13809"/>
                  </a:lnTo>
                  <a:lnTo>
                    <a:pt x="7525" y="18636"/>
                  </a:lnTo>
                  <a:lnTo>
                    <a:pt x="11302" y="21600"/>
                  </a:lnTo>
                  <a:lnTo>
                    <a:pt x="18336" y="20561"/>
                  </a:lnTo>
                  <a:lnTo>
                    <a:pt x="21015" y="18034"/>
                  </a:lnTo>
                  <a:lnTo>
                    <a:pt x="21600" y="12789"/>
                  </a:lnTo>
                  <a:lnTo>
                    <a:pt x="20042" y="7525"/>
                  </a:lnTo>
                  <a:lnTo>
                    <a:pt x="18312" y="14961"/>
                  </a:lnTo>
                  <a:lnTo>
                    <a:pt x="16754" y="17604"/>
                  </a:lnTo>
                  <a:lnTo>
                    <a:pt x="15587" y="10531"/>
                  </a:lnTo>
                  <a:lnTo>
                    <a:pt x="12734" y="7550"/>
                  </a:lnTo>
                  <a:lnTo>
                    <a:pt x="8086" y="11605"/>
                  </a:lnTo>
                  <a:lnTo>
                    <a:pt x="5967" y="9983"/>
                  </a:lnTo>
                  <a:lnTo>
                    <a:pt x="11543" y="3868"/>
                  </a:lnTo>
                  <a:lnTo>
                    <a:pt x="8498" y="1944"/>
                  </a:lnTo>
                  <a:lnTo>
                    <a:pt x="6013" y="3264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13" name="Shape 713"/>
            <p:cNvSpPr/>
            <p:nvPr/>
          </p:nvSpPr>
          <p:spPr>
            <a:xfrm rot="10800000" flipH="1">
              <a:off x="6426263" y="806576"/>
              <a:ext cx="325062" cy="17544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780" y="7588"/>
                  </a:lnTo>
                  <a:lnTo>
                    <a:pt x="12856" y="15861"/>
                  </a:lnTo>
                  <a:lnTo>
                    <a:pt x="13888" y="21102"/>
                  </a:lnTo>
                  <a:lnTo>
                    <a:pt x="20524" y="21600"/>
                  </a:lnTo>
                  <a:cubicBezTo>
                    <a:pt x="20524" y="21600"/>
                    <a:pt x="21600" y="15450"/>
                    <a:pt x="21600" y="13993"/>
                  </a:cubicBezTo>
                  <a:cubicBezTo>
                    <a:pt x="21600" y="12536"/>
                    <a:pt x="21600" y="6404"/>
                    <a:pt x="21600" y="6404"/>
                  </a:cubicBezTo>
                  <a:lnTo>
                    <a:pt x="15150" y="3432"/>
                  </a:lnTo>
                  <a:lnTo>
                    <a:pt x="8829" y="24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14" name="Shape 714"/>
            <p:cNvSpPr/>
            <p:nvPr/>
          </p:nvSpPr>
          <p:spPr>
            <a:xfrm rot="10800000" flipH="1">
              <a:off x="4374389" y="4729903"/>
              <a:ext cx="209914" cy="16242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94" y="0"/>
                  </a:moveTo>
                  <a:lnTo>
                    <a:pt x="0" y="15424"/>
                  </a:lnTo>
                  <a:lnTo>
                    <a:pt x="10769" y="16501"/>
                  </a:lnTo>
                  <a:lnTo>
                    <a:pt x="10144" y="21600"/>
                  </a:lnTo>
                  <a:lnTo>
                    <a:pt x="21600" y="20523"/>
                  </a:lnTo>
                  <a:lnTo>
                    <a:pt x="10925" y="9411"/>
                  </a:lnTo>
                  <a:lnTo>
                    <a:pt x="4994" y="0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</p:grpSp>
      <p:grpSp>
        <p:nvGrpSpPr>
          <p:cNvPr id="734" name="Group 73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4105097" y="768375"/>
            <a:ext cx="3558950" cy="1648834"/>
            <a:chOff x="0" y="0"/>
            <a:chExt cx="7117898" cy="3297665"/>
          </a:xfrm>
        </p:grpSpPr>
        <p:grpSp>
          <p:nvGrpSpPr>
            <p:cNvPr id="732" name="Group 732"/>
            <p:cNvGrpSpPr/>
            <p:nvPr/>
          </p:nvGrpSpPr>
          <p:grpSpPr>
            <a:xfrm>
              <a:off x="0" y="0"/>
              <a:ext cx="7117899" cy="3297666"/>
              <a:chOff x="0" y="0"/>
              <a:chExt cx="7117898" cy="3297665"/>
            </a:xfrm>
          </p:grpSpPr>
          <p:sp>
            <p:nvSpPr>
              <p:cNvPr id="719" name="Shape 719"/>
              <p:cNvSpPr/>
              <p:nvPr/>
            </p:nvSpPr>
            <p:spPr>
              <a:xfrm>
                <a:off x="0" y="0"/>
                <a:ext cx="7117899" cy="32976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9847"/>
                    </a:moveTo>
                    <a:lnTo>
                      <a:pt x="1796" y="20374"/>
                    </a:lnTo>
                    <a:cubicBezTo>
                      <a:pt x="1796" y="20374"/>
                      <a:pt x="3515" y="20662"/>
                      <a:pt x="3610" y="20764"/>
                    </a:cubicBezTo>
                    <a:cubicBezTo>
                      <a:pt x="3704" y="20865"/>
                      <a:pt x="5402" y="20971"/>
                      <a:pt x="5402" y="20971"/>
                    </a:cubicBezTo>
                    <a:cubicBezTo>
                      <a:pt x="5402" y="20971"/>
                      <a:pt x="6612" y="21078"/>
                      <a:pt x="6708" y="21078"/>
                    </a:cubicBezTo>
                    <a:cubicBezTo>
                      <a:pt x="6804" y="21078"/>
                      <a:pt x="8782" y="21219"/>
                      <a:pt x="8782" y="21219"/>
                    </a:cubicBezTo>
                    <a:lnTo>
                      <a:pt x="9857" y="21529"/>
                    </a:lnTo>
                    <a:lnTo>
                      <a:pt x="10574" y="21600"/>
                    </a:lnTo>
                    <a:lnTo>
                      <a:pt x="14169" y="21356"/>
                    </a:lnTo>
                    <a:lnTo>
                      <a:pt x="15332" y="21144"/>
                    </a:lnTo>
                    <a:cubicBezTo>
                      <a:pt x="15332" y="21144"/>
                      <a:pt x="16084" y="20932"/>
                      <a:pt x="16213" y="20932"/>
                    </a:cubicBezTo>
                    <a:cubicBezTo>
                      <a:pt x="16342" y="20932"/>
                      <a:pt x="17466" y="20932"/>
                      <a:pt x="17466" y="20932"/>
                    </a:cubicBezTo>
                    <a:cubicBezTo>
                      <a:pt x="17466" y="20932"/>
                      <a:pt x="18449" y="21034"/>
                      <a:pt x="18578" y="20932"/>
                    </a:cubicBezTo>
                    <a:cubicBezTo>
                      <a:pt x="18707" y="20830"/>
                      <a:pt x="19606" y="20826"/>
                      <a:pt x="19688" y="20724"/>
                    </a:cubicBezTo>
                    <a:cubicBezTo>
                      <a:pt x="19769" y="20622"/>
                      <a:pt x="20916" y="20551"/>
                      <a:pt x="20916" y="20551"/>
                    </a:cubicBezTo>
                    <a:lnTo>
                      <a:pt x="21600" y="20232"/>
                    </a:lnTo>
                    <a:lnTo>
                      <a:pt x="21354" y="18157"/>
                    </a:lnTo>
                    <a:cubicBezTo>
                      <a:pt x="21354" y="18157"/>
                      <a:pt x="21094" y="16985"/>
                      <a:pt x="21000" y="16299"/>
                    </a:cubicBezTo>
                    <a:cubicBezTo>
                      <a:pt x="20906" y="15612"/>
                      <a:pt x="20418" y="14559"/>
                      <a:pt x="20418" y="14559"/>
                    </a:cubicBezTo>
                    <a:lnTo>
                      <a:pt x="19800" y="14134"/>
                    </a:lnTo>
                    <a:lnTo>
                      <a:pt x="19544" y="14343"/>
                    </a:lnTo>
                    <a:lnTo>
                      <a:pt x="19072" y="13930"/>
                    </a:lnTo>
                    <a:lnTo>
                      <a:pt x="18290" y="13718"/>
                    </a:lnTo>
                    <a:lnTo>
                      <a:pt x="17870" y="12700"/>
                    </a:lnTo>
                    <a:lnTo>
                      <a:pt x="17151" y="12382"/>
                    </a:lnTo>
                    <a:lnTo>
                      <a:pt x="16637" y="11408"/>
                    </a:lnTo>
                    <a:lnTo>
                      <a:pt x="15904" y="11514"/>
                    </a:lnTo>
                    <a:lnTo>
                      <a:pt x="15562" y="10328"/>
                    </a:lnTo>
                    <a:lnTo>
                      <a:pt x="15243" y="9841"/>
                    </a:lnTo>
                    <a:lnTo>
                      <a:pt x="14491" y="6253"/>
                    </a:lnTo>
                    <a:lnTo>
                      <a:pt x="14002" y="6358"/>
                    </a:lnTo>
                    <a:lnTo>
                      <a:pt x="13662" y="4823"/>
                    </a:lnTo>
                    <a:lnTo>
                      <a:pt x="12858" y="3840"/>
                    </a:lnTo>
                    <a:lnTo>
                      <a:pt x="12275" y="4752"/>
                    </a:lnTo>
                    <a:lnTo>
                      <a:pt x="11967" y="4858"/>
                    </a:lnTo>
                    <a:lnTo>
                      <a:pt x="11740" y="2385"/>
                    </a:lnTo>
                    <a:lnTo>
                      <a:pt x="10943" y="1960"/>
                    </a:lnTo>
                    <a:lnTo>
                      <a:pt x="10315" y="739"/>
                    </a:lnTo>
                    <a:lnTo>
                      <a:pt x="9612" y="0"/>
                    </a:lnTo>
                    <a:cubicBezTo>
                      <a:pt x="9612" y="0"/>
                      <a:pt x="9090" y="106"/>
                      <a:pt x="9008" y="212"/>
                    </a:cubicBezTo>
                    <a:cubicBezTo>
                      <a:pt x="8926" y="319"/>
                      <a:pt x="8603" y="810"/>
                      <a:pt x="8603" y="810"/>
                    </a:cubicBezTo>
                    <a:lnTo>
                      <a:pt x="7955" y="1124"/>
                    </a:lnTo>
                    <a:lnTo>
                      <a:pt x="6981" y="2362"/>
                    </a:lnTo>
                    <a:lnTo>
                      <a:pt x="6493" y="3876"/>
                    </a:lnTo>
                    <a:lnTo>
                      <a:pt x="5877" y="4398"/>
                    </a:lnTo>
                    <a:lnTo>
                      <a:pt x="5571" y="4154"/>
                    </a:lnTo>
                    <a:lnTo>
                      <a:pt x="5168" y="4469"/>
                    </a:lnTo>
                    <a:lnTo>
                      <a:pt x="4513" y="8919"/>
                    </a:lnTo>
                    <a:lnTo>
                      <a:pt x="4275" y="10220"/>
                    </a:lnTo>
                    <a:lnTo>
                      <a:pt x="3835" y="10605"/>
                    </a:lnTo>
                    <a:lnTo>
                      <a:pt x="3362" y="10181"/>
                    </a:lnTo>
                    <a:lnTo>
                      <a:pt x="3022" y="10181"/>
                    </a:lnTo>
                    <a:lnTo>
                      <a:pt x="2454" y="10464"/>
                    </a:lnTo>
                    <a:lnTo>
                      <a:pt x="2227" y="10955"/>
                    </a:lnTo>
                    <a:lnTo>
                      <a:pt x="1932" y="11729"/>
                    </a:lnTo>
                    <a:lnTo>
                      <a:pt x="1592" y="12637"/>
                    </a:lnTo>
                    <a:lnTo>
                      <a:pt x="73" y="18463"/>
                    </a:lnTo>
                    <a:lnTo>
                      <a:pt x="0" y="19847"/>
                    </a:lnTo>
                    <a:close/>
                  </a:path>
                </a:pathLst>
              </a:custGeom>
              <a:solidFill>
                <a:schemeClr val="accent6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Regular"/>
                  <a:ea typeface="思源黑体 CN Normal"/>
                  <a:cs typeface="+mn-cs"/>
                </a:endParaRPr>
              </a:p>
            </p:txBody>
          </p:sp>
          <p:sp>
            <p:nvSpPr>
              <p:cNvPr id="720" name="Shape 720"/>
              <p:cNvSpPr/>
              <p:nvPr/>
            </p:nvSpPr>
            <p:spPr>
              <a:xfrm>
                <a:off x="4979" y="749198"/>
                <a:ext cx="3288416" cy="245529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277" y="21600"/>
                    </a:moveTo>
                    <a:cubicBezTo>
                      <a:pt x="21277" y="21600"/>
                      <a:pt x="5549" y="20459"/>
                      <a:pt x="3142" y="19936"/>
                    </a:cubicBezTo>
                    <a:cubicBezTo>
                      <a:pt x="736" y="19414"/>
                      <a:pt x="0" y="19271"/>
                      <a:pt x="0" y="19271"/>
                    </a:cubicBezTo>
                    <a:cubicBezTo>
                      <a:pt x="0" y="19271"/>
                      <a:pt x="1364" y="18113"/>
                      <a:pt x="1875" y="17839"/>
                    </a:cubicBezTo>
                    <a:cubicBezTo>
                      <a:pt x="2385" y="17566"/>
                      <a:pt x="3763" y="15813"/>
                      <a:pt x="3763" y="15813"/>
                    </a:cubicBezTo>
                    <a:lnTo>
                      <a:pt x="4606" y="13727"/>
                    </a:lnTo>
                    <a:lnTo>
                      <a:pt x="3941" y="13067"/>
                    </a:lnTo>
                    <a:cubicBezTo>
                      <a:pt x="3941" y="13067"/>
                      <a:pt x="2385" y="15349"/>
                      <a:pt x="2177" y="15628"/>
                    </a:cubicBezTo>
                    <a:cubicBezTo>
                      <a:pt x="1968" y="15907"/>
                      <a:pt x="763" y="17185"/>
                      <a:pt x="763" y="17185"/>
                    </a:cubicBezTo>
                    <a:lnTo>
                      <a:pt x="3099" y="12729"/>
                    </a:lnTo>
                    <a:cubicBezTo>
                      <a:pt x="3099" y="12729"/>
                      <a:pt x="3692" y="11345"/>
                      <a:pt x="3799" y="11065"/>
                    </a:cubicBezTo>
                    <a:cubicBezTo>
                      <a:pt x="3905" y="10786"/>
                      <a:pt x="4535" y="9598"/>
                      <a:pt x="4535" y="9598"/>
                    </a:cubicBezTo>
                    <a:lnTo>
                      <a:pt x="5019" y="10014"/>
                    </a:lnTo>
                    <a:lnTo>
                      <a:pt x="5444" y="8927"/>
                    </a:lnTo>
                    <a:lnTo>
                      <a:pt x="6073" y="9444"/>
                    </a:lnTo>
                    <a:lnTo>
                      <a:pt x="6486" y="8641"/>
                    </a:lnTo>
                    <a:lnTo>
                      <a:pt x="6805" y="9866"/>
                    </a:lnTo>
                    <a:cubicBezTo>
                      <a:pt x="6805" y="9866"/>
                      <a:pt x="5710" y="11559"/>
                      <a:pt x="5604" y="11934"/>
                    </a:cubicBezTo>
                    <a:cubicBezTo>
                      <a:pt x="5498" y="12309"/>
                      <a:pt x="5710" y="13575"/>
                      <a:pt x="5710" y="13575"/>
                    </a:cubicBezTo>
                    <a:lnTo>
                      <a:pt x="6588" y="13480"/>
                    </a:lnTo>
                    <a:lnTo>
                      <a:pt x="6783" y="11310"/>
                    </a:lnTo>
                    <a:lnTo>
                      <a:pt x="7762" y="11168"/>
                    </a:lnTo>
                    <a:lnTo>
                      <a:pt x="8676" y="11917"/>
                    </a:lnTo>
                    <a:lnTo>
                      <a:pt x="9101" y="10556"/>
                    </a:lnTo>
                    <a:lnTo>
                      <a:pt x="9341" y="9449"/>
                    </a:lnTo>
                    <a:cubicBezTo>
                      <a:pt x="9341" y="9449"/>
                      <a:pt x="10502" y="9883"/>
                      <a:pt x="10502" y="10156"/>
                    </a:cubicBezTo>
                    <a:cubicBezTo>
                      <a:pt x="10502" y="10430"/>
                      <a:pt x="9119" y="12290"/>
                      <a:pt x="8942" y="12664"/>
                    </a:cubicBezTo>
                    <a:cubicBezTo>
                      <a:pt x="8765" y="13039"/>
                      <a:pt x="8340" y="13752"/>
                      <a:pt x="8340" y="14311"/>
                    </a:cubicBezTo>
                    <a:cubicBezTo>
                      <a:pt x="8340" y="14869"/>
                      <a:pt x="8690" y="15154"/>
                      <a:pt x="8690" y="15154"/>
                    </a:cubicBezTo>
                    <a:lnTo>
                      <a:pt x="9962" y="12706"/>
                    </a:lnTo>
                    <a:lnTo>
                      <a:pt x="10871" y="11951"/>
                    </a:lnTo>
                    <a:cubicBezTo>
                      <a:pt x="10871" y="11951"/>
                      <a:pt x="11261" y="11655"/>
                      <a:pt x="11363" y="11381"/>
                    </a:cubicBezTo>
                    <a:cubicBezTo>
                      <a:pt x="11465" y="11107"/>
                      <a:pt x="12383" y="10067"/>
                      <a:pt x="12383" y="10067"/>
                    </a:cubicBezTo>
                    <a:lnTo>
                      <a:pt x="13513" y="7951"/>
                    </a:lnTo>
                    <a:cubicBezTo>
                      <a:pt x="13513" y="7951"/>
                      <a:pt x="13895" y="7143"/>
                      <a:pt x="13615" y="7143"/>
                    </a:cubicBezTo>
                    <a:cubicBezTo>
                      <a:pt x="13335" y="7143"/>
                      <a:pt x="11780" y="7001"/>
                      <a:pt x="11780" y="7001"/>
                    </a:cubicBezTo>
                    <a:lnTo>
                      <a:pt x="9905" y="6858"/>
                    </a:lnTo>
                    <a:cubicBezTo>
                      <a:pt x="9905" y="6858"/>
                      <a:pt x="10579" y="1214"/>
                      <a:pt x="11177" y="607"/>
                    </a:cubicBezTo>
                    <a:cubicBezTo>
                      <a:pt x="11776" y="0"/>
                      <a:pt x="12051" y="0"/>
                      <a:pt x="12051" y="0"/>
                    </a:cubicBezTo>
                    <a:lnTo>
                      <a:pt x="11838" y="1213"/>
                    </a:lnTo>
                    <a:lnTo>
                      <a:pt x="12259" y="1629"/>
                    </a:lnTo>
                    <a:lnTo>
                      <a:pt x="12751" y="1107"/>
                    </a:lnTo>
                    <a:lnTo>
                      <a:pt x="13177" y="114"/>
                    </a:lnTo>
                    <a:lnTo>
                      <a:pt x="13696" y="399"/>
                    </a:lnTo>
                    <a:lnTo>
                      <a:pt x="14507" y="263"/>
                    </a:lnTo>
                    <a:lnTo>
                      <a:pt x="13881" y="1565"/>
                    </a:lnTo>
                    <a:lnTo>
                      <a:pt x="14369" y="1939"/>
                    </a:lnTo>
                    <a:lnTo>
                      <a:pt x="14157" y="3027"/>
                    </a:lnTo>
                    <a:lnTo>
                      <a:pt x="13452" y="3918"/>
                    </a:lnTo>
                    <a:lnTo>
                      <a:pt x="13554" y="5054"/>
                    </a:lnTo>
                    <a:lnTo>
                      <a:pt x="14073" y="4769"/>
                    </a:lnTo>
                    <a:lnTo>
                      <a:pt x="14774" y="3206"/>
                    </a:lnTo>
                    <a:lnTo>
                      <a:pt x="15053" y="4383"/>
                    </a:lnTo>
                    <a:lnTo>
                      <a:pt x="14521" y="6510"/>
                    </a:lnTo>
                    <a:lnTo>
                      <a:pt x="13435" y="9482"/>
                    </a:lnTo>
                    <a:lnTo>
                      <a:pt x="13151" y="11122"/>
                    </a:lnTo>
                    <a:lnTo>
                      <a:pt x="13045" y="12875"/>
                    </a:lnTo>
                    <a:lnTo>
                      <a:pt x="14774" y="11788"/>
                    </a:lnTo>
                    <a:lnTo>
                      <a:pt x="14774" y="10659"/>
                    </a:lnTo>
                    <a:lnTo>
                      <a:pt x="15341" y="8995"/>
                    </a:lnTo>
                    <a:lnTo>
                      <a:pt x="16041" y="8097"/>
                    </a:lnTo>
                    <a:lnTo>
                      <a:pt x="16321" y="7105"/>
                    </a:lnTo>
                    <a:lnTo>
                      <a:pt x="17451" y="5839"/>
                    </a:lnTo>
                    <a:lnTo>
                      <a:pt x="18404" y="6831"/>
                    </a:lnTo>
                    <a:cubicBezTo>
                      <a:pt x="18404" y="6831"/>
                      <a:pt x="18931" y="8447"/>
                      <a:pt x="18829" y="8864"/>
                    </a:cubicBezTo>
                    <a:cubicBezTo>
                      <a:pt x="18727" y="9280"/>
                      <a:pt x="18231" y="10314"/>
                      <a:pt x="18231" y="10314"/>
                    </a:cubicBezTo>
                    <a:cubicBezTo>
                      <a:pt x="18231" y="10314"/>
                      <a:pt x="18443" y="11544"/>
                      <a:pt x="18443" y="11824"/>
                    </a:cubicBezTo>
                    <a:cubicBezTo>
                      <a:pt x="18443" y="12103"/>
                      <a:pt x="18337" y="13417"/>
                      <a:pt x="18337" y="13417"/>
                    </a:cubicBezTo>
                    <a:lnTo>
                      <a:pt x="18762" y="14451"/>
                    </a:lnTo>
                    <a:lnTo>
                      <a:pt x="19081" y="15824"/>
                    </a:lnTo>
                    <a:lnTo>
                      <a:pt x="19959" y="15729"/>
                    </a:lnTo>
                    <a:lnTo>
                      <a:pt x="19959" y="14505"/>
                    </a:lnTo>
                    <a:cubicBezTo>
                      <a:pt x="19959" y="14505"/>
                      <a:pt x="19006" y="13216"/>
                      <a:pt x="19006" y="12942"/>
                    </a:cubicBezTo>
                    <a:cubicBezTo>
                      <a:pt x="19006" y="12668"/>
                      <a:pt x="19499" y="12383"/>
                      <a:pt x="19499" y="12383"/>
                    </a:cubicBezTo>
                    <a:cubicBezTo>
                      <a:pt x="19499" y="12383"/>
                      <a:pt x="20261" y="11592"/>
                      <a:pt x="19880" y="11497"/>
                    </a:cubicBezTo>
                    <a:cubicBezTo>
                      <a:pt x="19499" y="11402"/>
                      <a:pt x="18789" y="10868"/>
                      <a:pt x="18789" y="10594"/>
                    </a:cubicBezTo>
                    <a:cubicBezTo>
                      <a:pt x="18789" y="10320"/>
                      <a:pt x="19742" y="9755"/>
                      <a:pt x="19742" y="9755"/>
                    </a:cubicBezTo>
                    <a:lnTo>
                      <a:pt x="20682" y="10320"/>
                    </a:lnTo>
                    <a:lnTo>
                      <a:pt x="21139" y="9666"/>
                    </a:lnTo>
                    <a:lnTo>
                      <a:pt x="21210" y="13558"/>
                    </a:lnTo>
                    <a:cubicBezTo>
                      <a:pt x="21210" y="13558"/>
                      <a:pt x="21600" y="16219"/>
                      <a:pt x="21600" y="16499"/>
                    </a:cubicBezTo>
                    <a:cubicBezTo>
                      <a:pt x="21600" y="16778"/>
                      <a:pt x="21600" y="20385"/>
                      <a:pt x="21600" y="20385"/>
                    </a:cubicBezTo>
                    <a:lnTo>
                      <a:pt x="21277" y="21600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Regular"/>
                  <a:ea typeface="思源黑体 CN Normal"/>
                  <a:cs typeface="+mn-cs"/>
                </a:endParaRPr>
              </a:p>
            </p:txBody>
          </p:sp>
          <p:sp>
            <p:nvSpPr>
              <p:cNvPr id="721" name="Shape 721"/>
              <p:cNvSpPr/>
              <p:nvPr/>
            </p:nvSpPr>
            <p:spPr>
              <a:xfrm>
                <a:off x="3197337" y="300323"/>
                <a:ext cx="396800" cy="115990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14" y="0"/>
                    </a:moveTo>
                    <a:lnTo>
                      <a:pt x="12196" y="5397"/>
                    </a:lnTo>
                    <a:lnTo>
                      <a:pt x="16312" y="8504"/>
                    </a:lnTo>
                    <a:lnTo>
                      <a:pt x="21600" y="12014"/>
                    </a:lnTo>
                    <a:lnTo>
                      <a:pt x="21600" y="16014"/>
                    </a:lnTo>
                    <a:lnTo>
                      <a:pt x="16312" y="19523"/>
                    </a:lnTo>
                    <a:lnTo>
                      <a:pt x="11644" y="21600"/>
                    </a:lnTo>
                    <a:lnTo>
                      <a:pt x="9037" y="19813"/>
                    </a:lnTo>
                    <a:lnTo>
                      <a:pt x="14289" y="16002"/>
                    </a:lnTo>
                    <a:cubicBezTo>
                      <a:pt x="14289" y="16002"/>
                      <a:pt x="15171" y="13977"/>
                      <a:pt x="15171" y="13386"/>
                    </a:cubicBezTo>
                    <a:cubicBezTo>
                      <a:pt x="15171" y="12795"/>
                      <a:pt x="12563" y="11586"/>
                      <a:pt x="12563" y="10995"/>
                    </a:cubicBezTo>
                    <a:cubicBezTo>
                      <a:pt x="12563" y="10404"/>
                      <a:pt x="4958" y="10493"/>
                      <a:pt x="4958" y="8291"/>
                    </a:cubicBezTo>
                    <a:cubicBezTo>
                      <a:pt x="4958" y="6090"/>
                      <a:pt x="4079" y="4693"/>
                      <a:pt x="4079" y="4693"/>
                    </a:cubicBezTo>
                    <a:lnTo>
                      <a:pt x="0" y="1611"/>
                    </a:lnTo>
                    <a:lnTo>
                      <a:pt x="2314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Regular"/>
                  <a:ea typeface="思源黑体 CN Normal"/>
                  <a:cs typeface="+mn-cs"/>
                </a:endParaRPr>
              </a:p>
            </p:txBody>
          </p:sp>
          <p:sp>
            <p:nvSpPr>
              <p:cNvPr id="722" name="Shape 722"/>
              <p:cNvSpPr/>
              <p:nvPr/>
            </p:nvSpPr>
            <p:spPr>
              <a:xfrm>
                <a:off x="3131275" y="942667"/>
                <a:ext cx="214582" cy="53293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28" y="655"/>
                    </a:moveTo>
                    <a:lnTo>
                      <a:pt x="21600" y="0"/>
                    </a:lnTo>
                    <a:lnTo>
                      <a:pt x="21600" y="6954"/>
                    </a:lnTo>
                    <a:lnTo>
                      <a:pt x="13997" y="21600"/>
                    </a:lnTo>
                    <a:lnTo>
                      <a:pt x="0" y="17851"/>
                    </a:lnTo>
                    <a:lnTo>
                      <a:pt x="1626" y="2821"/>
                    </a:lnTo>
                    <a:lnTo>
                      <a:pt x="5366" y="13251"/>
                    </a:lnTo>
                    <a:lnTo>
                      <a:pt x="11210" y="7225"/>
                    </a:lnTo>
                    <a:lnTo>
                      <a:pt x="10928" y="655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Regular"/>
                  <a:ea typeface="思源黑体 CN Normal"/>
                  <a:cs typeface="+mn-cs"/>
                </a:endParaRPr>
              </a:p>
            </p:txBody>
          </p:sp>
          <p:sp>
            <p:nvSpPr>
              <p:cNvPr id="723" name="Shape 723"/>
              <p:cNvSpPr/>
              <p:nvPr/>
            </p:nvSpPr>
            <p:spPr>
              <a:xfrm>
                <a:off x="2702539" y="170493"/>
                <a:ext cx="251681" cy="74512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278" y="0"/>
                    </a:moveTo>
                    <a:lnTo>
                      <a:pt x="13893" y="7460"/>
                    </a:lnTo>
                    <a:lnTo>
                      <a:pt x="12501" y="12279"/>
                    </a:lnTo>
                    <a:lnTo>
                      <a:pt x="20266" y="14434"/>
                    </a:lnTo>
                    <a:lnTo>
                      <a:pt x="21600" y="21600"/>
                    </a:lnTo>
                    <a:lnTo>
                      <a:pt x="11412" y="17565"/>
                    </a:lnTo>
                    <a:lnTo>
                      <a:pt x="3075" y="12260"/>
                    </a:lnTo>
                    <a:lnTo>
                      <a:pt x="7243" y="7737"/>
                    </a:lnTo>
                    <a:lnTo>
                      <a:pt x="0" y="4974"/>
                    </a:lnTo>
                    <a:lnTo>
                      <a:pt x="4278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Regular"/>
                  <a:ea typeface="思源黑体 CN Normal"/>
                  <a:cs typeface="+mn-cs"/>
                </a:endParaRPr>
              </a:p>
            </p:txBody>
          </p:sp>
          <p:sp>
            <p:nvSpPr>
              <p:cNvPr id="724" name="Shape 724"/>
              <p:cNvSpPr/>
              <p:nvPr/>
            </p:nvSpPr>
            <p:spPr>
              <a:xfrm>
                <a:off x="2237675" y="337096"/>
                <a:ext cx="762084" cy="105116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986" y="4859"/>
                    </a:moveTo>
                    <a:lnTo>
                      <a:pt x="6884" y="0"/>
                    </a:lnTo>
                    <a:lnTo>
                      <a:pt x="9754" y="5387"/>
                    </a:lnTo>
                    <a:lnTo>
                      <a:pt x="9295" y="10037"/>
                    </a:lnTo>
                    <a:lnTo>
                      <a:pt x="11895" y="12022"/>
                    </a:lnTo>
                    <a:lnTo>
                      <a:pt x="14136" y="8150"/>
                    </a:lnTo>
                    <a:lnTo>
                      <a:pt x="16394" y="11217"/>
                    </a:lnTo>
                    <a:lnTo>
                      <a:pt x="16394" y="14522"/>
                    </a:lnTo>
                    <a:lnTo>
                      <a:pt x="19361" y="14842"/>
                    </a:lnTo>
                    <a:lnTo>
                      <a:pt x="21600" y="14189"/>
                    </a:lnTo>
                    <a:lnTo>
                      <a:pt x="21600" y="18922"/>
                    </a:lnTo>
                    <a:lnTo>
                      <a:pt x="20665" y="21600"/>
                    </a:lnTo>
                    <a:lnTo>
                      <a:pt x="16571" y="19713"/>
                    </a:lnTo>
                    <a:lnTo>
                      <a:pt x="12764" y="15104"/>
                    </a:lnTo>
                    <a:lnTo>
                      <a:pt x="9032" y="12590"/>
                    </a:lnTo>
                    <a:lnTo>
                      <a:pt x="5856" y="8659"/>
                    </a:lnTo>
                    <a:lnTo>
                      <a:pt x="900" y="7451"/>
                    </a:lnTo>
                    <a:lnTo>
                      <a:pt x="0" y="3691"/>
                    </a:lnTo>
                    <a:lnTo>
                      <a:pt x="2564" y="1065"/>
                    </a:lnTo>
                    <a:lnTo>
                      <a:pt x="5986" y="4859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Regular"/>
                  <a:ea typeface="思源黑体 CN Normal"/>
                  <a:cs typeface="+mn-cs"/>
                </a:endParaRPr>
              </a:p>
            </p:txBody>
          </p:sp>
          <p:sp>
            <p:nvSpPr>
              <p:cNvPr id="725" name="Shape 725"/>
              <p:cNvSpPr/>
              <p:nvPr/>
            </p:nvSpPr>
            <p:spPr>
              <a:xfrm>
                <a:off x="2290378" y="858363"/>
                <a:ext cx="352354" cy="65936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211" y="2479"/>
                    </a:lnTo>
                    <a:lnTo>
                      <a:pt x="17707" y="8610"/>
                    </a:lnTo>
                    <a:lnTo>
                      <a:pt x="21600" y="13835"/>
                    </a:lnTo>
                    <a:lnTo>
                      <a:pt x="15023" y="16821"/>
                    </a:lnTo>
                    <a:lnTo>
                      <a:pt x="7452" y="21600"/>
                    </a:lnTo>
                    <a:lnTo>
                      <a:pt x="7452" y="15979"/>
                    </a:lnTo>
                    <a:lnTo>
                      <a:pt x="11673" y="13231"/>
                    </a:lnTo>
                    <a:lnTo>
                      <a:pt x="10020" y="6302"/>
                    </a:lnTo>
                    <a:lnTo>
                      <a:pt x="2278" y="38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Regular"/>
                  <a:ea typeface="思源黑体 CN Normal"/>
                  <a:cs typeface="+mn-cs"/>
                </a:endParaRPr>
              </a:p>
            </p:txBody>
          </p:sp>
          <p:sp>
            <p:nvSpPr>
              <p:cNvPr id="726" name="Shape 726"/>
              <p:cNvSpPr/>
              <p:nvPr/>
            </p:nvSpPr>
            <p:spPr>
              <a:xfrm>
                <a:off x="4046432" y="640520"/>
                <a:ext cx="262488" cy="58156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24" y="0"/>
                    </a:moveTo>
                    <a:lnTo>
                      <a:pt x="21600" y="9985"/>
                    </a:lnTo>
                    <a:lnTo>
                      <a:pt x="17603" y="21600"/>
                    </a:lnTo>
                    <a:lnTo>
                      <a:pt x="12276" y="12121"/>
                    </a:lnTo>
                    <a:lnTo>
                      <a:pt x="6056" y="20124"/>
                    </a:lnTo>
                    <a:lnTo>
                      <a:pt x="2168" y="16986"/>
                    </a:lnTo>
                    <a:lnTo>
                      <a:pt x="0" y="5371"/>
                    </a:lnTo>
                    <a:lnTo>
                      <a:pt x="7780" y="7554"/>
                    </a:lnTo>
                    <a:lnTo>
                      <a:pt x="1632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Regular"/>
                  <a:ea typeface="思源黑体 CN Normal"/>
                  <a:cs typeface="+mn-cs"/>
                </a:endParaRPr>
              </a:p>
            </p:txBody>
          </p:sp>
          <p:sp>
            <p:nvSpPr>
              <p:cNvPr id="727" name="Shape 727"/>
              <p:cNvSpPr/>
              <p:nvPr/>
            </p:nvSpPr>
            <p:spPr>
              <a:xfrm>
                <a:off x="4052202" y="1461137"/>
                <a:ext cx="142991" cy="2160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7589" h="21600" extrusionOk="0">
                    <a:moveTo>
                      <a:pt x="5796" y="0"/>
                    </a:moveTo>
                    <a:cubicBezTo>
                      <a:pt x="5796" y="0"/>
                      <a:pt x="-4011" y="16745"/>
                      <a:pt x="1889" y="18362"/>
                    </a:cubicBezTo>
                    <a:cubicBezTo>
                      <a:pt x="7790" y="19978"/>
                      <a:pt x="13683" y="21600"/>
                      <a:pt x="13683" y="21600"/>
                    </a:cubicBezTo>
                    <a:lnTo>
                      <a:pt x="17589" y="10931"/>
                    </a:lnTo>
                    <a:lnTo>
                      <a:pt x="579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Regular"/>
                  <a:ea typeface="思源黑体 CN Normal"/>
                  <a:cs typeface="+mn-cs"/>
                </a:endParaRPr>
              </a:p>
            </p:txBody>
          </p:sp>
          <p:sp>
            <p:nvSpPr>
              <p:cNvPr id="728" name="Shape 728"/>
              <p:cNvSpPr/>
              <p:nvPr/>
            </p:nvSpPr>
            <p:spPr>
              <a:xfrm>
                <a:off x="4629757" y="1007704"/>
                <a:ext cx="307847" cy="4722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829"/>
                    </a:moveTo>
                    <a:lnTo>
                      <a:pt x="21600" y="21600"/>
                    </a:lnTo>
                    <a:lnTo>
                      <a:pt x="8346" y="0"/>
                    </a:lnTo>
                    <a:lnTo>
                      <a:pt x="0" y="1829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Regular"/>
                  <a:ea typeface="思源黑体 CN Normal"/>
                  <a:cs typeface="+mn-cs"/>
                </a:endParaRPr>
              </a:p>
            </p:txBody>
          </p:sp>
          <p:sp>
            <p:nvSpPr>
              <p:cNvPr id="729" name="Shape 729"/>
              <p:cNvSpPr/>
              <p:nvPr/>
            </p:nvSpPr>
            <p:spPr>
              <a:xfrm>
                <a:off x="5926593" y="2257078"/>
                <a:ext cx="598688" cy="7734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013" y="3264"/>
                    </a:moveTo>
                    <a:lnTo>
                      <a:pt x="6013" y="0"/>
                    </a:lnTo>
                    <a:lnTo>
                      <a:pt x="0" y="0"/>
                    </a:lnTo>
                    <a:lnTo>
                      <a:pt x="0" y="7810"/>
                    </a:lnTo>
                    <a:lnTo>
                      <a:pt x="1168" y="13809"/>
                    </a:lnTo>
                    <a:lnTo>
                      <a:pt x="7525" y="18636"/>
                    </a:lnTo>
                    <a:lnTo>
                      <a:pt x="11302" y="21600"/>
                    </a:lnTo>
                    <a:lnTo>
                      <a:pt x="18336" y="20561"/>
                    </a:lnTo>
                    <a:lnTo>
                      <a:pt x="21015" y="18034"/>
                    </a:lnTo>
                    <a:lnTo>
                      <a:pt x="21600" y="12789"/>
                    </a:lnTo>
                    <a:lnTo>
                      <a:pt x="20042" y="7525"/>
                    </a:lnTo>
                    <a:lnTo>
                      <a:pt x="18312" y="14961"/>
                    </a:lnTo>
                    <a:lnTo>
                      <a:pt x="16754" y="17604"/>
                    </a:lnTo>
                    <a:lnTo>
                      <a:pt x="15587" y="10531"/>
                    </a:lnTo>
                    <a:lnTo>
                      <a:pt x="12734" y="7550"/>
                    </a:lnTo>
                    <a:lnTo>
                      <a:pt x="8086" y="11605"/>
                    </a:lnTo>
                    <a:lnTo>
                      <a:pt x="5967" y="9983"/>
                    </a:lnTo>
                    <a:lnTo>
                      <a:pt x="11543" y="3868"/>
                    </a:lnTo>
                    <a:lnTo>
                      <a:pt x="8498" y="1944"/>
                    </a:lnTo>
                    <a:lnTo>
                      <a:pt x="6013" y="3264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Regular"/>
                  <a:ea typeface="思源黑体 CN Normal"/>
                  <a:cs typeface="+mn-cs"/>
                </a:endParaRPr>
              </a:p>
            </p:txBody>
          </p:sp>
          <p:sp>
            <p:nvSpPr>
              <p:cNvPr id="730" name="Shape 730"/>
              <p:cNvSpPr/>
              <p:nvPr/>
            </p:nvSpPr>
            <p:spPr>
              <a:xfrm>
                <a:off x="6431593" y="2273063"/>
                <a:ext cx="325331" cy="70191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780" y="7588"/>
                    </a:lnTo>
                    <a:lnTo>
                      <a:pt x="12856" y="15861"/>
                    </a:lnTo>
                    <a:lnTo>
                      <a:pt x="13888" y="21102"/>
                    </a:lnTo>
                    <a:lnTo>
                      <a:pt x="20524" y="21600"/>
                    </a:lnTo>
                    <a:cubicBezTo>
                      <a:pt x="20524" y="21600"/>
                      <a:pt x="21600" y="15450"/>
                      <a:pt x="21600" y="13993"/>
                    </a:cubicBezTo>
                    <a:cubicBezTo>
                      <a:pt x="21600" y="12536"/>
                      <a:pt x="21600" y="6404"/>
                      <a:pt x="21600" y="6404"/>
                    </a:cubicBezTo>
                    <a:lnTo>
                      <a:pt x="15150" y="3432"/>
                    </a:lnTo>
                    <a:lnTo>
                      <a:pt x="8829" y="24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Regular"/>
                  <a:ea typeface="思源黑体 CN Normal"/>
                  <a:cs typeface="+mn-cs"/>
                </a:endParaRPr>
              </a:p>
            </p:txBody>
          </p:sp>
          <p:sp>
            <p:nvSpPr>
              <p:cNvPr id="731" name="Shape 731"/>
              <p:cNvSpPr/>
              <p:nvPr/>
            </p:nvSpPr>
            <p:spPr>
              <a:xfrm>
                <a:off x="4378017" y="755520"/>
                <a:ext cx="210089" cy="64982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994" y="0"/>
                    </a:moveTo>
                    <a:lnTo>
                      <a:pt x="0" y="15424"/>
                    </a:lnTo>
                    <a:lnTo>
                      <a:pt x="10769" y="16501"/>
                    </a:lnTo>
                    <a:lnTo>
                      <a:pt x="10144" y="21600"/>
                    </a:lnTo>
                    <a:lnTo>
                      <a:pt x="21600" y="20523"/>
                    </a:lnTo>
                    <a:lnTo>
                      <a:pt x="10925" y="9411"/>
                    </a:lnTo>
                    <a:lnTo>
                      <a:pt x="499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Regular"/>
                  <a:ea typeface="思源黑体 CN Normal"/>
                  <a:cs typeface="+mn-cs"/>
                </a:endParaRPr>
              </a:p>
            </p:txBody>
          </p:sp>
        </p:grpSp>
        <p:sp>
          <p:nvSpPr>
            <p:cNvPr id="733" name="Shape 733"/>
            <p:cNvSpPr/>
            <p:nvPr/>
          </p:nvSpPr>
          <p:spPr>
            <a:xfrm>
              <a:off x="3364071" y="1776645"/>
              <a:ext cx="2441728" cy="143055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16" y="11035"/>
                  </a:moveTo>
                  <a:lnTo>
                    <a:pt x="309" y="21600"/>
                  </a:lnTo>
                  <a:lnTo>
                    <a:pt x="2131" y="21355"/>
                  </a:lnTo>
                  <a:cubicBezTo>
                    <a:pt x="2131" y="21355"/>
                    <a:pt x="4206" y="20144"/>
                    <a:pt x="4505" y="20144"/>
                  </a:cubicBezTo>
                  <a:cubicBezTo>
                    <a:pt x="4805" y="20144"/>
                    <a:pt x="8166" y="20144"/>
                    <a:pt x="8166" y="20144"/>
                  </a:cubicBezTo>
                  <a:lnTo>
                    <a:pt x="11012" y="20389"/>
                  </a:lnTo>
                  <a:lnTo>
                    <a:pt x="14756" y="20155"/>
                  </a:lnTo>
                  <a:lnTo>
                    <a:pt x="17188" y="19910"/>
                  </a:lnTo>
                  <a:lnTo>
                    <a:pt x="20084" y="19665"/>
                  </a:lnTo>
                  <a:lnTo>
                    <a:pt x="20084" y="18454"/>
                  </a:lnTo>
                  <a:lnTo>
                    <a:pt x="21600" y="16673"/>
                  </a:lnTo>
                  <a:lnTo>
                    <a:pt x="20683" y="13598"/>
                  </a:lnTo>
                  <a:lnTo>
                    <a:pt x="18149" y="9536"/>
                  </a:lnTo>
                  <a:lnTo>
                    <a:pt x="18862" y="14412"/>
                  </a:lnTo>
                  <a:lnTo>
                    <a:pt x="19505" y="15360"/>
                  </a:lnTo>
                  <a:lnTo>
                    <a:pt x="18793" y="16969"/>
                  </a:lnTo>
                  <a:lnTo>
                    <a:pt x="17888" y="16633"/>
                  </a:lnTo>
                  <a:lnTo>
                    <a:pt x="16825" y="15259"/>
                  </a:lnTo>
                  <a:lnTo>
                    <a:pt x="15762" y="16236"/>
                  </a:lnTo>
                  <a:lnTo>
                    <a:pt x="15310" y="17213"/>
                  </a:lnTo>
                  <a:lnTo>
                    <a:pt x="12865" y="17295"/>
                  </a:lnTo>
                  <a:cubicBezTo>
                    <a:pt x="12865" y="17295"/>
                    <a:pt x="12521" y="15656"/>
                    <a:pt x="12967" y="15187"/>
                  </a:cubicBezTo>
                  <a:cubicBezTo>
                    <a:pt x="13413" y="14718"/>
                    <a:pt x="14285" y="14240"/>
                    <a:pt x="14686" y="14240"/>
                  </a:cubicBezTo>
                  <a:cubicBezTo>
                    <a:pt x="15088" y="14240"/>
                    <a:pt x="15699" y="13099"/>
                    <a:pt x="15699" y="13099"/>
                  </a:cubicBezTo>
                  <a:lnTo>
                    <a:pt x="15546" y="11236"/>
                  </a:lnTo>
                  <a:lnTo>
                    <a:pt x="12949" y="10748"/>
                  </a:lnTo>
                  <a:lnTo>
                    <a:pt x="12796" y="8875"/>
                  </a:lnTo>
                  <a:lnTo>
                    <a:pt x="11020" y="7908"/>
                  </a:lnTo>
                  <a:cubicBezTo>
                    <a:pt x="11020" y="7908"/>
                    <a:pt x="11166" y="8693"/>
                    <a:pt x="11313" y="9100"/>
                  </a:cubicBezTo>
                  <a:cubicBezTo>
                    <a:pt x="11460" y="9507"/>
                    <a:pt x="11912" y="12907"/>
                    <a:pt x="11912" y="12907"/>
                  </a:cubicBezTo>
                  <a:lnTo>
                    <a:pt x="11453" y="16298"/>
                  </a:lnTo>
                  <a:lnTo>
                    <a:pt x="10129" y="17418"/>
                  </a:lnTo>
                  <a:cubicBezTo>
                    <a:pt x="10129" y="17418"/>
                    <a:pt x="9524" y="17390"/>
                    <a:pt x="9524" y="16197"/>
                  </a:cubicBezTo>
                  <a:cubicBezTo>
                    <a:pt x="9524" y="15005"/>
                    <a:pt x="9524" y="14272"/>
                    <a:pt x="9524" y="14272"/>
                  </a:cubicBezTo>
                  <a:cubicBezTo>
                    <a:pt x="9524" y="14272"/>
                    <a:pt x="8754" y="13549"/>
                    <a:pt x="8149" y="13549"/>
                  </a:cubicBezTo>
                  <a:cubicBezTo>
                    <a:pt x="8149" y="13549"/>
                    <a:pt x="7245" y="11758"/>
                    <a:pt x="7092" y="11116"/>
                  </a:cubicBezTo>
                  <a:cubicBezTo>
                    <a:pt x="6940" y="10474"/>
                    <a:pt x="6679" y="9569"/>
                    <a:pt x="6227" y="8602"/>
                  </a:cubicBezTo>
                  <a:cubicBezTo>
                    <a:pt x="5775" y="7634"/>
                    <a:pt x="5316" y="6648"/>
                    <a:pt x="5316" y="6169"/>
                  </a:cubicBezTo>
                  <a:cubicBezTo>
                    <a:pt x="5316" y="5689"/>
                    <a:pt x="5322" y="3267"/>
                    <a:pt x="4870" y="3267"/>
                  </a:cubicBezTo>
                  <a:cubicBezTo>
                    <a:pt x="4418" y="3267"/>
                    <a:pt x="2992" y="4162"/>
                    <a:pt x="2992" y="4162"/>
                  </a:cubicBezTo>
                  <a:lnTo>
                    <a:pt x="2178" y="5953"/>
                  </a:lnTo>
                  <a:lnTo>
                    <a:pt x="1222" y="5436"/>
                  </a:lnTo>
                  <a:lnTo>
                    <a:pt x="0" y="0"/>
                  </a:lnTo>
                  <a:lnTo>
                    <a:pt x="316" y="11035"/>
                  </a:lnTo>
                  <a:close/>
                </a:path>
              </a:pathLst>
            </a:custGeom>
            <a:solidFill>
              <a:schemeClr val="bg1">
                <a:lumMod val="95000"/>
                <a:alpha val="5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</p:grpSp>
      <p:sp>
        <p:nvSpPr>
          <p:cNvPr id="735" name="Shape 73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486142" y="2290053"/>
            <a:ext cx="2394656" cy="3355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701" h="16978" extrusionOk="0">
                <a:moveTo>
                  <a:pt x="3161" y="0"/>
                </a:moveTo>
                <a:cubicBezTo>
                  <a:pt x="3161" y="0"/>
                  <a:pt x="-1421" y="5515"/>
                  <a:pt x="6377" y="10491"/>
                </a:cubicBezTo>
                <a:cubicBezTo>
                  <a:pt x="14175" y="15467"/>
                  <a:pt x="19701" y="12322"/>
                  <a:pt x="19701" y="12322"/>
                </a:cubicBezTo>
                <a:cubicBezTo>
                  <a:pt x="19701" y="12322"/>
                  <a:pt x="6838" y="21600"/>
                  <a:pt x="2470" y="13963"/>
                </a:cubicBezTo>
                <a:cubicBezTo>
                  <a:pt x="-1899" y="6326"/>
                  <a:pt x="295" y="1072"/>
                  <a:pt x="3161" y="0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Regular"/>
              <a:ea typeface="思源黑体 CN Normal"/>
              <a:cs typeface="+mn-cs"/>
            </a:endParaRPr>
          </a:p>
        </p:txBody>
      </p:sp>
      <p:sp>
        <p:nvSpPr>
          <p:cNvPr id="736" name="Shape 73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344826" y="2342312"/>
            <a:ext cx="2668865" cy="3647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8903" h="20158" extrusionOk="0">
                <a:moveTo>
                  <a:pt x="7" y="20157"/>
                </a:moveTo>
                <a:cubicBezTo>
                  <a:pt x="-396" y="20298"/>
                  <a:pt x="18426" y="9937"/>
                  <a:pt x="17517" y="4317"/>
                </a:cubicBezTo>
                <a:cubicBezTo>
                  <a:pt x="16607" y="-1302"/>
                  <a:pt x="16548" y="176"/>
                  <a:pt x="16548" y="176"/>
                </a:cubicBezTo>
                <a:cubicBezTo>
                  <a:pt x="16548" y="176"/>
                  <a:pt x="18797" y="575"/>
                  <a:pt x="18816" y="3608"/>
                </a:cubicBezTo>
                <a:cubicBezTo>
                  <a:pt x="18835" y="6642"/>
                  <a:pt x="21204" y="12710"/>
                  <a:pt x="7" y="20157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Regular"/>
              <a:ea typeface="思源黑体 CN Normal"/>
              <a:cs typeface="+mn-cs"/>
            </a:endParaRPr>
          </a:p>
        </p:txBody>
      </p:sp>
      <p:sp>
        <p:nvSpPr>
          <p:cNvPr id="737" name="Shape 73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590877" y="2730355"/>
            <a:ext cx="2630953" cy="1555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66" h="11685" extrusionOk="0">
                <a:moveTo>
                  <a:pt x="12" y="6066"/>
                </a:moveTo>
                <a:cubicBezTo>
                  <a:pt x="-334" y="5624"/>
                  <a:pt x="7152" y="10914"/>
                  <a:pt x="13688" y="6066"/>
                </a:cubicBezTo>
                <a:cubicBezTo>
                  <a:pt x="20224" y="1217"/>
                  <a:pt x="21266" y="0"/>
                  <a:pt x="21266" y="0"/>
                </a:cubicBezTo>
                <a:cubicBezTo>
                  <a:pt x="21266" y="0"/>
                  <a:pt x="12181" y="21600"/>
                  <a:pt x="12" y="6066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Regular"/>
              <a:ea typeface="思源黑体 CN Normal"/>
              <a:cs typeface="+mn-cs"/>
            </a:endParaRPr>
          </a:p>
        </p:txBody>
      </p:sp>
      <p:grpSp>
        <p:nvGrpSpPr>
          <p:cNvPr id="751" name="Group 75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7829551" y="1936751"/>
            <a:ext cx="869951" cy="521061"/>
            <a:chOff x="0" y="0"/>
            <a:chExt cx="1739900" cy="1042120"/>
          </a:xfrm>
        </p:grpSpPr>
        <p:sp>
          <p:nvSpPr>
            <p:cNvPr id="738" name="Shape 738"/>
            <p:cNvSpPr/>
            <p:nvPr/>
          </p:nvSpPr>
          <p:spPr>
            <a:xfrm>
              <a:off x="0" y="0"/>
              <a:ext cx="1739901" cy="10421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9847"/>
                  </a:moveTo>
                  <a:lnTo>
                    <a:pt x="1796" y="20374"/>
                  </a:lnTo>
                  <a:cubicBezTo>
                    <a:pt x="1796" y="20374"/>
                    <a:pt x="3515" y="20662"/>
                    <a:pt x="3610" y="20764"/>
                  </a:cubicBezTo>
                  <a:cubicBezTo>
                    <a:pt x="3704" y="20865"/>
                    <a:pt x="5402" y="20971"/>
                    <a:pt x="5402" y="20971"/>
                  </a:cubicBezTo>
                  <a:cubicBezTo>
                    <a:pt x="5402" y="20971"/>
                    <a:pt x="6612" y="21078"/>
                    <a:pt x="6708" y="21078"/>
                  </a:cubicBezTo>
                  <a:cubicBezTo>
                    <a:pt x="6804" y="21078"/>
                    <a:pt x="8782" y="21219"/>
                    <a:pt x="8782" y="21219"/>
                  </a:cubicBezTo>
                  <a:lnTo>
                    <a:pt x="9857" y="21529"/>
                  </a:lnTo>
                  <a:lnTo>
                    <a:pt x="10574" y="21600"/>
                  </a:lnTo>
                  <a:lnTo>
                    <a:pt x="14169" y="21356"/>
                  </a:lnTo>
                  <a:lnTo>
                    <a:pt x="15332" y="21144"/>
                  </a:lnTo>
                  <a:cubicBezTo>
                    <a:pt x="15332" y="21144"/>
                    <a:pt x="16084" y="20932"/>
                    <a:pt x="16213" y="20932"/>
                  </a:cubicBezTo>
                  <a:cubicBezTo>
                    <a:pt x="16342" y="20932"/>
                    <a:pt x="17466" y="20932"/>
                    <a:pt x="17466" y="20932"/>
                  </a:cubicBezTo>
                  <a:cubicBezTo>
                    <a:pt x="17466" y="20932"/>
                    <a:pt x="18449" y="21034"/>
                    <a:pt x="18578" y="20932"/>
                  </a:cubicBezTo>
                  <a:cubicBezTo>
                    <a:pt x="18707" y="20830"/>
                    <a:pt x="19606" y="20826"/>
                    <a:pt x="19688" y="20724"/>
                  </a:cubicBezTo>
                  <a:cubicBezTo>
                    <a:pt x="19769" y="20622"/>
                    <a:pt x="20916" y="20551"/>
                    <a:pt x="20916" y="20551"/>
                  </a:cubicBezTo>
                  <a:lnTo>
                    <a:pt x="21600" y="20232"/>
                  </a:lnTo>
                  <a:lnTo>
                    <a:pt x="21354" y="18157"/>
                  </a:lnTo>
                  <a:cubicBezTo>
                    <a:pt x="21354" y="18157"/>
                    <a:pt x="21094" y="16985"/>
                    <a:pt x="21000" y="16299"/>
                  </a:cubicBezTo>
                  <a:cubicBezTo>
                    <a:pt x="20906" y="15612"/>
                    <a:pt x="20418" y="14559"/>
                    <a:pt x="20418" y="14559"/>
                  </a:cubicBezTo>
                  <a:lnTo>
                    <a:pt x="19800" y="14134"/>
                  </a:lnTo>
                  <a:lnTo>
                    <a:pt x="19543" y="14343"/>
                  </a:lnTo>
                  <a:lnTo>
                    <a:pt x="19072" y="13930"/>
                  </a:lnTo>
                  <a:lnTo>
                    <a:pt x="18290" y="13718"/>
                  </a:lnTo>
                  <a:lnTo>
                    <a:pt x="17870" y="12700"/>
                  </a:lnTo>
                  <a:lnTo>
                    <a:pt x="17151" y="12382"/>
                  </a:lnTo>
                  <a:lnTo>
                    <a:pt x="16637" y="11408"/>
                  </a:lnTo>
                  <a:lnTo>
                    <a:pt x="15904" y="11514"/>
                  </a:lnTo>
                  <a:lnTo>
                    <a:pt x="15562" y="10328"/>
                  </a:lnTo>
                  <a:lnTo>
                    <a:pt x="15243" y="9841"/>
                  </a:lnTo>
                  <a:lnTo>
                    <a:pt x="14491" y="6253"/>
                  </a:lnTo>
                  <a:lnTo>
                    <a:pt x="14002" y="6358"/>
                  </a:lnTo>
                  <a:lnTo>
                    <a:pt x="13662" y="4823"/>
                  </a:lnTo>
                  <a:lnTo>
                    <a:pt x="12858" y="3840"/>
                  </a:lnTo>
                  <a:lnTo>
                    <a:pt x="12275" y="4752"/>
                  </a:lnTo>
                  <a:lnTo>
                    <a:pt x="11967" y="4858"/>
                  </a:lnTo>
                  <a:lnTo>
                    <a:pt x="11740" y="2385"/>
                  </a:lnTo>
                  <a:lnTo>
                    <a:pt x="10943" y="1960"/>
                  </a:lnTo>
                  <a:lnTo>
                    <a:pt x="10315" y="739"/>
                  </a:lnTo>
                  <a:lnTo>
                    <a:pt x="9612" y="0"/>
                  </a:lnTo>
                  <a:cubicBezTo>
                    <a:pt x="9612" y="0"/>
                    <a:pt x="9090" y="106"/>
                    <a:pt x="9008" y="212"/>
                  </a:cubicBezTo>
                  <a:cubicBezTo>
                    <a:pt x="8926" y="319"/>
                    <a:pt x="8603" y="810"/>
                    <a:pt x="8603" y="810"/>
                  </a:cubicBezTo>
                  <a:lnTo>
                    <a:pt x="7955" y="1124"/>
                  </a:lnTo>
                  <a:lnTo>
                    <a:pt x="6981" y="2362"/>
                  </a:lnTo>
                  <a:lnTo>
                    <a:pt x="6493" y="3876"/>
                  </a:lnTo>
                  <a:lnTo>
                    <a:pt x="5877" y="4398"/>
                  </a:lnTo>
                  <a:lnTo>
                    <a:pt x="5571" y="4154"/>
                  </a:lnTo>
                  <a:lnTo>
                    <a:pt x="5168" y="4469"/>
                  </a:lnTo>
                  <a:lnTo>
                    <a:pt x="4513" y="8919"/>
                  </a:lnTo>
                  <a:lnTo>
                    <a:pt x="4275" y="10220"/>
                  </a:lnTo>
                  <a:lnTo>
                    <a:pt x="3835" y="10605"/>
                  </a:lnTo>
                  <a:lnTo>
                    <a:pt x="3362" y="10181"/>
                  </a:lnTo>
                  <a:lnTo>
                    <a:pt x="3022" y="10181"/>
                  </a:lnTo>
                  <a:lnTo>
                    <a:pt x="2454" y="10464"/>
                  </a:lnTo>
                  <a:lnTo>
                    <a:pt x="2227" y="10955"/>
                  </a:lnTo>
                  <a:lnTo>
                    <a:pt x="1932" y="11729"/>
                  </a:lnTo>
                  <a:lnTo>
                    <a:pt x="1592" y="12637"/>
                  </a:lnTo>
                  <a:lnTo>
                    <a:pt x="73" y="18463"/>
                  </a:lnTo>
                  <a:lnTo>
                    <a:pt x="0" y="19847"/>
                  </a:lnTo>
                  <a:close/>
                </a:path>
              </a:pathLst>
            </a:custGeom>
            <a:solidFill>
              <a:schemeClr val="accent6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39" name="Shape 739"/>
            <p:cNvSpPr/>
            <p:nvPr/>
          </p:nvSpPr>
          <p:spPr>
            <a:xfrm>
              <a:off x="1217" y="236760"/>
              <a:ext cx="803822" cy="775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77" y="21600"/>
                  </a:moveTo>
                  <a:cubicBezTo>
                    <a:pt x="21277" y="21600"/>
                    <a:pt x="5549" y="20459"/>
                    <a:pt x="3142" y="19936"/>
                  </a:cubicBezTo>
                  <a:cubicBezTo>
                    <a:pt x="736" y="19414"/>
                    <a:pt x="0" y="19271"/>
                    <a:pt x="0" y="19271"/>
                  </a:cubicBezTo>
                  <a:cubicBezTo>
                    <a:pt x="0" y="19271"/>
                    <a:pt x="1364" y="18113"/>
                    <a:pt x="1875" y="17839"/>
                  </a:cubicBezTo>
                  <a:cubicBezTo>
                    <a:pt x="2385" y="17566"/>
                    <a:pt x="3763" y="15813"/>
                    <a:pt x="3763" y="15813"/>
                  </a:cubicBezTo>
                  <a:lnTo>
                    <a:pt x="4606" y="13727"/>
                  </a:lnTo>
                  <a:lnTo>
                    <a:pt x="3941" y="13067"/>
                  </a:lnTo>
                  <a:cubicBezTo>
                    <a:pt x="3941" y="13067"/>
                    <a:pt x="2385" y="15349"/>
                    <a:pt x="2177" y="15628"/>
                  </a:cubicBezTo>
                  <a:cubicBezTo>
                    <a:pt x="1968" y="15907"/>
                    <a:pt x="763" y="17185"/>
                    <a:pt x="763" y="17185"/>
                  </a:cubicBezTo>
                  <a:lnTo>
                    <a:pt x="3099" y="12729"/>
                  </a:lnTo>
                  <a:cubicBezTo>
                    <a:pt x="3099" y="12729"/>
                    <a:pt x="3692" y="11345"/>
                    <a:pt x="3799" y="11065"/>
                  </a:cubicBezTo>
                  <a:cubicBezTo>
                    <a:pt x="3905" y="10786"/>
                    <a:pt x="4535" y="9598"/>
                    <a:pt x="4535" y="9598"/>
                  </a:cubicBezTo>
                  <a:lnTo>
                    <a:pt x="5019" y="10014"/>
                  </a:lnTo>
                  <a:lnTo>
                    <a:pt x="5444" y="8927"/>
                  </a:lnTo>
                  <a:lnTo>
                    <a:pt x="6073" y="9444"/>
                  </a:lnTo>
                  <a:lnTo>
                    <a:pt x="6486" y="8641"/>
                  </a:lnTo>
                  <a:lnTo>
                    <a:pt x="6805" y="9866"/>
                  </a:lnTo>
                  <a:cubicBezTo>
                    <a:pt x="6805" y="9866"/>
                    <a:pt x="5710" y="11559"/>
                    <a:pt x="5604" y="11934"/>
                  </a:cubicBezTo>
                  <a:cubicBezTo>
                    <a:pt x="5498" y="12309"/>
                    <a:pt x="5710" y="13575"/>
                    <a:pt x="5710" y="13575"/>
                  </a:cubicBezTo>
                  <a:lnTo>
                    <a:pt x="6588" y="13480"/>
                  </a:lnTo>
                  <a:lnTo>
                    <a:pt x="6783" y="11310"/>
                  </a:lnTo>
                  <a:lnTo>
                    <a:pt x="7762" y="11168"/>
                  </a:lnTo>
                  <a:lnTo>
                    <a:pt x="8676" y="11917"/>
                  </a:lnTo>
                  <a:lnTo>
                    <a:pt x="9101" y="10556"/>
                  </a:lnTo>
                  <a:lnTo>
                    <a:pt x="9341" y="9449"/>
                  </a:lnTo>
                  <a:cubicBezTo>
                    <a:pt x="9341" y="9449"/>
                    <a:pt x="10502" y="9883"/>
                    <a:pt x="10502" y="10156"/>
                  </a:cubicBezTo>
                  <a:cubicBezTo>
                    <a:pt x="10502" y="10430"/>
                    <a:pt x="9119" y="12290"/>
                    <a:pt x="8942" y="12664"/>
                  </a:cubicBezTo>
                  <a:cubicBezTo>
                    <a:pt x="8765" y="13039"/>
                    <a:pt x="8340" y="13752"/>
                    <a:pt x="8340" y="14311"/>
                  </a:cubicBezTo>
                  <a:cubicBezTo>
                    <a:pt x="8340" y="14869"/>
                    <a:pt x="8690" y="15154"/>
                    <a:pt x="8690" y="15154"/>
                  </a:cubicBezTo>
                  <a:lnTo>
                    <a:pt x="9962" y="12706"/>
                  </a:lnTo>
                  <a:lnTo>
                    <a:pt x="10871" y="11951"/>
                  </a:lnTo>
                  <a:cubicBezTo>
                    <a:pt x="10871" y="11951"/>
                    <a:pt x="11261" y="11655"/>
                    <a:pt x="11363" y="11381"/>
                  </a:cubicBezTo>
                  <a:cubicBezTo>
                    <a:pt x="11465" y="11107"/>
                    <a:pt x="12383" y="10067"/>
                    <a:pt x="12383" y="10067"/>
                  </a:cubicBezTo>
                  <a:lnTo>
                    <a:pt x="13513" y="7951"/>
                  </a:lnTo>
                  <a:cubicBezTo>
                    <a:pt x="13513" y="7951"/>
                    <a:pt x="13895" y="7143"/>
                    <a:pt x="13615" y="7143"/>
                  </a:cubicBezTo>
                  <a:cubicBezTo>
                    <a:pt x="13335" y="7143"/>
                    <a:pt x="11780" y="7001"/>
                    <a:pt x="11780" y="7001"/>
                  </a:cubicBezTo>
                  <a:lnTo>
                    <a:pt x="9905" y="6858"/>
                  </a:lnTo>
                  <a:cubicBezTo>
                    <a:pt x="9905" y="6858"/>
                    <a:pt x="10579" y="1214"/>
                    <a:pt x="11177" y="607"/>
                  </a:cubicBezTo>
                  <a:cubicBezTo>
                    <a:pt x="11776" y="0"/>
                    <a:pt x="12051" y="0"/>
                    <a:pt x="12051" y="0"/>
                  </a:cubicBezTo>
                  <a:lnTo>
                    <a:pt x="11838" y="1213"/>
                  </a:lnTo>
                  <a:lnTo>
                    <a:pt x="12259" y="1629"/>
                  </a:lnTo>
                  <a:lnTo>
                    <a:pt x="12751" y="1107"/>
                  </a:lnTo>
                  <a:lnTo>
                    <a:pt x="13177" y="114"/>
                  </a:lnTo>
                  <a:lnTo>
                    <a:pt x="13696" y="399"/>
                  </a:lnTo>
                  <a:lnTo>
                    <a:pt x="14507" y="263"/>
                  </a:lnTo>
                  <a:lnTo>
                    <a:pt x="13881" y="1565"/>
                  </a:lnTo>
                  <a:lnTo>
                    <a:pt x="14369" y="1939"/>
                  </a:lnTo>
                  <a:lnTo>
                    <a:pt x="14157" y="3027"/>
                  </a:lnTo>
                  <a:lnTo>
                    <a:pt x="13452" y="3918"/>
                  </a:lnTo>
                  <a:lnTo>
                    <a:pt x="13554" y="5054"/>
                  </a:lnTo>
                  <a:lnTo>
                    <a:pt x="14073" y="4769"/>
                  </a:lnTo>
                  <a:lnTo>
                    <a:pt x="14774" y="3206"/>
                  </a:lnTo>
                  <a:lnTo>
                    <a:pt x="15053" y="4383"/>
                  </a:lnTo>
                  <a:lnTo>
                    <a:pt x="14521" y="6510"/>
                  </a:lnTo>
                  <a:lnTo>
                    <a:pt x="13435" y="9482"/>
                  </a:lnTo>
                  <a:lnTo>
                    <a:pt x="13151" y="11122"/>
                  </a:lnTo>
                  <a:lnTo>
                    <a:pt x="13045" y="12875"/>
                  </a:lnTo>
                  <a:lnTo>
                    <a:pt x="14774" y="11788"/>
                  </a:lnTo>
                  <a:lnTo>
                    <a:pt x="14774" y="10659"/>
                  </a:lnTo>
                  <a:lnTo>
                    <a:pt x="15341" y="8995"/>
                  </a:lnTo>
                  <a:lnTo>
                    <a:pt x="16041" y="8097"/>
                  </a:lnTo>
                  <a:lnTo>
                    <a:pt x="16321" y="7105"/>
                  </a:lnTo>
                  <a:lnTo>
                    <a:pt x="17451" y="5839"/>
                  </a:lnTo>
                  <a:lnTo>
                    <a:pt x="18404" y="6831"/>
                  </a:lnTo>
                  <a:cubicBezTo>
                    <a:pt x="18404" y="6831"/>
                    <a:pt x="18931" y="8447"/>
                    <a:pt x="18829" y="8864"/>
                  </a:cubicBezTo>
                  <a:cubicBezTo>
                    <a:pt x="18727" y="9280"/>
                    <a:pt x="18231" y="10314"/>
                    <a:pt x="18231" y="10314"/>
                  </a:cubicBezTo>
                  <a:cubicBezTo>
                    <a:pt x="18231" y="10314"/>
                    <a:pt x="18443" y="11544"/>
                    <a:pt x="18443" y="11824"/>
                  </a:cubicBezTo>
                  <a:cubicBezTo>
                    <a:pt x="18443" y="12103"/>
                    <a:pt x="18337" y="13417"/>
                    <a:pt x="18337" y="13417"/>
                  </a:cubicBezTo>
                  <a:lnTo>
                    <a:pt x="18762" y="14451"/>
                  </a:lnTo>
                  <a:lnTo>
                    <a:pt x="19081" y="15824"/>
                  </a:lnTo>
                  <a:lnTo>
                    <a:pt x="19959" y="15729"/>
                  </a:lnTo>
                  <a:lnTo>
                    <a:pt x="19959" y="14505"/>
                  </a:lnTo>
                  <a:cubicBezTo>
                    <a:pt x="19959" y="14505"/>
                    <a:pt x="19006" y="13216"/>
                    <a:pt x="19006" y="12942"/>
                  </a:cubicBezTo>
                  <a:cubicBezTo>
                    <a:pt x="19006" y="12668"/>
                    <a:pt x="19499" y="12383"/>
                    <a:pt x="19499" y="12383"/>
                  </a:cubicBezTo>
                  <a:cubicBezTo>
                    <a:pt x="19499" y="12383"/>
                    <a:pt x="20261" y="11592"/>
                    <a:pt x="19880" y="11497"/>
                  </a:cubicBezTo>
                  <a:cubicBezTo>
                    <a:pt x="19499" y="11402"/>
                    <a:pt x="18789" y="10868"/>
                    <a:pt x="18789" y="10594"/>
                  </a:cubicBezTo>
                  <a:cubicBezTo>
                    <a:pt x="18789" y="10320"/>
                    <a:pt x="19742" y="9755"/>
                    <a:pt x="19742" y="9755"/>
                  </a:cubicBezTo>
                  <a:lnTo>
                    <a:pt x="20682" y="10320"/>
                  </a:lnTo>
                  <a:lnTo>
                    <a:pt x="21139" y="9666"/>
                  </a:lnTo>
                  <a:lnTo>
                    <a:pt x="21210" y="13558"/>
                  </a:lnTo>
                  <a:cubicBezTo>
                    <a:pt x="21210" y="13558"/>
                    <a:pt x="21600" y="16219"/>
                    <a:pt x="21600" y="16499"/>
                  </a:cubicBezTo>
                  <a:cubicBezTo>
                    <a:pt x="21600" y="16778"/>
                    <a:pt x="21600" y="20385"/>
                    <a:pt x="21600" y="20385"/>
                  </a:cubicBezTo>
                  <a:lnTo>
                    <a:pt x="21277" y="2160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40" name="Shape 740"/>
            <p:cNvSpPr/>
            <p:nvPr/>
          </p:nvSpPr>
          <p:spPr>
            <a:xfrm>
              <a:off x="781558" y="94907"/>
              <a:ext cx="96994" cy="3665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14" y="0"/>
                  </a:moveTo>
                  <a:lnTo>
                    <a:pt x="12196" y="5397"/>
                  </a:lnTo>
                  <a:lnTo>
                    <a:pt x="16312" y="8504"/>
                  </a:lnTo>
                  <a:lnTo>
                    <a:pt x="21600" y="12014"/>
                  </a:lnTo>
                  <a:lnTo>
                    <a:pt x="21600" y="16014"/>
                  </a:lnTo>
                  <a:lnTo>
                    <a:pt x="16312" y="19523"/>
                  </a:lnTo>
                  <a:lnTo>
                    <a:pt x="11644" y="21600"/>
                  </a:lnTo>
                  <a:lnTo>
                    <a:pt x="9037" y="19813"/>
                  </a:lnTo>
                  <a:lnTo>
                    <a:pt x="14289" y="16002"/>
                  </a:lnTo>
                  <a:cubicBezTo>
                    <a:pt x="14289" y="16002"/>
                    <a:pt x="15171" y="13977"/>
                    <a:pt x="15171" y="13386"/>
                  </a:cubicBezTo>
                  <a:cubicBezTo>
                    <a:pt x="15171" y="12795"/>
                    <a:pt x="12563" y="11586"/>
                    <a:pt x="12563" y="10995"/>
                  </a:cubicBezTo>
                  <a:cubicBezTo>
                    <a:pt x="12563" y="10404"/>
                    <a:pt x="4958" y="10493"/>
                    <a:pt x="4958" y="8291"/>
                  </a:cubicBezTo>
                  <a:cubicBezTo>
                    <a:pt x="4958" y="6090"/>
                    <a:pt x="4079" y="4693"/>
                    <a:pt x="4079" y="4693"/>
                  </a:cubicBezTo>
                  <a:lnTo>
                    <a:pt x="0" y="1611"/>
                  </a:lnTo>
                  <a:lnTo>
                    <a:pt x="2314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41" name="Shape 741"/>
            <p:cNvSpPr/>
            <p:nvPr/>
          </p:nvSpPr>
          <p:spPr>
            <a:xfrm>
              <a:off x="765409" y="297899"/>
              <a:ext cx="52453" cy="1684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28" y="655"/>
                  </a:moveTo>
                  <a:lnTo>
                    <a:pt x="21600" y="0"/>
                  </a:lnTo>
                  <a:lnTo>
                    <a:pt x="21600" y="6954"/>
                  </a:lnTo>
                  <a:lnTo>
                    <a:pt x="13997" y="21600"/>
                  </a:lnTo>
                  <a:lnTo>
                    <a:pt x="0" y="17851"/>
                  </a:lnTo>
                  <a:lnTo>
                    <a:pt x="1626" y="2821"/>
                  </a:lnTo>
                  <a:lnTo>
                    <a:pt x="5366" y="13251"/>
                  </a:lnTo>
                  <a:lnTo>
                    <a:pt x="11210" y="7225"/>
                  </a:lnTo>
                  <a:lnTo>
                    <a:pt x="10928" y="655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42" name="Shape 742"/>
            <p:cNvSpPr/>
            <p:nvPr/>
          </p:nvSpPr>
          <p:spPr>
            <a:xfrm>
              <a:off x="660608" y="53878"/>
              <a:ext cx="61522" cy="2354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78" y="0"/>
                  </a:moveTo>
                  <a:lnTo>
                    <a:pt x="13893" y="7460"/>
                  </a:lnTo>
                  <a:lnTo>
                    <a:pt x="12501" y="12279"/>
                  </a:lnTo>
                  <a:lnTo>
                    <a:pt x="20266" y="14434"/>
                  </a:lnTo>
                  <a:lnTo>
                    <a:pt x="21600" y="21600"/>
                  </a:lnTo>
                  <a:lnTo>
                    <a:pt x="11412" y="17565"/>
                  </a:lnTo>
                  <a:lnTo>
                    <a:pt x="3075" y="12260"/>
                  </a:lnTo>
                  <a:lnTo>
                    <a:pt x="7243" y="7737"/>
                  </a:lnTo>
                  <a:lnTo>
                    <a:pt x="0" y="4974"/>
                  </a:lnTo>
                  <a:lnTo>
                    <a:pt x="4278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43" name="Shape 743"/>
            <p:cNvSpPr/>
            <p:nvPr/>
          </p:nvSpPr>
          <p:spPr>
            <a:xfrm>
              <a:off x="546977" y="106528"/>
              <a:ext cx="186285" cy="3321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86" y="4859"/>
                  </a:moveTo>
                  <a:lnTo>
                    <a:pt x="6884" y="0"/>
                  </a:lnTo>
                  <a:lnTo>
                    <a:pt x="9755" y="5387"/>
                  </a:lnTo>
                  <a:lnTo>
                    <a:pt x="9295" y="10037"/>
                  </a:lnTo>
                  <a:lnTo>
                    <a:pt x="11895" y="12022"/>
                  </a:lnTo>
                  <a:lnTo>
                    <a:pt x="14136" y="8150"/>
                  </a:lnTo>
                  <a:lnTo>
                    <a:pt x="16394" y="11217"/>
                  </a:lnTo>
                  <a:lnTo>
                    <a:pt x="16394" y="14522"/>
                  </a:lnTo>
                  <a:lnTo>
                    <a:pt x="19361" y="14842"/>
                  </a:lnTo>
                  <a:lnTo>
                    <a:pt x="21600" y="14189"/>
                  </a:lnTo>
                  <a:lnTo>
                    <a:pt x="21600" y="18922"/>
                  </a:lnTo>
                  <a:lnTo>
                    <a:pt x="20666" y="21600"/>
                  </a:lnTo>
                  <a:lnTo>
                    <a:pt x="16571" y="19713"/>
                  </a:lnTo>
                  <a:lnTo>
                    <a:pt x="12764" y="15104"/>
                  </a:lnTo>
                  <a:lnTo>
                    <a:pt x="9032" y="12590"/>
                  </a:lnTo>
                  <a:lnTo>
                    <a:pt x="5856" y="8659"/>
                  </a:lnTo>
                  <a:lnTo>
                    <a:pt x="900" y="7451"/>
                  </a:lnTo>
                  <a:lnTo>
                    <a:pt x="0" y="3691"/>
                  </a:lnTo>
                  <a:lnTo>
                    <a:pt x="2564" y="1065"/>
                  </a:lnTo>
                  <a:lnTo>
                    <a:pt x="5986" y="4859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44" name="Shape 744"/>
            <p:cNvSpPr/>
            <p:nvPr/>
          </p:nvSpPr>
          <p:spPr>
            <a:xfrm>
              <a:off x="559860" y="271258"/>
              <a:ext cx="86130" cy="2083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211" y="2479"/>
                  </a:lnTo>
                  <a:lnTo>
                    <a:pt x="17707" y="8610"/>
                  </a:lnTo>
                  <a:lnTo>
                    <a:pt x="21600" y="13835"/>
                  </a:lnTo>
                  <a:lnTo>
                    <a:pt x="15023" y="16821"/>
                  </a:lnTo>
                  <a:lnTo>
                    <a:pt x="7452" y="21600"/>
                  </a:lnTo>
                  <a:lnTo>
                    <a:pt x="7452" y="15979"/>
                  </a:lnTo>
                  <a:lnTo>
                    <a:pt x="11673" y="13231"/>
                  </a:lnTo>
                  <a:lnTo>
                    <a:pt x="10020" y="6302"/>
                  </a:lnTo>
                  <a:lnTo>
                    <a:pt x="2278" y="38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45" name="Shape 745"/>
            <p:cNvSpPr/>
            <p:nvPr/>
          </p:nvSpPr>
          <p:spPr>
            <a:xfrm>
              <a:off x="989109" y="202415"/>
              <a:ext cx="64164" cy="1837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24" y="0"/>
                  </a:moveTo>
                  <a:lnTo>
                    <a:pt x="21600" y="9985"/>
                  </a:lnTo>
                  <a:lnTo>
                    <a:pt x="17603" y="21600"/>
                  </a:lnTo>
                  <a:lnTo>
                    <a:pt x="12277" y="12121"/>
                  </a:lnTo>
                  <a:lnTo>
                    <a:pt x="6056" y="20124"/>
                  </a:lnTo>
                  <a:lnTo>
                    <a:pt x="2168" y="16986"/>
                  </a:lnTo>
                  <a:lnTo>
                    <a:pt x="0" y="5371"/>
                  </a:lnTo>
                  <a:lnTo>
                    <a:pt x="7780" y="7554"/>
                  </a:lnTo>
                  <a:lnTo>
                    <a:pt x="16324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46" name="Shape 746"/>
            <p:cNvSpPr/>
            <p:nvPr/>
          </p:nvSpPr>
          <p:spPr>
            <a:xfrm>
              <a:off x="990521" y="461745"/>
              <a:ext cx="34953" cy="68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589" h="21600" extrusionOk="0">
                  <a:moveTo>
                    <a:pt x="5796" y="0"/>
                  </a:moveTo>
                  <a:cubicBezTo>
                    <a:pt x="5796" y="0"/>
                    <a:pt x="-4011" y="16745"/>
                    <a:pt x="1889" y="18362"/>
                  </a:cubicBezTo>
                  <a:cubicBezTo>
                    <a:pt x="7790" y="19978"/>
                    <a:pt x="13683" y="21600"/>
                    <a:pt x="13683" y="21600"/>
                  </a:cubicBezTo>
                  <a:lnTo>
                    <a:pt x="17589" y="10931"/>
                  </a:lnTo>
                  <a:lnTo>
                    <a:pt x="5796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47" name="Shape 747"/>
            <p:cNvSpPr/>
            <p:nvPr/>
          </p:nvSpPr>
          <p:spPr>
            <a:xfrm>
              <a:off x="1131698" y="318452"/>
              <a:ext cx="75251" cy="1492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29"/>
                  </a:moveTo>
                  <a:lnTo>
                    <a:pt x="21600" y="21600"/>
                  </a:lnTo>
                  <a:lnTo>
                    <a:pt x="8346" y="0"/>
                  </a:lnTo>
                  <a:lnTo>
                    <a:pt x="0" y="1829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48" name="Shape 748"/>
            <p:cNvSpPr/>
            <p:nvPr/>
          </p:nvSpPr>
          <p:spPr>
            <a:xfrm>
              <a:off x="1448697" y="713276"/>
              <a:ext cx="146344" cy="244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13" y="3264"/>
                  </a:moveTo>
                  <a:lnTo>
                    <a:pt x="6013" y="0"/>
                  </a:lnTo>
                  <a:lnTo>
                    <a:pt x="0" y="0"/>
                  </a:lnTo>
                  <a:lnTo>
                    <a:pt x="0" y="7810"/>
                  </a:lnTo>
                  <a:lnTo>
                    <a:pt x="1168" y="13809"/>
                  </a:lnTo>
                  <a:lnTo>
                    <a:pt x="7525" y="18636"/>
                  </a:lnTo>
                  <a:lnTo>
                    <a:pt x="11302" y="21600"/>
                  </a:lnTo>
                  <a:lnTo>
                    <a:pt x="18336" y="20561"/>
                  </a:lnTo>
                  <a:lnTo>
                    <a:pt x="21015" y="18034"/>
                  </a:lnTo>
                  <a:lnTo>
                    <a:pt x="21600" y="12789"/>
                  </a:lnTo>
                  <a:lnTo>
                    <a:pt x="20042" y="7525"/>
                  </a:lnTo>
                  <a:lnTo>
                    <a:pt x="18312" y="14961"/>
                  </a:lnTo>
                  <a:lnTo>
                    <a:pt x="16754" y="17604"/>
                  </a:lnTo>
                  <a:lnTo>
                    <a:pt x="15587" y="10531"/>
                  </a:lnTo>
                  <a:lnTo>
                    <a:pt x="12734" y="7550"/>
                  </a:lnTo>
                  <a:lnTo>
                    <a:pt x="8086" y="11605"/>
                  </a:lnTo>
                  <a:lnTo>
                    <a:pt x="5967" y="9983"/>
                  </a:lnTo>
                  <a:lnTo>
                    <a:pt x="11543" y="3868"/>
                  </a:lnTo>
                  <a:lnTo>
                    <a:pt x="8498" y="1944"/>
                  </a:lnTo>
                  <a:lnTo>
                    <a:pt x="6013" y="3264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49" name="Shape 749"/>
            <p:cNvSpPr/>
            <p:nvPr/>
          </p:nvSpPr>
          <p:spPr>
            <a:xfrm>
              <a:off x="1572139" y="718328"/>
              <a:ext cx="79525" cy="2218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780" y="7588"/>
                  </a:lnTo>
                  <a:lnTo>
                    <a:pt x="12856" y="15861"/>
                  </a:lnTo>
                  <a:lnTo>
                    <a:pt x="13888" y="21102"/>
                  </a:lnTo>
                  <a:lnTo>
                    <a:pt x="20524" y="21600"/>
                  </a:lnTo>
                  <a:cubicBezTo>
                    <a:pt x="20524" y="21600"/>
                    <a:pt x="21600" y="15450"/>
                    <a:pt x="21600" y="13993"/>
                  </a:cubicBezTo>
                  <a:cubicBezTo>
                    <a:pt x="21600" y="12536"/>
                    <a:pt x="21600" y="6404"/>
                    <a:pt x="21600" y="6404"/>
                  </a:cubicBezTo>
                  <a:lnTo>
                    <a:pt x="15150" y="3432"/>
                  </a:lnTo>
                  <a:lnTo>
                    <a:pt x="8829" y="24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  <p:sp>
          <p:nvSpPr>
            <p:cNvPr id="750" name="Shape 750"/>
            <p:cNvSpPr/>
            <p:nvPr/>
          </p:nvSpPr>
          <p:spPr>
            <a:xfrm>
              <a:off x="1070163" y="238757"/>
              <a:ext cx="51355" cy="2053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94" y="0"/>
                  </a:moveTo>
                  <a:lnTo>
                    <a:pt x="0" y="15424"/>
                  </a:lnTo>
                  <a:lnTo>
                    <a:pt x="10769" y="16501"/>
                  </a:lnTo>
                  <a:lnTo>
                    <a:pt x="10144" y="21600"/>
                  </a:lnTo>
                  <a:lnTo>
                    <a:pt x="21600" y="20523"/>
                  </a:lnTo>
                  <a:lnTo>
                    <a:pt x="10925" y="9411"/>
                  </a:lnTo>
                  <a:lnTo>
                    <a:pt x="4994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endParaRPr>
            </a:p>
          </p:txBody>
        </p:sp>
      </p:grpSp>
      <p:pic>
        <p:nvPicPr>
          <p:cNvPr id="762" name="Picture 76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>
            <a:off x="6954956" y="1092541"/>
            <a:ext cx="717059" cy="500042"/>
          </a:xfrm>
          <a:prstGeom prst="rect">
            <a:avLst/>
          </a:prstGeom>
        </p:spPr>
      </p:pic>
      <p:sp>
        <p:nvSpPr>
          <p:cNvPr id="716" name="Shape 7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0" y="2235200"/>
            <a:ext cx="12185650" cy="4635500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  <a:alpha val="50000"/>
                </a:schemeClr>
              </a:gs>
              <a:gs pos="100000">
                <a:schemeClr val="accent1">
                  <a:alpha val="50000"/>
                </a:schemeClr>
              </a:gs>
            </a:gsLst>
            <a:lin ang="5400000"/>
          </a:gra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思源黑体 CN Regular"/>
              <a:ea typeface="思源黑体 CN Normal"/>
              <a:cs typeface="+mn-cs"/>
            </a:endParaRPr>
          </a:p>
        </p:txBody>
      </p:sp>
      <p:sp>
        <p:nvSpPr>
          <p:cNvPr id="700" name="Shape 70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31496" y="3429001"/>
            <a:ext cx="10801353" cy="2"/>
          </a:xfrm>
          <a:prstGeom prst="line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701" name="Shape 70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31496" y="4527550"/>
            <a:ext cx="10801353" cy="1"/>
          </a:xfrm>
          <a:prstGeom prst="line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717" name="Shape 7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157347" y="6350352"/>
            <a:ext cx="182742" cy="1897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defRPr sz="2400" b="1">
                <a:solidFill>
                  <a:srgbClr val="444444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000000"/>
                </a:solidFill>
              </a:defRPr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21</a:t>
            </a:r>
          </a:p>
        </p:txBody>
      </p:sp>
      <p:sp>
        <p:nvSpPr>
          <p:cNvPr id="80" name="Shape 7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42591" y="458836"/>
            <a:ext cx="3066865" cy="634020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400" b="0" i="0" u="none" strike="noStrike" kern="1200" cap="none" spc="0" normalizeH="0" baseline="0" noProof="0" dirty="0">
                <a:ln>
                  <a:noFill/>
                </a:ln>
                <a:solidFill>
                  <a:srgbClr val="65BADA"/>
                </a:solidFill>
                <a:effectLst/>
                <a:uLnTx/>
                <a:uFillTx/>
                <a:latin typeface="Miriam"/>
                <a:ea typeface="思源黑体 CN Normal"/>
                <a:cs typeface="+mn-cs"/>
              </a:rPr>
              <a:t>The Iceberg </a:t>
            </a:r>
          </a:p>
        </p:txBody>
      </p:sp>
      <p:sp>
        <p:nvSpPr>
          <p:cNvPr id="82" name="Shape 7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466850" y="2710978"/>
            <a:ext cx="1968500" cy="4390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400" tIns="25400" rIns="25400" bIns="254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768394">
                    <a:lumMod val="75000"/>
                  </a:srgbClr>
                </a:solidFill>
                <a:effectLst/>
                <a:uLnTx/>
                <a:uFillTx/>
                <a:latin typeface="思源黑体 CN Regular"/>
                <a:ea typeface="Open Sans Light"/>
                <a:cs typeface="Open Sans Light"/>
                <a:sym typeface="Open Sans Light"/>
              </a:rPr>
              <a:t>The Marketing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768394">
                    <a:lumMod val="75000"/>
                  </a:srgbClr>
                </a:solidFill>
                <a:effectLst/>
                <a:uLnTx/>
                <a:uFillTx/>
                <a:latin typeface="思源黑体 CN Regular"/>
                <a:ea typeface="Open Sans Light"/>
                <a:cs typeface="Open Sans Light"/>
                <a:sym typeface="Open Sans Light"/>
              </a:rPr>
              <a:t>Challenge</a:t>
            </a:r>
          </a:p>
        </p:txBody>
      </p:sp>
      <p:sp>
        <p:nvSpPr>
          <p:cNvPr id="83" name="Shape 7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89000" y="2669703"/>
            <a:ext cx="307777" cy="4390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70000"/>
              </a:lnSpc>
              <a:defRPr sz="7200">
                <a:solidFill>
                  <a:srgbClr val="304A4B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r>
              <a:rPr kumimoji="0" sz="3600" b="0" i="0" u="none" strike="noStrike" kern="1200" cap="none" spc="0" normalizeH="0" baseline="0" noProof="0">
                <a:ln>
                  <a:noFill/>
                </a:ln>
                <a:solidFill>
                  <a:srgbClr val="768394">
                    <a:lumMod val="75000"/>
                  </a:srgbClr>
                </a:solidFill>
                <a:effectLst/>
                <a:uLnTx/>
                <a:uFillTx/>
                <a:latin typeface="思源黑体 CN Regular"/>
                <a:ea typeface="Open Sans Light"/>
                <a:cs typeface="Open Sans Light"/>
                <a:sym typeface="Open Sans Light"/>
              </a:rPr>
              <a:t>1</a:t>
            </a:r>
          </a:p>
        </p:txBody>
      </p:sp>
      <p:sp>
        <p:nvSpPr>
          <p:cNvPr id="84" name="Shape 7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466850" y="3761903"/>
            <a:ext cx="1968500" cy="4390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400" tIns="25400" rIns="25400" bIns="254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768394">
                    <a:lumMod val="75000"/>
                  </a:srgbClr>
                </a:solidFill>
                <a:effectLst/>
                <a:uLnTx/>
                <a:uFillTx/>
                <a:latin typeface="思源黑体 CN Regular"/>
                <a:ea typeface="Open Sans Light"/>
                <a:cs typeface="Open Sans Light"/>
                <a:sym typeface="Open Sans Light"/>
              </a:rPr>
              <a:t>Distribution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68394">
                  <a:lumMod val="75000"/>
                </a:srgbClr>
              </a:solidFill>
              <a:effectLst/>
              <a:uLnTx/>
              <a:uFillTx/>
              <a:latin typeface="思源黑体 CN Regular"/>
              <a:ea typeface="Open Sans Light"/>
              <a:cs typeface="Open Sans Light"/>
              <a:sym typeface="Open Sans Light"/>
            </a:endParaRP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768394">
                    <a:lumMod val="75000"/>
                  </a:srgbClr>
                </a:solidFill>
                <a:effectLst/>
                <a:uLnTx/>
                <a:uFillTx/>
                <a:latin typeface="思源黑体 CN Regular"/>
                <a:ea typeface="Open Sans Light"/>
                <a:cs typeface="Open Sans Light"/>
                <a:sym typeface="Open Sans Light"/>
              </a:rPr>
              <a:t>Challenge</a:t>
            </a:r>
          </a:p>
        </p:txBody>
      </p:sp>
      <p:sp>
        <p:nvSpPr>
          <p:cNvPr id="85" name="Shape 7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89000" y="3761903"/>
            <a:ext cx="307777" cy="4390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70000"/>
              </a:lnSpc>
              <a:defRPr sz="7200">
                <a:solidFill>
                  <a:srgbClr val="304A4B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r>
              <a:rPr kumimoji="0" sz="3600" b="0" i="0" u="none" strike="noStrike" kern="1200" cap="none" spc="0" normalizeH="0" baseline="0" noProof="0">
                <a:ln>
                  <a:noFill/>
                </a:ln>
                <a:solidFill>
                  <a:srgbClr val="768394">
                    <a:lumMod val="75000"/>
                  </a:srgbClr>
                </a:solidFill>
                <a:effectLst/>
                <a:uLnTx/>
                <a:uFillTx/>
                <a:latin typeface="思源黑体 CN Regular"/>
                <a:ea typeface="Open Sans Light"/>
                <a:cs typeface="Open Sans Light"/>
                <a:sym typeface="Open Sans Light"/>
              </a:rPr>
              <a:t>2</a:t>
            </a:r>
          </a:p>
        </p:txBody>
      </p:sp>
      <p:sp>
        <p:nvSpPr>
          <p:cNvPr id="86" name="Shape 7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466850" y="4784253"/>
            <a:ext cx="2406650" cy="4390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400" tIns="25400" rIns="25400" bIns="254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768394">
                    <a:lumMod val="75000"/>
                  </a:srgbClr>
                </a:solidFill>
                <a:effectLst/>
                <a:uLnTx/>
                <a:uFillTx/>
                <a:latin typeface="思源黑体 CN Regular"/>
                <a:ea typeface="Open Sans Light"/>
                <a:cs typeface="Open Sans Light"/>
                <a:sym typeface="Open Sans Light"/>
              </a:rPr>
              <a:t>Customer Services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768394">
                  <a:lumMod val="75000"/>
                </a:srgbClr>
              </a:solidFill>
              <a:effectLst/>
              <a:uLnTx/>
              <a:uFillTx/>
              <a:latin typeface="思源黑体 CN Regular"/>
              <a:ea typeface="Open Sans Light"/>
              <a:cs typeface="Open Sans Light"/>
              <a:sym typeface="Open Sans Light"/>
            </a:endParaRP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768394">
                    <a:lumMod val="75000"/>
                  </a:srgbClr>
                </a:solidFill>
                <a:effectLst/>
                <a:uLnTx/>
                <a:uFillTx/>
                <a:latin typeface="思源黑体 CN Regular"/>
                <a:ea typeface="Open Sans Light"/>
                <a:cs typeface="Open Sans Light"/>
                <a:sym typeface="Open Sans Light"/>
              </a:rPr>
              <a:t>problem</a:t>
            </a:r>
          </a:p>
        </p:txBody>
      </p:sp>
      <p:sp>
        <p:nvSpPr>
          <p:cNvPr id="87" name="Shape 75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89000" y="4784253"/>
            <a:ext cx="307777" cy="4390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70000"/>
              </a:lnSpc>
              <a:defRPr sz="7200">
                <a:solidFill>
                  <a:srgbClr val="304A4B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r>
              <a:rPr kumimoji="0" sz="3600" b="0" i="0" u="none" strike="noStrike" kern="1200" cap="none" spc="0" normalizeH="0" baseline="0" noProof="0">
                <a:ln>
                  <a:noFill/>
                </a:ln>
                <a:solidFill>
                  <a:srgbClr val="768394">
                    <a:lumMod val="75000"/>
                  </a:srgbClr>
                </a:solidFill>
                <a:effectLst/>
                <a:uLnTx/>
                <a:uFillTx/>
                <a:latin typeface="思源黑体 CN Regular"/>
                <a:ea typeface="Open Sans Light"/>
                <a:cs typeface="Open Sans Light"/>
                <a:sym typeface="Open Sans Light"/>
              </a:rPr>
              <a:t>3</a:t>
            </a:r>
          </a:p>
        </p:txBody>
      </p:sp>
      <p:sp>
        <p:nvSpPr>
          <p:cNvPr id="88" name="Shape 76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816850" y="898964"/>
            <a:ext cx="2552700" cy="6976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>
              <a:defRPr sz="2100" b="1">
                <a:solidFill>
                  <a:srgbClr val="444444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000000"/>
                </a:solidFill>
              </a:defRPr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768394"/>
                </a:solidFill>
                <a:effectLst/>
                <a:uLnTx/>
                <a:uFillTx/>
                <a:latin typeface="Miriam"/>
                <a:ea typeface="Open Sans Light"/>
                <a:cs typeface="Open Sans Light"/>
                <a:sym typeface="Open Sans Light"/>
              </a:rPr>
              <a:t>We only see simple problem, but the real problems is deep inside the frozen water</a:t>
            </a:r>
          </a:p>
        </p:txBody>
      </p:sp>
      <p:sp>
        <p:nvSpPr>
          <p:cNvPr id="89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8804950" y="2449850"/>
            <a:ext cx="2767458" cy="730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768394">
                    <a:lumMod val="75000"/>
                  </a:srgbClr>
                </a:solidFill>
                <a:effectLst/>
                <a:uLnTx/>
                <a:uFillTx/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</a:t>
            </a:r>
          </a:p>
        </p:txBody>
      </p:sp>
      <p:sp>
        <p:nvSpPr>
          <p:cNvPr id="90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8792458" y="3591601"/>
            <a:ext cx="2767458" cy="730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768394">
                    <a:lumMod val="75000"/>
                  </a:srgbClr>
                </a:solidFill>
                <a:effectLst/>
                <a:uLnTx/>
                <a:uFillTx/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</a:t>
            </a:r>
          </a:p>
        </p:txBody>
      </p:sp>
      <p:sp>
        <p:nvSpPr>
          <p:cNvPr id="91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8779966" y="4658401"/>
            <a:ext cx="2767458" cy="730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768394">
                    <a:lumMod val="75000"/>
                  </a:srgbClr>
                </a:solidFill>
                <a:effectLst/>
                <a:uLnTx/>
                <a:uFillTx/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</a:t>
            </a: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 hidden="1"/>
          <p:cNvSpPr txBox="1"/>
          <p:nvPr/>
        </p:nvSpPr>
        <p:spPr>
          <a:xfrm>
            <a:off x="-355600" y="1803400"/>
            <a:ext cx="329642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思源黑体 CN Regular"/>
                <a:ea typeface="思源黑体 CN Normal"/>
                <a:cs typeface="+mn-cs"/>
              </a:rPr>
              <a:t>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</a:t>
            </a:r>
            <a:endParaRPr kumimoji="0" lang="zh-CN" altLang="en-US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Regular"/>
              <a:ea typeface="思源黑体 CN Norm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0444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03275" y="540017"/>
            <a:ext cx="69158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</a:rPr>
              <a:t>World Map Infographic Analysis</a:t>
            </a:r>
          </a:p>
        </p:txBody>
      </p:sp>
      <p:grpSp>
        <p:nvGrpSpPr>
          <p:cNvPr id="8" name="Group 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5083443" y="1600200"/>
            <a:ext cx="7170153" cy="4514650"/>
            <a:chOff x="2976146" y="1594008"/>
            <a:chExt cx="6239709" cy="3928801"/>
          </a:xfrm>
          <a:solidFill>
            <a:schemeClr val="bg1">
              <a:lumMod val="85000"/>
            </a:schemeClr>
          </a:solidFill>
        </p:grpSpPr>
        <p:sp>
          <p:nvSpPr>
            <p:cNvPr id="9" name="Freeform 53"/>
            <p:cNvSpPr>
              <a:spLocks noChangeAspect="1"/>
            </p:cNvSpPr>
            <p:nvPr/>
          </p:nvSpPr>
          <p:spPr bwMode="gray">
            <a:xfrm>
              <a:off x="8420785" y="5108976"/>
              <a:ext cx="63606" cy="75084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0" y="11"/>
                </a:cxn>
                <a:cxn ang="0">
                  <a:pos x="30" y="7"/>
                </a:cxn>
                <a:cxn ang="0">
                  <a:pos x="68" y="32"/>
                </a:cxn>
                <a:cxn ang="0">
                  <a:pos x="105" y="36"/>
                </a:cxn>
                <a:cxn ang="0">
                  <a:pos x="127" y="23"/>
                </a:cxn>
                <a:cxn ang="0">
                  <a:pos x="148" y="22"/>
                </a:cxn>
                <a:cxn ang="0">
                  <a:pos x="165" y="13"/>
                </a:cxn>
                <a:cxn ang="0">
                  <a:pos x="176" y="7"/>
                </a:cxn>
                <a:cxn ang="0">
                  <a:pos x="193" y="22"/>
                </a:cxn>
                <a:cxn ang="0">
                  <a:pos x="198" y="54"/>
                </a:cxn>
                <a:cxn ang="0">
                  <a:pos x="196" y="85"/>
                </a:cxn>
                <a:cxn ang="0">
                  <a:pos x="201" y="109"/>
                </a:cxn>
                <a:cxn ang="0">
                  <a:pos x="198" y="112"/>
                </a:cxn>
                <a:cxn ang="0">
                  <a:pos x="194" y="94"/>
                </a:cxn>
                <a:cxn ang="0">
                  <a:pos x="182" y="119"/>
                </a:cxn>
                <a:cxn ang="0">
                  <a:pos x="177" y="135"/>
                </a:cxn>
                <a:cxn ang="0">
                  <a:pos x="172" y="157"/>
                </a:cxn>
                <a:cxn ang="0">
                  <a:pos x="156" y="155"/>
                </a:cxn>
                <a:cxn ang="0">
                  <a:pos x="154" y="167"/>
                </a:cxn>
                <a:cxn ang="0">
                  <a:pos x="143" y="179"/>
                </a:cxn>
                <a:cxn ang="0">
                  <a:pos x="137" y="184"/>
                </a:cxn>
                <a:cxn ang="0">
                  <a:pos x="127" y="187"/>
                </a:cxn>
                <a:cxn ang="0">
                  <a:pos x="124" y="206"/>
                </a:cxn>
                <a:cxn ang="0">
                  <a:pos x="111" y="216"/>
                </a:cxn>
                <a:cxn ang="0">
                  <a:pos x="99" y="209"/>
                </a:cxn>
                <a:cxn ang="0">
                  <a:pos x="83" y="208"/>
                </a:cxn>
                <a:cxn ang="0">
                  <a:pos x="69" y="201"/>
                </a:cxn>
                <a:cxn ang="0">
                  <a:pos x="80" y="193"/>
                </a:cxn>
                <a:cxn ang="0">
                  <a:pos x="62" y="188"/>
                </a:cxn>
                <a:cxn ang="0">
                  <a:pos x="41" y="157"/>
                </a:cxn>
                <a:cxn ang="0">
                  <a:pos x="25" y="107"/>
                </a:cxn>
                <a:cxn ang="0">
                  <a:pos x="45" y="118"/>
                </a:cxn>
                <a:cxn ang="0">
                  <a:pos x="25" y="92"/>
                </a:cxn>
                <a:cxn ang="0">
                  <a:pos x="2" y="24"/>
                </a:cxn>
              </a:cxnLst>
              <a:rect l="0" t="0" r="r" b="b"/>
              <a:pathLst>
                <a:path w="201" h="216">
                  <a:moveTo>
                    <a:pt x="2" y="0"/>
                  </a:moveTo>
                  <a:lnTo>
                    <a:pt x="4" y="4"/>
                  </a:lnTo>
                  <a:lnTo>
                    <a:pt x="13" y="6"/>
                  </a:lnTo>
                  <a:lnTo>
                    <a:pt x="20" y="11"/>
                  </a:lnTo>
                  <a:lnTo>
                    <a:pt x="26" y="7"/>
                  </a:lnTo>
                  <a:lnTo>
                    <a:pt x="30" y="7"/>
                  </a:lnTo>
                  <a:lnTo>
                    <a:pt x="43" y="13"/>
                  </a:lnTo>
                  <a:lnTo>
                    <a:pt x="68" y="32"/>
                  </a:lnTo>
                  <a:lnTo>
                    <a:pt x="100" y="36"/>
                  </a:lnTo>
                  <a:lnTo>
                    <a:pt x="105" y="36"/>
                  </a:lnTo>
                  <a:lnTo>
                    <a:pt x="116" y="28"/>
                  </a:lnTo>
                  <a:lnTo>
                    <a:pt x="127" y="23"/>
                  </a:lnTo>
                  <a:lnTo>
                    <a:pt x="137" y="24"/>
                  </a:lnTo>
                  <a:lnTo>
                    <a:pt x="148" y="22"/>
                  </a:lnTo>
                  <a:lnTo>
                    <a:pt x="159" y="11"/>
                  </a:lnTo>
                  <a:lnTo>
                    <a:pt x="165" y="13"/>
                  </a:lnTo>
                  <a:lnTo>
                    <a:pt x="172" y="16"/>
                  </a:lnTo>
                  <a:lnTo>
                    <a:pt x="176" y="7"/>
                  </a:lnTo>
                  <a:lnTo>
                    <a:pt x="185" y="11"/>
                  </a:lnTo>
                  <a:lnTo>
                    <a:pt x="193" y="22"/>
                  </a:lnTo>
                  <a:lnTo>
                    <a:pt x="197" y="44"/>
                  </a:lnTo>
                  <a:lnTo>
                    <a:pt x="198" y="54"/>
                  </a:lnTo>
                  <a:lnTo>
                    <a:pt x="196" y="65"/>
                  </a:lnTo>
                  <a:lnTo>
                    <a:pt x="196" y="85"/>
                  </a:lnTo>
                  <a:lnTo>
                    <a:pt x="198" y="103"/>
                  </a:lnTo>
                  <a:lnTo>
                    <a:pt x="201" y="109"/>
                  </a:lnTo>
                  <a:lnTo>
                    <a:pt x="198" y="122"/>
                  </a:lnTo>
                  <a:lnTo>
                    <a:pt x="198" y="112"/>
                  </a:lnTo>
                  <a:lnTo>
                    <a:pt x="197" y="102"/>
                  </a:lnTo>
                  <a:lnTo>
                    <a:pt x="194" y="94"/>
                  </a:lnTo>
                  <a:lnTo>
                    <a:pt x="192" y="101"/>
                  </a:lnTo>
                  <a:lnTo>
                    <a:pt x="182" y="119"/>
                  </a:lnTo>
                  <a:lnTo>
                    <a:pt x="182" y="134"/>
                  </a:lnTo>
                  <a:lnTo>
                    <a:pt x="177" y="135"/>
                  </a:lnTo>
                  <a:lnTo>
                    <a:pt x="177" y="153"/>
                  </a:lnTo>
                  <a:lnTo>
                    <a:pt x="172" y="157"/>
                  </a:lnTo>
                  <a:lnTo>
                    <a:pt x="166" y="157"/>
                  </a:lnTo>
                  <a:lnTo>
                    <a:pt x="156" y="155"/>
                  </a:lnTo>
                  <a:lnTo>
                    <a:pt x="154" y="158"/>
                  </a:lnTo>
                  <a:lnTo>
                    <a:pt x="154" y="167"/>
                  </a:lnTo>
                  <a:lnTo>
                    <a:pt x="150" y="176"/>
                  </a:lnTo>
                  <a:lnTo>
                    <a:pt x="143" y="179"/>
                  </a:lnTo>
                  <a:lnTo>
                    <a:pt x="140" y="190"/>
                  </a:lnTo>
                  <a:lnTo>
                    <a:pt x="137" y="184"/>
                  </a:lnTo>
                  <a:lnTo>
                    <a:pt x="131" y="182"/>
                  </a:lnTo>
                  <a:lnTo>
                    <a:pt x="127" y="187"/>
                  </a:lnTo>
                  <a:lnTo>
                    <a:pt x="124" y="198"/>
                  </a:lnTo>
                  <a:lnTo>
                    <a:pt x="124" y="206"/>
                  </a:lnTo>
                  <a:lnTo>
                    <a:pt x="117" y="215"/>
                  </a:lnTo>
                  <a:lnTo>
                    <a:pt x="111" y="216"/>
                  </a:lnTo>
                  <a:lnTo>
                    <a:pt x="105" y="211"/>
                  </a:lnTo>
                  <a:lnTo>
                    <a:pt x="99" y="209"/>
                  </a:lnTo>
                  <a:lnTo>
                    <a:pt x="94" y="212"/>
                  </a:lnTo>
                  <a:lnTo>
                    <a:pt x="83" y="208"/>
                  </a:lnTo>
                  <a:lnTo>
                    <a:pt x="73" y="208"/>
                  </a:lnTo>
                  <a:lnTo>
                    <a:pt x="69" y="201"/>
                  </a:lnTo>
                  <a:lnTo>
                    <a:pt x="77" y="200"/>
                  </a:lnTo>
                  <a:lnTo>
                    <a:pt x="80" y="193"/>
                  </a:lnTo>
                  <a:lnTo>
                    <a:pt x="70" y="193"/>
                  </a:lnTo>
                  <a:lnTo>
                    <a:pt x="62" y="188"/>
                  </a:lnTo>
                  <a:lnTo>
                    <a:pt x="49" y="165"/>
                  </a:lnTo>
                  <a:lnTo>
                    <a:pt x="41" y="157"/>
                  </a:lnTo>
                  <a:lnTo>
                    <a:pt x="37" y="151"/>
                  </a:lnTo>
                  <a:lnTo>
                    <a:pt x="25" y="107"/>
                  </a:lnTo>
                  <a:lnTo>
                    <a:pt x="37" y="129"/>
                  </a:lnTo>
                  <a:lnTo>
                    <a:pt x="45" y="118"/>
                  </a:lnTo>
                  <a:lnTo>
                    <a:pt x="37" y="113"/>
                  </a:lnTo>
                  <a:lnTo>
                    <a:pt x="25" y="92"/>
                  </a:lnTo>
                  <a:lnTo>
                    <a:pt x="0" y="39"/>
                  </a:lnTo>
                  <a:lnTo>
                    <a:pt x="2" y="2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0" name="Freeform 54"/>
            <p:cNvSpPr>
              <a:spLocks noChangeAspect="1"/>
            </p:cNvSpPr>
            <p:nvPr/>
          </p:nvSpPr>
          <p:spPr bwMode="gray">
            <a:xfrm>
              <a:off x="7869006" y="4464652"/>
              <a:ext cx="706022" cy="605909"/>
            </a:xfrm>
            <a:custGeom>
              <a:avLst/>
              <a:gdLst/>
              <a:ahLst/>
              <a:cxnLst>
                <a:cxn ang="0">
                  <a:pos x="80" y="633"/>
                </a:cxn>
                <a:cxn ang="0">
                  <a:pos x="198" y="560"/>
                </a:cxn>
                <a:cxn ang="0">
                  <a:pos x="357" y="522"/>
                </a:cxn>
                <a:cxn ang="0">
                  <a:pos x="497" y="418"/>
                </a:cxn>
                <a:cxn ang="0">
                  <a:pos x="533" y="330"/>
                </a:cxn>
                <a:cxn ang="0">
                  <a:pos x="566" y="326"/>
                </a:cxn>
                <a:cxn ang="0">
                  <a:pos x="634" y="262"/>
                </a:cxn>
                <a:cxn ang="0">
                  <a:pos x="688" y="222"/>
                </a:cxn>
                <a:cxn ang="0">
                  <a:pos x="739" y="187"/>
                </a:cxn>
                <a:cxn ang="0">
                  <a:pos x="818" y="257"/>
                </a:cxn>
                <a:cxn ang="0">
                  <a:pos x="898" y="254"/>
                </a:cxn>
                <a:cxn ang="0">
                  <a:pos x="921" y="160"/>
                </a:cxn>
                <a:cxn ang="0">
                  <a:pos x="974" y="108"/>
                </a:cxn>
                <a:cxn ang="0">
                  <a:pos x="1045" y="48"/>
                </a:cxn>
                <a:cxn ang="0">
                  <a:pos x="1044" y="29"/>
                </a:cxn>
                <a:cxn ang="0">
                  <a:pos x="1116" y="65"/>
                </a:cxn>
                <a:cxn ang="0">
                  <a:pos x="1205" y="90"/>
                </a:cxn>
                <a:cxn ang="0">
                  <a:pos x="1264" y="90"/>
                </a:cxn>
                <a:cxn ang="0">
                  <a:pos x="1279" y="118"/>
                </a:cxn>
                <a:cxn ang="0">
                  <a:pos x="1243" y="165"/>
                </a:cxn>
                <a:cxn ang="0">
                  <a:pos x="1269" y="264"/>
                </a:cxn>
                <a:cxn ang="0">
                  <a:pos x="1384" y="339"/>
                </a:cxn>
                <a:cxn ang="0">
                  <a:pos x="1553" y="270"/>
                </a:cxn>
                <a:cxn ang="0">
                  <a:pos x="1575" y="72"/>
                </a:cxn>
                <a:cxn ang="0">
                  <a:pos x="1623" y="17"/>
                </a:cxn>
                <a:cxn ang="0">
                  <a:pos x="1667" y="171"/>
                </a:cxn>
                <a:cxn ang="0">
                  <a:pos x="1761" y="252"/>
                </a:cxn>
                <a:cxn ang="0">
                  <a:pos x="1806" y="416"/>
                </a:cxn>
                <a:cxn ang="0">
                  <a:pos x="1851" y="485"/>
                </a:cxn>
                <a:cxn ang="0">
                  <a:pos x="1954" y="540"/>
                </a:cxn>
                <a:cxn ang="0">
                  <a:pos x="1994" y="645"/>
                </a:cxn>
                <a:cxn ang="0">
                  <a:pos x="2054" y="661"/>
                </a:cxn>
                <a:cxn ang="0">
                  <a:pos x="2132" y="791"/>
                </a:cxn>
                <a:cxn ang="0">
                  <a:pos x="2191" y="911"/>
                </a:cxn>
                <a:cxn ang="0">
                  <a:pos x="2206" y="1090"/>
                </a:cxn>
                <a:cxn ang="0">
                  <a:pos x="2158" y="1285"/>
                </a:cxn>
                <a:cxn ang="0">
                  <a:pos x="2089" y="1365"/>
                </a:cxn>
                <a:cxn ang="0">
                  <a:pos x="2034" y="1506"/>
                </a:cxn>
                <a:cxn ang="0">
                  <a:pos x="2008" y="1625"/>
                </a:cxn>
                <a:cxn ang="0">
                  <a:pos x="1823" y="1705"/>
                </a:cxn>
                <a:cxn ang="0">
                  <a:pos x="1785" y="1704"/>
                </a:cxn>
                <a:cxn ang="0">
                  <a:pos x="1715" y="1661"/>
                </a:cxn>
                <a:cxn ang="0">
                  <a:pos x="1572" y="1674"/>
                </a:cxn>
                <a:cxn ang="0">
                  <a:pos x="1453" y="1530"/>
                </a:cxn>
                <a:cxn ang="0">
                  <a:pos x="1376" y="1406"/>
                </a:cxn>
                <a:cxn ang="0">
                  <a:pos x="1330" y="1443"/>
                </a:cxn>
                <a:cxn ang="0">
                  <a:pos x="1358" y="1317"/>
                </a:cxn>
                <a:cxn ang="0">
                  <a:pos x="1302" y="1370"/>
                </a:cxn>
                <a:cxn ang="0">
                  <a:pos x="1220" y="1433"/>
                </a:cxn>
                <a:cxn ang="0">
                  <a:pos x="1177" y="1335"/>
                </a:cxn>
                <a:cxn ang="0">
                  <a:pos x="1062" y="1253"/>
                </a:cxn>
                <a:cxn ang="0">
                  <a:pos x="779" y="1270"/>
                </a:cxn>
                <a:cxn ang="0">
                  <a:pos x="587" y="1354"/>
                </a:cxn>
                <a:cxn ang="0">
                  <a:pos x="419" y="1379"/>
                </a:cxn>
                <a:cxn ang="0">
                  <a:pos x="271" y="1452"/>
                </a:cxn>
                <a:cxn ang="0">
                  <a:pos x="130" y="1405"/>
                </a:cxn>
                <a:cxn ang="0">
                  <a:pos x="142" y="1286"/>
                </a:cxn>
                <a:cxn ang="0">
                  <a:pos x="66" y="1024"/>
                </a:cxn>
                <a:cxn ang="0">
                  <a:pos x="12" y="897"/>
                </a:cxn>
                <a:cxn ang="0">
                  <a:pos x="35" y="884"/>
                </a:cxn>
                <a:cxn ang="0">
                  <a:pos x="8" y="758"/>
                </a:cxn>
              </a:cxnLst>
              <a:rect l="0" t="0" r="r" b="b"/>
              <a:pathLst>
                <a:path w="2217" h="1736">
                  <a:moveTo>
                    <a:pt x="43" y="634"/>
                  </a:moveTo>
                  <a:lnTo>
                    <a:pt x="49" y="629"/>
                  </a:lnTo>
                  <a:lnTo>
                    <a:pt x="48" y="645"/>
                  </a:lnTo>
                  <a:lnTo>
                    <a:pt x="48" y="647"/>
                  </a:lnTo>
                  <a:lnTo>
                    <a:pt x="45" y="651"/>
                  </a:lnTo>
                  <a:lnTo>
                    <a:pt x="44" y="656"/>
                  </a:lnTo>
                  <a:lnTo>
                    <a:pt x="48" y="658"/>
                  </a:lnTo>
                  <a:lnTo>
                    <a:pt x="46" y="666"/>
                  </a:lnTo>
                  <a:lnTo>
                    <a:pt x="45" y="671"/>
                  </a:lnTo>
                  <a:lnTo>
                    <a:pt x="50" y="673"/>
                  </a:lnTo>
                  <a:lnTo>
                    <a:pt x="59" y="666"/>
                  </a:lnTo>
                  <a:lnTo>
                    <a:pt x="62" y="652"/>
                  </a:lnTo>
                  <a:lnTo>
                    <a:pt x="72" y="636"/>
                  </a:lnTo>
                  <a:lnTo>
                    <a:pt x="80" y="633"/>
                  </a:lnTo>
                  <a:lnTo>
                    <a:pt x="87" y="628"/>
                  </a:lnTo>
                  <a:lnTo>
                    <a:pt x="94" y="626"/>
                  </a:lnTo>
                  <a:lnTo>
                    <a:pt x="102" y="620"/>
                  </a:lnTo>
                  <a:lnTo>
                    <a:pt x="120" y="617"/>
                  </a:lnTo>
                  <a:lnTo>
                    <a:pt x="125" y="608"/>
                  </a:lnTo>
                  <a:lnTo>
                    <a:pt x="132" y="601"/>
                  </a:lnTo>
                  <a:lnTo>
                    <a:pt x="140" y="596"/>
                  </a:lnTo>
                  <a:lnTo>
                    <a:pt x="146" y="586"/>
                  </a:lnTo>
                  <a:lnTo>
                    <a:pt x="161" y="580"/>
                  </a:lnTo>
                  <a:lnTo>
                    <a:pt x="167" y="575"/>
                  </a:lnTo>
                  <a:lnTo>
                    <a:pt x="174" y="571"/>
                  </a:lnTo>
                  <a:lnTo>
                    <a:pt x="191" y="559"/>
                  </a:lnTo>
                  <a:lnTo>
                    <a:pt x="195" y="558"/>
                  </a:lnTo>
                  <a:lnTo>
                    <a:pt x="198" y="560"/>
                  </a:lnTo>
                  <a:lnTo>
                    <a:pt x="214" y="561"/>
                  </a:lnTo>
                  <a:lnTo>
                    <a:pt x="222" y="564"/>
                  </a:lnTo>
                  <a:lnTo>
                    <a:pt x="232" y="565"/>
                  </a:lnTo>
                  <a:lnTo>
                    <a:pt x="241" y="564"/>
                  </a:lnTo>
                  <a:lnTo>
                    <a:pt x="249" y="561"/>
                  </a:lnTo>
                  <a:lnTo>
                    <a:pt x="260" y="553"/>
                  </a:lnTo>
                  <a:lnTo>
                    <a:pt x="270" y="547"/>
                  </a:lnTo>
                  <a:lnTo>
                    <a:pt x="280" y="544"/>
                  </a:lnTo>
                  <a:lnTo>
                    <a:pt x="291" y="544"/>
                  </a:lnTo>
                  <a:lnTo>
                    <a:pt x="301" y="542"/>
                  </a:lnTo>
                  <a:lnTo>
                    <a:pt x="322" y="522"/>
                  </a:lnTo>
                  <a:lnTo>
                    <a:pt x="335" y="522"/>
                  </a:lnTo>
                  <a:lnTo>
                    <a:pt x="345" y="527"/>
                  </a:lnTo>
                  <a:lnTo>
                    <a:pt x="357" y="522"/>
                  </a:lnTo>
                  <a:lnTo>
                    <a:pt x="370" y="522"/>
                  </a:lnTo>
                  <a:lnTo>
                    <a:pt x="378" y="520"/>
                  </a:lnTo>
                  <a:lnTo>
                    <a:pt x="388" y="515"/>
                  </a:lnTo>
                  <a:lnTo>
                    <a:pt x="413" y="510"/>
                  </a:lnTo>
                  <a:lnTo>
                    <a:pt x="424" y="504"/>
                  </a:lnTo>
                  <a:lnTo>
                    <a:pt x="432" y="499"/>
                  </a:lnTo>
                  <a:lnTo>
                    <a:pt x="454" y="478"/>
                  </a:lnTo>
                  <a:lnTo>
                    <a:pt x="458" y="470"/>
                  </a:lnTo>
                  <a:lnTo>
                    <a:pt x="459" y="461"/>
                  </a:lnTo>
                  <a:lnTo>
                    <a:pt x="467" y="450"/>
                  </a:lnTo>
                  <a:lnTo>
                    <a:pt x="469" y="445"/>
                  </a:lnTo>
                  <a:lnTo>
                    <a:pt x="469" y="439"/>
                  </a:lnTo>
                  <a:lnTo>
                    <a:pt x="476" y="440"/>
                  </a:lnTo>
                  <a:lnTo>
                    <a:pt x="497" y="418"/>
                  </a:lnTo>
                  <a:lnTo>
                    <a:pt x="500" y="413"/>
                  </a:lnTo>
                  <a:lnTo>
                    <a:pt x="497" y="410"/>
                  </a:lnTo>
                  <a:lnTo>
                    <a:pt x="490" y="381"/>
                  </a:lnTo>
                  <a:lnTo>
                    <a:pt x="491" y="369"/>
                  </a:lnTo>
                  <a:lnTo>
                    <a:pt x="499" y="355"/>
                  </a:lnTo>
                  <a:lnTo>
                    <a:pt x="502" y="353"/>
                  </a:lnTo>
                  <a:lnTo>
                    <a:pt x="508" y="353"/>
                  </a:lnTo>
                  <a:lnTo>
                    <a:pt x="512" y="345"/>
                  </a:lnTo>
                  <a:lnTo>
                    <a:pt x="521" y="338"/>
                  </a:lnTo>
                  <a:lnTo>
                    <a:pt x="524" y="338"/>
                  </a:lnTo>
                  <a:lnTo>
                    <a:pt x="523" y="333"/>
                  </a:lnTo>
                  <a:lnTo>
                    <a:pt x="528" y="322"/>
                  </a:lnTo>
                  <a:lnTo>
                    <a:pt x="530" y="321"/>
                  </a:lnTo>
                  <a:lnTo>
                    <a:pt x="533" y="330"/>
                  </a:lnTo>
                  <a:lnTo>
                    <a:pt x="537" y="337"/>
                  </a:lnTo>
                  <a:lnTo>
                    <a:pt x="543" y="353"/>
                  </a:lnTo>
                  <a:lnTo>
                    <a:pt x="549" y="365"/>
                  </a:lnTo>
                  <a:lnTo>
                    <a:pt x="555" y="372"/>
                  </a:lnTo>
                  <a:lnTo>
                    <a:pt x="560" y="381"/>
                  </a:lnTo>
                  <a:lnTo>
                    <a:pt x="564" y="386"/>
                  </a:lnTo>
                  <a:lnTo>
                    <a:pt x="569" y="375"/>
                  </a:lnTo>
                  <a:lnTo>
                    <a:pt x="569" y="360"/>
                  </a:lnTo>
                  <a:lnTo>
                    <a:pt x="571" y="360"/>
                  </a:lnTo>
                  <a:lnTo>
                    <a:pt x="578" y="359"/>
                  </a:lnTo>
                  <a:lnTo>
                    <a:pt x="576" y="346"/>
                  </a:lnTo>
                  <a:lnTo>
                    <a:pt x="570" y="335"/>
                  </a:lnTo>
                  <a:lnTo>
                    <a:pt x="564" y="330"/>
                  </a:lnTo>
                  <a:lnTo>
                    <a:pt x="566" y="326"/>
                  </a:lnTo>
                  <a:lnTo>
                    <a:pt x="565" y="310"/>
                  </a:lnTo>
                  <a:lnTo>
                    <a:pt x="570" y="305"/>
                  </a:lnTo>
                  <a:lnTo>
                    <a:pt x="580" y="310"/>
                  </a:lnTo>
                  <a:lnTo>
                    <a:pt x="588" y="308"/>
                  </a:lnTo>
                  <a:lnTo>
                    <a:pt x="601" y="324"/>
                  </a:lnTo>
                  <a:lnTo>
                    <a:pt x="618" y="327"/>
                  </a:lnTo>
                  <a:lnTo>
                    <a:pt x="619" y="319"/>
                  </a:lnTo>
                  <a:lnTo>
                    <a:pt x="610" y="316"/>
                  </a:lnTo>
                  <a:lnTo>
                    <a:pt x="613" y="303"/>
                  </a:lnTo>
                  <a:lnTo>
                    <a:pt x="623" y="294"/>
                  </a:lnTo>
                  <a:lnTo>
                    <a:pt x="625" y="287"/>
                  </a:lnTo>
                  <a:lnTo>
                    <a:pt x="620" y="270"/>
                  </a:lnTo>
                  <a:lnTo>
                    <a:pt x="625" y="264"/>
                  </a:lnTo>
                  <a:lnTo>
                    <a:pt x="634" y="262"/>
                  </a:lnTo>
                  <a:lnTo>
                    <a:pt x="645" y="268"/>
                  </a:lnTo>
                  <a:lnTo>
                    <a:pt x="647" y="265"/>
                  </a:lnTo>
                  <a:lnTo>
                    <a:pt x="641" y="253"/>
                  </a:lnTo>
                  <a:lnTo>
                    <a:pt x="642" y="247"/>
                  </a:lnTo>
                  <a:lnTo>
                    <a:pt x="646" y="242"/>
                  </a:lnTo>
                  <a:lnTo>
                    <a:pt x="663" y="248"/>
                  </a:lnTo>
                  <a:lnTo>
                    <a:pt x="663" y="243"/>
                  </a:lnTo>
                  <a:lnTo>
                    <a:pt x="657" y="233"/>
                  </a:lnTo>
                  <a:lnTo>
                    <a:pt x="657" y="221"/>
                  </a:lnTo>
                  <a:lnTo>
                    <a:pt x="666" y="217"/>
                  </a:lnTo>
                  <a:lnTo>
                    <a:pt x="671" y="217"/>
                  </a:lnTo>
                  <a:lnTo>
                    <a:pt x="677" y="215"/>
                  </a:lnTo>
                  <a:lnTo>
                    <a:pt x="687" y="214"/>
                  </a:lnTo>
                  <a:lnTo>
                    <a:pt x="688" y="222"/>
                  </a:lnTo>
                  <a:lnTo>
                    <a:pt x="693" y="220"/>
                  </a:lnTo>
                  <a:lnTo>
                    <a:pt x="700" y="214"/>
                  </a:lnTo>
                  <a:lnTo>
                    <a:pt x="705" y="201"/>
                  </a:lnTo>
                  <a:lnTo>
                    <a:pt x="705" y="197"/>
                  </a:lnTo>
                  <a:lnTo>
                    <a:pt x="699" y="189"/>
                  </a:lnTo>
                  <a:lnTo>
                    <a:pt x="702" y="183"/>
                  </a:lnTo>
                  <a:lnTo>
                    <a:pt x="707" y="189"/>
                  </a:lnTo>
                  <a:lnTo>
                    <a:pt x="709" y="198"/>
                  </a:lnTo>
                  <a:lnTo>
                    <a:pt x="715" y="194"/>
                  </a:lnTo>
                  <a:lnTo>
                    <a:pt x="718" y="188"/>
                  </a:lnTo>
                  <a:lnTo>
                    <a:pt x="721" y="189"/>
                  </a:lnTo>
                  <a:lnTo>
                    <a:pt x="722" y="194"/>
                  </a:lnTo>
                  <a:lnTo>
                    <a:pt x="728" y="193"/>
                  </a:lnTo>
                  <a:lnTo>
                    <a:pt x="739" y="187"/>
                  </a:lnTo>
                  <a:lnTo>
                    <a:pt x="743" y="183"/>
                  </a:lnTo>
                  <a:lnTo>
                    <a:pt x="741" y="176"/>
                  </a:lnTo>
                  <a:lnTo>
                    <a:pt x="749" y="174"/>
                  </a:lnTo>
                  <a:lnTo>
                    <a:pt x="753" y="177"/>
                  </a:lnTo>
                  <a:lnTo>
                    <a:pt x="761" y="181"/>
                  </a:lnTo>
                  <a:lnTo>
                    <a:pt x="770" y="181"/>
                  </a:lnTo>
                  <a:lnTo>
                    <a:pt x="780" y="187"/>
                  </a:lnTo>
                  <a:lnTo>
                    <a:pt x="788" y="193"/>
                  </a:lnTo>
                  <a:lnTo>
                    <a:pt x="804" y="215"/>
                  </a:lnTo>
                  <a:lnTo>
                    <a:pt x="818" y="226"/>
                  </a:lnTo>
                  <a:lnTo>
                    <a:pt x="814" y="242"/>
                  </a:lnTo>
                  <a:lnTo>
                    <a:pt x="814" y="253"/>
                  </a:lnTo>
                  <a:lnTo>
                    <a:pt x="815" y="255"/>
                  </a:lnTo>
                  <a:lnTo>
                    <a:pt x="818" y="257"/>
                  </a:lnTo>
                  <a:lnTo>
                    <a:pt x="819" y="254"/>
                  </a:lnTo>
                  <a:lnTo>
                    <a:pt x="822" y="247"/>
                  </a:lnTo>
                  <a:lnTo>
                    <a:pt x="820" y="243"/>
                  </a:lnTo>
                  <a:lnTo>
                    <a:pt x="825" y="238"/>
                  </a:lnTo>
                  <a:lnTo>
                    <a:pt x="829" y="240"/>
                  </a:lnTo>
                  <a:lnTo>
                    <a:pt x="830" y="237"/>
                  </a:lnTo>
                  <a:lnTo>
                    <a:pt x="836" y="240"/>
                  </a:lnTo>
                  <a:lnTo>
                    <a:pt x="836" y="232"/>
                  </a:lnTo>
                  <a:lnTo>
                    <a:pt x="839" y="231"/>
                  </a:lnTo>
                  <a:lnTo>
                    <a:pt x="849" y="233"/>
                  </a:lnTo>
                  <a:lnTo>
                    <a:pt x="862" y="233"/>
                  </a:lnTo>
                  <a:lnTo>
                    <a:pt x="873" y="232"/>
                  </a:lnTo>
                  <a:lnTo>
                    <a:pt x="881" y="236"/>
                  </a:lnTo>
                  <a:lnTo>
                    <a:pt x="898" y="254"/>
                  </a:lnTo>
                  <a:lnTo>
                    <a:pt x="903" y="253"/>
                  </a:lnTo>
                  <a:lnTo>
                    <a:pt x="903" y="249"/>
                  </a:lnTo>
                  <a:lnTo>
                    <a:pt x="899" y="237"/>
                  </a:lnTo>
                  <a:lnTo>
                    <a:pt x="906" y="233"/>
                  </a:lnTo>
                  <a:lnTo>
                    <a:pt x="908" y="232"/>
                  </a:lnTo>
                  <a:lnTo>
                    <a:pt x="894" y="217"/>
                  </a:lnTo>
                  <a:lnTo>
                    <a:pt x="886" y="205"/>
                  </a:lnTo>
                  <a:lnTo>
                    <a:pt x="890" y="189"/>
                  </a:lnTo>
                  <a:lnTo>
                    <a:pt x="893" y="192"/>
                  </a:lnTo>
                  <a:lnTo>
                    <a:pt x="898" y="189"/>
                  </a:lnTo>
                  <a:lnTo>
                    <a:pt x="909" y="172"/>
                  </a:lnTo>
                  <a:lnTo>
                    <a:pt x="909" y="165"/>
                  </a:lnTo>
                  <a:lnTo>
                    <a:pt x="914" y="158"/>
                  </a:lnTo>
                  <a:lnTo>
                    <a:pt x="921" y="160"/>
                  </a:lnTo>
                  <a:lnTo>
                    <a:pt x="931" y="160"/>
                  </a:lnTo>
                  <a:lnTo>
                    <a:pt x="937" y="154"/>
                  </a:lnTo>
                  <a:lnTo>
                    <a:pt x="936" y="141"/>
                  </a:lnTo>
                  <a:lnTo>
                    <a:pt x="929" y="141"/>
                  </a:lnTo>
                  <a:lnTo>
                    <a:pt x="930" y="135"/>
                  </a:lnTo>
                  <a:lnTo>
                    <a:pt x="931" y="125"/>
                  </a:lnTo>
                  <a:lnTo>
                    <a:pt x="935" y="115"/>
                  </a:lnTo>
                  <a:lnTo>
                    <a:pt x="944" y="113"/>
                  </a:lnTo>
                  <a:lnTo>
                    <a:pt x="953" y="109"/>
                  </a:lnTo>
                  <a:lnTo>
                    <a:pt x="954" y="102"/>
                  </a:lnTo>
                  <a:lnTo>
                    <a:pt x="962" y="103"/>
                  </a:lnTo>
                  <a:lnTo>
                    <a:pt x="969" y="108"/>
                  </a:lnTo>
                  <a:lnTo>
                    <a:pt x="973" y="115"/>
                  </a:lnTo>
                  <a:lnTo>
                    <a:pt x="974" y="108"/>
                  </a:lnTo>
                  <a:lnTo>
                    <a:pt x="968" y="98"/>
                  </a:lnTo>
                  <a:lnTo>
                    <a:pt x="971" y="96"/>
                  </a:lnTo>
                  <a:lnTo>
                    <a:pt x="978" y="88"/>
                  </a:lnTo>
                  <a:lnTo>
                    <a:pt x="991" y="92"/>
                  </a:lnTo>
                  <a:lnTo>
                    <a:pt x="992" y="87"/>
                  </a:lnTo>
                  <a:lnTo>
                    <a:pt x="1003" y="90"/>
                  </a:lnTo>
                  <a:lnTo>
                    <a:pt x="1016" y="88"/>
                  </a:lnTo>
                  <a:lnTo>
                    <a:pt x="1026" y="91"/>
                  </a:lnTo>
                  <a:lnTo>
                    <a:pt x="1034" y="91"/>
                  </a:lnTo>
                  <a:lnTo>
                    <a:pt x="1054" y="85"/>
                  </a:lnTo>
                  <a:lnTo>
                    <a:pt x="1062" y="79"/>
                  </a:lnTo>
                  <a:lnTo>
                    <a:pt x="1062" y="55"/>
                  </a:lnTo>
                  <a:lnTo>
                    <a:pt x="1056" y="49"/>
                  </a:lnTo>
                  <a:lnTo>
                    <a:pt x="1045" y="48"/>
                  </a:lnTo>
                  <a:lnTo>
                    <a:pt x="1038" y="49"/>
                  </a:lnTo>
                  <a:lnTo>
                    <a:pt x="1030" y="44"/>
                  </a:lnTo>
                  <a:lnTo>
                    <a:pt x="1026" y="38"/>
                  </a:lnTo>
                  <a:lnTo>
                    <a:pt x="1017" y="34"/>
                  </a:lnTo>
                  <a:lnTo>
                    <a:pt x="1017" y="33"/>
                  </a:lnTo>
                  <a:lnTo>
                    <a:pt x="1021" y="32"/>
                  </a:lnTo>
                  <a:lnTo>
                    <a:pt x="1024" y="34"/>
                  </a:lnTo>
                  <a:lnTo>
                    <a:pt x="1027" y="29"/>
                  </a:lnTo>
                  <a:lnTo>
                    <a:pt x="1029" y="27"/>
                  </a:lnTo>
                  <a:lnTo>
                    <a:pt x="1032" y="31"/>
                  </a:lnTo>
                  <a:lnTo>
                    <a:pt x="1035" y="45"/>
                  </a:lnTo>
                  <a:lnTo>
                    <a:pt x="1039" y="38"/>
                  </a:lnTo>
                  <a:lnTo>
                    <a:pt x="1039" y="29"/>
                  </a:lnTo>
                  <a:lnTo>
                    <a:pt x="1044" y="29"/>
                  </a:lnTo>
                  <a:lnTo>
                    <a:pt x="1046" y="33"/>
                  </a:lnTo>
                  <a:lnTo>
                    <a:pt x="1051" y="32"/>
                  </a:lnTo>
                  <a:lnTo>
                    <a:pt x="1055" y="38"/>
                  </a:lnTo>
                  <a:lnTo>
                    <a:pt x="1059" y="43"/>
                  </a:lnTo>
                  <a:lnTo>
                    <a:pt x="1067" y="49"/>
                  </a:lnTo>
                  <a:lnTo>
                    <a:pt x="1070" y="42"/>
                  </a:lnTo>
                  <a:lnTo>
                    <a:pt x="1075" y="41"/>
                  </a:lnTo>
                  <a:lnTo>
                    <a:pt x="1080" y="44"/>
                  </a:lnTo>
                  <a:lnTo>
                    <a:pt x="1082" y="50"/>
                  </a:lnTo>
                  <a:lnTo>
                    <a:pt x="1089" y="58"/>
                  </a:lnTo>
                  <a:lnTo>
                    <a:pt x="1104" y="61"/>
                  </a:lnTo>
                  <a:lnTo>
                    <a:pt x="1108" y="61"/>
                  </a:lnTo>
                  <a:lnTo>
                    <a:pt x="1113" y="63"/>
                  </a:lnTo>
                  <a:lnTo>
                    <a:pt x="1116" y="65"/>
                  </a:lnTo>
                  <a:lnTo>
                    <a:pt x="1123" y="60"/>
                  </a:lnTo>
                  <a:lnTo>
                    <a:pt x="1126" y="59"/>
                  </a:lnTo>
                  <a:lnTo>
                    <a:pt x="1126" y="66"/>
                  </a:lnTo>
                  <a:lnTo>
                    <a:pt x="1131" y="69"/>
                  </a:lnTo>
                  <a:lnTo>
                    <a:pt x="1141" y="69"/>
                  </a:lnTo>
                  <a:lnTo>
                    <a:pt x="1151" y="76"/>
                  </a:lnTo>
                  <a:lnTo>
                    <a:pt x="1159" y="75"/>
                  </a:lnTo>
                  <a:lnTo>
                    <a:pt x="1167" y="79"/>
                  </a:lnTo>
                  <a:lnTo>
                    <a:pt x="1177" y="74"/>
                  </a:lnTo>
                  <a:lnTo>
                    <a:pt x="1179" y="74"/>
                  </a:lnTo>
                  <a:lnTo>
                    <a:pt x="1184" y="81"/>
                  </a:lnTo>
                  <a:lnTo>
                    <a:pt x="1195" y="81"/>
                  </a:lnTo>
                  <a:lnTo>
                    <a:pt x="1200" y="84"/>
                  </a:lnTo>
                  <a:lnTo>
                    <a:pt x="1205" y="90"/>
                  </a:lnTo>
                  <a:lnTo>
                    <a:pt x="1216" y="79"/>
                  </a:lnTo>
                  <a:lnTo>
                    <a:pt x="1221" y="76"/>
                  </a:lnTo>
                  <a:lnTo>
                    <a:pt x="1225" y="75"/>
                  </a:lnTo>
                  <a:lnTo>
                    <a:pt x="1234" y="76"/>
                  </a:lnTo>
                  <a:lnTo>
                    <a:pt x="1244" y="71"/>
                  </a:lnTo>
                  <a:lnTo>
                    <a:pt x="1238" y="82"/>
                  </a:lnTo>
                  <a:lnTo>
                    <a:pt x="1241" y="85"/>
                  </a:lnTo>
                  <a:lnTo>
                    <a:pt x="1243" y="86"/>
                  </a:lnTo>
                  <a:lnTo>
                    <a:pt x="1248" y="81"/>
                  </a:lnTo>
                  <a:lnTo>
                    <a:pt x="1249" y="85"/>
                  </a:lnTo>
                  <a:lnTo>
                    <a:pt x="1248" y="101"/>
                  </a:lnTo>
                  <a:lnTo>
                    <a:pt x="1249" y="104"/>
                  </a:lnTo>
                  <a:lnTo>
                    <a:pt x="1259" y="101"/>
                  </a:lnTo>
                  <a:lnTo>
                    <a:pt x="1264" y="90"/>
                  </a:lnTo>
                  <a:lnTo>
                    <a:pt x="1263" y="88"/>
                  </a:lnTo>
                  <a:lnTo>
                    <a:pt x="1264" y="79"/>
                  </a:lnTo>
                  <a:lnTo>
                    <a:pt x="1274" y="70"/>
                  </a:lnTo>
                  <a:lnTo>
                    <a:pt x="1276" y="72"/>
                  </a:lnTo>
                  <a:lnTo>
                    <a:pt x="1279" y="77"/>
                  </a:lnTo>
                  <a:lnTo>
                    <a:pt x="1280" y="92"/>
                  </a:lnTo>
                  <a:lnTo>
                    <a:pt x="1288" y="87"/>
                  </a:lnTo>
                  <a:lnTo>
                    <a:pt x="1295" y="87"/>
                  </a:lnTo>
                  <a:lnTo>
                    <a:pt x="1299" y="91"/>
                  </a:lnTo>
                  <a:lnTo>
                    <a:pt x="1297" y="96"/>
                  </a:lnTo>
                  <a:lnTo>
                    <a:pt x="1293" y="106"/>
                  </a:lnTo>
                  <a:lnTo>
                    <a:pt x="1287" y="115"/>
                  </a:lnTo>
                  <a:lnTo>
                    <a:pt x="1284" y="119"/>
                  </a:lnTo>
                  <a:lnTo>
                    <a:pt x="1279" y="118"/>
                  </a:lnTo>
                  <a:lnTo>
                    <a:pt x="1277" y="122"/>
                  </a:lnTo>
                  <a:lnTo>
                    <a:pt x="1284" y="130"/>
                  </a:lnTo>
                  <a:lnTo>
                    <a:pt x="1276" y="141"/>
                  </a:lnTo>
                  <a:lnTo>
                    <a:pt x="1272" y="144"/>
                  </a:lnTo>
                  <a:lnTo>
                    <a:pt x="1264" y="141"/>
                  </a:lnTo>
                  <a:lnTo>
                    <a:pt x="1263" y="136"/>
                  </a:lnTo>
                  <a:lnTo>
                    <a:pt x="1258" y="142"/>
                  </a:lnTo>
                  <a:lnTo>
                    <a:pt x="1259" y="151"/>
                  </a:lnTo>
                  <a:lnTo>
                    <a:pt x="1261" y="156"/>
                  </a:lnTo>
                  <a:lnTo>
                    <a:pt x="1258" y="152"/>
                  </a:lnTo>
                  <a:lnTo>
                    <a:pt x="1253" y="145"/>
                  </a:lnTo>
                  <a:lnTo>
                    <a:pt x="1248" y="144"/>
                  </a:lnTo>
                  <a:lnTo>
                    <a:pt x="1247" y="156"/>
                  </a:lnTo>
                  <a:lnTo>
                    <a:pt x="1243" y="165"/>
                  </a:lnTo>
                  <a:lnTo>
                    <a:pt x="1243" y="171"/>
                  </a:lnTo>
                  <a:lnTo>
                    <a:pt x="1253" y="168"/>
                  </a:lnTo>
                  <a:lnTo>
                    <a:pt x="1248" y="187"/>
                  </a:lnTo>
                  <a:lnTo>
                    <a:pt x="1248" y="190"/>
                  </a:lnTo>
                  <a:lnTo>
                    <a:pt x="1238" y="210"/>
                  </a:lnTo>
                  <a:lnTo>
                    <a:pt x="1234" y="221"/>
                  </a:lnTo>
                  <a:lnTo>
                    <a:pt x="1232" y="225"/>
                  </a:lnTo>
                  <a:lnTo>
                    <a:pt x="1228" y="231"/>
                  </a:lnTo>
                  <a:lnTo>
                    <a:pt x="1228" y="242"/>
                  </a:lnTo>
                  <a:lnTo>
                    <a:pt x="1234" y="246"/>
                  </a:lnTo>
                  <a:lnTo>
                    <a:pt x="1238" y="252"/>
                  </a:lnTo>
                  <a:lnTo>
                    <a:pt x="1245" y="251"/>
                  </a:lnTo>
                  <a:lnTo>
                    <a:pt x="1254" y="258"/>
                  </a:lnTo>
                  <a:lnTo>
                    <a:pt x="1269" y="264"/>
                  </a:lnTo>
                  <a:lnTo>
                    <a:pt x="1271" y="274"/>
                  </a:lnTo>
                  <a:lnTo>
                    <a:pt x="1275" y="283"/>
                  </a:lnTo>
                  <a:lnTo>
                    <a:pt x="1275" y="297"/>
                  </a:lnTo>
                  <a:lnTo>
                    <a:pt x="1285" y="290"/>
                  </a:lnTo>
                  <a:lnTo>
                    <a:pt x="1307" y="296"/>
                  </a:lnTo>
                  <a:lnTo>
                    <a:pt x="1320" y="295"/>
                  </a:lnTo>
                  <a:lnTo>
                    <a:pt x="1324" y="302"/>
                  </a:lnTo>
                  <a:lnTo>
                    <a:pt x="1335" y="308"/>
                  </a:lnTo>
                  <a:lnTo>
                    <a:pt x="1345" y="313"/>
                  </a:lnTo>
                  <a:lnTo>
                    <a:pt x="1355" y="319"/>
                  </a:lnTo>
                  <a:lnTo>
                    <a:pt x="1361" y="327"/>
                  </a:lnTo>
                  <a:lnTo>
                    <a:pt x="1370" y="334"/>
                  </a:lnTo>
                  <a:lnTo>
                    <a:pt x="1377" y="335"/>
                  </a:lnTo>
                  <a:lnTo>
                    <a:pt x="1384" y="339"/>
                  </a:lnTo>
                  <a:lnTo>
                    <a:pt x="1411" y="346"/>
                  </a:lnTo>
                  <a:lnTo>
                    <a:pt x="1421" y="354"/>
                  </a:lnTo>
                  <a:lnTo>
                    <a:pt x="1425" y="365"/>
                  </a:lnTo>
                  <a:lnTo>
                    <a:pt x="1430" y="371"/>
                  </a:lnTo>
                  <a:lnTo>
                    <a:pt x="1460" y="392"/>
                  </a:lnTo>
                  <a:lnTo>
                    <a:pt x="1475" y="398"/>
                  </a:lnTo>
                  <a:lnTo>
                    <a:pt x="1487" y="394"/>
                  </a:lnTo>
                  <a:lnTo>
                    <a:pt x="1498" y="389"/>
                  </a:lnTo>
                  <a:lnTo>
                    <a:pt x="1516" y="384"/>
                  </a:lnTo>
                  <a:lnTo>
                    <a:pt x="1521" y="377"/>
                  </a:lnTo>
                  <a:lnTo>
                    <a:pt x="1524" y="356"/>
                  </a:lnTo>
                  <a:lnTo>
                    <a:pt x="1537" y="333"/>
                  </a:lnTo>
                  <a:lnTo>
                    <a:pt x="1548" y="287"/>
                  </a:lnTo>
                  <a:lnTo>
                    <a:pt x="1553" y="270"/>
                  </a:lnTo>
                  <a:lnTo>
                    <a:pt x="1557" y="258"/>
                  </a:lnTo>
                  <a:lnTo>
                    <a:pt x="1560" y="246"/>
                  </a:lnTo>
                  <a:lnTo>
                    <a:pt x="1559" y="231"/>
                  </a:lnTo>
                  <a:lnTo>
                    <a:pt x="1553" y="213"/>
                  </a:lnTo>
                  <a:lnTo>
                    <a:pt x="1555" y="197"/>
                  </a:lnTo>
                  <a:lnTo>
                    <a:pt x="1553" y="165"/>
                  </a:lnTo>
                  <a:lnTo>
                    <a:pt x="1561" y="145"/>
                  </a:lnTo>
                  <a:lnTo>
                    <a:pt x="1560" y="128"/>
                  </a:lnTo>
                  <a:lnTo>
                    <a:pt x="1565" y="118"/>
                  </a:lnTo>
                  <a:lnTo>
                    <a:pt x="1566" y="108"/>
                  </a:lnTo>
                  <a:lnTo>
                    <a:pt x="1559" y="106"/>
                  </a:lnTo>
                  <a:lnTo>
                    <a:pt x="1560" y="95"/>
                  </a:lnTo>
                  <a:lnTo>
                    <a:pt x="1564" y="76"/>
                  </a:lnTo>
                  <a:lnTo>
                    <a:pt x="1575" y="72"/>
                  </a:lnTo>
                  <a:lnTo>
                    <a:pt x="1578" y="64"/>
                  </a:lnTo>
                  <a:lnTo>
                    <a:pt x="1583" y="45"/>
                  </a:lnTo>
                  <a:lnTo>
                    <a:pt x="1596" y="29"/>
                  </a:lnTo>
                  <a:lnTo>
                    <a:pt x="1596" y="16"/>
                  </a:lnTo>
                  <a:lnTo>
                    <a:pt x="1596" y="15"/>
                  </a:lnTo>
                  <a:lnTo>
                    <a:pt x="1599" y="11"/>
                  </a:lnTo>
                  <a:lnTo>
                    <a:pt x="1604" y="10"/>
                  </a:lnTo>
                  <a:lnTo>
                    <a:pt x="1613" y="5"/>
                  </a:lnTo>
                  <a:lnTo>
                    <a:pt x="1616" y="0"/>
                  </a:lnTo>
                  <a:lnTo>
                    <a:pt x="1623" y="2"/>
                  </a:lnTo>
                  <a:lnTo>
                    <a:pt x="1623" y="7"/>
                  </a:lnTo>
                  <a:lnTo>
                    <a:pt x="1624" y="16"/>
                  </a:lnTo>
                  <a:lnTo>
                    <a:pt x="1623" y="16"/>
                  </a:lnTo>
                  <a:lnTo>
                    <a:pt x="1623" y="17"/>
                  </a:lnTo>
                  <a:lnTo>
                    <a:pt x="1625" y="31"/>
                  </a:lnTo>
                  <a:lnTo>
                    <a:pt x="1625" y="58"/>
                  </a:lnTo>
                  <a:lnTo>
                    <a:pt x="1629" y="68"/>
                  </a:lnTo>
                  <a:lnTo>
                    <a:pt x="1639" y="68"/>
                  </a:lnTo>
                  <a:lnTo>
                    <a:pt x="1641" y="74"/>
                  </a:lnTo>
                  <a:lnTo>
                    <a:pt x="1640" y="88"/>
                  </a:lnTo>
                  <a:lnTo>
                    <a:pt x="1646" y="93"/>
                  </a:lnTo>
                  <a:lnTo>
                    <a:pt x="1650" y="103"/>
                  </a:lnTo>
                  <a:lnTo>
                    <a:pt x="1655" y="107"/>
                  </a:lnTo>
                  <a:lnTo>
                    <a:pt x="1656" y="122"/>
                  </a:lnTo>
                  <a:lnTo>
                    <a:pt x="1661" y="124"/>
                  </a:lnTo>
                  <a:lnTo>
                    <a:pt x="1663" y="139"/>
                  </a:lnTo>
                  <a:lnTo>
                    <a:pt x="1667" y="151"/>
                  </a:lnTo>
                  <a:lnTo>
                    <a:pt x="1667" y="171"/>
                  </a:lnTo>
                  <a:lnTo>
                    <a:pt x="1670" y="179"/>
                  </a:lnTo>
                  <a:lnTo>
                    <a:pt x="1672" y="189"/>
                  </a:lnTo>
                  <a:lnTo>
                    <a:pt x="1677" y="199"/>
                  </a:lnTo>
                  <a:lnTo>
                    <a:pt x="1684" y="208"/>
                  </a:lnTo>
                  <a:lnTo>
                    <a:pt x="1693" y="211"/>
                  </a:lnTo>
                  <a:lnTo>
                    <a:pt x="1705" y="200"/>
                  </a:lnTo>
                  <a:lnTo>
                    <a:pt x="1715" y="198"/>
                  </a:lnTo>
                  <a:lnTo>
                    <a:pt x="1723" y="199"/>
                  </a:lnTo>
                  <a:lnTo>
                    <a:pt x="1729" y="215"/>
                  </a:lnTo>
                  <a:lnTo>
                    <a:pt x="1739" y="219"/>
                  </a:lnTo>
                  <a:lnTo>
                    <a:pt x="1747" y="228"/>
                  </a:lnTo>
                  <a:lnTo>
                    <a:pt x="1755" y="232"/>
                  </a:lnTo>
                  <a:lnTo>
                    <a:pt x="1764" y="242"/>
                  </a:lnTo>
                  <a:lnTo>
                    <a:pt x="1761" y="252"/>
                  </a:lnTo>
                  <a:lnTo>
                    <a:pt x="1764" y="258"/>
                  </a:lnTo>
                  <a:lnTo>
                    <a:pt x="1763" y="276"/>
                  </a:lnTo>
                  <a:lnTo>
                    <a:pt x="1766" y="286"/>
                  </a:lnTo>
                  <a:lnTo>
                    <a:pt x="1766" y="295"/>
                  </a:lnTo>
                  <a:lnTo>
                    <a:pt x="1771" y="303"/>
                  </a:lnTo>
                  <a:lnTo>
                    <a:pt x="1771" y="319"/>
                  </a:lnTo>
                  <a:lnTo>
                    <a:pt x="1775" y="332"/>
                  </a:lnTo>
                  <a:lnTo>
                    <a:pt x="1787" y="349"/>
                  </a:lnTo>
                  <a:lnTo>
                    <a:pt x="1796" y="349"/>
                  </a:lnTo>
                  <a:lnTo>
                    <a:pt x="1797" y="361"/>
                  </a:lnTo>
                  <a:lnTo>
                    <a:pt x="1804" y="381"/>
                  </a:lnTo>
                  <a:lnTo>
                    <a:pt x="1807" y="393"/>
                  </a:lnTo>
                  <a:lnTo>
                    <a:pt x="1808" y="409"/>
                  </a:lnTo>
                  <a:lnTo>
                    <a:pt x="1806" y="416"/>
                  </a:lnTo>
                  <a:lnTo>
                    <a:pt x="1806" y="426"/>
                  </a:lnTo>
                  <a:lnTo>
                    <a:pt x="1808" y="437"/>
                  </a:lnTo>
                  <a:lnTo>
                    <a:pt x="1814" y="443"/>
                  </a:lnTo>
                  <a:lnTo>
                    <a:pt x="1819" y="445"/>
                  </a:lnTo>
                  <a:lnTo>
                    <a:pt x="1818" y="448"/>
                  </a:lnTo>
                  <a:lnTo>
                    <a:pt x="1822" y="445"/>
                  </a:lnTo>
                  <a:lnTo>
                    <a:pt x="1822" y="447"/>
                  </a:lnTo>
                  <a:lnTo>
                    <a:pt x="1819" y="452"/>
                  </a:lnTo>
                  <a:lnTo>
                    <a:pt x="1820" y="454"/>
                  </a:lnTo>
                  <a:lnTo>
                    <a:pt x="1820" y="461"/>
                  </a:lnTo>
                  <a:lnTo>
                    <a:pt x="1824" y="470"/>
                  </a:lnTo>
                  <a:lnTo>
                    <a:pt x="1838" y="475"/>
                  </a:lnTo>
                  <a:lnTo>
                    <a:pt x="1841" y="480"/>
                  </a:lnTo>
                  <a:lnTo>
                    <a:pt x="1851" y="485"/>
                  </a:lnTo>
                  <a:lnTo>
                    <a:pt x="1871" y="490"/>
                  </a:lnTo>
                  <a:lnTo>
                    <a:pt x="1874" y="489"/>
                  </a:lnTo>
                  <a:lnTo>
                    <a:pt x="1881" y="485"/>
                  </a:lnTo>
                  <a:lnTo>
                    <a:pt x="1884" y="502"/>
                  </a:lnTo>
                  <a:lnTo>
                    <a:pt x="1888" y="511"/>
                  </a:lnTo>
                  <a:lnTo>
                    <a:pt x="1893" y="515"/>
                  </a:lnTo>
                  <a:lnTo>
                    <a:pt x="1903" y="512"/>
                  </a:lnTo>
                  <a:lnTo>
                    <a:pt x="1911" y="517"/>
                  </a:lnTo>
                  <a:lnTo>
                    <a:pt x="1920" y="518"/>
                  </a:lnTo>
                  <a:lnTo>
                    <a:pt x="1925" y="527"/>
                  </a:lnTo>
                  <a:lnTo>
                    <a:pt x="1931" y="533"/>
                  </a:lnTo>
                  <a:lnTo>
                    <a:pt x="1937" y="529"/>
                  </a:lnTo>
                  <a:lnTo>
                    <a:pt x="1942" y="533"/>
                  </a:lnTo>
                  <a:lnTo>
                    <a:pt x="1954" y="540"/>
                  </a:lnTo>
                  <a:lnTo>
                    <a:pt x="1958" y="545"/>
                  </a:lnTo>
                  <a:lnTo>
                    <a:pt x="1960" y="556"/>
                  </a:lnTo>
                  <a:lnTo>
                    <a:pt x="1953" y="554"/>
                  </a:lnTo>
                  <a:lnTo>
                    <a:pt x="1952" y="566"/>
                  </a:lnTo>
                  <a:lnTo>
                    <a:pt x="1958" y="572"/>
                  </a:lnTo>
                  <a:lnTo>
                    <a:pt x="1968" y="574"/>
                  </a:lnTo>
                  <a:lnTo>
                    <a:pt x="1970" y="580"/>
                  </a:lnTo>
                  <a:lnTo>
                    <a:pt x="1978" y="588"/>
                  </a:lnTo>
                  <a:lnTo>
                    <a:pt x="1980" y="597"/>
                  </a:lnTo>
                  <a:lnTo>
                    <a:pt x="1983" y="603"/>
                  </a:lnTo>
                  <a:lnTo>
                    <a:pt x="1985" y="610"/>
                  </a:lnTo>
                  <a:lnTo>
                    <a:pt x="1992" y="612"/>
                  </a:lnTo>
                  <a:lnTo>
                    <a:pt x="1994" y="619"/>
                  </a:lnTo>
                  <a:lnTo>
                    <a:pt x="1994" y="645"/>
                  </a:lnTo>
                  <a:lnTo>
                    <a:pt x="1996" y="651"/>
                  </a:lnTo>
                  <a:lnTo>
                    <a:pt x="1997" y="658"/>
                  </a:lnTo>
                  <a:lnTo>
                    <a:pt x="2002" y="662"/>
                  </a:lnTo>
                  <a:lnTo>
                    <a:pt x="2005" y="671"/>
                  </a:lnTo>
                  <a:lnTo>
                    <a:pt x="2007" y="672"/>
                  </a:lnTo>
                  <a:lnTo>
                    <a:pt x="2011" y="669"/>
                  </a:lnTo>
                  <a:lnTo>
                    <a:pt x="2017" y="669"/>
                  </a:lnTo>
                  <a:lnTo>
                    <a:pt x="2017" y="655"/>
                  </a:lnTo>
                  <a:lnTo>
                    <a:pt x="2023" y="650"/>
                  </a:lnTo>
                  <a:lnTo>
                    <a:pt x="2027" y="660"/>
                  </a:lnTo>
                  <a:lnTo>
                    <a:pt x="2032" y="665"/>
                  </a:lnTo>
                  <a:lnTo>
                    <a:pt x="2043" y="669"/>
                  </a:lnTo>
                  <a:lnTo>
                    <a:pt x="2051" y="676"/>
                  </a:lnTo>
                  <a:lnTo>
                    <a:pt x="2054" y="661"/>
                  </a:lnTo>
                  <a:lnTo>
                    <a:pt x="2057" y="665"/>
                  </a:lnTo>
                  <a:lnTo>
                    <a:pt x="2059" y="671"/>
                  </a:lnTo>
                  <a:lnTo>
                    <a:pt x="2061" y="674"/>
                  </a:lnTo>
                  <a:lnTo>
                    <a:pt x="2065" y="690"/>
                  </a:lnTo>
                  <a:lnTo>
                    <a:pt x="2065" y="720"/>
                  </a:lnTo>
                  <a:lnTo>
                    <a:pt x="2068" y="733"/>
                  </a:lnTo>
                  <a:lnTo>
                    <a:pt x="2077" y="739"/>
                  </a:lnTo>
                  <a:lnTo>
                    <a:pt x="2083" y="748"/>
                  </a:lnTo>
                  <a:lnTo>
                    <a:pt x="2098" y="760"/>
                  </a:lnTo>
                  <a:lnTo>
                    <a:pt x="2110" y="760"/>
                  </a:lnTo>
                  <a:lnTo>
                    <a:pt x="2118" y="766"/>
                  </a:lnTo>
                  <a:lnTo>
                    <a:pt x="2124" y="774"/>
                  </a:lnTo>
                  <a:lnTo>
                    <a:pt x="2130" y="785"/>
                  </a:lnTo>
                  <a:lnTo>
                    <a:pt x="2132" y="791"/>
                  </a:lnTo>
                  <a:lnTo>
                    <a:pt x="2141" y="800"/>
                  </a:lnTo>
                  <a:lnTo>
                    <a:pt x="2151" y="802"/>
                  </a:lnTo>
                  <a:lnTo>
                    <a:pt x="2151" y="806"/>
                  </a:lnTo>
                  <a:lnTo>
                    <a:pt x="2163" y="824"/>
                  </a:lnTo>
                  <a:lnTo>
                    <a:pt x="2162" y="830"/>
                  </a:lnTo>
                  <a:lnTo>
                    <a:pt x="2173" y="835"/>
                  </a:lnTo>
                  <a:lnTo>
                    <a:pt x="2177" y="844"/>
                  </a:lnTo>
                  <a:lnTo>
                    <a:pt x="2178" y="862"/>
                  </a:lnTo>
                  <a:lnTo>
                    <a:pt x="2184" y="872"/>
                  </a:lnTo>
                  <a:lnTo>
                    <a:pt x="2186" y="876"/>
                  </a:lnTo>
                  <a:lnTo>
                    <a:pt x="2190" y="871"/>
                  </a:lnTo>
                  <a:lnTo>
                    <a:pt x="2191" y="886"/>
                  </a:lnTo>
                  <a:lnTo>
                    <a:pt x="2189" y="900"/>
                  </a:lnTo>
                  <a:lnTo>
                    <a:pt x="2191" y="911"/>
                  </a:lnTo>
                  <a:lnTo>
                    <a:pt x="2194" y="938"/>
                  </a:lnTo>
                  <a:lnTo>
                    <a:pt x="2197" y="948"/>
                  </a:lnTo>
                  <a:lnTo>
                    <a:pt x="2193" y="945"/>
                  </a:lnTo>
                  <a:lnTo>
                    <a:pt x="2191" y="952"/>
                  </a:lnTo>
                  <a:lnTo>
                    <a:pt x="2193" y="956"/>
                  </a:lnTo>
                  <a:lnTo>
                    <a:pt x="2194" y="963"/>
                  </a:lnTo>
                  <a:lnTo>
                    <a:pt x="2197" y="967"/>
                  </a:lnTo>
                  <a:lnTo>
                    <a:pt x="2200" y="979"/>
                  </a:lnTo>
                  <a:lnTo>
                    <a:pt x="2207" y="995"/>
                  </a:lnTo>
                  <a:lnTo>
                    <a:pt x="2216" y="1023"/>
                  </a:lnTo>
                  <a:lnTo>
                    <a:pt x="2217" y="1050"/>
                  </a:lnTo>
                  <a:lnTo>
                    <a:pt x="2215" y="1066"/>
                  </a:lnTo>
                  <a:lnTo>
                    <a:pt x="2211" y="1074"/>
                  </a:lnTo>
                  <a:lnTo>
                    <a:pt x="2206" y="1090"/>
                  </a:lnTo>
                  <a:lnTo>
                    <a:pt x="2204" y="1110"/>
                  </a:lnTo>
                  <a:lnTo>
                    <a:pt x="2199" y="1142"/>
                  </a:lnTo>
                  <a:lnTo>
                    <a:pt x="2196" y="1145"/>
                  </a:lnTo>
                  <a:lnTo>
                    <a:pt x="2189" y="1164"/>
                  </a:lnTo>
                  <a:lnTo>
                    <a:pt x="2188" y="1182"/>
                  </a:lnTo>
                  <a:lnTo>
                    <a:pt x="2190" y="1201"/>
                  </a:lnTo>
                  <a:lnTo>
                    <a:pt x="2186" y="1207"/>
                  </a:lnTo>
                  <a:lnTo>
                    <a:pt x="2186" y="1214"/>
                  </a:lnTo>
                  <a:lnTo>
                    <a:pt x="2172" y="1252"/>
                  </a:lnTo>
                  <a:lnTo>
                    <a:pt x="2167" y="1258"/>
                  </a:lnTo>
                  <a:lnTo>
                    <a:pt x="2162" y="1266"/>
                  </a:lnTo>
                  <a:lnTo>
                    <a:pt x="2156" y="1273"/>
                  </a:lnTo>
                  <a:lnTo>
                    <a:pt x="2156" y="1280"/>
                  </a:lnTo>
                  <a:lnTo>
                    <a:pt x="2158" y="1285"/>
                  </a:lnTo>
                  <a:lnTo>
                    <a:pt x="2153" y="1291"/>
                  </a:lnTo>
                  <a:lnTo>
                    <a:pt x="2145" y="1302"/>
                  </a:lnTo>
                  <a:lnTo>
                    <a:pt x="2137" y="1302"/>
                  </a:lnTo>
                  <a:lnTo>
                    <a:pt x="2135" y="1306"/>
                  </a:lnTo>
                  <a:lnTo>
                    <a:pt x="2141" y="1308"/>
                  </a:lnTo>
                  <a:lnTo>
                    <a:pt x="2130" y="1312"/>
                  </a:lnTo>
                  <a:lnTo>
                    <a:pt x="2123" y="1316"/>
                  </a:lnTo>
                  <a:lnTo>
                    <a:pt x="2120" y="1323"/>
                  </a:lnTo>
                  <a:lnTo>
                    <a:pt x="2114" y="1331"/>
                  </a:lnTo>
                  <a:lnTo>
                    <a:pt x="2108" y="1346"/>
                  </a:lnTo>
                  <a:lnTo>
                    <a:pt x="2100" y="1357"/>
                  </a:lnTo>
                  <a:lnTo>
                    <a:pt x="2094" y="1359"/>
                  </a:lnTo>
                  <a:lnTo>
                    <a:pt x="2091" y="1360"/>
                  </a:lnTo>
                  <a:lnTo>
                    <a:pt x="2089" y="1365"/>
                  </a:lnTo>
                  <a:lnTo>
                    <a:pt x="2097" y="1367"/>
                  </a:lnTo>
                  <a:lnTo>
                    <a:pt x="2096" y="1379"/>
                  </a:lnTo>
                  <a:lnTo>
                    <a:pt x="2091" y="1392"/>
                  </a:lnTo>
                  <a:lnTo>
                    <a:pt x="2088" y="1392"/>
                  </a:lnTo>
                  <a:lnTo>
                    <a:pt x="2087" y="1400"/>
                  </a:lnTo>
                  <a:lnTo>
                    <a:pt x="2078" y="1411"/>
                  </a:lnTo>
                  <a:lnTo>
                    <a:pt x="2065" y="1458"/>
                  </a:lnTo>
                  <a:lnTo>
                    <a:pt x="2065" y="1468"/>
                  </a:lnTo>
                  <a:lnTo>
                    <a:pt x="2056" y="1462"/>
                  </a:lnTo>
                  <a:lnTo>
                    <a:pt x="2049" y="1481"/>
                  </a:lnTo>
                  <a:lnTo>
                    <a:pt x="2044" y="1487"/>
                  </a:lnTo>
                  <a:lnTo>
                    <a:pt x="2041" y="1497"/>
                  </a:lnTo>
                  <a:lnTo>
                    <a:pt x="2038" y="1500"/>
                  </a:lnTo>
                  <a:lnTo>
                    <a:pt x="2034" y="1506"/>
                  </a:lnTo>
                  <a:lnTo>
                    <a:pt x="2033" y="1521"/>
                  </a:lnTo>
                  <a:lnTo>
                    <a:pt x="2029" y="1538"/>
                  </a:lnTo>
                  <a:lnTo>
                    <a:pt x="2033" y="1546"/>
                  </a:lnTo>
                  <a:lnTo>
                    <a:pt x="2030" y="1550"/>
                  </a:lnTo>
                  <a:lnTo>
                    <a:pt x="2029" y="1562"/>
                  </a:lnTo>
                  <a:lnTo>
                    <a:pt x="2023" y="1577"/>
                  </a:lnTo>
                  <a:lnTo>
                    <a:pt x="2021" y="1587"/>
                  </a:lnTo>
                  <a:lnTo>
                    <a:pt x="2021" y="1593"/>
                  </a:lnTo>
                  <a:lnTo>
                    <a:pt x="2024" y="1603"/>
                  </a:lnTo>
                  <a:lnTo>
                    <a:pt x="2024" y="1613"/>
                  </a:lnTo>
                  <a:lnTo>
                    <a:pt x="2023" y="1621"/>
                  </a:lnTo>
                  <a:lnTo>
                    <a:pt x="2021" y="1629"/>
                  </a:lnTo>
                  <a:lnTo>
                    <a:pt x="2012" y="1624"/>
                  </a:lnTo>
                  <a:lnTo>
                    <a:pt x="2008" y="1625"/>
                  </a:lnTo>
                  <a:lnTo>
                    <a:pt x="2007" y="1637"/>
                  </a:lnTo>
                  <a:lnTo>
                    <a:pt x="1987" y="1643"/>
                  </a:lnTo>
                  <a:lnTo>
                    <a:pt x="1932" y="1645"/>
                  </a:lnTo>
                  <a:lnTo>
                    <a:pt x="1920" y="1648"/>
                  </a:lnTo>
                  <a:lnTo>
                    <a:pt x="1898" y="1661"/>
                  </a:lnTo>
                  <a:lnTo>
                    <a:pt x="1888" y="1669"/>
                  </a:lnTo>
                  <a:lnTo>
                    <a:pt x="1874" y="1678"/>
                  </a:lnTo>
                  <a:lnTo>
                    <a:pt x="1868" y="1685"/>
                  </a:lnTo>
                  <a:lnTo>
                    <a:pt x="1866" y="1691"/>
                  </a:lnTo>
                  <a:lnTo>
                    <a:pt x="1854" y="1699"/>
                  </a:lnTo>
                  <a:lnTo>
                    <a:pt x="1847" y="1705"/>
                  </a:lnTo>
                  <a:lnTo>
                    <a:pt x="1844" y="1701"/>
                  </a:lnTo>
                  <a:lnTo>
                    <a:pt x="1830" y="1705"/>
                  </a:lnTo>
                  <a:lnTo>
                    <a:pt x="1823" y="1705"/>
                  </a:lnTo>
                  <a:lnTo>
                    <a:pt x="1819" y="1706"/>
                  </a:lnTo>
                  <a:lnTo>
                    <a:pt x="1818" y="1715"/>
                  </a:lnTo>
                  <a:lnTo>
                    <a:pt x="1822" y="1720"/>
                  </a:lnTo>
                  <a:lnTo>
                    <a:pt x="1825" y="1713"/>
                  </a:lnTo>
                  <a:lnTo>
                    <a:pt x="1831" y="1709"/>
                  </a:lnTo>
                  <a:lnTo>
                    <a:pt x="1836" y="1709"/>
                  </a:lnTo>
                  <a:lnTo>
                    <a:pt x="1833" y="1720"/>
                  </a:lnTo>
                  <a:lnTo>
                    <a:pt x="1831" y="1729"/>
                  </a:lnTo>
                  <a:lnTo>
                    <a:pt x="1826" y="1736"/>
                  </a:lnTo>
                  <a:lnTo>
                    <a:pt x="1813" y="1717"/>
                  </a:lnTo>
                  <a:lnTo>
                    <a:pt x="1808" y="1717"/>
                  </a:lnTo>
                  <a:lnTo>
                    <a:pt x="1799" y="1713"/>
                  </a:lnTo>
                  <a:lnTo>
                    <a:pt x="1796" y="1704"/>
                  </a:lnTo>
                  <a:lnTo>
                    <a:pt x="1785" y="1704"/>
                  </a:lnTo>
                  <a:lnTo>
                    <a:pt x="1777" y="1696"/>
                  </a:lnTo>
                  <a:lnTo>
                    <a:pt x="1776" y="1690"/>
                  </a:lnTo>
                  <a:lnTo>
                    <a:pt x="1779" y="1679"/>
                  </a:lnTo>
                  <a:lnTo>
                    <a:pt x="1772" y="1673"/>
                  </a:lnTo>
                  <a:lnTo>
                    <a:pt x="1760" y="1682"/>
                  </a:lnTo>
                  <a:lnTo>
                    <a:pt x="1750" y="1685"/>
                  </a:lnTo>
                  <a:lnTo>
                    <a:pt x="1739" y="1682"/>
                  </a:lnTo>
                  <a:lnTo>
                    <a:pt x="1736" y="1675"/>
                  </a:lnTo>
                  <a:lnTo>
                    <a:pt x="1749" y="1675"/>
                  </a:lnTo>
                  <a:lnTo>
                    <a:pt x="1752" y="1666"/>
                  </a:lnTo>
                  <a:lnTo>
                    <a:pt x="1750" y="1652"/>
                  </a:lnTo>
                  <a:lnTo>
                    <a:pt x="1741" y="1647"/>
                  </a:lnTo>
                  <a:lnTo>
                    <a:pt x="1725" y="1659"/>
                  </a:lnTo>
                  <a:lnTo>
                    <a:pt x="1715" y="1661"/>
                  </a:lnTo>
                  <a:lnTo>
                    <a:pt x="1728" y="1669"/>
                  </a:lnTo>
                  <a:lnTo>
                    <a:pt x="1729" y="1672"/>
                  </a:lnTo>
                  <a:lnTo>
                    <a:pt x="1721" y="1673"/>
                  </a:lnTo>
                  <a:lnTo>
                    <a:pt x="1710" y="1678"/>
                  </a:lnTo>
                  <a:lnTo>
                    <a:pt x="1699" y="1686"/>
                  </a:lnTo>
                  <a:lnTo>
                    <a:pt x="1690" y="1701"/>
                  </a:lnTo>
                  <a:lnTo>
                    <a:pt x="1672" y="1710"/>
                  </a:lnTo>
                  <a:lnTo>
                    <a:pt x="1658" y="1713"/>
                  </a:lnTo>
                  <a:lnTo>
                    <a:pt x="1655" y="1709"/>
                  </a:lnTo>
                  <a:lnTo>
                    <a:pt x="1635" y="1699"/>
                  </a:lnTo>
                  <a:lnTo>
                    <a:pt x="1616" y="1686"/>
                  </a:lnTo>
                  <a:lnTo>
                    <a:pt x="1607" y="1683"/>
                  </a:lnTo>
                  <a:lnTo>
                    <a:pt x="1593" y="1682"/>
                  </a:lnTo>
                  <a:lnTo>
                    <a:pt x="1572" y="1674"/>
                  </a:lnTo>
                  <a:lnTo>
                    <a:pt x="1564" y="1675"/>
                  </a:lnTo>
                  <a:lnTo>
                    <a:pt x="1555" y="1682"/>
                  </a:lnTo>
                  <a:lnTo>
                    <a:pt x="1548" y="1671"/>
                  </a:lnTo>
                  <a:lnTo>
                    <a:pt x="1529" y="1659"/>
                  </a:lnTo>
                  <a:lnTo>
                    <a:pt x="1511" y="1658"/>
                  </a:lnTo>
                  <a:lnTo>
                    <a:pt x="1496" y="1650"/>
                  </a:lnTo>
                  <a:lnTo>
                    <a:pt x="1486" y="1639"/>
                  </a:lnTo>
                  <a:lnTo>
                    <a:pt x="1481" y="1625"/>
                  </a:lnTo>
                  <a:lnTo>
                    <a:pt x="1470" y="1618"/>
                  </a:lnTo>
                  <a:lnTo>
                    <a:pt x="1458" y="1588"/>
                  </a:lnTo>
                  <a:lnTo>
                    <a:pt x="1457" y="1582"/>
                  </a:lnTo>
                  <a:lnTo>
                    <a:pt x="1462" y="1572"/>
                  </a:lnTo>
                  <a:lnTo>
                    <a:pt x="1463" y="1559"/>
                  </a:lnTo>
                  <a:lnTo>
                    <a:pt x="1453" y="1530"/>
                  </a:lnTo>
                  <a:lnTo>
                    <a:pt x="1430" y="1500"/>
                  </a:lnTo>
                  <a:lnTo>
                    <a:pt x="1437" y="1483"/>
                  </a:lnTo>
                  <a:lnTo>
                    <a:pt x="1436" y="1480"/>
                  </a:lnTo>
                  <a:lnTo>
                    <a:pt x="1421" y="1481"/>
                  </a:lnTo>
                  <a:lnTo>
                    <a:pt x="1406" y="1490"/>
                  </a:lnTo>
                  <a:lnTo>
                    <a:pt x="1389" y="1496"/>
                  </a:lnTo>
                  <a:lnTo>
                    <a:pt x="1379" y="1497"/>
                  </a:lnTo>
                  <a:lnTo>
                    <a:pt x="1372" y="1495"/>
                  </a:lnTo>
                  <a:lnTo>
                    <a:pt x="1379" y="1484"/>
                  </a:lnTo>
                  <a:lnTo>
                    <a:pt x="1387" y="1468"/>
                  </a:lnTo>
                  <a:lnTo>
                    <a:pt x="1390" y="1453"/>
                  </a:lnTo>
                  <a:lnTo>
                    <a:pt x="1390" y="1436"/>
                  </a:lnTo>
                  <a:lnTo>
                    <a:pt x="1384" y="1419"/>
                  </a:lnTo>
                  <a:lnTo>
                    <a:pt x="1376" y="1406"/>
                  </a:lnTo>
                  <a:lnTo>
                    <a:pt x="1368" y="1400"/>
                  </a:lnTo>
                  <a:lnTo>
                    <a:pt x="1356" y="1424"/>
                  </a:lnTo>
                  <a:lnTo>
                    <a:pt x="1356" y="1436"/>
                  </a:lnTo>
                  <a:lnTo>
                    <a:pt x="1352" y="1448"/>
                  </a:lnTo>
                  <a:lnTo>
                    <a:pt x="1350" y="1460"/>
                  </a:lnTo>
                  <a:lnTo>
                    <a:pt x="1349" y="1463"/>
                  </a:lnTo>
                  <a:lnTo>
                    <a:pt x="1340" y="1462"/>
                  </a:lnTo>
                  <a:lnTo>
                    <a:pt x="1329" y="1467"/>
                  </a:lnTo>
                  <a:lnTo>
                    <a:pt x="1317" y="1467"/>
                  </a:lnTo>
                  <a:lnTo>
                    <a:pt x="1307" y="1473"/>
                  </a:lnTo>
                  <a:lnTo>
                    <a:pt x="1301" y="1467"/>
                  </a:lnTo>
                  <a:lnTo>
                    <a:pt x="1306" y="1448"/>
                  </a:lnTo>
                  <a:lnTo>
                    <a:pt x="1319" y="1449"/>
                  </a:lnTo>
                  <a:lnTo>
                    <a:pt x="1330" y="1443"/>
                  </a:lnTo>
                  <a:lnTo>
                    <a:pt x="1334" y="1429"/>
                  </a:lnTo>
                  <a:lnTo>
                    <a:pt x="1335" y="1417"/>
                  </a:lnTo>
                  <a:lnTo>
                    <a:pt x="1333" y="1415"/>
                  </a:lnTo>
                  <a:lnTo>
                    <a:pt x="1333" y="1411"/>
                  </a:lnTo>
                  <a:lnTo>
                    <a:pt x="1334" y="1405"/>
                  </a:lnTo>
                  <a:lnTo>
                    <a:pt x="1334" y="1397"/>
                  </a:lnTo>
                  <a:lnTo>
                    <a:pt x="1339" y="1384"/>
                  </a:lnTo>
                  <a:lnTo>
                    <a:pt x="1345" y="1368"/>
                  </a:lnTo>
                  <a:lnTo>
                    <a:pt x="1351" y="1365"/>
                  </a:lnTo>
                  <a:lnTo>
                    <a:pt x="1357" y="1355"/>
                  </a:lnTo>
                  <a:lnTo>
                    <a:pt x="1357" y="1330"/>
                  </a:lnTo>
                  <a:lnTo>
                    <a:pt x="1363" y="1331"/>
                  </a:lnTo>
                  <a:lnTo>
                    <a:pt x="1362" y="1324"/>
                  </a:lnTo>
                  <a:lnTo>
                    <a:pt x="1358" y="1317"/>
                  </a:lnTo>
                  <a:lnTo>
                    <a:pt x="1358" y="1307"/>
                  </a:lnTo>
                  <a:lnTo>
                    <a:pt x="1355" y="1304"/>
                  </a:lnTo>
                  <a:lnTo>
                    <a:pt x="1355" y="1293"/>
                  </a:lnTo>
                  <a:lnTo>
                    <a:pt x="1350" y="1288"/>
                  </a:lnTo>
                  <a:lnTo>
                    <a:pt x="1347" y="1297"/>
                  </a:lnTo>
                  <a:lnTo>
                    <a:pt x="1347" y="1317"/>
                  </a:lnTo>
                  <a:lnTo>
                    <a:pt x="1342" y="1318"/>
                  </a:lnTo>
                  <a:lnTo>
                    <a:pt x="1335" y="1330"/>
                  </a:lnTo>
                  <a:lnTo>
                    <a:pt x="1330" y="1341"/>
                  </a:lnTo>
                  <a:lnTo>
                    <a:pt x="1324" y="1354"/>
                  </a:lnTo>
                  <a:lnTo>
                    <a:pt x="1323" y="1360"/>
                  </a:lnTo>
                  <a:lnTo>
                    <a:pt x="1318" y="1368"/>
                  </a:lnTo>
                  <a:lnTo>
                    <a:pt x="1307" y="1367"/>
                  </a:lnTo>
                  <a:lnTo>
                    <a:pt x="1302" y="1370"/>
                  </a:lnTo>
                  <a:lnTo>
                    <a:pt x="1301" y="1374"/>
                  </a:lnTo>
                  <a:lnTo>
                    <a:pt x="1287" y="1382"/>
                  </a:lnTo>
                  <a:lnTo>
                    <a:pt x="1282" y="1388"/>
                  </a:lnTo>
                  <a:lnTo>
                    <a:pt x="1275" y="1390"/>
                  </a:lnTo>
                  <a:lnTo>
                    <a:pt x="1269" y="1405"/>
                  </a:lnTo>
                  <a:lnTo>
                    <a:pt x="1259" y="1417"/>
                  </a:lnTo>
                  <a:lnTo>
                    <a:pt x="1249" y="1425"/>
                  </a:lnTo>
                  <a:lnTo>
                    <a:pt x="1245" y="1437"/>
                  </a:lnTo>
                  <a:lnTo>
                    <a:pt x="1252" y="1437"/>
                  </a:lnTo>
                  <a:lnTo>
                    <a:pt x="1252" y="1454"/>
                  </a:lnTo>
                  <a:lnTo>
                    <a:pt x="1245" y="1449"/>
                  </a:lnTo>
                  <a:lnTo>
                    <a:pt x="1238" y="1452"/>
                  </a:lnTo>
                  <a:lnTo>
                    <a:pt x="1229" y="1440"/>
                  </a:lnTo>
                  <a:lnTo>
                    <a:pt x="1220" y="1433"/>
                  </a:lnTo>
                  <a:lnTo>
                    <a:pt x="1214" y="1427"/>
                  </a:lnTo>
                  <a:lnTo>
                    <a:pt x="1205" y="1426"/>
                  </a:lnTo>
                  <a:lnTo>
                    <a:pt x="1205" y="1416"/>
                  </a:lnTo>
                  <a:lnTo>
                    <a:pt x="1221" y="1427"/>
                  </a:lnTo>
                  <a:lnTo>
                    <a:pt x="1222" y="1419"/>
                  </a:lnTo>
                  <a:lnTo>
                    <a:pt x="1220" y="1405"/>
                  </a:lnTo>
                  <a:lnTo>
                    <a:pt x="1214" y="1398"/>
                  </a:lnTo>
                  <a:lnTo>
                    <a:pt x="1211" y="1383"/>
                  </a:lnTo>
                  <a:lnTo>
                    <a:pt x="1204" y="1372"/>
                  </a:lnTo>
                  <a:lnTo>
                    <a:pt x="1195" y="1365"/>
                  </a:lnTo>
                  <a:lnTo>
                    <a:pt x="1190" y="1347"/>
                  </a:lnTo>
                  <a:lnTo>
                    <a:pt x="1186" y="1343"/>
                  </a:lnTo>
                  <a:lnTo>
                    <a:pt x="1183" y="1334"/>
                  </a:lnTo>
                  <a:lnTo>
                    <a:pt x="1177" y="1335"/>
                  </a:lnTo>
                  <a:lnTo>
                    <a:pt x="1166" y="1330"/>
                  </a:lnTo>
                  <a:lnTo>
                    <a:pt x="1156" y="1324"/>
                  </a:lnTo>
                  <a:lnTo>
                    <a:pt x="1150" y="1316"/>
                  </a:lnTo>
                  <a:lnTo>
                    <a:pt x="1150" y="1306"/>
                  </a:lnTo>
                  <a:lnTo>
                    <a:pt x="1155" y="1306"/>
                  </a:lnTo>
                  <a:lnTo>
                    <a:pt x="1156" y="1292"/>
                  </a:lnTo>
                  <a:lnTo>
                    <a:pt x="1135" y="1286"/>
                  </a:lnTo>
                  <a:lnTo>
                    <a:pt x="1114" y="1265"/>
                  </a:lnTo>
                  <a:lnTo>
                    <a:pt x="1108" y="1263"/>
                  </a:lnTo>
                  <a:lnTo>
                    <a:pt x="1110" y="1270"/>
                  </a:lnTo>
                  <a:lnTo>
                    <a:pt x="1100" y="1269"/>
                  </a:lnTo>
                  <a:lnTo>
                    <a:pt x="1091" y="1263"/>
                  </a:lnTo>
                  <a:lnTo>
                    <a:pt x="1069" y="1252"/>
                  </a:lnTo>
                  <a:lnTo>
                    <a:pt x="1062" y="1253"/>
                  </a:lnTo>
                  <a:lnTo>
                    <a:pt x="1054" y="1259"/>
                  </a:lnTo>
                  <a:lnTo>
                    <a:pt x="1051" y="1258"/>
                  </a:lnTo>
                  <a:lnTo>
                    <a:pt x="1045" y="1255"/>
                  </a:lnTo>
                  <a:lnTo>
                    <a:pt x="1017" y="1231"/>
                  </a:lnTo>
                  <a:lnTo>
                    <a:pt x="1006" y="1227"/>
                  </a:lnTo>
                  <a:lnTo>
                    <a:pt x="995" y="1226"/>
                  </a:lnTo>
                  <a:lnTo>
                    <a:pt x="974" y="1225"/>
                  </a:lnTo>
                  <a:lnTo>
                    <a:pt x="941" y="1230"/>
                  </a:lnTo>
                  <a:lnTo>
                    <a:pt x="899" y="1228"/>
                  </a:lnTo>
                  <a:lnTo>
                    <a:pt x="881" y="1228"/>
                  </a:lnTo>
                  <a:lnTo>
                    <a:pt x="840" y="1248"/>
                  </a:lnTo>
                  <a:lnTo>
                    <a:pt x="820" y="1261"/>
                  </a:lnTo>
                  <a:lnTo>
                    <a:pt x="795" y="1263"/>
                  </a:lnTo>
                  <a:lnTo>
                    <a:pt x="779" y="1270"/>
                  </a:lnTo>
                  <a:lnTo>
                    <a:pt x="758" y="1274"/>
                  </a:lnTo>
                  <a:lnTo>
                    <a:pt x="722" y="1273"/>
                  </a:lnTo>
                  <a:lnTo>
                    <a:pt x="710" y="1270"/>
                  </a:lnTo>
                  <a:lnTo>
                    <a:pt x="695" y="1274"/>
                  </a:lnTo>
                  <a:lnTo>
                    <a:pt x="685" y="1282"/>
                  </a:lnTo>
                  <a:lnTo>
                    <a:pt x="658" y="1297"/>
                  </a:lnTo>
                  <a:lnTo>
                    <a:pt x="642" y="1302"/>
                  </a:lnTo>
                  <a:lnTo>
                    <a:pt x="634" y="1309"/>
                  </a:lnTo>
                  <a:lnTo>
                    <a:pt x="625" y="1313"/>
                  </a:lnTo>
                  <a:lnTo>
                    <a:pt x="614" y="1314"/>
                  </a:lnTo>
                  <a:lnTo>
                    <a:pt x="602" y="1320"/>
                  </a:lnTo>
                  <a:lnTo>
                    <a:pt x="596" y="1333"/>
                  </a:lnTo>
                  <a:lnTo>
                    <a:pt x="592" y="1349"/>
                  </a:lnTo>
                  <a:lnTo>
                    <a:pt x="587" y="1354"/>
                  </a:lnTo>
                  <a:lnTo>
                    <a:pt x="581" y="1363"/>
                  </a:lnTo>
                  <a:lnTo>
                    <a:pt x="577" y="1372"/>
                  </a:lnTo>
                  <a:lnTo>
                    <a:pt x="558" y="1377"/>
                  </a:lnTo>
                  <a:lnTo>
                    <a:pt x="549" y="1377"/>
                  </a:lnTo>
                  <a:lnTo>
                    <a:pt x="539" y="1373"/>
                  </a:lnTo>
                  <a:lnTo>
                    <a:pt x="518" y="1376"/>
                  </a:lnTo>
                  <a:lnTo>
                    <a:pt x="496" y="1382"/>
                  </a:lnTo>
                  <a:lnTo>
                    <a:pt x="491" y="1374"/>
                  </a:lnTo>
                  <a:lnTo>
                    <a:pt x="486" y="1372"/>
                  </a:lnTo>
                  <a:lnTo>
                    <a:pt x="480" y="1374"/>
                  </a:lnTo>
                  <a:lnTo>
                    <a:pt x="464" y="1376"/>
                  </a:lnTo>
                  <a:lnTo>
                    <a:pt x="447" y="1372"/>
                  </a:lnTo>
                  <a:lnTo>
                    <a:pt x="435" y="1372"/>
                  </a:lnTo>
                  <a:lnTo>
                    <a:pt x="419" y="1379"/>
                  </a:lnTo>
                  <a:lnTo>
                    <a:pt x="376" y="1378"/>
                  </a:lnTo>
                  <a:lnTo>
                    <a:pt x="365" y="1383"/>
                  </a:lnTo>
                  <a:lnTo>
                    <a:pt x="355" y="1392"/>
                  </a:lnTo>
                  <a:lnTo>
                    <a:pt x="350" y="1399"/>
                  </a:lnTo>
                  <a:lnTo>
                    <a:pt x="352" y="1404"/>
                  </a:lnTo>
                  <a:lnTo>
                    <a:pt x="350" y="1405"/>
                  </a:lnTo>
                  <a:lnTo>
                    <a:pt x="344" y="1411"/>
                  </a:lnTo>
                  <a:lnTo>
                    <a:pt x="333" y="1414"/>
                  </a:lnTo>
                  <a:lnTo>
                    <a:pt x="316" y="1416"/>
                  </a:lnTo>
                  <a:lnTo>
                    <a:pt x="301" y="1426"/>
                  </a:lnTo>
                  <a:lnTo>
                    <a:pt x="292" y="1436"/>
                  </a:lnTo>
                  <a:lnTo>
                    <a:pt x="287" y="1443"/>
                  </a:lnTo>
                  <a:lnTo>
                    <a:pt x="280" y="1449"/>
                  </a:lnTo>
                  <a:lnTo>
                    <a:pt x="271" y="1452"/>
                  </a:lnTo>
                  <a:lnTo>
                    <a:pt x="261" y="1447"/>
                  </a:lnTo>
                  <a:lnTo>
                    <a:pt x="260" y="1458"/>
                  </a:lnTo>
                  <a:lnTo>
                    <a:pt x="253" y="1454"/>
                  </a:lnTo>
                  <a:lnTo>
                    <a:pt x="244" y="1458"/>
                  </a:lnTo>
                  <a:lnTo>
                    <a:pt x="238" y="1451"/>
                  </a:lnTo>
                  <a:lnTo>
                    <a:pt x="205" y="1453"/>
                  </a:lnTo>
                  <a:lnTo>
                    <a:pt x="190" y="1451"/>
                  </a:lnTo>
                  <a:lnTo>
                    <a:pt x="183" y="1443"/>
                  </a:lnTo>
                  <a:lnTo>
                    <a:pt x="174" y="1440"/>
                  </a:lnTo>
                  <a:lnTo>
                    <a:pt x="174" y="1441"/>
                  </a:lnTo>
                  <a:lnTo>
                    <a:pt x="163" y="1440"/>
                  </a:lnTo>
                  <a:lnTo>
                    <a:pt x="148" y="1424"/>
                  </a:lnTo>
                  <a:lnTo>
                    <a:pt x="141" y="1415"/>
                  </a:lnTo>
                  <a:lnTo>
                    <a:pt x="130" y="1405"/>
                  </a:lnTo>
                  <a:lnTo>
                    <a:pt x="120" y="1402"/>
                  </a:lnTo>
                  <a:lnTo>
                    <a:pt x="108" y="1399"/>
                  </a:lnTo>
                  <a:lnTo>
                    <a:pt x="105" y="1370"/>
                  </a:lnTo>
                  <a:lnTo>
                    <a:pt x="107" y="1357"/>
                  </a:lnTo>
                  <a:lnTo>
                    <a:pt x="107" y="1356"/>
                  </a:lnTo>
                  <a:lnTo>
                    <a:pt x="117" y="1360"/>
                  </a:lnTo>
                  <a:lnTo>
                    <a:pt x="125" y="1359"/>
                  </a:lnTo>
                  <a:lnTo>
                    <a:pt x="136" y="1343"/>
                  </a:lnTo>
                  <a:lnTo>
                    <a:pt x="142" y="1328"/>
                  </a:lnTo>
                  <a:lnTo>
                    <a:pt x="142" y="1318"/>
                  </a:lnTo>
                  <a:lnTo>
                    <a:pt x="137" y="1306"/>
                  </a:lnTo>
                  <a:lnTo>
                    <a:pt x="137" y="1291"/>
                  </a:lnTo>
                  <a:lnTo>
                    <a:pt x="139" y="1297"/>
                  </a:lnTo>
                  <a:lnTo>
                    <a:pt x="142" y="1286"/>
                  </a:lnTo>
                  <a:lnTo>
                    <a:pt x="141" y="1265"/>
                  </a:lnTo>
                  <a:lnTo>
                    <a:pt x="144" y="1248"/>
                  </a:lnTo>
                  <a:lnTo>
                    <a:pt x="141" y="1234"/>
                  </a:lnTo>
                  <a:lnTo>
                    <a:pt x="124" y="1196"/>
                  </a:lnTo>
                  <a:lnTo>
                    <a:pt x="121" y="1185"/>
                  </a:lnTo>
                  <a:lnTo>
                    <a:pt x="117" y="1178"/>
                  </a:lnTo>
                  <a:lnTo>
                    <a:pt x="109" y="1168"/>
                  </a:lnTo>
                  <a:lnTo>
                    <a:pt x="103" y="1150"/>
                  </a:lnTo>
                  <a:lnTo>
                    <a:pt x="98" y="1124"/>
                  </a:lnTo>
                  <a:lnTo>
                    <a:pt x="98" y="1092"/>
                  </a:lnTo>
                  <a:lnTo>
                    <a:pt x="94" y="1081"/>
                  </a:lnTo>
                  <a:lnTo>
                    <a:pt x="78" y="1053"/>
                  </a:lnTo>
                  <a:lnTo>
                    <a:pt x="76" y="1039"/>
                  </a:lnTo>
                  <a:lnTo>
                    <a:pt x="66" y="1024"/>
                  </a:lnTo>
                  <a:lnTo>
                    <a:pt x="54" y="1004"/>
                  </a:lnTo>
                  <a:lnTo>
                    <a:pt x="54" y="983"/>
                  </a:lnTo>
                  <a:lnTo>
                    <a:pt x="46" y="965"/>
                  </a:lnTo>
                  <a:lnTo>
                    <a:pt x="40" y="945"/>
                  </a:lnTo>
                  <a:lnTo>
                    <a:pt x="29" y="938"/>
                  </a:lnTo>
                  <a:lnTo>
                    <a:pt x="19" y="927"/>
                  </a:lnTo>
                  <a:lnTo>
                    <a:pt x="13" y="919"/>
                  </a:lnTo>
                  <a:lnTo>
                    <a:pt x="11" y="909"/>
                  </a:lnTo>
                  <a:lnTo>
                    <a:pt x="5" y="905"/>
                  </a:lnTo>
                  <a:lnTo>
                    <a:pt x="0" y="895"/>
                  </a:lnTo>
                  <a:lnTo>
                    <a:pt x="1" y="889"/>
                  </a:lnTo>
                  <a:lnTo>
                    <a:pt x="3" y="894"/>
                  </a:lnTo>
                  <a:lnTo>
                    <a:pt x="8" y="895"/>
                  </a:lnTo>
                  <a:lnTo>
                    <a:pt x="12" y="897"/>
                  </a:lnTo>
                  <a:lnTo>
                    <a:pt x="15" y="904"/>
                  </a:lnTo>
                  <a:lnTo>
                    <a:pt x="16" y="914"/>
                  </a:lnTo>
                  <a:lnTo>
                    <a:pt x="21" y="911"/>
                  </a:lnTo>
                  <a:lnTo>
                    <a:pt x="23" y="918"/>
                  </a:lnTo>
                  <a:lnTo>
                    <a:pt x="31" y="919"/>
                  </a:lnTo>
                  <a:lnTo>
                    <a:pt x="35" y="913"/>
                  </a:lnTo>
                  <a:lnTo>
                    <a:pt x="34" y="904"/>
                  </a:lnTo>
                  <a:lnTo>
                    <a:pt x="26" y="895"/>
                  </a:lnTo>
                  <a:lnTo>
                    <a:pt x="13" y="866"/>
                  </a:lnTo>
                  <a:lnTo>
                    <a:pt x="13" y="856"/>
                  </a:lnTo>
                  <a:lnTo>
                    <a:pt x="17" y="860"/>
                  </a:lnTo>
                  <a:lnTo>
                    <a:pt x="22" y="871"/>
                  </a:lnTo>
                  <a:lnTo>
                    <a:pt x="27" y="894"/>
                  </a:lnTo>
                  <a:lnTo>
                    <a:pt x="35" y="884"/>
                  </a:lnTo>
                  <a:lnTo>
                    <a:pt x="38" y="893"/>
                  </a:lnTo>
                  <a:lnTo>
                    <a:pt x="39" y="904"/>
                  </a:lnTo>
                  <a:lnTo>
                    <a:pt x="46" y="905"/>
                  </a:lnTo>
                  <a:lnTo>
                    <a:pt x="51" y="898"/>
                  </a:lnTo>
                  <a:lnTo>
                    <a:pt x="54" y="886"/>
                  </a:lnTo>
                  <a:lnTo>
                    <a:pt x="53" y="867"/>
                  </a:lnTo>
                  <a:lnTo>
                    <a:pt x="45" y="860"/>
                  </a:lnTo>
                  <a:lnTo>
                    <a:pt x="39" y="848"/>
                  </a:lnTo>
                  <a:lnTo>
                    <a:pt x="37" y="851"/>
                  </a:lnTo>
                  <a:lnTo>
                    <a:pt x="38" y="844"/>
                  </a:lnTo>
                  <a:lnTo>
                    <a:pt x="31" y="832"/>
                  </a:lnTo>
                  <a:lnTo>
                    <a:pt x="23" y="814"/>
                  </a:lnTo>
                  <a:lnTo>
                    <a:pt x="8" y="787"/>
                  </a:lnTo>
                  <a:lnTo>
                    <a:pt x="8" y="758"/>
                  </a:lnTo>
                  <a:lnTo>
                    <a:pt x="13" y="748"/>
                  </a:lnTo>
                  <a:lnTo>
                    <a:pt x="28" y="733"/>
                  </a:lnTo>
                  <a:lnTo>
                    <a:pt x="29" y="725"/>
                  </a:lnTo>
                  <a:lnTo>
                    <a:pt x="28" y="716"/>
                  </a:lnTo>
                  <a:lnTo>
                    <a:pt x="29" y="695"/>
                  </a:lnTo>
                  <a:lnTo>
                    <a:pt x="22" y="683"/>
                  </a:lnTo>
                  <a:lnTo>
                    <a:pt x="27" y="661"/>
                  </a:lnTo>
                  <a:lnTo>
                    <a:pt x="33" y="652"/>
                  </a:lnTo>
                  <a:lnTo>
                    <a:pt x="39" y="637"/>
                  </a:lnTo>
                  <a:lnTo>
                    <a:pt x="43" y="63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1" name="Freeform 55"/>
            <p:cNvSpPr>
              <a:spLocks noChangeAspect="1"/>
            </p:cNvSpPr>
            <p:nvPr/>
          </p:nvSpPr>
          <p:spPr bwMode="gray">
            <a:xfrm>
              <a:off x="8799238" y="5107229"/>
              <a:ext cx="135162" cy="160644"/>
            </a:xfrm>
            <a:custGeom>
              <a:avLst/>
              <a:gdLst/>
              <a:ahLst/>
              <a:cxnLst>
                <a:cxn ang="0">
                  <a:pos x="319" y="16"/>
                </a:cxn>
                <a:cxn ang="0">
                  <a:pos x="337" y="0"/>
                </a:cxn>
                <a:cxn ang="0">
                  <a:pos x="349" y="22"/>
                </a:cxn>
                <a:cxn ang="0">
                  <a:pos x="362" y="51"/>
                </a:cxn>
                <a:cxn ang="0">
                  <a:pos x="391" y="35"/>
                </a:cxn>
                <a:cxn ang="0">
                  <a:pos x="402" y="35"/>
                </a:cxn>
                <a:cxn ang="0">
                  <a:pos x="411" y="47"/>
                </a:cxn>
                <a:cxn ang="0">
                  <a:pos x="423" y="40"/>
                </a:cxn>
                <a:cxn ang="0">
                  <a:pos x="417" y="68"/>
                </a:cxn>
                <a:cxn ang="0">
                  <a:pos x="411" y="114"/>
                </a:cxn>
                <a:cxn ang="0">
                  <a:pos x="387" y="141"/>
                </a:cxn>
                <a:cxn ang="0">
                  <a:pos x="362" y="180"/>
                </a:cxn>
                <a:cxn ang="0">
                  <a:pos x="342" y="228"/>
                </a:cxn>
                <a:cxn ang="0">
                  <a:pos x="360" y="246"/>
                </a:cxn>
                <a:cxn ang="0">
                  <a:pos x="326" y="235"/>
                </a:cxn>
                <a:cxn ang="0">
                  <a:pos x="316" y="244"/>
                </a:cxn>
                <a:cxn ang="0">
                  <a:pos x="287" y="262"/>
                </a:cxn>
                <a:cxn ang="0">
                  <a:pos x="274" y="265"/>
                </a:cxn>
                <a:cxn ang="0">
                  <a:pos x="262" y="320"/>
                </a:cxn>
                <a:cxn ang="0">
                  <a:pos x="245" y="361"/>
                </a:cxn>
                <a:cxn ang="0">
                  <a:pos x="231" y="390"/>
                </a:cxn>
                <a:cxn ang="0">
                  <a:pos x="230" y="410"/>
                </a:cxn>
                <a:cxn ang="0">
                  <a:pos x="190" y="434"/>
                </a:cxn>
                <a:cxn ang="0">
                  <a:pos x="177" y="449"/>
                </a:cxn>
                <a:cxn ang="0">
                  <a:pos x="138" y="463"/>
                </a:cxn>
                <a:cxn ang="0">
                  <a:pos x="120" y="454"/>
                </a:cxn>
                <a:cxn ang="0">
                  <a:pos x="104" y="454"/>
                </a:cxn>
                <a:cxn ang="0">
                  <a:pos x="91" y="441"/>
                </a:cxn>
                <a:cxn ang="0">
                  <a:pos x="55" y="421"/>
                </a:cxn>
                <a:cxn ang="0">
                  <a:pos x="12" y="422"/>
                </a:cxn>
                <a:cxn ang="0">
                  <a:pos x="13" y="413"/>
                </a:cxn>
                <a:cxn ang="0">
                  <a:pos x="9" y="405"/>
                </a:cxn>
                <a:cxn ang="0">
                  <a:pos x="16" y="391"/>
                </a:cxn>
                <a:cxn ang="0">
                  <a:pos x="24" y="379"/>
                </a:cxn>
                <a:cxn ang="0">
                  <a:pos x="15" y="366"/>
                </a:cxn>
                <a:cxn ang="0">
                  <a:pos x="21" y="353"/>
                </a:cxn>
                <a:cxn ang="0">
                  <a:pos x="37" y="356"/>
                </a:cxn>
                <a:cxn ang="0">
                  <a:pos x="31" y="347"/>
                </a:cxn>
                <a:cxn ang="0">
                  <a:pos x="47" y="325"/>
                </a:cxn>
                <a:cxn ang="0">
                  <a:pos x="56" y="329"/>
                </a:cxn>
                <a:cxn ang="0">
                  <a:pos x="61" y="304"/>
                </a:cxn>
                <a:cxn ang="0">
                  <a:pos x="82" y="278"/>
                </a:cxn>
                <a:cxn ang="0">
                  <a:pos x="102" y="255"/>
                </a:cxn>
                <a:cxn ang="0">
                  <a:pos x="133" y="249"/>
                </a:cxn>
                <a:cxn ang="0">
                  <a:pos x="187" y="208"/>
                </a:cxn>
                <a:cxn ang="0">
                  <a:pos x="219" y="178"/>
                </a:cxn>
                <a:cxn ang="0">
                  <a:pos x="256" y="144"/>
                </a:cxn>
                <a:cxn ang="0">
                  <a:pos x="288" y="81"/>
                </a:cxn>
                <a:cxn ang="0">
                  <a:pos x="308" y="34"/>
                </a:cxn>
              </a:cxnLst>
              <a:rect l="0" t="0" r="r" b="b"/>
              <a:pathLst>
                <a:path w="424" h="463">
                  <a:moveTo>
                    <a:pt x="308" y="34"/>
                  </a:moveTo>
                  <a:lnTo>
                    <a:pt x="310" y="35"/>
                  </a:lnTo>
                  <a:lnTo>
                    <a:pt x="311" y="20"/>
                  </a:lnTo>
                  <a:lnTo>
                    <a:pt x="319" y="16"/>
                  </a:lnTo>
                  <a:lnTo>
                    <a:pt x="327" y="6"/>
                  </a:lnTo>
                  <a:lnTo>
                    <a:pt x="331" y="6"/>
                  </a:lnTo>
                  <a:lnTo>
                    <a:pt x="333" y="2"/>
                  </a:lnTo>
                  <a:lnTo>
                    <a:pt x="337" y="0"/>
                  </a:lnTo>
                  <a:lnTo>
                    <a:pt x="340" y="3"/>
                  </a:lnTo>
                  <a:lnTo>
                    <a:pt x="340" y="14"/>
                  </a:lnTo>
                  <a:lnTo>
                    <a:pt x="343" y="20"/>
                  </a:lnTo>
                  <a:lnTo>
                    <a:pt x="349" y="22"/>
                  </a:lnTo>
                  <a:lnTo>
                    <a:pt x="354" y="22"/>
                  </a:lnTo>
                  <a:lnTo>
                    <a:pt x="358" y="28"/>
                  </a:lnTo>
                  <a:lnTo>
                    <a:pt x="358" y="45"/>
                  </a:lnTo>
                  <a:lnTo>
                    <a:pt x="362" y="51"/>
                  </a:lnTo>
                  <a:lnTo>
                    <a:pt x="368" y="55"/>
                  </a:lnTo>
                  <a:lnTo>
                    <a:pt x="381" y="44"/>
                  </a:lnTo>
                  <a:lnTo>
                    <a:pt x="387" y="41"/>
                  </a:lnTo>
                  <a:lnTo>
                    <a:pt x="391" y="35"/>
                  </a:lnTo>
                  <a:lnTo>
                    <a:pt x="401" y="29"/>
                  </a:lnTo>
                  <a:lnTo>
                    <a:pt x="406" y="28"/>
                  </a:lnTo>
                  <a:lnTo>
                    <a:pt x="407" y="29"/>
                  </a:lnTo>
                  <a:lnTo>
                    <a:pt x="402" y="35"/>
                  </a:lnTo>
                  <a:lnTo>
                    <a:pt x="403" y="36"/>
                  </a:lnTo>
                  <a:lnTo>
                    <a:pt x="405" y="44"/>
                  </a:lnTo>
                  <a:lnTo>
                    <a:pt x="401" y="54"/>
                  </a:lnTo>
                  <a:lnTo>
                    <a:pt x="411" y="47"/>
                  </a:lnTo>
                  <a:lnTo>
                    <a:pt x="408" y="43"/>
                  </a:lnTo>
                  <a:lnTo>
                    <a:pt x="413" y="34"/>
                  </a:lnTo>
                  <a:lnTo>
                    <a:pt x="418" y="33"/>
                  </a:lnTo>
                  <a:lnTo>
                    <a:pt x="423" y="40"/>
                  </a:lnTo>
                  <a:lnTo>
                    <a:pt x="414" y="51"/>
                  </a:lnTo>
                  <a:lnTo>
                    <a:pt x="418" y="51"/>
                  </a:lnTo>
                  <a:lnTo>
                    <a:pt x="422" y="57"/>
                  </a:lnTo>
                  <a:lnTo>
                    <a:pt x="417" y="68"/>
                  </a:lnTo>
                  <a:lnTo>
                    <a:pt x="424" y="87"/>
                  </a:lnTo>
                  <a:lnTo>
                    <a:pt x="422" y="93"/>
                  </a:lnTo>
                  <a:lnTo>
                    <a:pt x="413" y="106"/>
                  </a:lnTo>
                  <a:lnTo>
                    <a:pt x="411" y="114"/>
                  </a:lnTo>
                  <a:lnTo>
                    <a:pt x="405" y="124"/>
                  </a:lnTo>
                  <a:lnTo>
                    <a:pt x="398" y="125"/>
                  </a:lnTo>
                  <a:lnTo>
                    <a:pt x="397" y="129"/>
                  </a:lnTo>
                  <a:lnTo>
                    <a:pt x="387" y="141"/>
                  </a:lnTo>
                  <a:lnTo>
                    <a:pt x="375" y="168"/>
                  </a:lnTo>
                  <a:lnTo>
                    <a:pt x="369" y="174"/>
                  </a:lnTo>
                  <a:lnTo>
                    <a:pt x="365" y="175"/>
                  </a:lnTo>
                  <a:lnTo>
                    <a:pt x="362" y="180"/>
                  </a:lnTo>
                  <a:lnTo>
                    <a:pt x="349" y="189"/>
                  </a:lnTo>
                  <a:lnTo>
                    <a:pt x="347" y="192"/>
                  </a:lnTo>
                  <a:lnTo>
                    <a:pt x="344" y="217"/>
                  </a:lnTo>
                  <a:lnTo>
                    <a:pt x="342" y="228"/>
                  </a:lnTo>
                  <a:lnTo>
                    <a:pt x="352" y="230"/>
                  </a:lnTo>
                  <a:lnTo>
                    <a:pt x="359" y="234"/>
                  </a:lnTo>
                  <a:lnTo>
                    <a:pt x="362" y="243"/>
                  </a:lnTo>
                  <a:lnTo>
                    <a:pt x="360" y="246"/>
                  </a:lnTo>
                  <a:lnTo>
                    <a:pt x="356" y="240"/>
                  </a:lnTo>
                  <a:lnTo>
                    <a:pt x="354" y="246"/>
                  </a:lnTo>
                  <a:lnTo>
                    <a:pt x="333" y="239"/>
                  </a:lnTo>
                  <a:lnTo>
                    <a:pt x="326" y="235"/>
                  </a:lnTo>
                  <a:lnTo>
                    <a:pt x="324" y="237"/>
                  </a:lnTo>
                  <a:lnTo>
                    <a:pt x="324" y="244"/>
                  </a:lnTo>
                  <a:lnTo>
                    <a:pt x="320" y="248"/>
                  </a:lnTo>
                  <a:lnTo>
                    <a:pt x="316" y="244"/>
                  </a:lnTo>
                  <a:lnTo>
                    <a:pt x="313" y="243"/>
                  </a:lnTo>
                  <a:lnTo>
                    <a:pt x="310" y="249"/>
                  </a:lnTo>
                  <a:lnTo>
                    <a:pt x="295" y="256"/>
                  </a:lnTo>
                  <a:lnTo>
                    <a:pt x="287" y="262"/>
                  </a:lnTo>
                  <a:lnTo>
                    <a:pt x="282" y="262"/>
                  </a:lnTo>
                  <a:lnTo>
                    <a:pt x="279" y="256"/>
                  </a:lnTo>
                  <a:lnTo>
                    <a:pt x="274" y="256"/>
                  </a:lnTo>
                  <a:lnTo>
                    <a:pt x="274" y="265"/>
                  </a:lnTo>
                  <a:lnTo>
                    <a:pt x="272" y="277"/>
                  </a:lnTo>
                  <a:lnTo>
                    <a:pt x="265" y="289"/>
                  </a:lnTo>
                  <a:lnTo>
                    <a:pt x="263" y="302"/>
                  </a:lnTo>
                  <a:lnTo>
                    <a:pt x="262" y="320"/>
                  </a:lnTo>
                  <a:lnTo>
                    <a:pt x="256" y="324"/>
                  </a:lnTo>
                  <a:lnTo>
                    <a:pt x="257" y="336"/>
                  </a:lnTo>
                  <a:lnTo>
                    <a:pt x="247" y="347"/>
                  </a:lnTo>
                  <a:lnTo>
                    <a:pt x="245" y="361"/>
                  </a:lnTo>
                  <a:lnTo>
                    <a:pt x="245" y="369"/>
                  </a:lnTo>
                  <a:lnTo>
                    <a:pt x="239" y="379"/>
                  </a:lnTo>
                  <a:lnTo>
                    <a:pt x="233" y="385"/>
                  </a:lnTo>
                  <a:lnTo>
                    <a:pt x="231" y="390"/>
                  </a:lnTo>
                  <a:lnTo>
                    <a:pt x="231" y="398"/>
                  </a:lnTo>
                  <a:lnTo>
                    <a:pt x="228" y="401"/>
                  </a:lnTo>
                  <a:lnTo>
                    <a:pt x="233" y="402"/>
                  </a:lnTo>
                  <a:lnTo>
                    <a:pt x="230" y="410"/>
                  </a:lnTo>
                  <a:lnTo>
                    <a:pt x="223" y="409"/>
                  </a:lnTo>
                  <a:lnTo>
                    <a:pt x="214" y="415"/>
                  </a:lnTo>
                  <a:lnTo>
                    <a:pt x="204" y="428"/>
                  </a:lnTo>
                  <a:lnTo>
                    <a:pt x="190" y="434"/>
                  </a:lnTo>
                  <a:lnTo>
                    <a:pt x="185" y="437"/>
                  </a:lnTo>
                  <a:lnTo>
                    <a:pt x="185" y="441"/>
                  </a:lnTo>
                  <a:lnTo>
                    <a:pt x="180" y="443"/>
                  </a:lnTo>
                  <a:lnTo>
                    <a:pt x="177" y="449"/>
                  </a:lnTo>
                  <a:lnTo>
                    <a:pt x="172" y="453"/>
                  </a:lnTo>
                  <a:lnTo>
                    <a:pt x="153" y="459"/>
                  </a:lnTo>
                  <a:lnTo>
                    <a:pt x="149" y="459"/>
                  </a:lnTo>
                  <a:lnTo>
                    <a:pt x="138" y="463"/>
                  </a:lnTo>
                  <a:lnTo>
                    <a:pt x="132" y="459"/>
                  </a:lnTo>
                  <a:lnTo>
                    <a:pt x="129" y="452"/>
                  </a:lnTo>
                  <a:lnTo>
                    <a:pt x="126" y="450"/>
                  </a:lnTo>
                  <a:lnTo>
                    <a:pt x="120" y="454"/>
                  </a:lnTo>
                  <a:lnTo>
                    <a:pt x="114" y="455"/>
                  </a:lnTo>
                  <a:lnTo>
                    <a:pt x="110" y="454"/>
                  </a:lnTo>
                  <a:lnTo>
                    <a:pt x="110" y="453"/>
                  </a:lnTo>
                  <a:lnTo>
                    <a:pt x="104" y="454"/>
                  </a:lnTo>
                  <a:lnTo>
                    <a:pt x="102" y="449"/>
                  </a:lnTo>
                  <a:lnTo>
                    <a:pt x="102" y="443"/>
                  </a:lnTo>
                  <a:lnTo>
                    <a:pt x="98" y="444"/>
                  </a:lnTo>
                  <a:lnTo>
                    <a:pt x="91" y="441"/>
                  </a:lnTo>
                  <a:lnTo>
                    <a:pt x="73" y="439"/>
                  </a:lnTo>
                  <a:lnTo>
                    <a:pt x="69" y="427"/>
                  </a:lnTo>
                  <a:lnTo>
                    <a:pt x="64" y="422"/>
                  </a:lnTo>
                  <a:lnTo>
                    <a:pt x="55" y="421"/>
                  </a:lnTo>
                  <a:lnTo>
                    <a:pt x="47" y="428"/>
                  </a:lnTo>
                  <a:lnTo>
                    <a:pt x="39" y="429"/>
                  </a:lnTo>
                  <a:lnTo>
                    <a:pt x="18" y="427"/>
                  </a:lnTo>
                  <a:lnTo>
                    <a:pt x="12" y="422"/>
                  </a:lnTo>
                  <a:lnTo>
                    <a:pt x="15" y="415"/>
                  </a:lnTo>
                  <a:lnTo>
                    <a:pt x="20" y="409"/>
                  </a:lnTo>
                  <a:lnTo>
                    <a:pt x="24" y="402"/>
                  </a:lnTo>
                  <a:lnTo>
                    <a:pt x="13" y="413"/>
                  </a:lnTo>
                  <a:lnTo>
                    <a:pt x="9" y="413"/>
                  </a:lnTo>
                  <a:lnTo>
                    <a:pt x="14" y="402"/>
                  </a:lnTo>
                  <a:lnTo>
                    <a:pt x="14" y="401"/>
                  </a:lnTo>
                  <a:lnTo>
                    <a:pt x="9" y="405"/>
                  </a:lnTo>
                  <a:lnTo>
                    <a:pt x="3" y="406"/>
                  </a:lnTo>
                  <a:lnTo>
                    <a:pt x="0" y="400"/>
                  </a:lnTo>
                  <a:lnTo>
                    <a:pt x="4" y="395"/>
                  </a:lnTo>
                  <a:lnTo>
                    <a:pt x="16" y="391"/>
                  </a:lnTo>
                  <a:lnTo>
                    <a:pt x="24" y="385"/>
                  </a:lnTo>
                  <a:lnTo>
                    <a:pt x="21" y="385"/>
                  </a:lnTo>
                  <a:lnTo>
                    <a:pt x="19" y="383"/>
                  </a:lnTo>
                  <a:lnTo>
                    <a:pt x="24" y="379"/>
                  </a:lnTo>
                  <a:lnTo>
                    <a:pt x="26" y="373"/>
                  </a:lnTo>
                  <a:lnTo>
                    <a:pt x="21" y="373"/>
                  </a:lnTo>
                  <a:lnTo>
                    <a:pt x="16" y="372"/>
                  </a:lnTo>
                  <a:lnTo>
                    <a:pt x="15" y="366"/>
                  </a:lnTo>
                  <a:lnTo>
                    <a:pt x="21" y="366"/>
                  </a:lnTo>
                  <a:lnTo>
                    <a:pt x="25" y="361"/>
                  </a:lnTo>
                  <a:lnTo>
                    <a:pt x="21" y="358"/>
                  </a:lnTo>
                  <a:lnTo>
                    <a:pt x="21" y="353"/>
                  </a:lnTo>
                  <a:lnTo>
                    <a:pt x="26" y="353"/>
                  </a:lnTo>
                  <a:lnTo>
                    <a:pt x="29" y="357"/>
                  </a:lnTo>
                  <a:lnTo>
                    <a:pt x="34" y="355"/>
                  </a:lnTo>
                  <a:lnTo>
                    <a:pt x="37" y="356"/>
                  </a:lnTo>
                  <a:lnTo>
                    <a:pt x="40" y="353"/>
                  </a:lnTo>
                  <a:lnTo>
                    <a:pt x="40" y="351"/>
                  </a:lnTo>
                  <a:lnTo>
                    <a:pt x="35" y="351"/>
                  </a:lnTo>
                  <a:lnTo>
                    <a:pt x="31" y="347"/>
                  </a:lnTo>
                  <a:lnTo>
                    <a:pt x="35" y="329"/>
                  </a:lnTo>
                  <a:lnTo>
                    <a:pt x="42" y="323"/>
                  </a:lnTo>
                  <a:lnTo>
                    <a:pt x="45" y="321"/>
                  </a:lnTo>
                  <a:lnTo>
                    <a:pt x="47" y="325"/>
                  </a:lnTo>
                  <a:lnTo>
                    <a:pt x="48" y="331"/>
                  </a:lnTo>
                  <a:lnTo>
                    <a:pt x="51" y="332"/>
                  </a:lnTo>
                  <a:lnTo>
                    <a:pt x="53" y="332"/>
                  </a:lnTo>
                  <a:lnTo>
                    <a:pt x="56" y="329"/>
                  </a:lnTo>
                  <a:lnTo>
                    <a:pt x="53" y="319"/>
                  </a:lnTo>
                  <a:lnTo>
                    <a:pt x="55" y="315"/>
                  </a:lnTo>
                  <a:lnTo>
                    <a:pt x="58" y="314"/>
                  </a:lnTo>
                  <a:lnTo>
                    <a:pt x="61" y="304"/>
                  </a:lnTo>
                  <a:lnTo>
                    <a:pt x="69" y="302"/>
                  </a:lnTo>
                  <a:lnTo>
                    <a:pt x="75" y="296"/>
                  </a:lnTo>
                  <a:lnTo>
                    <a:pt x="77" y="286"/>
                  </a:lnTo>
                  <a:lnTo>
                    <a:pt x="82" y="278"/>
                  </a:lnTo>
                  <a:lnTo>
                    <a:pt x="89" y="275"/>
                  </a:lnTo>
                  <a:lnTo>
                    <a:pt x="93" y="260"/>
                  </a:lnTo>
                  <a:lnTo>
                    <a:pt x="96" y="260"/>
                  </a:lnTo>
                  <a:lnTo>
                    <a:pt x="102" y="255"/>
                  </a:lnTo>
                  <a:lnTo>
                    <a:pt x="109" y="255"/>
                  </a:lnTo>
                  <a:lnTo>
                    <a:pt x="116" y="251"/>
                  </a:lnTo>
                  <a:lnTo>
                    <a:pt x="123" y="251"/>
                  </a:lnTo>
                  <a:lnTo>
                    <a:pt x="133" y="249"/>
                  </a:lnTo>
                  <a:lnTo>
                    <a:pt x="141" y="244"/>
                  </a:lnTo>
                  <a:lnTo>
                    <a:pt x="154" y="232"/>
                  </a:lnTo>
                  <a:lnTo>
                    <a:pt x="169" y="223"/>
                  </a:lnTo>
                  <a:lnTo>
                    <a:pt x="187" y="208"/>
                  </a:lnTo>
                  <a:lnTo>
                    <a:pt x="201" y="200"/>
                  </a:lnTo>
                  <a:lnTo>
                    <a:pt x="202" y="191"/>
                  </a:lnTo>
                  <a:lnTo>
                    <a:pt x="213" y="181"/>
                  </a:lnTo>
                  <a:lnTo>
                    <a:pt x="219" y="178"/>
                  </a:lnTo>
                  <a:lnTo>
                    <a:pt x="225" y="178"/>
                  </a:lnTo>
                  <a:lnTo>
                    <a:pt x="235" y="170"/>
                  </a:lnTo>
                  <a:lnTo>
                    <a:pt x="241" y="164"/>
                  </a:lnTo>
                  <a:lnTo>
                    <a:pt x="256" y="144"/>
                  </a:lnTo>
                  <a:lnTo>
                    <a:pt x="261" y="126"/>
                  </a:lnTo>
                  <a:lnTo>
                    <a:pt x="265" y="105"/>
                  </a:lnTo>
                  <a:lnTo>
                    <a:pt x="270" y="93"/>
                  </a:lnTo>
                  <a:lnTo>
                    <a:pt x="288" y="81"/>
                  </a:lnTo>
                  <a:lnTo>
                    <a:pt x="294" y="78"/>
                  </a:lnTo>
                  <a:lnTo>
                    <a:pt x="298" y="72"/>
                  </a:lnTo>
                  <a:lnTo>
                    <a:pt x="304" y="60"/>
                  </a:lnTo>
                  <a:lnTo>
                    <a:pt x="308" y="3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2" name="Freeform 56"/>
            <p:cNvSpPr>
              <a:spLocks noChangeAspect="1"/>
            </p:cNvSpPr>
            <p:nvPr/>
          </p:nvSpPr>
          <p:spPr bwMode="gray">
            <a:xfrm>
              <a:off x="8907368" y="4958808"/>
              <a:ext cx="100179" cy="172868"/>
            </a:xfrm>
            <a:custGeom>
              <a:avLst/>
              <a:gdLst/>
              <a:ahLst/>
              <a:cxnLst>
                <a:cxn ang="0">
                  <a:pos x="128" y="441"/>
                </a:cxn>
                <a:cxn ang="0">
                  <a:pos x="139" y="398"/>
                </a:cxn>
                <a:cxn ang="0">
                  <a:pos x="97" y="366"/>
                </a:cxn>
                <a:cxn ang="0">
                  <a:pos x="59" y="325"/>
                </a:cxn>
                <a:cxn ang="0">
                  <a:pos x="100" y="296"/>
                </a:cxn>
                <a:cxn ang="0">
                  <a:pos x="115" y="250"/>
                </a:cxn>
                <a:cxn ang="0">
                  <a:pos x="120" y="224"/>
                </a:cxn>
                <a:cxn ang="0">
                  <a:pos x="113" y="198"/>
                </a:cxn>
                <a:cxn ang="0">
                  <a:pos x="112" y="178"/>
                </a:cxn>
                <a:cxn ang="0">
                  <a:pos x="97" y="172"/>
                </a:cxn>
                <a:cxn ang="0">
                  <a:pos x="91" y="145"/>
                </a:cxn>
                <a:cxn ang="0">
                  <a:pos x="86" y="127"/>
                </a:cxn>
                <a:cxn ang="0">
                  <a:pos x="73" y="117"/>
                </a:cxn>
                <a:cxn ang="0">
                  <a:pos x="43" y="85"/>
                </a:cxn>
                <a:cxn ang="0">
                  <a:pos x="45" y="59"/>
                </a:cxn>
                <a:cxn ang="0">
                  <a:pos x="26" y="59"/>
                </a:cxn>
                <a:cxn ang="0">
                  <a:pos x="7" y="14"/>
                </a:cxn>
                <a:cxn ang="0">
                  <a:pos x="10" y="0"/>
                </a:cxn>
                <a:cxn ang="0">
                  <a:pos x="19" y="28"/>
                </a:cxn>
                <a:cxn ang="0">
                  <a:pos x="35" y="30"/>
                </a:cxn>
                <a:cxn ang="0">
                  <a:pos x="59" y="41"/>
                </a:cxn>
                <a:cxn ang="0">
                  <a:pos x="78" y="59"/>
                </a:cxn>
                <a:cxn ang="0">
                  <a:pos x="87" y="70"/>
                </a:cxn>
                <a:cxn ang="0">
                  <a:pos x="100" y="96"/>
                </a:cxn>
                <a:cxn ang="0">
                  <a:pos x="86" y="96"/>
                </a:cxn>
                <a:cxn ang="0">
                  <a:pos x="96" y="107"/>
                </a:cxn>
                <a:cxn ang="0">
                  <a:pos x="110" y="140"/>
                </a:cxn>
                <a:cxn ang="0">
                  <a:pos x="109" y="159"/>
                </a:cxn>
                <a:cxn ang="0">
                  <a:pos x="116" y="170"/>
                </a:cxn>
                <a:cxn ang="0">
                  <a:pos x="136" y="169"/>
                </a:cxn>
                <a:cxn ang="0">
                  <a:pos x="151" y="182"/>
                </a:cxn>
                <a:cxn ang="0">
                  <a:pos x="147" y="141"/>
                </a:cxn>
                <a:cxn ang="0">
                  <a:pos x="167" y="162"/>
                </a:cxn>
                <a:cxn ang="0">
                  <a:pos x="169" y="192"/>
                </a:cxn>
                <a:cxn ang="0">
                  <a:pos x="185" y="219"/>
                </a:cxn>
                <a:cxn ang="0">
                  <a:pos x="239" y="240"/>
                </a:cxn>
                <a:cxn ang="0">
                  <a:pos x="266" y="224"/>
                </a:cxn>
                <a:cxn ang="0">
                  <a:pos x="286" y="210"/>
                </a:cxn>
                <a:cxn ang="0">
                  <a:pos x="313" y="231"/>
                </a:cxn>
                <a:cxn ang="0">
                  <a:pos x="307" y="272"/>
                </a:cxn>
                <a:cxn ang="0">
                  <a:pos x="286" y="304"/>
                </a:cxn>
                <a:cxn ang="0">
                  <a:pos x="287" y="321"/>
                </a:cxn>
                <a:cxn ang="0">
                  <a:pos x="269" y="315"/>
                </a:cxn>
                <a:cxn ang="0">
                  <a:pos x="242" y="323"/>
                </a:cxn>
                <a:cxn ang="0">
                  <a:pos x="232" y="356"/>
                </a:cxn>
                <a:cxn ang="0">
                  <a:pos x="217" y="404"/>
                </a:cxn>
                <a:cxn ang="0">
                  <a:pos x="171" y="479"/>
                </a:cxn>
                <a:cxn ang="0">
                  <a:pos x="132" y="481"/>
                </a:cxn>
              </a:cxnLst>
              <a:rect l="0" t="0" r="r" b="b"/>
              <a:pathLst>
                <a:path w="313" h="495">
                  <a:moveTo>
                    <a:pt x="109" y="469"/>
                  </a:moveTo>
                  <a:lnTo>
                    <a:pt x="118" y="458"/>
                  </a:lnTo>
                  <a:lnTo>
                    <a:pt x="121" y="449"/>
                  </a:lnTo>
                  <a:lnTo>
                    <a:pt x="128" y="441"/>
                  </a:lnTo>
                  <a:lnTo>
                    <a:pt x="134" y="429"/>
                  </a:lnTo>
                  <a:lnTo>
                    <a:pt x="135" y="417"/>
                  </a:lnTo>
                  <a:lnTo>
                    <a:pt x="139" y="407"/>
                  </a:lnTo>
                  <a:lnTo>
                    <a:pt x="139" y="398"/>
                  </a:lnTo>
                  <a:lnTo>
                    <a:pt x="134" y="391"/>
                  </a:lnTo>
                  <a:lnTo>
                    <a:pt x="120" y="375"/>
                  </a:lnTo>
                  <a:lnTo>
                    <a:pt x="108" y="372"/>
                  </a:lnTo>
                  <a:lnTo>
                    <a:pt x="97" y="366"/>
                  </a:lnTo>
                  <a:lnTo>
                    <a:pt x="80" y="350"/>
                  </a:lnTo>
                  <a:lnTo>
                    <a:pt x="67" y="349"/>
                  </a:lnTo>
                  <a:lnTo>
                    <a:pt x="57" y="337"/>
                  </a:lnTo>
                  <a:lnTo>
                    <a:pt x="59" y="325"/>
                  </a:lnTo>
                  <a:lnTo>
                    <a:pt x="69" y="316"/>
                  </a:lnTo>
                  <a:lnTo>
                    <a:pt x="78" y="310"/>
                  </a:lnTo>
                  <a:lnTo>
                    <a:pt x="92" y="306"/>
                  </a:lnTo>
                  <a:lnTo>
                    <a:pt x="100" y="296"/>
                  </a:lnTo>
                  <a:lnTo>
                    <a:pt x="104" y="283"/>
                  </a:lnTo>
                  <a:lnTo>
                    <a:pt x="105" y="261"/>
                  </a:lnTo>
                  <a:lnTo>
                    <a:pt x="109" y="250"/>
                  </a:lnTo>
                  <a:lnTo>
                    <a:pt x="115" y="250"/>
                  </a:lnTo>
                  <a:lnTo>
                    <a:pt x="118" y="247"/>
                  </a:lnTo>
                  <a:lnTo>
                    <a:pt x="118" y="237"/>
                  </a:lnTo>
                  <a:lnTo>
                    <a:pt x="115" y="229"/>
                  </a:lnTo>
                  <a:lnTo>
                    <a:pt x="120" y="224"/>
                  </a:lnTo>
                  <a:lnTo>
                    <a:pt x="118" y="220"/>
                  </a:lnTo>
                  <a:lnTo>
                    <a:pt x="115" y="208"/>
                  </a:lnTo>
                  <a:lnTo>
                    <a:pt x="116" y="196"/>
                  </a:lnTo>
                  <a:lnTo>
                    <a:pt x="113" y="198"/>
                  </a:lnTo>
                  <a:lnTo>
                    <a:pt x="104" y="188"/>
                  </a:lnTo>
                  <a:lnTo>
                    <a:pt x="102" y="182"/>
                  </a:lnTo>
                  <a:lnTo>
                    <a:pt x="108" y="182"/>
                  </a:lnTo>
                  <a:lnTo>
                    <a:pt x="112" y="178"/>
                  </a:lnTo>
                  <a:lnTo>
                    <a:pt x="113" y="175"/>
                  </a:lnTo>
                  <a:lnTo>
                    <a:pt x="112" y="171"/>
                  </a:lnTo>
                  <a:lnTo>
                    <a:pt x="107" y="170"/>
                  </a:lnTo>
                  <a:lnTo>
                    <a:pt x="97" y="172"/>
                  </a:lnTo>
                  <a:lnTo>
                    <a:pt x="86" y="151"/>
                  </a:lnTo>
                  <a:lnTo>
                    <a:pt x="81" y="138"/>
                  </a:lnTo>
                  <a:lnTo>
                    <a:pt x="87" y="148"/>
                  </a:lnTo>
                  <a:lnTo>
                    <a:pt x="91" y="145"/>
                  </a:lnTo>
                  <a:lnTo>
                    <a:pt x="92" y="133"/>
                  </a:lnTo>
                  <a:lnTo>
                    <a:pt x="87" y="133"/>
                  </a:lnTo>
                  <a:lnTo>
                    <a:pt x="83" y="130"/>
                  </a:lnTo>
                  <a:lnTo>
                    <a:pt x="86" y="127"/>
                  </a:lnTo>
                  <a:lnTo>
                    <a:pt x="86" y="117"/>
                  </a:lnTo>
                  <a:lnTo>
                    <a:pt x="82" y="113"/>
                  </a:lnTo>
                  <a:lnTo>
                    <a:pt x="80" y="117"/>
                  </a:lnTo>
                  <a:lnTo>
                    <a:pt x="73" y="117"/>
                  </a:lnTo>
                  <a:lnTo>
                    <a:pt x="72" y="122"/>
                  </a:lnTo>
                  <a:lnTo>
                    <a:pt x="73" y="129"/>
                  </a:lnTo>
                  <a:lnTo>
                    <a:pt x="60" y="107"/>
                  </a:lnTo>
                  <a:lnTo>
                    <a:pt x="43" y="85"/>
                  </a:lnTo>
                  <a:lnTo>
                    <a:pt x="38" y="75"/>
                  </a:lnTo>
                  <a:lnTo>
                    <a:pt x="37" y="71"/>
                  </a:lnTo>
                  <a:lnTo>
                    <a:pt x="42" y="67"/>
                  </a:lnTo>
                  <a:lnTo>
                    <a:pt x="45" y="59"/>
                  </a:lnTo>
                  <a:lnTo>
                    <a:pt x="42" y="57"/>
                  </a:lnTo>
                  <a:lnTo>
                    <a:pt x="40" y="62"/>
                  </a:lnTo>
                  <a:lnTo>
                    <a:pt x="33" y="68"/>
                  </a:lnTo>
                  <a:lnTo>
                    <a:pt x="26" y="59"/>
                  </a:lnTo>
                  <a:lnTo>
                    <a:pt x="22" y="49"/>
                  </a:lnTo>
                  <a:lnTo>
                    <a:pt x="23" y="44"/>
                  </a:lnTo>
                  <a:lnTo>
                    <a:pt x="21" y="35"/>
                  </a:lnTo>
                  <a:lnTo>
                    <a:pt x="7" y="14"/>
                  </a:lnTo>
                  <a:lnTo>
                    <a:pt x="1" y="6"/>
                  </a:lnTo>
                  <a:lnTo>
                    <a:pt x="0" y="3"/>
                  </a:lnTo>
                  <a:lnTo>
                    <a:pt x="8" y="1"/>
                  </a:lnTo>
                  <a:lnTo>
                    <a:pt x="10" y="0"/>
                  </a:lnTo>
                  <a:lnTo>
                    <a:pt x="13" y="1"/>
                  </a:lnTo>
                  <a:lnTo>
                    <a:pt x="13" y="11"/>
                  </a:lnTo>
                  <a:lnTo>
                    <a:pt x="19" y="22"/>
                  </a:lnTo>
                  <a:lnTo>
                    <a:pt x="19" y="28"/>
                  </a:lnTo>
                  <a:lnTo>
                    <a:pt x="24" y="36"/>
                  </a:lnTo>
                  <a:lnTo>
                    <a:pt x="29" y="32"/>
                  </a:lnTo>
                  <a:lnTo>
                    <a:pt x="34" y="27"/>
                  </a:lnTo>
                  <a:lnTo>
                    <a:pt x="35" y="30"/>
                  </a:lnTo>
                  <a:lnTo>
                    <a:pt x="35" y="35"/>
                  </a:lnTo>
                  <a:lnTo>
                    <a:pt x="46" y="35"/>
                  </a:lnTo>
                  <a:lnTo>
                    <a:pt x="51" y="38"/>
                  </a:lnTo>
                  <a:lnTo>
                    <a:pt x="59" y="41"/>
                  </a:lnTo>
                  <a:lnTo>
                    <a:pt x="64" y="40"/>
                  </a:lnTo>
                  <a:lnTo>
                    <a:pt x="73" y="48"/>
                  </a:lnTo>
                  <a:lnTo>
                    <a:pt x="66" y="52"/>
                  </a:lnTo>
                  <a:lnTo>
                    <a:pt x="78" y="59"/>
                  </a:lnTo>
                  <a:lnTo>
                    <a:pt x="80" y="56"/>
                  </a:lnTo>
                  <a:lnTo>
                    <a:pt x="83" y="59"/>
                  </a:lnTo>
                  <a:lnTo>
                    <a:pt x="85" y="64"/>
                  </a:lnTo>
                  <a:lnTo>
                    <a:pt x="87" y="70"/>
                  </a:lnTo>
                  <a:lnTo>
                    <a:pt x="96" y="79"/>
                  </a:lnTo>
                  <a:lnTo>
                    <a:pt x="98" y="83"/>
                  </a:lnTo>
                  <a:lnTo>
                    <a:pt x="98" y="87"/>
                  </a:lnTo>
                  <a:lnTo>
                    <a:pt x="100" y="96"/>
                  </a:lnTo>
                  <a:lnTo>
                    <a:pt x="98" y="94"/>
                  </a:lnTo>
                  <a:lnTo>
                    <a:pt x="89" y="89"/>
                  </a:lnTo>
                  <a:lnTo>
                    <a:pt x="85" y="89"/>
                  </a:lnTo>
                  <a:lnTo>
                    <a:pt x="86" y="96"/>
                  </a:lnTo>
                  <a:lnTo>
                    <a:pt x="87" y="97"/>
                  </a:lnTo>
                  <a:lnTo>
                    <a:pt x="89" y="97"/>
                  </a:lnTo>
                  <a:lnTo>
                    <a:pt x="93" y="100"/>
                  </a:lnTo>
                  <a:lnTo>
                    <a:pt x="96" y="107"/>
                  </a:lnTo>
                  <a:lnTo>
                    <a:pt x="103" y="114"/>
                  </a:lnTo>
                  <a:lnTo>
                    <a:pt x="109" y="126"/>
                  </a:lnTo>
                  <a:lnTo>
                    <a:pt x="116" y="134"/>
                  </a:lnTo>
                  <a:lnTo>
                    <a:pt x="110" y="140"/>
                  </a:lnTo>
                  <a:lnTo>
                    <a:pt x="109" y="148"/>
                  </a:lnTo>
                  <a:lnTo>
                    <a:pt x="113" y="151"/>
                  </a:lnTo>
                  <a:lnTo>
                    <a:pt x="113" y="159"/>
                  </a:lnTo>
                  <a:lnTo>
                    <a:pt x="109" y="159"/>
                  </a:lnTo>
                  <a:lnTo>
                    <a:pt x="105" y="162"/>
                  </a:lnTo>
                  <a:lnTo>
                    <a:pt x="108" y="165"/>
                  </a:lnTo>
                  <a:lnTo>
                    <a:pt x="112" y="165"/>
                  </a:lnTo>
                  <a:lnTo>
                    <a:pt x="116" y="170"/>
                  </a:lnTo>
                  <a:lnTo>
                    <a:pt x="123" y="170"/>
                  </a:lnTo>
                  <a:lnTo>
                    <a:pt x="125" y="167"/>
                  </a:lnTo>
                  <a:lnTo>
                    <a:pt x="132" y="167"/>
                  </a:lnTo>
                  <a:lnTo>
                    <a:pt x="136" y="169"/>
                  </a:lnTo>
                  <a:lnTo>
                    <a:pt x="137" y="177"/>
                  </a:lnTo>
                  <a:lnTo>
                    <a:pt x="140" y="184"/>
                  </a:lnTo>
                  <a:lnTo>
                    <a:pt x="146" y="187"/>
                  </a:lnTo>
                  <a:lnTo>
                    <a:pt x="151" y="182"/>
                  </a:lnTo>
                  <a:lnTo>
                    <a:pt x="150" y="156"/>
                  </a:lnTo>
                  <a:lnTo>
                    <a:pt x="150" y="151"/>
                  </a:lnTo>
                  <a:lnTo>
                    <a:pt x="143" y="141"/>
                  </a:lnTo>
                  <a:lnTo>
                    <a:pt x="147" y="141"/>
                  </a:lnTo>
                  <a:lnTo>
                    <a:pt x="151" y="148"/>
                  </a:lnTo>
                  <a:lnTo>
                    <a:pt x="164" y="151"/>
                  </a:lnTo>
                  <a:lnTo>
                    <a:pt x="164" y="161"/>
                  </a:lnTo>
                  <a:lnTo>
                    <a:pt x="167" y="162"/>
                  </a:lnTo>
                  <a:lnTo>
                    <a:pt x="167" y="171"/>
                  </a:lnTo>
                  <a:lnTo>
                    <a:pt x="169" y="176"/>
                  </a:lnTo>
                  <a:lnTo>
                    <a:pt x="168" y="186"/>
                  </a:lnTo>
                  <a:lnTo>
                    <a:pt x="169" y="192"/>
                  </a:lnTo>
                  <a:lnTo>
                    <a:pt x="173" y="197"/>
                  </a:lnTo>
                  <a:lnTo>
                    <a:pt x="175" y="203"/>
                  </a:lnTo>
                  <a:lnTo>
                    <a:pt x="178" y="213"/>
                  </a:lnTo>
                  <a:lnTo>
                    <a:pt x="185" y="219"/>
                  </a:lnTo>
                  <a:lnTo>
                    <a:pt x="194" y="219"/>
                  </a:lnTo>
                  <a:lnTo>
                    <a:pt x="205" y="227"/>
                  </a:lnTo>
                  <a:lnTo>
                    <a:pt x="232" y="235"/>
                  </a:lnTo>
                  <a:lnTo>
                    <a:pt x="239" y="240"/>
                  </a:lnTo>
                  <a:lnTo>
                    <a:pt x="249" y="241"/>
                  </a:lnTo>
                  <a:lnTo>
                    <a:pt x="254" y="235"/>
                  </a:lnTo>
                  <a:lnTo>
                    <a:pt x="259" y="235"/>
                  </a:lnTo>
                  <a:lnTo>
                    <a:pt x="266" y="224"/>
                  </a:lnTo>
                  <a:lnTo>
                    <a:pt x="271" y="221"/>
                  </a:lnTo>
                  <a:lnTo>
                    <a:pt x="276" y="218"/>
                  </a:lnTo>
                  <a:lnTo>
                    <a:pt x="284" y="213"/>
                  </a:lnTo>
                  <a:lnTo>
                    <a:pt x="286" y="210"/>
                  </a:lnTo>
                  <a:lnTo>
                    <a:pt x="292" y="208"/>
                  </a:lnTo>
                  <a:lnTo>
                    <a:pt x="301" y="210"/>
                  </a:lnTo>
                  <a:lnTo>
                    <a:pt x="313" y="218"/>
                  </a:lnTo>
                  <a:lnTo>
                    <a:pt x="313" y="231"/>
                  </a:lnTo>
                  <a:lnTo>
                    <a:pt x="308" y="246"/>
                  </a:lnTo>
                  <a:lnTo>
                    <a:pt x="308" y="262"/>
                  </a:lnTo>
                  <a:lnTo>
                    <a:pt x="307" y="264"/>
                  </a:lnTo>
                  <a:lnTo>
                    <a:pt x="307" y="272"/>
                  </a:lnTo>
                  <a:lnTo>
                    <a:pt x="304" y="280"/>
                  </a:lnTo>
                  <a:lnTo>
                    <a:pt x="296" y="286"/>
                  </a:lnTo>
                  <a:lnTo>
                    <a:pt x="287" y="290"/>
                  </a:lnTo>
                  <a:lnTo>
                    <a:pt x="286" y="304"/>
                  </a:lnTo>
                  <a:lnTo>
                    <a:pt x="284" y="307"/>
                  </a:lnTo>
                  <a:lnTo>
                    <a:pt x="285" y="316"/>
                  </a:lnTo>
                  <a:lnTo>
                    <a:pt x="287" y="317"/>
                  </a:lnTo>
                  <a:lnTo>
                    <a:pt x="287" y="321"/>
                  </a:lnTo>
                  <a:lnTo>
                    <a:pt x="282" y="328"/>
                  </a:lnTo>
                  <a:lnTo>
                    <a:pt x="280" y="316"/>
                  </a:lnTo>
                  <a:lnTo>
                    <a:pt x="275" y="315"/>
                  </a:lnTo>
                  <a:lnTo>
                    <a:pt x="269" y="315"/>
                  </a:lnTo>
                  <a:lnTo>
                    <a:pt x="261" y="316"/>
                  </a:lnTo>
                  <a:lnTo>
                    <a:pt x="253" y="316"/>
                  </a:lnTo>
                  <a:lnTo>
                    <a:pt x="247" y="318"/>
                  </a:lnTo>
                  <a:lnTo>
                    <a:pt x="242" y="323"/>
                  </a:lnTo>
                  <a:lnTo>
                    <a:pt x="226" y="345"/>
                  </a:lnTo>
                  <a:lnTo>
                    <a:pt x="226" y="349"/>
                  </a:lnTo>
                  <a:lnTo>
                    <a:pt x="228" y="348"/>
                  </a:lnTo>
                  <a:lnTo>
                    <a:pt x="232" y="356"/>
                  </a:lnTo>
                  <a:lnTo>
                    <a:pt x="237" y="360"/>
                  </a:lnTo>
                  <a:lnTo>
                    <a:pt x="236" y="369"/>
                  </a:lnTo>
                  <a:lnTo>
                    <a:pt x="231" y="380"/>
                  </a:lnTo>
                  <a:lnTo>
                    <a:pt x="217" y="404"/>
                  </a:lnTo>
                  <a:lnTo>
                    <a:pt x="215" y="412"/>
                  </a:lnTo>
                  <a:lnTo>
                    <a:pt x="202" y="428"/>
                  </a:lnTo>
                  <a:lnTo>
                    <a:pt x="182" y="463"/>
                  </a:lnTo>
                  <a:lnTo>
                    <a:pt x="171" y="479"/>
                  </a:lnTo>
                  <a:lnTo>
                    <a:pt x="153" y="492"/>
                  </a:lnTo>
                  <a:lnTo>
                    <a:pt x="145" y="495"/>
                  </a:lnTo>
                  <a:lnTo>
                    <a:pt x="137" y="488"/>
                  </a:lnTo>
                  <a:lnTo>
                    <a:pt x="132" y="481"/>
                  </a:lnTo>
                  <a:lnTo>
                    <a:pt x="113" y="482"/>
                  </a:lnTo>
                  <a:lnTo>
                    <a:pt x="109" y="473"/>
                  </a:lnTo>
                  <a:lnTo>
                    <a:pt x="109" y="4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3" name="Freeform 57"/>
            <p:cNvSpPr>
              <a:spLocks noChangeAspect="1"/>
            </p:cNvSpPr>
            <p:nvPr/>
          </p:nvSpPr>
          <p:spPr bwMode="gray">
            <a:xfrm>
              <a:off x="8754714" y="4653234"/>
              <a:ext cx="50884" cy="45399"/>
            </a:xfrm>
            <a:custGeom>
              <a:avLst/>
              <a:gdLst/>
              <a:ahLst/>
              <a:cxnLst>
                <a:cxn ang="0">
                  <a:pos x="60" y="71"/>
                </a:cxn>
                <a:cxn ang="0">
                  <a:pos x="39" y="60"/>
                </a:cxn>
                <a:cxn ang="0">
                  <a:pos x="27" y="43"/>
                </a:cxn>
                <a:cxn ang="0">
                  <a:pos x="21" y="38"/>
                </a:cxn>
                <a:cxn ang="0">
                  <a:pos x="16" y="26"/>
                </a:cxn>
                <a:cxn ang="0">
                  <a:pos x="6" y="17"/>
                </a:cxn>
                <a:cxn ang="0">
                  <a:pos x="6" y="9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14" y="5"/>
                </a:cxn>
                <a:cxn ang="0">
                  <a:pos x="19" y="4"/>
                </a:cxn>
                <a:cxn ang="0">
                  <a:pos x="33" y="14"/>
                </a:cxn>
                <a:cxn ang="0">
                  <a:pos x="40" y="16"/>
                </a:cxn>
                <a:cxn ang="0">
                  <a:pos x="41" y="21"/>
                </a:cxn>
                <a:cxn ang="0">
                  <a:pos x="45" y="26"/>
                </a:cxn>
                <a:cxn ang="0">
                  <a:pos x="51" y="26"/>
                </a:cxn>
                <a:cxn ang="0">
                  <a:pos x="59" y="29"/>
                </a:cxn>
                <a:cxn ang="0">
                  <a:pos x="67" y="43"/>
                </a:cxn>
                <a:cxn ang="0">
                  <a:pos x="72" y="47"/>
                </a:cxn>
                <a:cxn ang="0">
                  <a:pos x="75" y="57"/>
                </a:cxn>
                <a:cxn ang="0">
                  <a:pos x="78" y="58"/>
                </a:cxn>
                <a:cxn ang="0">
                  <a:pos x="82" y="63"/>
                </a:cxn>
                <a:cxn ang="0">
                  <a:pos x="89" y="68"/>
                </a:cxn>
                <a:cxn ang="0">
                  <a:pos x="94" y="74"/>
                </a:cxn>
                <a:cxn ang="0">
                  <a:pos x="98" y="75"/>
                </a:cxn>
                <a:cxn ang="0">
                  <a:pos x="100" y="81"/>
                </a:cxn>
                <a:cxn ang="0">
                  <a:pos x="109" y="82"/>
                </a:cxn>
                <a:cxn ang="0">
                  <a:pos x="123" y="86"/>
                </a:cxn>
                <a:cxn ang="0">
                  <a:pos x="141" y="103"/>
                </a:cxn>
                <a:cxn ang="0">
                  <a:pos x="143" y="109"/>
                </a:cxn>
                <a:cxn ang="0">
                  <a:pos x="150" y="108"/>
                </a:cxn>
                <a:cxn ang="0">
                  <a:pos x="157" y="114"/>
                </a:cxn>
                <a:cxn ang="0">
                  <a:pos x="159" y="123"/>
                </a:cxn>
                <a:cxn ang="0">
                  <a:pos x="158" y="125"/>
                </a:cxn>
                <a:cxn ang="0">
                  <a:pos x="153" y="125"/>
                </a:cxn>
                <a:cxn ang="0">
                  <a:pos x="152" y="133"/>
                </a:cxn>
                <a:cxn ang="0">
                  <a:pos x="150" y="131"/>
                </a:cxn>
                <a:cxn ang="0">
                  <a:pos x="147" y="127"/>
                </a:cxn>
                <a:cxn ang="0">
                  <a:pos x="141" y="122"/>
                </a:cxn>
                <a:cxn ang="0">
                  <a:pos x="138" y="119"/>
                </a:cxn>
                <a:cxn ang="0">
                  <a:pos x="130" y="119"/>
                </a:cxn>
                <a:cxn ang="0">
                  <a:pos x="124" y="115"/>
                </a:cxn>
                <a:cxn ang="0">
                  <a:pos x="116" y="115"/>
                </a:cxn>
                <a:cxn ang="0">
                  <a:pos x="114" y="112"/>
                </a:cxn>
                <a:cxn ang="0">
                  <a:pos x="113" y="104"/>
                </a:cxn>
                <a:cxn ang="0">
                  <a:pos x="108" y="104"/>
                </a:cxn>
                <a:cxn ang="0">
                  <a:pos x="104" y="102"/>
                </a:cxn>
                <a:cxn ang="0">
                  <a:pos x="99" y="102"/>
                </a:cxn>
                <a:cxn ang="0">
                  <a:pos x="98" y="97"/>
                </a:cxn>
                <a:cxn ang="0">
                  <a:pos x="93" y="97"/>
                </a:cxn>
                <a:cxn ang="0">
                  <a:pos x="91" y="95"/>
                </a:cxn>
                <a:cxn ang="0">
                  <a:pos x="84" y="93"/>
                </a:cxn>
                <a:cxn ang="0">
                  <a:pos x="77" y="86"/>
                </a:cxn>
                <a:cxn ang="0">
                  <a:pos x="71" y="86"/>
                </a:cxn>
                <a:cxn ang="0">
                  <a:pos x="66" y="84"/>
                </a:cxn>
                <a:cxn ang="0">
                  <a:pos x="65" y="76"/>
                </a:cxn>
                <a:cxn ang="0">
                  <a:pos x="60" y="71"/>
                </a:cxn>
              </a:cxnLst>
              <a:rect l="0" t="0" r="r" b="b"/>
              <a:pathLst>
                <a:path w="159" h="133">
                  <a:moveTo>
                    <a:pt x="60" y="71"/>
                  </a:moveTo>
                  <a:lnTo>
                    <a:pt x="39" y="60"/>
                  </a:lnTo>
                  <a:lnTo>
                    <a:pt x="27" y="43"/>
                  </a:lnTo>
                  <a:lnTo>
                    <a:pt x="21" y="38"/>
                  </a:lnTo>
                  <a:lnTo>
                    <a:pt x="16" y="26"/>
                  </a:lnTo>
                  <a:lnTo>
                    <a:pt x="6" y="17"/>
                  </a:lnTo>
                  <a:lnTo>
                    <a:pt x="6" y="9"/>
                  </a:lnTo>
                  <a:lnTo>
                    <a:pt x="0" y="2"/>
                  </a:lnTo>
                  <a:lnTo>
                    <a:pt x="6" y="0"/>
                  </a:lnTo>
                  <a:lnTo>
                    <a:pt x="14" y="5"/>
                  </a:lnTo>
                  <a:lnTo>
                    <a:pt x="19" y="4"/>
                  </a:lnTo>
                  <a:lnTo>
                    <a:pt x="33" y="14"/>
                  </a:lnTo>
                  <a:lnTo>
                    <a:pt x="40" y="16"/>
                  </a:lnTo>
                  <a:lnTo>
                    <a:pt x="41" y="21"/>
                  </a:lnTo>
                  <a:lnTo>
                    <a:pt x="45" y="26"/>
                  </a:lnTo>
                  <a:lnTo>
                    <a:pt x="51" y="26"/>
                  </a:lnTo>
                  <a:lnTo>
                    <a:pt x="59" y="29"/>
                  </a:lnTo>
                  <a:lnTo>
                    <a:pt x="67" y="43"/>
                  </a:lnTo>
                  <a:lnTo>
                    <a:pt x="72" y="47"/>
                  </a:lnTo>
                  <a:lnTo>
                    <a:pt x="75" y="57"/>
                  </a:lnTo>
                  <a:lnTo>
                    <a:pt x="78" y="58"/>
                  </a:lnTo>
                  <a:lnTo>
                    <a:pt x="82" y="63"/>
                  </a:lnTo>
                  <a:lnTo>
                    <a:pt x="89" y="68"/>
                  </a:lnTo>
                  <a:lnTo>
                    <a:pt x="94" y="74"/>
                  </a:lnTo>
                  <a:lnTo>
                    <a:pt x="98" y="75"/>
                  </a:lnTo>
                  <a:lnTo>
                    <a:pt x="100" y="81"/>
                  </a:lnTo>
                  <a:lnTo>
                    <a:pt x="109" y="82"/>
                  </a:lnTo>
                  <a:lnTo>
                    <a:pt x="123" y="86"/>
                  </a:lnTo>
                  <a:lnTo>
                    <a:pt x="141" y="103"/>
                  </a:lnTo>
                  <a:lnTo>
                    <a:pt x="143" y="109"/>
                  </a:lnTo>
                  <a:lnTo>
                    <a:pt x="150" y="108"/>
                  </a:lnTo>
                  <a:lnTo>
                    <a:pt x="157" y="114"/>
                  </a:lnTo>
                  <a:lnTo>
                    <a:pt x="159" y="123"/>
                  </a:lnTo>
                  <a:lnTo>
                    <a:pt x="158" y="125"/>
                  </a:lnTo>
                  <a:lnTo>
                    <a:pt x="153" y="125"/>
                  </a:lnTo>
                  <a:lnTo>
                    <a:pt x="152" y="133"/>
                  </a:lnTo>
                  <a:lnTo>
                    <a:pt x="150" y="131"/>
                  </a:lnTo>
                  <a:lnTo>
                    <a:pt x="147" y="127"/>
                  </a:lnTo>
                  <a:lnTo>
                    <a:pt x="141" y="122"/>
                  </a:lnTo>
                  <a:lnTo>
                    <a:pt x="138" y="119"/>
                  </a:lnTo>
                  <a:lnTo>
                    <a:pt x="130" y="119"/>
                  </a:lnTo>
                  <a:lnTo>
                    <a:pt x="124" y="115"/>
                  </a:lnTo>
                  <a:lnTo>
                    <a:pt x="116" y="115"/>
                  </a:lnTo>
                  <a:lnTo>
                    <a:pt x="114" y="112"/>
                  </a:lnTo>
                  <a:lnTo>
                    <a:pt x="113" y="104"/>
                  </a:lnTo>
                  <a:lnTo>
                    <a:pt x="108" y="104"/>
                  </a:lnTo>
                  <a:lnTo>
                    <a:pt x="104" y="102"/>
                  </a:lnTo>
                  <a:lnTo>
                    <a:pt x="99" y="102"/>
                  </a:lnTo>
                  <a:lnTo>
                    <a:pt x="98" y="97"/>
                  </a:lnTo>
                  <a:lnTo>
                    <a:pt x="93" y="97"/>
                  </a:lnTo>
                  <a:lnTo>
                    <a:pt x="91" y="95"/>
                  </a:lnTo>
                  <a:lnTo>
                    <a:pt x="84" y="93"/>
                  </a:lnTo>
                  <a:lnTo>
                    <a:pt x="77" y="86"/>
                  </a:lnTo>
                  <a:lnTo>
                    <a:pt x="71" y="86"/>
                  </a:lnTo>
                  <a:lnTo>
                    <a:pt x="66" y="84"/>
                  </a:lnTo>
                  <a:lnTo>
                    <a:pt x="65" y="76"/>
                  </a:lnTo>
                  <a:lnTo>
                    <a:pt x="60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4" name="Freeform 58"/>
            <p:cNvSpPr>
              <a:spLocks noChangeAspect="1"/>
            </p:cNvSpPr>
            <p:nvPr/>
          </p:nvSpPr>
          <p:spPr bwMode="gray">
            <a:xfrm>
              <a:off x="7104149" y="3343634"/>
              <a:ext cx="192407" cy="101276"/>
            </a:xfrm>
            <a:custGeom>
              <a:avLst/>
              <a:gdLst/>
              <a:ahLst/>
              <a:cxnLst>
                <a:cxn ang="0">
                  <a:pos x="259" y="238"/>
                </a:cxn>
                <a:cxn ang="0">
                  <a:pos x="303" y="218"/>
                </a:cxn>
                <a:cxn ang="0">
                  <a:pos x="334" y="201"/>
                </a:cxn>
                <a:cxn ang="0">
                  <a:pos x="362" y="217"/>
                </a:cxn>
                <a:cxn ang="0">
                  <a:pos x="401" y="204"/>
                </a:cxn>
                <a:cxn ang="0">
                  <a:pos x="433" y="170"/>
                </a:cxn>
                <a:cxn ang="0">
                  <a:pos x="491" y="159"/>
                </a:cxn>
                <a:cxn ang="0">
                  <a:pos x="550" y="112"/>
                </a:cxn>
                <a:cxn ang="0">
                  <a:pos x="604" y="79"/>
                </a:cxn>
                <a:cxn ang="0">
                  <a:pos x="577" y="56"/>
                </a:cxn>
                <a:cxn ang="0">
                  <a:pos x="530" y="34"/>
                </a:cxn>
                <a:cxn ang="0">
                  <a:pos x="508" y="27"/>
                </a:cxn>
                <a:cxn ang="0">
                  <a:pos x="452" y="24"/>
                </a:cxn>
                <a:cxn ang="0">
                  <a:pos x="421" y="18"/>
                </a:cxn>
                <a:cxn ang="0">
                  <a:pos x="366" y="20"/>
                </a:cxn>
                <a:cxn ang="0">
                  <a:pos x="325" y="23"/>
                </a:cxn>
                <a:cxn ang="0">
                  <a:pos x="294" y="18"/>
                </a:cxn>
                <a:cxn ang="0">
                  <a:pos x="260" y="4"/>
                </a:cxn>
                <a:cxn ang="0">
                  <a:pos x="233" y="18"/>
                </a:cxn>
                <a:cxn ang="0">
                  <a:pos x="224" y="48"/>
                </a:cxn>
                <a:cxn ang="0">
                  <a:pos x="191" y="45"/>
                </a:cxn>
                <a:cxn ang="0">
                  <a:pos x="160" y="34"/>
                </a:cxn>
                <a:cxn ang="0">
                  <a:pos x="129" y="32"/>
                </a:cxn>
                <a:cxn ang="0">
                  <a:pos x="98" y="36"/>
                </a:cxn>
                <a:cxn ang="0">
                  <a:pos x="92" y="58"/>
                </a:cxn>
                <a:cxn ang="0">
                  <a:pos x="106" y="79"/>
                </a:cxn>
                <a:cxn ang="0">
                  <a:pos x="70" y="109"/>
                </a:cxn>
                <a:cxn ang="0">
                  <a:pos x="62" y="129"/>
                </a:cxn>
                <a:cxn ang="0">
                  <a:pos x="84" y="144"/>
                </a:cxn>
                <a:cxn ang="0">
                  <a:pos x="117" y="147"/>
                </a:cxn>
                <a:cxn ang="0">
                  <a:pos x="137" y="131"/>
                </a:cxn>
                <a:cxn ang="0">
                  <a:pos x="156" y="154"/>
                </a:cxn>
                <a:cxn ang="0">
                  <a:pos x="181" y="169"/>
                </a:cxn>
                <a:cxn ang="0">
                  <a:pos x="212" y="175"/>
                </a:cxn>
                <a:cxn ang="0">
                  <a:pos x="187" y="195"/>
                </a:cxn>
                <a:cxn ang="0">
                  <a:pos x="168" y="202"/>
                </a:cxn>
                <a:cxn ang="0">
                  <a:pos x="149" y="213"/>
                </a:cxn>
                <a:cxn ang="0">
                  <a:pos x="111" y="215"/>
                </a:cxn>
                <a:cxn ang="0">
                  <a:pos x="88" y="224"/>
                </a:cxn>
                <a:cxn ang="0">
                  <a:pos x="68" y="236"/>
                </a:cxn>
                <a:cxn ang="0">
                  <a:pos x="30" y="229"/>
                </a:cxn>
                <a:cxn ang="0">
                  <a:pos x="0" y="236"/>
                </a:cxn>
                <a:cxn ang="0">
                  <a:pos x="4" y="267"/>
                </a:cxn>
                <a:cxn ang="0">
                  <a:pos x="36" y="268"/>
                </a:cxn>
                <a:cxn ang="0">
                  <a:pos x="76" y="267"/>
                </a:cxn>
                <a:cxn ang="0">
                  <a:pos x="120" y="265"/>
                </a:cxn>
                <a:cxn ang="0">
                  <a:pos x="140" y="287"/>
                </a:cxn>
                <a:cxn ang="0">
                  <a:pos x="178" y="281"/>
                </a:cxn>
                <a:cxn ang="0">
                  <a:pos x="219" y="278"/>
                </a:cxn>
                <a:cxn ang="0">
                  <a:pos x="251" y="267"/>
                </a:cxn>
              </a:cxnLst>
              <a:rect l="0" t="0" r="r" b="b"/>
              <a:pathLst>
                <a:path w="604" h="288">
                  <a:moveTo>
                    <a:pt x="251" y="267"/>
                  </a:moveTo>
                  <a:lnTo>
                    <a:pt x="250" y="256"/>
                  </a:lnTo>
                  <a:lnTo>
                    <a:pt x="259" y="238"/>
                  </a:lnTo>
                  <a:lnTo>
                    <a:pt x="291" y="223"/>
                  </a:lnTo>
                  <a:lnTo>
                    <a:pt x="296" y="218"/>
                  </a:lnTo>
                  <a:lnTo>
                    <a:pt x="303" y="218"/>
                  </a:lnTo>
                  <a:lnTo>
                    <a:pt x="309" y="203"/>
                  </a:lnTo>
                  <a:lnTo>
                    <a:pt x="319" y="207"/>
                  </a:lnTo>
                  <a:lnTo>
                    <a:pt x="334" y="201"/>
                  </a:lnTo>
                  <a:lnTo>
                    <a:pt x="345" y="202"/>
                  </a:lnTo>
                  <a:lnTo>
                    <a:pt x="351" y="215"/>
                  </a:lnTo>
                  <a:lnTo>
                    <a:pt x="362" y="217"/>
                  </a:lnTo>
                  <a:lnTo>
                    <a:pt x="378" y="213"/>
                  </a:lnTo>
                  <a:lnTo>
                    <a:pt x="388" y="214"/>
                  </a:lnTo>
                  <a:lnTo>
                    <a:pt x="401" y="204"/>
                  </a:lnTo>
                  <a:lnTo>
                    <a:pt x="407" y="186"/>
                  </a:lnTo>
                  <a:lnTo>
                    <a:pt x="416" y="175"/>
                  </a:lnTo>
                  <a:lnTo>
                    <a:pt x="433" y="170"/>
                  </a:lnTo>
                  <a:lnTo>
                    <a:pt x="452" y="169"/>
                  </a:lnTo>
                  <a:lnTo>
                    <a:pt x="479" y="164"/>
                  </a:lnTo>
                  <a:lnTo>
                    <a:pt x="491" y="159"/>
                  </a:lnTo>
                  <a:lnTo>
                    <a:pt x="499" y="145"/>
                  </a:lnTo>
                  <a:lnTo>
                    <a:pt x="514" y="132"/>
                  </a:lnTo>
                  <a:lnTo>
                    <a:pt x="550" y="112"/>
                  </a:lnTo>
                  <a:lnTo>
                    <a:pt x="588" y="100"/>
                  </a:lnTo>
                  <a:lnTo>
                    <a:pt x="598" y="93"/>
                  </a:lnTo>
                  <a:lnTo>
                    <a:pt x="604" y="79"/>
                  </a:lnTo>
                  <a:lnTo>
                    <a:pt x="604" y="69"/>
                  </a:lnTo>
                  <a:lnTo>
                    <a:pt x="597" y="69"/>
                  </a:lnTo>
                  <a:lnTo>
                    <a:pt x="577" y="56"/>
                  </a:lnTo>
                  <a:lnTo>
                    <a:pt x="561" y="53"/>
                  </a:lnTo>
                  <a:lnTo>
                    <a:pt x="546" y="35"/>
                  </a:lnTo>
                  <a:lnTo>
                    <a:pt x="530" y="34"/>
                  </a:lnTo>
                  <a:lnTo>
                    <a:pt x="523" y="31"/>
                  </a:lnTo>
                  <a:lnTo>
                    <a:pt x="514" y="31"/>
                  </a:lnTo>
                  <a:lnTo>
                    <a:pt x="508" y="27"/>
                  </a:lnTo>
                  <a:lnTo>
                    <a:pt x="499" y="26"/>
                  </a:lnTo>
                  <a:lnTo>
                    <a:pt x="475" y="27"/>
                  </a:lnTo>
                  <a:lnTo>
                    <a:pt x="452" y="24"/>
                  </a:lnTo>
                  <a:lnTo>
                    <a:pt x="443" y="24"/>
                  </a:lnTo>
                  <a:lnTo>
                    <a:pt x="428" y="18"/>
                  </a:lnTo>
                  <a:lnTo>
                    <a:pt x="421" y="18"/>
                  </a:lnTo>
                  <a:lnTo>
                    <a:pt x="406" y="24"/>
                  </a:lnTo>
                  <a:lnTo>
                    <a:pt x="374" y="20"/>
                  </a:lnTo>
                  <a:lnTo>
                    <a:pt x="366" y="20"/>
                  </a:lnTo>
                  <a:lnTo>
                    <a:pt x="350" y="24"/>
                  </a:lnTo>
                  <a:lnTo>
                    <a:pt x="334" y="24"/>
                  </a:lnTo>
                  <a:lnTo>
                    <a:pt x="325" y="23"/>
                  </a:lnTo>
                  <a:lnTo>
                    <a:pt x="319" y="18"/>
                  </a:lnTo>
                  <a:lnTo>
                    <a:pt x="310" y="16"/>
                  </a:lnTo>
                  <a:lnTo>
                    <a:pt x="294" y="18"/>
                  </a:lnTo>
                  <a:lnTo>
                    <a:pt x="288" y="12"/>
                  </a:lnTo>
                  <a:lnTo>
                    <a:pt x="267" y="0"/>
                  </a:lnTo>
                  <a:lnTo>
                    <a:pt x="260" y="4"/>
                  </a:lnTo>
                  <a:lnTo>
                    <a:pt x="253" y="5"/>
                  </a:lnTo>
                  <a:lnTo>
                    <a:pt x="245" y="8"/>
                  </a:lnTo>
                  <a:lnTo>
                    <a:pt x="233" y="18"/>
                  </a:lnTo>
                  <a:lnTo>
                    <a:pt x="232" y="26"/>
                  </a:lnTo>
                  <a:lnTo>
                    <a:pt x="227" y="32"/>
                  </a:lnTo>
                  <a:lnTo>
                    <a:pt x="224" y="48"/>
                  </a:lnTo>
                  <a:lnTo>
                    <a:pt x="221" y="56"/>
                  </a:lnTo>
                  <a:lnTo>
                    <a:pt x="205" y="52"/>
                  </a:lnTo>
                  <a:lnTo>
                    <a:pt x="191" y="45"/>
                  </a:lnTo>
                  <a:lnTo>
                    <a:pt x="175" y="40"/>
                  </a:lnTo>
                  <a:lnTo>
                    <a:pt x="169" y="36"/>
                  </a:lnTo>
                  <a:lnTo>
                    <a:pt x="160" y="34"/>
                  </a:lnTo>
                  <a:lnTo>
                    <a:pt x="152" y="34"/>
                  </a:lnTo>
                  <a:lnTo>
                    <a:pt x="137" y="31"/>
                  </a:lnTo>
                  <a:lnTo>
                    <a:pt x="129" y="32"/>
                  </a:lnTo>
                  <a:lnTo>
                    <a:pt x="121" y="30"/>
                  </a:lnTo>
                  <a:lnTo>
                    <a:pt x="105" y="32"/>
                  </a:lnTo>
                  <a:lnTo>
                    <a:pt x="98" y="36"/>
                  </a:lnTo>
                  <a:lnTo>
                    <a:pt x="95" y="43"/>
                  </a:lnTo>
                  <a:lnTo>
                    <a:pt x="97" y="51"/>
                  </a:lnTo>
                  <a:lnTo>
                    <a:pt x="92" y="58"/>
                  </a:lnTo>
                  <a:lnTo>
                    <a:pt x="88" y="66"/>
                  </a:lnTo>
                  <a:lnTo>
                    <a:pt x="105" y="70"/>
                  </a:lnTo>
                  <a:lnTo>
                    <a:pt x="106" y="79"/>
                  </a:lnTo>
                  <a:lnTo>
                    <a:pt x="92" y="85"/>
                  </a:lnTo>
                  <a:lnTo>
                    <a:pt x="82" y="97"/>
                  </a:lnTo>
                  <a:lnTo>
                    <a:pt x="70" y="109"/>
                  </a:lnTo>
                  <a:lnTo>
                    <a:pt x="55" y="118"/>
                  </a:lnTo>
                  <a:lnTo>
                    <a:pt x="54" y="127"/>
                  </a:lnTo>
                  <a:lnTo>
                    <a:pt x="62" y="129"/>
                  </a:lnTo>
                  <a:lnTo>
                    <a:pt x="68" y="134"/>
                  </a:lnTo>
                  <a:lnTo>
                    <a:pt x="76" y="131"/>
                  </a:lnTo>
                  <a:lnTo>
                    <a:pt x="84" y="144"/>
                  </a:lnTo>
                  <a:lnTo>
                    <a:pt x="108" y="154"/>
                  </a:lnTo>
                  <a:lnTo>
                    <a:pt x="115" y="154"/>
                  </a:lnTo>
                  <a:lnTo>
                    <a:pt x="117" y="147"/>
                  </a:lnTo>
                  <a:lnTo>
                    <a:pt x="125" y="142"/>
                  </a:lnTo>
                  <a:lnTo>
                    <a:pt x="130" y="127"/>
                  </a:lnTo>
                  <a:lnTo>
                    <a:pt x="137" y="131"/>
                  </a:lnTo>
                  <a:lnTo>
                    <a:pt x="142" y="137"/>
                  </a:lnTo>
                  <a:lnTo>
                    <a:pt x="142" y="145"/>
                  </a:lnTo>
                  <a:lnTo>
                    <a:pt x="156" y="154"/>
                  </a:lnTo>
                  <a:lnTo>
                    <a:pt x="162" y="159"/>
                  </a:lnTo>
                  <a:lnTo>
                    <a:pt x="170" y="159"/>
                  </a:lnTo>
                  <a:lnTo>
                    <a:pt x="181" y="169"/>
                  </a:lnTo>
                  <a:lnTo>
                    <a:pt x="197" y="174"/>
                  </a:lnTo>
                  <a:lnTo>
                    <a:pt x="205" y="171"/>
                  </a:lnTo>
                  <a:lnTo>
                    <a:pt x="212" y="175"/>
                  </a:lnTo>
                  <a:lnTo>
                    <a:pt x="207" y="182"/>
                  </a:lnTo>
                  <a:lnTo>
                    <a:pt x="191" y="186"/>
                  </a:lnTo>
                  <a:lnTo>
                    <a:pt x="187" y="195"/>
                  </a:lnTo>
                  <a:lnTo>
                    <a:pt x="181" y="198"/>
                  </a:lnTo>
                  <a:lnTo>
                    <a:pt x="173" y="196"/>
                  </a:lnTo>
                  <a:lnTo>
                    <a:pt x="168" y="202"/>
                  </a:lnTo>
                  <a:lnTo>
                    <a:pt x="160" y="202"/>
                  </a:lnTo>
                  <a:lnTo>
                    <a:pt x="153" y="206"/>
                  </a:lnTo>
                  <a:lnTo>
                    <a:pt x="149" y="213"/>
                  </a:lnTo>
                  <a:lnTo>
                    <a:pt x="143" y="218"/>
                  </a:lnTo>
                  <a:lnTo>
                    <a:pt x="127" y="220"/>
                  </a:lnTo>
                  <a:lnTo>
                    <a:pt x="111" y="215"/>
                  </a:lnTo>
                  <a:lnTo>
                    <a:pt x="104" y="214"/>
                  </a:lnTo>
                  <a:lnTo>
                    <a:pt x="92" y="215"/>
                  </a:lnTo>
                  <a:lnTo>
                    <a:pt x="88" y="224"/>
                  </a:lnTo>
                  <a:lnTo>
                    <a:pt x="81" y="226"/>
                  </a:lnTo>
                  <a:lnTo>
                    <a:pt x="76" y="234"/>
                  </a:lnTo>
                  <a:lnTo>
                    <a:pt x="68" y="236"/>
                  </a:lnTo>
                  <a:lnTo>
                    <a:pt x="55" y="228"/>
                  </a:lnTo>
                  <a:lnTo>
                    <a:pt x="46" y="226"/>
                  </a:lnTo>
                  <a:lnTo>
                    <a:pt x="30" y="229"/>
                  </a:lnTo>
                  <a:lnTo>
                    <a:pt x="22" y="226"/>
                  </a:lnTo>
                  <a:lnTo>
                    <a:pt x="15" y="231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0" y="261"/>
                  </a:lnTo>
                  <a:lnTo>
                    <a:pt x="4" y="267"/>
                  </a:lnTo>
                  <a:lnTo>
                    <a:pt x="13" y="267"/>
                  </a:lnTo>
                  <a:lnTo>
                    <a:pt x="20" y="265"/>
                  </a:lnTo>
                  <a:lnTo>
                    <a:pt x="36" y="268"/>
                  </a:lnTo>
                  <a:lnTo>
                    <a:pt x="60" y="265"/>
                  </a:lnTo>
                  <a:lnTo>
                    <a:pt x="68" y="265"/>
                  </a:lnTo>
                  <a:lnTo>
                    <a:pt x="76" y="267"/>
                  </a:lnTo>
                  <a:lnTo>
                    <a:pt x="81" y="273"/>
                  </a:lnTo>
                  <a:lnTo>
                    <a:pt x="89" y="274"/>
                  </a:lnTo>
                  <a:lnTo>
                    <a:pt x="120" y="265"/>
                  </a:lnTo>
                  <a:lnTo>
                    <a:pt x="127" y="269"/>
                  </a:lnTo>
                  <a:lnTo>
                    <a:pt x="135" y="271"/>
                  </a:lnTo>
                  <a:lnTo>
                    <a:pt x="140" y="287"/>
                  </a:lnTo>
                  <a:lnTo>
                    <a:pt x="156" y="285"/>
                  </a:lnTo>
                  <a:lnTo>
                    <a:pt x="163" y="288"/>
                  </a:lnTo>
                  <a:lnTo>
                    <a:pt x="178" y="281"/>
                  </a:lnTo>
                  <a:lnTo>
                    <a:pt x="194" y="278"/>
                  </a:lnTo>
                  <a:lnTo>
                    <a:pt x="210" y="281"/>
                  </a:lnTo>
                  <a:lnTo>
                    <a:pt x="219" y="278"/>
                  </a:lnTo>
                  <a:lnTo>
                    <a:pt x="229" y="279"/>
                  </a:lnTo>
                  <a:lnTo>
                    <a:pt x="232" y="265"/>
                  </a:lnTo>
                  <a:lnTo>
                    <a:pt x="251" y="26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5" name="Freeform 59"/>
            <p:cNvSpPr>
              <a:spLocks noChangeAspect="1"/>
            </p:cNvSpPr>
            <p:nvPr/>
          </p:nvSpPr>
          <p:spPr bwMode="gray">
            <a:xfrm>
              <a:off x="7072346" y="3399510"/>
              <a:ext cx="131982" cy="108260"/>
            </a:xfrm>
            <a:custGeom>
              <a:avLst/>
              <a:gdLst/>
              <a:ahLst/>
              <a:cxnLst>
                <a:cxn ang="0">
                  <a:pos x="45" y="286"/>
                </a:cxn>
                <a:cxn ang="0">
                  <a:pos x="72" y="273"/>
                </a:cxn>
                <a:cxn ang="0">
                  <a:pos x="89" y="269"/>
                </a:cxn>
                <a:cxn ang="0">
                  <a:pos x="112" y="274"/>
                </a:cxn>
                <a:cxn ang="0">
                  <a:pos x="118" y="246"/>
                </a:cxn>
                <a:cxn ang="0">
                  <a:pos x="145" y="252"/>
                </a:cxn>
                <a:cxn ang="0">
                  <a:pos x="160" y="238"/>
                </a:cxn>
                <a:cxn ang="0">
                  <a:pos x="176" y="198"/>
                </a:cxn>
                <a:cxn ang="0">
                  <a:pos x="190" y="190"/>
                </a:cxn>
                <a:cxn ang="0">
                  <a:pos x="217" y="207"/>
                </a:cxn>
                <a:cxn ang="0">
                  <a:pos x="219" y="225"/>
                </a:cxn>
                <a:cxn ang="0">
                  <a:pos x="230" y="231"/>
                </a:cxn>
                <a:cxn ang="0">
                  <a:pos x="226" y="254"/>
                </a:cxn>
                <a:cxn ang="0">
                  <a:pos x="224" y="287"/>
                </a:cxn>
                <a:cxn ang="0">
                  <a:pos x="241" y="312"/>
                </a:cxn>
                <a:cxn ang="0">
                  <a:pos x="293" y="286"/>
                </a:cxn>
                <a:cxn ang="0">
                  <a:pos x="307" y="271"/>
                </a:cxn>
                <a:cxn ang="0">
                  <a:pos x="334" y="257"/>
                </a:cxn>
                <a:cxn ang="0">
                  <a:pos x="350" y="260"/>
                </a:cxn>
                <a:cxn ang="0">
                  <a:pos x="364" y="266"/>
                </a:cxn>
                <a:cxn ang="0">
                  <a:pos x="390" y="260"/>
                </a:cxn>
                <a:cxn ang="0">
                  <a:pos x="411" y="268"/>
                </a:cxn>
                <a:cxn ang="0">
                  <a:pos x="417" y="273"/>
                </a:cxn>
                <a:cxn ang="0">
                  <a:pos x="400" y="182"/>
                </a:cxn>
                <a:cxn ang="0">
                  <a:pos x="346" y="162"/>
                </a:cxn>
                <a:cxn ang="0">
                  <a:pos x="333" y="120"/>
                </a:cxn>
                <a:cxn ang="0">
                  <a:pos x="282" y="122"/>
                </a:cxn>
                <a:cxn ang="0">
                  <a:pos x="239" y="112"/>
                </a:cxn>
                <a:cxn ang="0">
                  <a:pos x="185" y="114"/>
                </a:cxn>
                <a:cxn ang="0">
                  <a:pos x="140" y="109"/>
                </a:cxn>
                <a:cxn ang="0">
                  <a:pos x="104" y="102"/>
                </a:cxn>
                <a:cxn ang="0">
                  <a:pos x="126" y="67"/>
                </a:cxn>
                <a:cxn ang="0">
                  <a:pos x="172" y="77"/>
                </a:cxn>
                <a:cxn ang="0">
                  <a:pos x="196" y="56"/>
                </a:cxn>
                <a:cxn ang="0">
                  <a:pos x="172" y="54"/>
                </a:cxn>
                <a:cxn ang="0">
                  <a:pos x="185" y="22"/>
                </a:cxn>
                <a:cxn ang="0">
                  <a:pos x="170" y="0"/>
                </a:cxn>
                <a:cxn ang="0">
                  <a:pos x="132" y="27"/>
                </a:cxn>
                <a:cxn ang="0">
                  <a:pos x="108" y="36"/>
                </a:cxn>
                <a:cxn ang="0">
                  <a:pos x="105" y="63"/>
                </a:cxn>
                <a:cxn ang="0">
                  <a:pos x="75" y="82"/>
                </a:cxn>
                <a:cxn ang="0">
                  <a:pos x="32" y="107"/>
                </a:cxn>
                <a:cxn ang="0">
                  <a:pos x="6" y="112"/>
                </a:cxn>
                <a:cxn ang="0">
                  <a:pos x="14" y="136"/>
                </a:cxn>
                <a:cxn ang="0">
                  <a:pos x="40" y="149"/>
                </a:cxn>
                <a:cxn ang="0">
                  <a:pos x="41" y="187"/>
                </a:cxn>
                <a:cxn ang="0">
                  <a:pos x="52" y="212"/>
                </a:cxn>
                <a:cxn ang="0">
                  <a:pos x="29" y="239"/>
                </a:cxn>
                <a:cxn ang="0">
                  <a:pos x="19" y="269"/>
                </a:cxn>
              </a:cxnLst>
              <a:rect l="0" t="0" r="r" b="b"/>
              <a:pathLst>
                <a:path w="417" h="312">
                  <a:moveTo>
                    <a:pt x="19" y="269"/>
                  </a:moveTo>
                  <a:lnTo>
                    <a:pt x="24" y="274"/>
                  </a:lnTo>
                  <a:lnTo>
                    <a:pt x="37" y="289"/>
                  </a:lnTo>
                  <a:lnTo>
                    <a:pt x="45" y="286"/>
                  </a:lnTo>
                  <a:lnTo>
                    <a:pt x="52" y="286"/>
                  </a:lnTo>
                  <a:lnTo>
                    <a:pt x="53" y="281"/>
                  </a:lnTo>
                  <a:lnTo>
                    <a:pt x="67" y="274"/>
                  </a:lnTo>
                  <a:lnTo>
                    <a:pt x="72" y="273"/>
                  </a:lnTo>
                  <a:lnTo>
                    <a:pt x="76" y="274"/>
                  </a:lnTo>
                  <a:lnTo>
                    <a:pt x="79" y="270"/>
                  </a:lnTo>
                  <a:lnTo>
                    <a:pt x="85" y="268"/>
                  </a:lnTo>
                  <a:lnTo>
                    <a:pt x="89" y="269"/>
                  </a:lnTo>
                  <a:lnTo>
                    <a:pt x="94" y="274"/>
                  </a:lnTo>
                  <a:lnTo>
                    <a:pt x="107" y="279"/>
                  </a:lnTo>
                  <a:lnTo>
                    <a:pt x="111" y="276"/>
                  </a:lnTo>
                  <a:lnTo>
                    <a:pt x="112" y="274"/>
                  </a:lnTo>
                  <a:lnTo>
                    <a:pt x="112" y="269"/>
                  </a:lnTo>
                  <a:lnTo>
                    <a:pt x="110" y="265"/>
                  </a:lnTo>
                  <a:lnTo>
                    <a:pt x="110" y="258"/>
                  </a:lnTo>
                  <a:lnTo>
                    <a:pt x="118" y="246"/>
                  </a:lnTo>
                  <a:lnTo>
                    <a:pt x="123" y="246"/>
                  </a:lnTo>
                  <a:lnTo>
                    <a:pt x="129" y="248"/>
                  </a:lnTo>
                  <a:lnTo>
                    <a:pt x="138" y="246"/>
                  </a:lnTo>
                  <a:lnTo>
                    <a:pt x="145" y="252"/>
                  </a:lnTo>
                  <a:lnTo>
                    <a:pt x="149" y="252"/>
                  </a:lnTo>
                  <a:lnTo>
                    <a:pt x="153" y="250"/>
                  </a:lnTo>
                  <a:lnTo>
                    <a:pt x="159" y="243"/>
                  </a:lnTo>
                  <a:lnTo>
                    <a:pt x="160" y="238"/>
                  </a:lnTo>
                  <a:lnTo>
                    <a:pt x="155" y="232"/>
                  </a:lnTo>
                  <a:lnTo>
                    <a:pt x="155" y="227"/>
                  </a:lnTo>
                  <a:lnTo>
                    <a:pt x="165" y="214"/>
                  </a:lnTo>
                  <a:lnTo>
                    <a:pt x="176" y="198"/>
                  </a:lnTo>
                  <a:lnTo>
                    <a:pt x="178" y="195"/>
                  </a:lnTo>
                  <a:lnTo>
                    <a:pt x="182" y="190"/>
                  </a:lnTo>
                  <a:lnTo>
                    <a:pt x="183" y="189"/>
                  </a:lnTo>
                  <a:lnTo>
                    <a:pt x="190" y="190"/>
                  </a:lnTo>
                  <a:lnTo>
                    <a:pt x="194" y="187"/>
                  </a:lnTo>
                  <a:lnTo>
                    <a:pt x="204" y="189"/>
                  </a:lnTo>
                  <a:lnTo>
                    <a:pt x="217" y="201"/>
                  </a:lnTo>
                  <a:lnTo>
                    <a:pt x="217" y="207"/>
                  </a:lnTo>
                  <a:lnTo>
                    <a:pt x="213" y="215"/>
                  </a:lnTo>
                  <a:lnTo>
                    <a:pt x="213" y="220"/>
                  </a:lnTo>
                  <a:lnTo>
                    <a:pt x="214" y="222"/>
                  </a:lnTo>
                  <a:lnTo>
                    <a:pt x="219" y="225"/>
                  </a:lnTo>
                  <a:lnTo>
                    <a:pt x="225" y="223"/>
                  </a:lnTo>
                  <a:lnTo>
                    <a:pt x="229" y="225"/>
                  </a:lnTo>
                  <a:lnTo>
                    <a:pt x="229" y="227"/>
                  </a:lnTo>
                  <a:lnTo>
                    <a:pt x="230" y="231"/>
                  </a:lnTo>
                  <a:lnTo>
                    <a:pt x="228" y="233"/>
                  </a:lnTo>
                  <a:lnTo>
                    <a:pt x="226" y="238"/>
                  </a:lnTo>
                  <a:lnTo>
                    <a:pt x="228" y="249"/>
                  </a:lnTo>
                  <a:lnTo>
                    <a:pt x="226" y="254"/>
                  </a:lnTo>
                  <a:lnTo>
                    <a:pt x="224" y="259"/>
                  </a:lnTo>
                  <a:lnTo>
                    <a:pt x="224" y="269"/>
                  </a:lnTo>
                  <a:lnTo>
                    <a:pt x="221" y="278"/>
                  </a:lnTo>
                  <a:lnTo>
                    <a:pt x="224" y="287"/>
                  </a:lnTo>
                  <a:lnTo>
                    <a:pt x="230" y="298"/>
                  </a:lnTo>
                  <a:lnTo>
                    <a:pt x="235" y="309"/>
                  </a:lnTo>
                  <a:lnTo>
                    <a:pt x="236" y="311"/>
                  </a:lnTo>
                  <a:lnTo>
                    <a:pt x="241" y="312"/>
                  </a:lnTo>
                  <a:lnTo>
                    <a:pt x="246" y="309"/>
                  </a:lnTo>
                  <a:lnTo>
                    <a:pt x="258" y="302"/>
                  </a:lnTo>
                  <a:lnTo>
                    <a:pt x="272" y="292"/>
                  </a:lnTo>
                  <a:lnTo>
                    <a:pt x="293" y="286"/>
                  </a:lnTo>
                  <a:lnTo>
                    <a:pt x="295" y="285"/>
                  </a:lnTo>
                  <a:lnTo>
                    <a:pt x="299" y="278"/>
                  </a:lnTo>
                  <a:lnTo>
                    <a:pt x="306" y="274"/>
                  </a:lnTo>
                  <a:lnTo>
                    <a:pt x="307" y="271"/>
                  </a:lnTo>
                  <a:lnTo>
                    <a:pt x="312" y="270"/>
                  </a:lnTo>
                  <a:lnTo>
                    <a:pt x="322" y="263"/>
                  </a:lnTo>
                  <a:lnTo>
                    <a:pt x="327" y="262"/>
                  </a:lnTo>
                  <a:lnTo>
                    <a:pt x="334" y="257"/>
                  </a:lnTo>
                  <a:lnTo>
                    <a:pt x="339" y="257"/>
                  </a:lnTo>
                  <a:lnTo>
                    <a:pt x="343" y="259"/>
                  </a:lnTo>
                  <a:lnTo>
                    <a:pt x="346" y="260"/>
                  </a:lnTo>
                  <a:lnTo>
                    <a:pt x="350" y="260"/>
                  </a:lnTo>
                  <a:lnTo>
                    <a:pt x="352" y="270"/>
                  </a:lnTo>
                  <a:lnTo>
                    <a:pt x="354" y="274"/>
                  </a:lnTo>
                  <a:lnTo>
                    <a:pt x="357" y="273"/>
                  </a:lnTo>
                  <a:lnTo>
                    <a:pt x="364" y="266"/>
                  </a:lnTo>
                  <a:lnTo>
                    <a:pt x="364" y="268"/>
                  </a:lnTo>
                  <a:lnTo>
                    <a:pt x="366" y="268"/>
                  </a:lnTo>
                  <a:lnTo>
                    <a:pt x="379" y="263"/>
                  </a:lnTo>
                  <a:lnTo>
                    <a:pt x="390" y="260"/>
                  </a:lnTo>
                  <a:lnTo>
                    <a:pt x="396" y="260"/>
                  </a:lnTo>
                  <a:lnTo>
                    <a:pt x="401" y="264"/>
                  </a:lnTo>
                  <a:lnTo>
                    <a:pt x="409" y="264"/>
                  </a:lnTo>
                  <a:lnTo>
                    <a:pt x="411" y="268"/>
                  </a:lnTo>
                  <a:lnTo>
                    <a:pt x="411" y="270"/>
                  </a:lnTo>
                  <a:lnTo>
                    <a:pt x="406" y="271"/>
                  </a:lnTo>
                  <a:lnTo>
                    <a:pt x="414" y="274"/>
                  </a:lnTo>
                  <a:lnTo>
                    <a:pt x="417" y="273"/>
                  </a:lnTo>
                  <a:lnTo>
                    <a:pt x="417" y="237"/>
                  </a:lnTo>
                  <a:lnTo>
                    <a:pt x="407" y="212"/>
                  </a:lnTo>
                  <a:lnTo>
                    <a:pt x="407" y="193"/>
                  </a:lnTo>
                  <a:lnTo>
                    <a:pt x="400" y="182"/>
                  </a:lnTo>
                  <a:lnTo>
                    <a:pt x="381" y="180"/>
                  </a:lnTo>
                  <a:lnTo>
                    <a:pt x="361" y="187"/>
                  </a:lnTo>
                  <a:lnTo>
                    <a:pt x="350" y="179"/>
                  </a:lnTo>
                  <a:lnTo>
                    <a:pt x="346" y="162"/>
                  </a:lnTo>
                  <a:lnTo>
                    <a:pt x="344" y="142"/>
                  </a:lnTo>
                  <a:lnTo>
                    <a:pt x="355" y="108"/>
                  </a:lnTo>
                  <a:lnTo>
                    <a:pt x="336" y="106"/>
                  </a:lnTo>
                  <a:lnTo>
                    <a:pt x="333" y="120"/>
                  </a:lnTo>
                  <a:lnTo>
                    <a:pt x="323" y="119"/>
                  </a:lnTo>
                  <a:lnTo>
                    <a:pt x="314" y="122"/>
                  </a:lnTo>
                  <a:lnTo>
                    <a:pt x="298" y="119"/>
                  </a:lnTo>
                  <a:lnTo>
                    <a:pt x="282" y="122"/>
                  </a:lnTo>
                  <a:lnTo>
                    <a:pt x="267" y="129"/>
                  </a:lnTo>
                  <a:lnTo>
                    <a:pt x="260" y="126"/>
                  </a:lnTo>
                  <a:lnTo>
                    <a:pt x="244" y="128"/>
                  </a:lnTo>
                  <a:lnTo>
                    <a:pt x="239" y="112"/>
                  </a:lnTo>
                  <a:lnTo>
                    <a:pt x="231" y="110"/>
                  </a:lnTo>
                  <a:lnTo>
                    <a:pt x="224" y="106"/>
                  </a:lnTo>
                  <a:lnTo>
                    <a:pt x="193" y="115"/>
                  </a:lnTo>
                  <a:lnTo>
                    <a:pt x="185" y="114"/>
                  </a:lnTo>
                  <a:lnTo>
                    <a:pt x="180" y="108"/>
                  </a:lnTo>
                  <a:lnTo>
                    <a:pt x="172" y="106"/>
                  </a:lnTo>
                  <a:lnTo>
                    <a:pt x="164" y="106"/>
                  </a:lnTo>
                  <a:lnTo>
                    <a:pt x="140" y="109"/>
                  </a:lnTo>
                  <a:lnTo>
                    <a:pt x="124" y="106"/>
                  </a:lnTo>
                  <a:lnTo>
                    <a:pt x="117" y="108"/>
                  </a:lnTo>
                  <a:lnTo>
                    <a:pt x="108" y="108"/>
                  </a:lnTo>
                  <a:lnTo>
                    <a:pt x="104" y="102"/>
                  </a:lnTo>
                  <a:lnTo>
                    <a:pt x="104" y="86"/>
                  </a:lnTo>
                  <a:lnTo>
                    <a:pt x="104" y="77"/>
                  </a:lnTo>
                  <a:lnTo>
                    <a:pt x="119" y="72"/>
                  </a:lnTo>
                  <a:lnTo>
                    <a:pt x="126" y="67"/>
                  </a:lnTo>
                  <a:lnTo>
                    <a:pt x="134" y="70"/>
                  </a:lnTo>
                  <a:lnTo>
                    <a:pt x="150" y="67"/>
                  </a:lnTo>
                  <a:lnTo>
                    <a:pt x="159" y="69"/>
                  </a:lnTo>
                  <a:lnTo>
                    <a:pt x="172" y="77"/>
                  </a:lnTo>
                  <a:lnTo>
                    <a:pt x="180" y="75"/>
                  </a:lnTo>
                  <a:lnTo>
                    <a:pt x="185" y="67"/>
                  </a:lnTo>
                  <a:lnTo>
                    <a:pt x="192" y="65"/>
                  </a:lnTo>
                  <a:lnTo>
                    <a:pt x="196" y="56"/>
                  </a:lnTo>
                  <a:lnTo>
                    <a:pt x="192" y="56"/>
                  </a:lnTo>
                  <a:lnTo>
                    <a:pt x="185" y="60"/>
                  </a:lnTo>
                  <a:lnTo>
                    <a:pt x="176" y="61"/>
                  </a:lnTo>
                  <a:lnTo>
                    <a:pt x="172" y="54"/>
                  </a:lnTo>
                  <a:lnTo>
                    <a:pt x="167" y="38"/>
                  </a:lnTo>
                  <a:lnTo>
                    <a:pt x="174" y="33"/>
                  </a:lnTo>
                  <a:lnTo>
                    <a:pt x="181" y="29"/>
                  </a:lnTo>
                  <a:lnTo>
                    <a:pt x="185" y="22"/>
                  </a:lnTo>
                  <a:lnTo>
                    <a:pt x="183" y="15"/>
                  </a:lnTo>
                  <a:lnTo>
                    <a:pt x="178" y="9"/>
                  </a:lnTo>
                  <a:lnTo>
                    <a:pt x="177" y="0"/>
                  </a:lnTo>
                  <a:lnTo>
                    <a:pt x="170" y="0"/>
                  </a:lnTo>
                  <a:lnTo>
                    <a:pt x="164" y="5"/>
                  </a:lnTo>
                  <a:lnTo>
                    <a:pt x="160" y="12"/>
                  </a:lnTo>
                  <a:lnTo>
                    <a:pt x="145" y="20"/>
                  </a:lnTo>
                  <a:lnTo>
                    <a:pt x="132" y="27"/>
                  </a:lnTo>
                  <a:lnTo>
                    <a:pt x="123" y="28"/>
                  </a:lnTo>
                  <a:lnTo>
                    <a:pt x="117" y="23"/>
                  </a:lnTo>
                  <a:lnTo>
                    <a:pt x="110" y="27"/>
                  </a:lnTo>
                  <a:lnTo>
                    <a:pt x="108" y="36"/>
                  </a:lnTo>
                  <a:lnTo>
                    <a:pt x="102" y="40"/>
                  </a:lnTo>
                  <a:lnTo>
                    <a:pt x="107" y="47"/>
                  </a:lnTo>
                  <a:lnTo>
                    <a:pt x="107" y="55"/>
                  </a:lnTo>
                  <a:lnTo>
                    <a:pt x="105" y="63"/>
                  </a:lnTo>
                  <a:lnTo>
                    <a:pt x="99" y="67"/>
                  </a:lnTo>
                  <a:lnTo>
                    <a:pt x="83" y="70"/>
                  </a:lnTo>
                  <a:lnTo>
                    <a:pt x="75" y="75"/>
                  </a:lnTo>
                  <a:lnTo>
                    <a:pt x="75" y="82"/>
                  </a:lnTo>
                  <a:lnTo>
                    <a:pt x="63" y="104"/>
                  </a:lnTo>
                  <a:lnTo>
                    <a:pt x="56" y="107"/>
                  </a:lnTo>
                  <a:lnTo>
                    <a:pt x="40" y="108"/>
                  </a:lnTo>
                  <a:lnTo>
                    <a:pt x="32" y="107"/>
                  </a:lnTo>
                  <a:lnTo>
                    <a:pt x="26" y="101"/>
                  </a:lnTo>
                  <a:lnTo>
                    <a:pt x="18" y="102"/>
                  </a:lnTo>
                  <a:lnTo>
                    <a:pt x="10" y="106"/>
                  </a:lnTo>
                  <a:lnTo>
                    <a:pt x="6" y="112"/>
                  </a:lnTo>
                  <a:lnTo>
                    <a:pt x="8" y="120"/>
                  </a:lnTo>
                  <a:lnTo>
                    <a:pt x="0" y="125"/>
                  </a:lnTo>
                  <a:lnTo>
                    <a:pt x="6" y="131"/>
                  </a:lnTo>
                  <a:lnTo>
                    <a:pt x="14" y="136"/>
                  </a:lnTo>
                  <a:lnTo>
                    <a:pt x="16" y="144"/>
                  </a:lnTo>
                  <a:lnTo>
                    <a:pt x="25" y="145"/>
                  </a:lnTo>
                  <a:lnTo>
                    <a:pt x="34" y="144"/>
                  </a:lnTo>
                  <a:lnTo>
                    <a:pt x="40" y="149"/>
                  </a:lnTo>
                  <a:lnTo>
                    <a:pt x="42" y="156"/>
                  </a:lnTo>
                  <a:lnTo>
                    <a:pt x="41" y="165"/>
                  </a:lnTo>
                  <a:lnTo>
                    <a:pt x="37" y="171"/>
                  </a:lnTo>
                  <a:lnTo>
                    <a:pt x="41" y="187"/>
                  </a:lnTo>
                  <a:lnTo>
                    <a:pt x="46" y="194"/>
                  </a:lnTo>
                  <a:lnTo>
                    <a:pt x="53" y="199"/>
                  </a:lnTo>
                  <a:lnTo>
                    <a:pt x="54" y="205"/>
                  </a:lnTo>
                  <a:lnTo>
                    <a:pt x="52" y="212"/>
                  </a:lnTo>
                  <a:lnTo>
                    <a:pt x="47" y="217"/>
                  </a:lnTo>
                  <a:lnTo>
                    <a:pt x="40" y="222"/>
                  </a:lnTo>
                  <a:lnTo>
                    <a:pt x="37" y="228"/>
                  </a:lnTo>
                  <a:lnTo>
                    <a:pt x="29" y="239"/>
                  </a:lnTo>
                  <a:lnTo>
                    <a:pt x="22" y="253"/>
                  </a:lnTo>
                  <a:lnTo>
                    <a:pt x="24" y="259"/>
                  </a:lnTo>
                  <a:lnTo>
                    <a:pt x="24" y="266"/>
                  </a:lnTo>
                  <a:lnTo>
                    <a:pt x="19" y="2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6" name="Freeform 60"/>
            <p:cNvSpPr>
              <a:spLocks noChangeAspect="1"/>
            </p:cNvSpPr>
            <p:nvPr/>
          </p:nvSpPr>
          <p:spPr bwMode="gray">
            <a:xfrm>
              <a:off x="7134361" y="3422211"/>
              <a:ext cx="4771" cy="6985"/>
            </a:xfrm>
            <a:custGeom>
              <a:avLst/>
              <a:gdLst/>
              <a:ahLst/>
              <a:cxnLst>
                <a:cxn ang="0">
                  <a:pos x="16" y="19"/>
                </a:cxn>
                <a:cxn ang="0">
                  <a:pos x="14" y="12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1" y="13"/>
                </a:cxn>
                <a:cxn ang="0">
                  <a:pos x="3" y="21"/>
                </a:cxn>
                <a:cxn ang="0">
                  <a:pos x="12" y="22"/>
                </a:cxn>
                <a:cxn ang="0">
                  <a:pos x="16" y="19"/>
                </a:cxn>
              </a:cxnLst>
              <a:rect l="0" t="0" r="r" b="b"/>
              <a:pathLst>
                <a:path w="16" h="22">
                  <a:moveTo>
                    <a:pt x="16" y="19"/>
                  </a:moveTo>
                  <a:lnTo>
                    <a:pt x="14" y="12"/>
                  </a:lnTo>
                  <a:lnTo>
                    <a:pt x="5" y="0"/>
                  </a:lnTo>
                  <a:lnTo>
                    <a:pt x="0" y="6"/>
                  </a:lnTo>
                  <a:lnTo>
                    <a:pt x="1" y="13"/>
                  </a:lnTo>
                  <a:lnTo>
                    <a:pt x="3" y="21"/>
                  </a:lnTo>
                  <a:lnTo>
                    <a:pt x="12" y="22"/>
                  </a:lnTo>
                  <a:lnTo>
                    <a:pt x="16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7" name="Freeform 61"/>
            <p:cNvSpPr>
              <a:spLocks noChangeAspect="1"/>
            </p:cNvSpPr>
            <p:nvPr/>
          </p:nvSpPr>
          <p:spPr bwMode="gray">
            <a:xfrm>
              <a:off x="7145493" y="3425703"/>
              <a:ext cx="4771" cy="3492"/>
            </a:xfrm>
            <a:custGeom>
              <a:avLst/>
              <a:gdLst/>
              <a:ahLst/>
              <a:cxnLst>
                <a:cxn ang="0">
                  <a:pos x="15" y="4"/>
                </a:cxn>
                <a:cxn ang="0">
                  <a:pos x="7" y="0"/>
                </a:cxn>
                <a:cxn ang="0">
                  <a:pos x="0" y="3"/>
                </a:cxn>
                <a:cxn ang="0">
                  <a:pos x="6" y="9"/>
                </a:cxn>
                <a:cxn ang="0">
                  <a:pos x="14" y="6"/>
                </a:cxn>
                <a:cxn ang="0">
                  <a:pos x="15" y="4"/>
                </a:cxn>
              </a:cxnLst>
              <a:rect l="0" t="0" r="r" b="b"/>
              <a:pathLst>
                <a:path w="15" h="9">
                  <a:moveTo>
                    <a:pt x="15" y="4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6" y="9"/>
                  </a:lnTo>
                  <a:lnTo>
                    <a:pt x="14" y="6"/>
                  </a:lnTo>
                  <a:lnTo>
                    <a:pt x="15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8" name="Freeform 62"/>
            <p:cNvSpPr>
              <a:spLocks noChangeAspect="1"/>
            </p:cNvSpPr>
            <p:nvPr/>
          </p:nvSpPr>
          <p:spPr bwMode="gray">
            <a:xfrm>
              <a:off x="7126411" y="3429195"/>
              <a:ext cx="3180" cy="3492"/>
            </a:xfrm>
            <a:custGeom>
              <a:avLst/>
              <a:gdLst/>
              <a:ahLst/>
              <a:cxnLst>
                <a:cxn ang="0">
                  <a:pos x="12" y="6"/>
                </a:cxn>
                <a:cxn ang="0">
                  <a:pos x="8" y="0"/>
                </a:cxn>
                <a:cxn ang="0">
                  <a:pos x="0" y="1"/>
                </a:cxn>
                <a:cxn ang="0">
                  <a:pos x="2" y="8"/>
                </a:cxn>
                <a:cxn ang="0">
                  <a:pos x="11" y="8"/>
                </a:cxn>
                <a:cxn ang="0">
                  <a:pos x="12" y="6"/>
                </a:cxn>
              </a:cxnLst>
              <a:rect l="0" t="0" r="r" b="b"/>
              <a:pathLst>
                <a:path w="12" h="8">
                  <a:moveTo>
                    <a:pt x="12" y="6"/>
                  </a:moveTo>
                  <a:lnTo>
                    <a:pt x="8" y="0"/>
                  </a:lnTo>
                  <a:lnTo>
                    <a:pt x="0" y="1"/>
                  </a:lnTo>
                  <a:lnTo>
                    <a:pt x="2" y="8"/>
                  </a:lnTo>
                  <a:lnTo>
                    <a:pt x="11" y="8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9" name="Freeform 63"/>
            <p:cNvSpPr>
              <a:spLocks noChangeAspect="1"/>
            </p:cNvSpPr>
            <p:nvPr/>
          </p:nvSpPr>
          <p:spPr bwMode="gray">
            <a:xfrm>
              <a:off x="6951496" y="3464118"/>
              <a:ext cx="251242" cy="209536"/>
            </a:xfrm>
            <a:custGeom>
              <a:avLst/>
              <a:gdLst/>
              <a:ahLst/>
              <a:cxnLst>
                <a:cxn ang="0">
                  <a:pos x="65" y="487"/>
                </a:cxn>
                <a:cxn ang="0">
                  <a:pos x="14" y="447"/>
                </a:cxn>
                <a:cxn ang="0">
                  <a:pos x="3" y="371"/>
                </a:cxn>
                <a:cxn ang="0">
                  <a:pos x="0" y="299"/>
                </a:cxn>
                <a:cxn ang="0">
                  <a:pos x="40" y="223"/>
                </a:cxn>
                <a:cxn ang="0">
                  <a:pos x="57" y="206"/>
                </a:cxn>
                <a:cxn ang="0">
                  <a:pos x="98" y="221"/>
                </a:cxn>
                <a:cxn ang="0">
                  <a:pos x="139" y="210"/>
                </a:cxn>
                <a:cxn ang="0">
                  <a:pos x="146" y="184"/>
                </a:cxn>
                <a:cxn ang="0">
                  <a:pos x="186" y="168"/>
                </a:cxn>
                <a:cxn ang="0">
                  <a:pos x="224" y="142"/>
                </a:cxn>
                <a:cxn ang="0">
                  <a:pos x="235" y="95"/>
                </a:cxn>
                <a:cxn ang="0">
                  <a:pos x="259" y="83"/>
                </a:cxn>
                <a:cxn ang="0">
                  <a:pos x="283" y="65"/>
                </a:cxn>
                <a:cxn ang="0">
                  <a:pos x="331" y="77"/>
                </a:cxn>
                <a:cxn ang="0">
                  <a:pos x="396" y="82"/>
                </a:cxn>
                <a:cxn ang="0">
                  <a:pos x="430" y="94"/>
                </a:cxn>
                <a:cxn ang="0">
                  <a:pos x="462" y="81"/>
                </a:cxn>
                <a:cxn ang="0">
                  <a:pos x="489" y="87"/>
                </a:cxn>
                <a:cxn ang="0">
                  <a:pos x="500" y="59"/>
                </a:cxn>
                <a:cxn ang="0">
                  <a:pos x="528" y="63"/>
                </a:cxn>
                <a:cxn ang="0">
                  <a:pos x="542" y="27"/>
                </a:cxn>
                <a:cxn ang="0">
                  <a:pos x="567" y="3"/>
                </a:cxn>
                <a:cxn ang="0">
                  <a:pos x="590" y="28"/>
                </a:cxn>
                <a:cxn ang="0">
                  <a:pos x="606" y="38"/>
                </a:cxn>
                <a:cxn ang="0">
                  <a:pos x="605" y="62"/>
                </a:cxn>
                <a:cxn ang="0">
                  <a:pos x="601" y="100"/>
                </a:cxn>
                <a:cxn ang="0">
                  <a:pos x="623" y="122"/>
                </a:cxn>
                <a:cxn ang="0">
                  <a:pos x="676" y="92"/>
                </a:cxn>
                <a:cxn ang="0">
                  <a:pos x="704" y="75"/>
                </a:cxn>
                <a:cxn ang="0">
                  <a:pos x="727" y="73"/>
                </a:cxn>
                <a:cxn ang="0">
                  <a:pos x="741" y="81"/>
                </a:cxn>
                <a:cxn ang="0">
                  <a:pos x="778" y="77"/>
                </a:cxn>
                <a:cxn ang="0">
                  <a:pos x="785" y="84"/>
                </a:cxn>
                <a:cxn ang="0">
                  <a:pos x="768" y="94"/>
                </a:cxn>
                <a:cxn ang="0">
                  <a:pos x="759" y="108"/>
                </a:cxn>
                <a:cxn ang="0">
                  <a:pos x="725" y="109"/>
                </a:cxn>
                <a:cxn ang="0">
                  <a:pos x="665" y="114"/>
                </a:cxn>
                <a:cxn ang="0">
                  <a:pos x="638" y="129"/>
                </a:cxn>
                <a:cxn ang="0">
                  <a:pos x="622" y="141"/>
                </a:cxn>
                <a:cxn ang="0">
                  <a:pos x="594" y="158"/>
                </a:cxn>
                <a:cxn ang="0">
                  <a:pos x="605" y="183"/>
                </a:cxn>
                <a:cxn ang="0">
                  <a:pos x="608" y="218"/>
                </a:cxn>
                <a:cxn ang="0">
                  <a:pos x="592" y="249"/>
                </a:cxn>
                <a:cxn ang="0">
                  <a:pos x="582" y="277"/>
                </a:cxn>
                <a:cxn ang="0">
                  <a:pos x="569" y="304"/>
                </a:cxn>
                <a:cxn ang="0">
                  <a:pos x="520" y="302"/>
                </a:cxn>
                <a:cxn ang="0">
                  <a:pos x="535" y="336"/>
                </a:cxn>
                <a:cxn ang="0">
                  <a:pos x="517" y="361"/>
                </a:cxn>
                <a:cxn ang="0">
                  <a:pos x="489" y="384"/>
                </a:cxn>
                <a:cxn ang="0">
                  <a:pos x="481" y="404"/>
                </a:cxn>
                <a:cxn ang="0">
                  <a:pos x="463" y="460"/>
                </a:cxn>
                <a:cxn ang="0">
                  <a:pos x="444" y="445"/>
                </a:cxn>
                <a:cxn ang="0">
                  <a:pos x="425" y="448"/>
                </a:cxn>
                <a:cxn ang="0">
                  <a:pos x="391" y="468"/>
                </a:cxn>
                <a:cxn ang="0">
                  <a:pos x="390" y="479"/>
                </a:cxn>
                <a:cxn ang="0">
                  <a:pos x="352" y="476"/>
                </a:cxn>
                <a:cxn ang="0">
                  <a:pos x="321" y="520"/>
                </a:cxn>
                <a:cxn ang="0">
                  <a:pos x="321" y="566"/>
                </a:cxn>
                <a:cxn ang="0">
                  <a:pos x="226" y="587"/>
                </a:cxn>
                <a:cxn ang="0">
                  <a:pos x="197" y="599"/>
                </a:cxn>
                <a:cxn ang="0">
                  <a:pos x="129" y="594"/>
                </a:cxn>
                <a:cxn ang="0">
                  <a:pos x="101" y="598"/>
                </a:cxn>
              </a:cxnLst>
              <a:rect l="0" t="0" r="r" b="b"/>
              <a:pathLst>
                <a:path w="788" h="599">
                  <a:moveTo>
                    <a:pt x="24" y="572"/>
                  </a:moveTo>
                  <a:lnTo>
                    <a:pt x="36" y="547"/>
                  </a:lnTo>
                  <a:lnTo>
                    <a:pt x="59" y="519"/>
                  </a:lnTo>
                  <a:lnTo>
                    <a:pt x="65" y="502"/>
                  </a:lnTo>
                  <a:lnTo>
                    <a:pt x="65" y="487"/>
                  </a:lnTo>
                  <a:lnTo>
                    <a:pt x="59" y="471"/>
                  </a:lnTo>
                  <a:lnTo>
                    <a:pt x="48" y="461"/>
                  </a:lnTo>
                  <a:lnTo>
                    <a:pt x="36" y="461"/>
                  </a:lnTo>
                  <a:lnTo>
                    <a:pt x="24" y="458"/>
                  </a:lnTo>
                  <a:lnTo>
                    <a:pt x="14" y="447"/>
                  </a:lnTo>
                  <a:lnTo>
                    <a:pt x="12" y="434"/>
                  </a:lnTo>
                  <a:lnTo>
                    <a:pt x="15" y="417"/>
                  </a:lnTo>
                  <a:lnTo>
                    <a:pt x="12" y="399"/>
                  </a:lnTo>
                  <a:lnTo>
                    <a:pt x="6" y="383"/>
                  </a:lnTo>
                  <a:lnTo>
                    <a:pt x="3" y="371"/>
                  </a:lnTo>
                  <a:lnTo>
                    <a:pt x="6" y="353"/>
                  </a:lnTo>
                  <a:lnTo>
                    <a:pt x="15" y="335"/>
                  </a:lnTo>
                  <a:lnTo>
                    <a:pt x="14" y="324"/>
                  </a:lnTo>
                  <a:lnTo>
                    <a:pt x="0" y="319"/>
                  </a:lnTo>
                  <a:lnTo>
                    <a:pt x="0" y="299"/>
                  </a:lnTo>
                  <a:lnTo>
                    <a:pt x="0" y="289"/>
                  </a:lnTo>
                  <a:lnTo>
                    <a:pt x="21" y="281"/>
                  </a:lnTo>
                  <a:lnTo>
                    <a:pt x="21" y="266"/>
                  </a:lnTo>
                  <a:lnTo>
                    <a:pt x="35" y="244"/>
                  </a:lnTo>
                  <a:lnTo>
                    <a:pt x="40" y="223"/>
                  </a:lnTo>
                  <a:lnTo>
                    <a:pt x="40" y="206"/>
                  </a:lnTo>
                  <a:lnTo>
                    <a:pt x="42" y="192"/>
                  </a:lnTo>
                  <a:lnTo>
                    <a:pt x="48" y="196"/>
                  </a:lnTo>
                  <a:lnTo>
                    <a:pt x="54" y="202"/>
                  </a:lnTo>
                  <a:lnTo>
                    <a:pt x="57" y="206"/>
                  </a:lnTo>
                  <a:lnTo>
                    <a:pt x="68" y="208"/>
                  </a:lnTo>
                  <a:lnTo>
                    <a:pt x="80" y="206"/>
                  </a:lnTo>
                  <a:lnTo>
                    <a:pt x="86" y="211"/>
                  </a:lnTo>
                  <a:lnTo>
                    <a:pt x="94" y="215"/>
                  </a:lnTo>
                  <a:lnTo>
                    <a:pt x="98" y="221"/>
                  </a:lnTo>
                  <a:lnTo>
                    <a:pt x="103" y="221"/>
                  </a:lnTo>
                  <a:lnTo>
                    <a:pt x="111" y="219"/>
                  </a:lnTo>
                  <a:lnTo>
                    <a:pt x="124" y="219"/>
                  </a:lnTo>
                  <a:lnTo>
                    <a:pt x="130" y="213"/>
                  </a:lnTo>
                  <a:lnTo>
                    <a:pt x="139" y="210"/>
                  </a:lnTo>
                  <a:lnTo>
                    <a:pt x="143" y="207"/>
                  </a:lnTo>
                  <a:lnTo>
                    <a:pt x="145" y="195"/>
                  </a:lnTo>
                  <a:lnTo>
                    <a:pt x="149" y="194"/>
                  </a:lnTo>
                  <a:lnTo>
                    <a:pt x="153" y="189"/>
                  </a:lnTo>
                  <a:lnTo>
                    <a:pt x="146" y="184"/>
                  </a:lnTo>
                  <a:lnTo>
                    <a:pt x="146" y="178"/>
                  </a:lnTo>
                  <a:lnTo>
                    <a:pt x="154" y="179"/>
                  </a:lnTo>
                  <a:lnTo>
                    <a:pt x="160" y="176"/>
                  </a:lnTo>
                  <a:lnTo>
                    <a:pt x="178" y="173"/>
                  </a:lnTo>
                  <a:lnTo>
                    <a:pt x="186" y="168"/>
                  </a:lnTo>
                  <a:lnTo>
                    <a:pt x="194" y="164"/>
                  </a:lnTo>
                  <a:lnTo>
                    <a:pt x="200" y="158"/>
                  </a:lnTo>
                  <a:lnTo>
                    <a:pt x="208" y="157"/>
                  </a:lnTo>
                  <a:lnTo>
                    <a:pt x="223" y="147"/>
                  </a:lnTo>
                  <a:lnTo>
                    <a:pt x="224" y="142"/>
                  </a:lnTo>
                  <a:lnTo>
                    <a:pt x="224" y="135"/>
                  </a:lnTo>
                  <a:lnTo>
                    <a:pt x="226" y="122"/>
                  </a:lnTo>
                  <a:lnTo>
                    <a:pt x="229" y="119"/>
                  </a:lnTo>
                  <a:lnTo>
                    <a:pt x="235" y="102"/>
                  </a:lnTo>
                  <a:lnTo>
                    <a:pt x="235" y="95"/>
                  </a:lnTo>
                  <a:lnTo>
                    <a:pt x="236" y="93"/>
                  </a:lnTo>
                  <a:lnTo>
                    <a:pt x="240" y="89"/>
                  </a:lnTo>
                  <a:lnTo>
                    <a:pt x="245" y="83"/>
                  </a:lnTo>
                  <a:lnTo>
                    <a:pt x="253" y="82"/>
                  </a:lnTo>
                  <a:lnTo>
                    <a:pt x="259" y="83"/>
                  </a:lnTo>
                  <a:lnTo>
                    <a:pt x="274" y="83"/>
                  </a:lnTo>
                  <a:lnTo>
                    <a:pt x="277" y="82"/>
                  </a:lnTo>
                  <a:lnTo>
                    <a:pt x="279" y="77"/>
                  </a:lnTo>
                  <a:lnTo>
                    <a:pt x="280" y="68"/>
                  </a:lnTo>
                  <a:lnTo>
                    <a:pt x="283" y="65"/>
                  </a:lnTo>
                  <a:lnTo>
                    <a:pt x="288" y="65"/>
                  </a:lnTo>
                  <a:lnTo>
                    <a:pt x="293" y="65"/>
                  </a:lnTo>
                  <a:lnTo>
                    <a:pt x="306" y="73"/>
                  </a:lnTo>
                  <a:lnTo>
                    <a:pt x="316" y="77"/>
                  </a:lnTo>
                  <a:lnTo>
                    <a:pt x="331" y="77"/>
                  </a:lnTo>
                  <a:lnTo>
                    <a:pt x="360" y="76"/>
                  </a:lnTo>
                  <a:lnTo>
                    <a:pt x="366" y="78"/>
                  </a:lnTo>
                  <a:lnTo>
                    <a:pt x="374" y="83"/>
                  </a:lnTo>
                  <a:lnTo>
                    <a:pt x="383" y="81"/>
                  </a:lnTo>
                  <a:lnTo>
                    <a:pt x="396" y="82"/>
                  </a:lnTo>
                  <a:lnTo>
                    <a:pt x="401" y="87"/>
                  </a:lnTo>
                  <a:lnTo>
                    <a:pt x="414" y="102"/>
                  </a:lnTo>
                  <a:lnTo>
                    <a:pt x="422" y="99"/>
                  </a:lnTo>
                  <a:lnTo>
                    <a:pt x="429" y="99"/>
                  </a:lnTo>
                  <a:lnTo>
                    <a:pt x="430" y="94"/>
                  </a:lnTo>
                  <a:lnTo>
                    <a:pt x="444" y="87"/>
                  </a:lnTo>
                  <a:lnTo>
                    <a:pt x="449" y="86"/>
                  </a:lnTo>
                  <a:lnTo>
                    <a:pt x="453" y="87"/>
                  </a:lnTo>
                  <a:lnTo>
                    <a:pt x="456" y="83"/>
                  </a:lnTo>
                  <a:lnTo>
                    <a:pt x="462" y="81"/>
                  </a:lnTo>
                  <a:lnTo>
                    <a:pt x="466" y="82"/>
                  </a:lnTo>
                  <a:lnTo>
                    <a:pt x="471" y="87"/>
                  </a:lnTo>
                  <a:lnTo>
                    <a:pt x="484" y="92"/>
                  </a:lnTo>
                  <a:lnTo>
                    <a:pt x="488" y="89"/>
                  </a:lnTo>
                  <a:lnTo>
                    <a:pt x="489" y="87"/>
                  </a:lnTo>
                  <a:lnTo>
                    <a:pt x="489" y="82"/>
                  </a:lnTo>
                  <a:lnTo>
                    <a:pt x="487" y="78"/>
                  </a:lnTo>
                  <a:lnTo>
                    <a:pt x="485" y="71"/>
                  </a:lnTo>
                  <a:lnTo>
                    <a:pt x="495" y="59"/>
                  </a:lnTo>
                  <a:lnTo>
                    <a:pt x="500" y="59"/>
                  </a:lnTo>
                  <a:lnTo>
                    <a:pt x="506" y="61"/>
                  </a:lnTo>
                  <a:lnTo>
                    <a:pt x="514" y="59"/>
                  </a:lnTo>
                  <a:lnTo>
                    <a:pt x="522" y="65"/>
                  </a:lnTo>
                  <a:lnTo>
                    <a:pt x="526" y="65"/>
                  </a:lnTo>
                  <a:lnTo>
                    <a:pt x="528" y="63"/>
                  </a:lnTo>
                  <a:lnTo>
                    <a:pt x="536" y="56"/>
                  </a:lnTo>
                  <a:lnTo>
                    <a:pt x="537" y="51"/>
                  </a:lnTo>
                  <a:lnTo>
                    <a:pt x="532" y="45"/>
                  </a:lnTo>
                  <a:lnTo>
                    <a:pt x="532" y="40"/>
                  </a:lnTo>
                  <a:lnTo>
                    <a:pt x="542" y="27"/>
                  </a:lnTo>
                  <a:lnTo>
                    <a:pt x="553" y="11"/>
                  </a:lnTo>
                  <a:lnTo>
                    <a:pt x="555" y="9"/>
                  </a:lnTo>
                  <a:lnTo>
                    <a:pt x="559" y="3"/>
                  </a:lnTo>
                  <a:lnTo>
                    <a:pt x="560" y="2"/>
                  </a:lnTo>
                  <a:lnTo>
                    <a:pt x="567" y="3"/>
                  </a:lnTo>
                  <a:lnTo>
                    <a:pt x="571" y="0"/>
                  </a:lnTo>
                  <a:lnTo>
                    <a:pt x="581" y="2"/>
                  </a:lnTo>
                  <a:lnTo>
                    <a:pt x="594" y="14"/>
                  </a:lnTo>
                  <a:lnTo>
                    <a:pt x="594" y="20"/>
                  </a:lnTo>
                  <a:lnTo>
                    <a:pt x="590" y="28"/>
                  </a:lnTo>
                  <a:lnTo>
                    <a:pt x="590" y="33"/>
                  </a:lnTo>
                  <a:lnTo>
                    <a:pt x="591" y="35"/>
                  </a:lnTo>
                  <a:lnTo>
                    <a:pt x="596" y="38"/>
                  </a:lnTo>
                  <a:lnTo>
                    <a:pt x="602" y="36"/>
                  </a:lnTo>
                  <a:lnTo>
                    <a:pt x="606" y="38"/>
                  </a:lnTo>
                  <a:lnTo>
                    <a:pt x="606" y="40"/>
                  </a:lnTo>
                  <a:lnTo>
                    <a:pt x="607" y="44"/>
                  </a:lnTo>
                  <a:lnTo>
                    <a:pt x="605" y="46"/>
                  </a:lnTo>
                  <a:lnTo>
                    <a:pt x="603" y="51"/>
                  </a:lnTo>
                  <a:lnTo>
                    <a:pt x="605" y="62"/>
                  </a:lnTo>
                  <a:lnTo>
                    <a:pt x="603" y="67"/>
                  </a:lnTo>
                  <a:lnTo>
                    <a:pt x="601" y="72"/>
                  </a:lnTo>
                  <a:lnTo>
                    <a:pt x="601" y="82"/>
                  </a:lnTo>
                  <a:lnTo>
                    <a:pt x="598" y="92"/>
                  </a:lnTo>
                  <a:lnTo>
                    <a:pt x="601" y="100"/>
                  </a:lnTo>
                  <a:lnTo>
                    <a:pt x="607" y="111"/>
                  </a:lnTo>
                  <a:lnTo>
                    <a:pt x="612" y="122"/>
                  </a:lnTo>
                  <a:lnTo>
                    <a:pt x="613" y="124"/>
                  </a:lnTo>
                  <a:lnTo>
                    <a:pt x="618" y="125"/>
                  </a:lnTo>
                  <a:lnTo>
                    <a:pt x="623" y="122"/>
                  </a:lnTo>
                  <a:lnTo>
                    <a:pt x="635" y="115"/>
                  </a:lnTo>
                  <a:lnTo>
                    <a:pt x="648" y="105"/>
                  </a:lnTo>
                  <a:lnTo>
                    <a:pt x="670" y="99"/>
                  </a:lnTo>
                  <a:lnTo>
                    <a:pt x="671" y="98"/>
                  </a:lnTo>
                  <a:lnTo>
                    <a:pt x="676" y="92"/>
                  </a:lnTo>
                  <a:lnTo>
                    <a:pt x="683" y="87"/>
                  </a:lnTo>
                  <a:lnTo>
                    <a:pt x="684" y="84"/>
                  </a:lnTo>
                  <a:lnTo>
                    <a:pt x="689" y="83"/>
                  </a:lnTo>
                  <a:lnTo>
                    <a:pt x="699" y="77"/>
                  </a:lnTo>
                  <a:lnTo>
                    <a:pt x="704" y="75"/>
                  </a:lnTo>
                  <a:lnTo>
                    <a:pt x="711" y="70"/>
                  </a:lnTo>
                  <a:lnTo>
                    <a:pt x="716" y="70"/>
                  </a:lnTo>
                  <a:lnTo>
                    <a:pt x="720" y="72"/>
                  </a:lnTo>
                  <a:lnTo>
                    <a:pt x="723" y="73"/>
                  </a:lnTo>
                  <a:lnTo>
                    <a:pt x="727" y="73"/>
                  </a:lnTo>
                  <a:lnTo>
                    <a:pt x="729" y="83"/>
                  </a:lnTo>
                  <a:lnTo>
                    <a:pt x="731" y="87"/>
                  </a:lnTo>
                  <a:lnTo>
                    <a:pt x="734" y="86"/>
                  </a:lnTo>
                  <a:lnTo>
                    <a:pt x="741" y="79"/>
                  </a:lnTo>
                  <a:lnTo>
                    <a:pt x="741" y="81"/>
                  </a:lnTo>
                  <a:lnTo>
                    <a:pt x="743" y="81"/>
                  </a:lnTo>
                  <a:lnTo>
                    <a:pt x="756" y="76"/>
                  </a:lnTo>
                  <a:lnTo>
                    <a:pt x="767" y="75"/>
                  </a:lnTo>
                  <a:lnTo>
                    <a:pt x="773" y="75"/>
                  </a:lnTo>
                  <a:lnTo>
                    <a:pt x="778" y="77"/>
                  </a:lnTo>
                  <a:lnTo>
                    <a:pt x="785" y="77"/>
                  </a:lnTo>
                  <a:lnTo>
                    <a:pt x="788" y="81"/>
                  </a:lnTo>
                  <a:lnTo>
                    <a:pt x="788" y="83"/>
                  </a:lnTo>
                  <a:lnTo>
                    <a:pt x="783" y="84"/>
                  </a:lnTo>
                  <a:lnTo>
                    <a:pt x="785" y="84"/>
                  </a:lnTo>
                  <a:lnTo>
                    <a:pt x="783" y="84"/>
                  </a:lnTo>
                  <a:lnTo>
                    <a:pt x="778" y="83"/>
                  </a:lnTo>
                  <a:lnTo>
                    <a:pt x="774" y="83"/>
                  </a:lnTo>
                  <a:lnTo>
                    <a:pt x="766" y="92"/>
                  </a:lnTo>
                  <a:lnTo>
                    <a:pt x="768" y="94"/>
                  </a:lnTo>
                  <a:lnTo>
                    <a:pt x="774" y="97"/>
                  </a:lnTo>
                  <a:lnTo>
                    <a:pt x="775" y="102"/>
                  </a:lnTo>
                  <a:lnTo>
                    <a:pt x="775" y="106"/>
                  </a:lnTo>
                  <a:lnTo>
                    <a:pt x="764" y="104"/>
                  </a:lnTo>
                  <a:lnTo>
                    <a:pt x="759" y="108"/>
                  </a:lnTo>
                  <a:lnTo>
                    <a:pt x="757" y="108"/>
                  </a:lnTo>
                  <a:lnTo>
                    <a:pt x="751" y="113"/>
                  </a:lnTo>
                  <a:lnTo>
                    <a:pt x="746" y="113"/>
                  </a:lnTo>
                  <a:lnTo>
                    <a:pt x="732" y="108"/>
                  </a:lnTo>
                  <a:lnTo>
                    <a:pt x="725" y="109"/>
                  </a:lnTo>
                  <a:lnTo>
                    <a:pt x="721" y="108"/>
                  </a:lnTo>
                  <a:lnTo>
                    <a:pt x="686" y="110"/>
                  </a:lnTo>
                  <a:lnTo>
                    <a:pt x="682" y="110"/>
                  </a:lnTo>
                  <a:lnTo>
                    <a:pt x="672" y="114"/>
                  </a:lnTo>
                  <a:lnTo>
                    <a:pt x="665" y="114"/>
                  </a:lnTo>
                  <a:lnTo>
                    <a:pt x="656" y="120"/>
                  </a:lnTo>
                  <a:lnTo>
                    <a:pt x="648" y="121"/>
                  </a:lnTo>
                  <a:lnTo>
                    <a:pt x="643" y="124"/>
                  </a:lnTo>
                  <a:lnTo>
                    <a:pt x="639" y="125"/>
                  </a:lnTo>
                  <a:lnTo>
                    <a:pt x="638" y="129"/>
                  </a:lnTo>
                  <a:lnTo>
                    <a:pt x="635" y="131"/>
                  </a:lnTo>
                  <a:lnTo>
                    <a:pt x="625" y="134"/>
                  </a:lnTo>
                  <a:lnTo>
                    <a:pt x="624" y="136"/>
                  </a:lnTo>
                  <a:lnTo>
                    <a:pt x="625" y="140"/>
                  </a:lnTo>
                  <a:lnTo>
                    <a:pt x="622" y="141"/>
                  </a:lnTo>
                  <a:lnTo>
                    <a:pt x="617" y="138"/>
                  </a:lnTo>
                  <a:lnTo>
                    <a:pt x="612" y="138"/>
                  </a:lnTo>
                  <a:lnTo>
                    <a:pt x="611" y="140"/>
                  </a:lnTo>
                  <a:lnTo>
                    <a:pt x="610" y="145"/>
                  </a:lnTo>
                  <a:lnTo>
                    <a:pt x="594" y="158"/>
                  </a:lnTo>
                  <a:lnTo>
                    <a:pt x="590" y="162"/>
                  </a:lnTo>
                  <a:lnTo>
                    <a:pt x="589" y="168"/>
                  </a:lnTo>
                  <a:lnTo>
                    <a:pt x="590" y="170"/>
                  </a:lnTo>
                  <a:lnTo>
                    <a:pt x="598" y="175"/>
                  </a:lnTo>
                  <a:lnTo>
                    <a:pt x="605" y="183"/>
                  </a:lnTo>
                  <a:lnTo>
                    <a:pt x="608" y="196"/>
                  </a:lnTo>
                  <a:lnTo>
                    <a:pt x="612" y="206"/>
                  </a:lnTo>
                  <a:lnTo>
                    <a:pt x="612" y="207"/>
                  </a:lnTo>
                  <a:lnTo>
                    <a:pt x="608" y="216"/>
                  </a:lnTo>
                  <a:lnTo>
                    <a:pt x="608" y="218"/>
                  </a:lnTo>
                  <a:lnTo>
                    <a:pt x="611" y="222"/>
                  </a:lnTo>
                  <a:lnTo>
                    <a:pt x="610" y="228"/>
                  </a:lnTo>
                  <a:lnTo>
                    <a:pt x="606" y="235"/>
                  </a:lnTo>
                  <a:lnTo>
                    <a:pt x="601" y="243"/>
                  </a:lnTo>
                  <a:lnTo>
                    <a:pt x="592" y="249"/>
                  </a:lnTo>
                  <a:lnTo>
                    <a:pt x="585" y="258"/>
                  </a:lnTo>
                  <a:lnTo>
                    <a:pt x="581" y="265"/>
                  </a:lnTo>
                  <a:lnTo>
                    <a:pt x="578" y="269"/>
                  </a:lnTo>
                  <a:lnTo>
                    <a:pt x="578" y="275"/>
                  </a:lnTo>
                  <a:lnTo>
                    <a:pt x="582" y="277"/>
                  </a:lnTo>
                  <a:lnTo>
                    <a:pt x="586" y="280"/>
                  </a:lnTo>
                  <a:lnTo>
                    <a:pt x="582" y="283"/>
                  </a:lnTo>
                  <a:lnTo>
                    <a:pt x="582" y="291"/>
                  </a:lnTo>
                  <a:lnTo>
                    <a:pt x="575" y="301"/>
                  </a:lnTo>
                  <a:lnTo>
                    <a:pt x="569" y="304"/>
                  </a:lnTo>
                  <a:lnTo>
                    <a:pt x="558" y="307"/>
                  </a:lnTo>
                  <a:lnTo>
                    <a:pt x="547" y="305"/>
                  </a:lnTo>
                  <a:lnTo>
                    <a:pt x="528" y="301"/>
                  </a:lnTo>
                  <a:lnTo>
                    <a:pt x="524" y="299"/>
                  </a:lnTo>
                  <a:lnTo>
                    <a:pt x="520" y="302"/>
                  </a:lnTo>
                  <a:lnTo>
                    <a:pt x="517" y="307"/>
                  </a:lnTo>
                  <a:lnTo>
                    <a:pt x="520" y="310"/>
                  </a:lnTo>
                  <a:lnTo>
                    <a:pt x="525" y="320"/>
                  </a:lnTo>
                  <a:lnTo>
                    <a:pt x="530" y="320"/>
                  </a:lnTo>
                  <a:lnTo>
                    <a:pt x="535" y="336"/>
                  </a:lnTo>
                  <a:lnTo>
                    <a:pt x="539" y="341"/>
                  </a:lnTo>
                  <a:lnTo>
                    <a:pt x="539" y="345"/>
                  </a:lnTo>
                  <a:lnTo>
                    <a:pt x="533" y="351"/>
                  </a:lnTo>
                  <a:lnTo>
                    <a:pt x="527" y="353"/>
                  </a:lnTo>
                  <a:lnTo>
                    <a:pt x="517" y="361"/>
                  </a:lnTo>
                  <a:lnTo>
                    <a:pt x="509" y="360"/>
                  </a:lnTo>
                  <a:lnTo>
                    <a:pt x="498" y="363"/>
                  </a:lnTo>
                  <a:lnTo>
                    <a:pt x="496" y="377"/>
                  </a:lnTo>
                  <a:lnTo>
                    <a:pt x="490" y="379"/>
                  </a:lnTo>
                  <a:lnTo>
                    <a:pt x="489" y="384"/>
                  </a:lnTo>
                  <a:lnTo>
                    <a:pt x="490" y="390"/>
                  </a:lnTo>
                  <a:lnTo>
                    <a:pt x="489" y="394"/>
                  </a:lnTo>
                  <a:lnTo>
                    <a:pt x="487" y="394"/>
                  </a:lnTo>
                  <a:lnTo>
                    <a:pt x="483" y="399"/>
                  </a:lnTo>
                  <a:lnTo>
                    <a:pt x="481" y="404"/>
                  </a:lnTo>
                  <a:lnTo>
                    <a:pt x="479" y="407"/>
                  </a:lnTo>
                  <a:lnTo>
                    <a:pt x="481" y="425"/>
                  </a:lnTo>
                  <a:lnTo>
                    <a:pt x="483" y="437"/>
                  </a:lnTo>
                  <a:lnTo>
                    <a:pt x="483" y="439"/>
                  </a:lnTo>
                  <a:lnTo>
                    <a:pt x="463" y="460"/>
                  </a:lnTo>
                  <a:lnTo>
                    <a:pt x="460" y="460"/>
                  </a:lnTo>
                  <a:lnTo>
                    <a:pt x="455" y="458"/>
                  </a:lnTo>
                  <a:lnTo>
                    <a:pt x="452" y="454"/>
                  </a:lnTo>
                  <a:lnTo>
                    <a:pt x="451" y="450"/>
                  </a:lnTo>
                  <a:lnTo>
                    <a:pt x="444" y="445"/>
                  </a:lnTo>
                  <a:lnTo>
                    <a:pt x="440" y="445"/>
                  </a:lnTo>
                  <a:lnTo>
                    <a:pt x="438" y="449"/>
                  </a:lnTo>
                  <a:lnTo>
                    <a:pt x="441" y="450"/>
                  </a:lnTo>
                  <a:lnTo>
                    <a:pt x="441" y="453"/>
                  </a:lnTo>
                  <a:lnTo>
                    <a:pt x="425" y="448"/>
                  </a:lnTo>
                  <a:lnTo>
                    <a:pt x="419" y="448"/>
                  </a:lnTo>
                  <a:lnTo>
                    <a:pt x="414" y="450"/>
                  </a:lnTo>
                  <a:lnTo>
                    <a:pt x="412" y="455"/>
                  </a:lnTo>
                  <a:lnTo>
                    <a:pt x="395" y="464"/>
                  </a:lnTo>
                  <a:lnTo>
                    <a:pt x="391" y="468"/>
                  </a:lnTo>
                  <a:lnTo>
                    <a:pt x="392" y="470"/>
                  </a:lnTo>
                  <a:lnTo>
                    <a:pt x="399" y="473"/>
                  </a:lnTo>
                  <a:lnTo>
                    <a:pt x="399" y="475"/>
                  </a:lnTo>
                  <a:lnTo>
                    <a:pt x="397" y="477"/>
                  </a:lnTo>
                  <a:lnTo>
                    <a:pt x="390" y="479"/>
                  </a:lnTo>
                  <a:lnTo>
                    <a:pt x="377" y="481"/>
                  </a:lnTo>
                  <a:lnTo>
                    <a:pt x="368" y="484"/>
                  </a:lnTo>
                  <a:lnTo>
                    <a:pt x="356" y="482"/>
                  </a:lnTo>
                  <a:lnTo>
                    <a:pt x="356" y="479"/>
                  </a:lnTo>
                  <a:lnTo>
                    <a:pt x="352" y="476"/>
                  </a:lnTo>
                  <a:lnTo>
                    <a:pt x="345" y="480"/>
                  </a:lnTo>
                  <a:lnTo>
                    <a:pt x="339" y="491"/>
                  </a:lnTo>
                  <a:lnTo>
                    <a:pt x="327" y="500"/>
                  </a:lnTo>
                  <a:lnTo>
                    <a:pt x="325" y="506"/>
                  </a:lnTo>
                  <a:lnTo>
                    <a:pt x="321" y="520"/>
                  </a:lnTo>
                  <a:lnTo>
                    <a:pt x="322" y="533"/>
                  </a:lnTo>
                  <a:lnTo>
                    <a:pt x="318" y="552"/>
                  </a:lnTo>
                  <a:lnTo>
                    <a:pt x="318" y="556"/>
                  </a:lnTo>
                  <a:lnTo>
                    <a:pt x="322" y="560"/>
                  </a:lnTo>
                  <a:lnTo>
                    <a:pt x="321" y="566"/>
                  </a:lnTo>
                  <a:lnTo>
                    <a:pt x="313" y="572"/>
                  </a:lnTo>
                  <a:lnTo>
                    <a:pt x="288" y="577"/>
                  </a:lnTo>
                  <a:lnTo>
                    <a:pt x="268" y="584"/>
                  </a:lnTo>
                  <a:lnTo>
                    <a:pt x="252" y="588"/>
                  </a:lnTo>
                  <a:lnTo>
                    <a:pt x="226" y="587"/>
                  </a:lnTo>
                  <a:lnTo>
                    <a:pt x="213" y="587"/>
                  </a:lnTo>
                  <a:lnTo>
                    <a:pt x="207" y="589"/>
                  </a:lnTo>
                  <a:lnTo>
                    <a:pt x="203" y="592"/>
                  </a:lnTo>
                  <a:lnTo>
                    <a:pt x="200" y="597"/>
                  </a:lnTo>
                  <a:lnTo>
                    <a:pt x="197" y="599"/>
                  </a:lnTo>
                  <a:lnTo>
                    <a:pt x="181" y="592"/>
                  </a:lnTo>
                  <a:lnTo>
                    <a:pt x="164" y="592"/>
                  </a:lnTo>
                  <a:lnTo>
                    <a:pt x="149" y="594"/>
                  </a:lnTo>
                  <a:lnTo>
                    <a:pt x="138" y="593"/>
                  </a:lnTo>
                  <a:lnTo>
                    <a:pt x="129" y="594"/>
                  </a:lnTo>
                  <a:lnTo>
                    <a:pt x="119" y="594"/>
                  </a:lnTo>
                  <a:lnTo>
                    <a:pt x="116" y="595"/>
                  </a:lnTo>
                  <a:lnTo>
                    <a:pt x="112" y="598"/>
                  </a:lnTo>
                  <a:lnTo>
                    <a:pt x="108" y="599"/>
                  </a:lnTo>
                  <a:lnTo>
                    <a:pt x="101" y="598"/>
                  </a:lnTo>
                  <a:lnTo>
                    <a:pt x="83" y="588"/>
                  </a:lnTo>
                  <a:lnTo>
                    <a:pt x="24" y="57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20" name="Freeform 64"/>
            <p:cNvSpPr>
              <a:spLocks noChangeAspect="1"/>
            </p:cNvSpPr>
            <p:nvPr/>
          </p:nvSpPr>
          <p:spPr bwMode="gray">
            <a:xfrm>
              <a:off x="7558929" y="4152095"/>
              <a:ext cx="189227" cy="220013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35" y="3"/>
                </a:cxn>
                <a:cxn ang="0">
                  <a:pos x="62" y="19"/>
                </a:cxn>
                <a:cxn ang="0">
                  <a:pos x="100" y="19"/>
                </a:cxn>
                <a:cxn ang="0">
                  <a:pos x="130" y="26"/>
                </a:cxn>
                <a:cxn ang="0">
                  <a:pos x="151" y="51"/>
                </a:cxn>
                <a:cxn ang="0">
                  <a:pos x="168" y="72"/>
                </a:cxn>
                <a:cxn ang="0">
                  <a:pos x="196" y="102"/>
                </a:cxn>
                <a:cxn ang="0">
                  <a:pos x="251" y="136"/>
                </a:cxn>
                <a:cxn ang="0">
                  <a:pos x="277" y="159"/>
                </a:cxn>
                <a:cxn ang="0">
                  <a:pos x="302" y="190"/>
                </a:cxn>
                <a:cxn ang="0">
                  <a:pos x="311" y="184"/>
                </a:cxn>
                <a:cxn ang="0">
                  <a:pos x="338" y="211"/>
                </a:cxn>
                <a:cxn ang="0">
                  <a:pos x="355" y="217"/>
                </a:cxn>
                <a:cxn ang="0">
                  <a:pos x="382" y="242"/>
                </a:cxn>
                <a:cxn ang="0">
                  <a:pos x="391" y="236"/>
                </a:cxn>
                <a:cxn ang="0">
                  <a:pos x="423" y="247"/>
                </a:cxn>
                <a:cxn ang="0">
                  <a:pos x="431" y="259"/>
                </a:cxn>
                <a:cxn ang="0">
                  <a:pos x="425" y="270"/>
                </a:cxn>
                <a:cxn ang="0">
                  <a:pos x="417" y="290"/>
                </a:cxn>
                <a:cxn ang="0">
                  <a:pos x="430" y="287"/>
                </a:cxn>
                <a:cxn ang="0">
                  <a:pos x="453" y="281"/>
                </a:cxn>
                <a:cxn ang="0">
                  <a:pos x="467" y="303"/>
                </a:cxn>
                <a:cxn ang="0">
                  <a:pos x="463" y="320"/>
                </a:cxn>
                <a:cxn ang="0">
                  <a:pos x="450" y="344"/>
                </a:cxn>
                <a:cxn ang="0">
                  <a:pos x="474" y="361"/>
                </a:cxn>
                <a:cxn ang="0">
                  <a:pos x="490" y="363"/>
                </a:cxn>
                <a:cxn ang="0">
                  <a:pos x="509" y="384"/>
                </a:cxn>
                <a:cxn ang="0">
                  <a:pos x="510" y="409"/>
                </a:cxn>
                <a:cxn ang="0">
                  <a:pos x="532" y="420"/>
                </a:cxn>
                <a:cxn ang="0">
                  <a:pos x="542" y="435"/>
                </a:cxn>
                <a:cxn ang="0">
                  <a:pos x="570" y="440"/>
                </a:cxn>
                <a:cxn ang="0">
                  <a:pos x="584" y="462"/>
                </a:cxn>
                <a:cxn ang="0">
                  <a:pos x="591" y="487"/>
                </a:cxn>
                <a:cxn ang="0">
                  <a:pos x="587" y="512"/>
                </a:cxn>
                <a:cxn ang="0">
                  <a:pos x="582" y="548"/>
                </a:cxn>
                <a:cxn ang="0">
                  <a:pos x="581" y="613"/>
                </a:cxn>
                <a:cxn ang="0">
                  <a:pos x="563" y="613"/>
                </a:cxn>
                <a:cxn ang="0">
                  <a:pos x="549" y="619"/>
                </a:cxn>
                <a:cxn ang="0">
                  <a:pos x="516" y="608"/>
                </a:cxn>
                <a:cxn ang="0">
                  <a:pos x="508" y="618"/>
                </a:cxn>
                <a:cxn ang="0">
                  <a:pos x="478" y="586"/>
                </a:cxn>
                <a:cxn ang="0">
                  <a:pos x="455" y="571"/>
                </a:cxn>
                <a:cxn ang="0">
                  <a:pos x="409" y="535"/>
                </a:cxn>
                <a:cxn ang="0">
                  <a:pos x="388" y="508"/>
                </a:cxn>
                <a:cxn ang="0">
                  <a:pos x="363" y="484"/>
                </a:cxn>
                <a:cxn ang="0">
                  <a:pos x="312" y="426"/>
                </a:cxn>
                <a:cxn ang="0">
                  <a:pos x="286" y="355"/>
                </a:cxn>
                <a:cxn ang="0">
                  <a:pos x="264" y="328"/>
                </a:cxn>
                <a:cxn ang="0">
                  <a:pos x="232" y="293"/>
                </a:cxn>
                <a:cxn ang="0">
                  <a:pos x="221" y="291"/>
                </a:cxn>
                <a:cxn ang="0">
                  <a:pos x="205" y="237"/>
                </a:cxn>
                <a:cxn ang="0">
                  <a:pos x="191" y="205"/>
                </a:cxn>
                <a:cxn ang="0">
                  <a:pos x="151" y="182"/>
                </a:cxn>
                <a:cxn ang="0">
                  <a:pos x="123" y="146"/>
                </a:cxn>
                <a:cxn ang="0">
                  <a:pos x="105" y="118"/>
                </a:cxn>
                <a:cxn ang="0">
                  <a:pos x="76" y="103"/>
                </a:cxn>
                <a:cxn ang="0">
                  <a:pos x="51" y="77"/>
                </a:cxn>
                <a:cxn ang="0">
                  <a:pos x="12" y="39"/>
                </a:cxn>
                <a:cxn ang="0">
                  <a:pos x="0" y="1"/>
                </a:cxn>
              </a:cxnLst>
              <a:rect l="0" t="0" r="r" b="b"/>
              <a:pathLst>
                <a:path w="594" h="626">
                  <a:moveTo>
                    <a:pt x="0" y="1"/>
                  </a:moveTo>
                  <a:lnTo>
                    <a:pt x="6" y="1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8" y="1"/>
                  </a:lnTo>
                  <a:lnTo>
                    <a:pt x="35" y="3"/>
                  </a:lnTo>
                  <a:lnTo>
                    <a:pt x="42" y="16"/>
                  </a:lnTo>
                  <a:lnTo>
                    <a:pt x="55" y="17"/>
                  </a:lnTo>
                  <a:lnTo>
                    <a:pt x="62" y="19"/>
                  </a:lnTo>
                  <a:lnTo>
                    <a:pt x="74" y="21"/>
                  </a:lnTo>
                  <a:lnTo>
                    <a:pt x="91" y="18"/>
                  </a:lnTo>
                  <a:lnTo>
                    <a:pt x="100" y="19"/>
                  </a:lnTo>
                  <a:lnTo>
                    <a:pt x="110" y="24"/>
                  </a:lnTo>
                  <a:lnTo>
                    <a:pt x="122" y="23"/>
                  </a:lnTo>
                  <a:lnTo>
                    <a:pt x="130" y="26"/>
                  </a:lnTo>
                  <a:lnTo>
                    <a:pt x="146" y="38"/>
                  </a:lnTo>
                  <a:lnTo>
                    <a:pt x="150" y="45"/>
                  </a:lnTo>
                  <a:lnTo>
                    <a:pt x="151" y="51"/>
                  </a:lnTo>
                  <a:lnTo>
                    <a:pt x="155" y="56"/>
                  </a:lnTo>
                  <a:lnTo>
                    <a:pt x="161" y="60"/>
                  </a:lnTo>
                  <a:lnTo>
                    <a:pt x="168" y="72"/>
                  </a:lnTo>
                  <a:lnTo>
                    <a:pt x="171" y="80"/>
                  </a:lnTo>
                  <a:lnTo>
                    <a:pt x="184" y="89"/>
                  </a:lnTo>
                  <a:lnTo>
                    <a:pt x="196" y="102"/>
                  </a:lnTo>
                  <a:lnTo>
                    <a:pt x="230" y="118"/>
                  </a:lnTo>
                  <a:lnTo>
                    <a:pt x="237" y="125"/>
                  </a:lnTo>
                  <a:lnTo>
                    <a:pt x="251" y="136"/>
                  </a:lnTo>
                  <a:lnTo>
                    <a:pt x="259" y="146"/>
                  </a:lnTo>
                  <a:lnTo>
                    <a:pt x="263" y="157"/>
                  </a:lnTo>
                  <a:lnTo>
                    <a:pt x="277" y="159"/>
                  </a:lnTo>
                  <a:lnTo>
                    <a:pt x="282" y="172"/>
                  </a:lnTo>
                  <a:lnTo>
                    <a:pt x="296" y="187"/>
                  </a:lnTo>
                  <a:lnTo>
                    <a:pt x="302" y="190"/>
                  </a:lnTo>
                  <a:lnTo>
                    <a:pt x="307" y="193"/>
                  </a:lnTo>
                  <a:lnTo>
                    <a:pt x="309" y="189"/>
                  </a:lnTo>
                  <a:lnTo>
                    <a:pt x="311" y="184"/>
                  </a:lnTo>
                  <a:lnTo>
                    <a:pt x="320" y="184"/>
                  </a:lnTo>
                  <a:lnTo>
                    <a:pt x="327" y="189"/>
                  </a:lnTo>
                  <a:lnTo>
                    <a:pt x="338" y="211"/>
                  </a:lnTo>
                  <a:lnTo>
                    <a:pt x="345" y="215"/>
                  </a:lnTo>
                  <a:lnTo>
                    <a:pt x="350" y="216"/>
                  </a:lnTo>
                  <a:lnTo>
                    <a:pt x="355" y="217"/>
                  </a:lnTo>
                  <a:lnTo>
                    <a:pt x="371" y="226"/>
                  </a:lnTo>
                  <a:lnTo>
                    <a:pt x="376" y="231"/>
                  </a:lnTo>
                  <a:lnTo>
                    <a:pt x="382" y="242"/>
                  </a:lnTo>
                  <a:lnTo>
                    <a:pt x="386" y="244"/>
                  </a:lnTo>
                  <a:lnTo>
                    <a:pt x="387" y="233"/>
                  </a:lnTo>
                  <a:lnTo>
                    <a:pt x="391" y="236"/>
                  </a:lnTo>
                  <a:lnTo>
                    <a:pt x="396" y="243"/>
                  </a:lnTo>
                  <a:lnTo>
                    <a:pt x="403" y="248"/>
                  </a:lnTo>
                  <a:lnTo>
                    <a:pt x="423" y="247"/>
                  </a:lnTo>
                  <a:lnTo>
                    <a:pt x="430" y="250"/>
                  </a:lnTo>
                  <a:lnTo>
                    <a:pt x="433" y="254"/>
                  </a:lnTo>
                  <a:lnTo>
                    <a:pt x="431" y="259"/>
                  </a:lnTo>
                  <a:lnTo>
                    <a:pt x="428" y="263"/>
                  </a:lnTo>
                  <a:lnTo>
                    <a:pt x="424" y="263"/>
                  </a:lnTo>
                  <a:lnTo>
                    <a:pt x="425" y="270"/>
                  </a:lnTo>
                  <a:lnTo>
                    <a:pt x="429" y="276"/>
                  </a:lnTo>
                  <a:lnTo>
                    <a:pt x="429" y="282"/>
                  </a:lnTo>
                  <a:lnTo>
                    <a:pt x="417" y="290"/>
                  </a:lnTo>
                  <a:lnTo>
                    <a:pt x="415" y="292"/>
                  </a:lnTo>
                  <a:lnTo>
                    <a:pt x="417" y="293"/>
                  </a:lnTo>
                  <a:lnTo>
                    <a:pt x="430" y="287"/>
                  </a:lnTo>
                  <a:lnTo>
                    <a:pt x="438" y="282"/>
                  </a:lnTo>
                  <a:lnTo>
                    <a:pt x="449" y="279"/>
                  </a:lnTo>
                  <a:lnTo>
                    <a:pt x="453" y="281"/>
                  </a:lnTo>
                  <a:lnTo>
                    <a:pt x="462" y="288"/>
                  </a:lnTo>
                  <a:lnTo>
                    <a:pt x="466" y="297"/>
                  </a:lnTo>
                  <a:lnTo>
                    <a:pt x="467" y="303"/>
                  </a:lnTo>
                  <a:lnTo>
                    <a:pt x="453" y="317"/>
                  </a:lnTo>
                  <a:lnTo>
                    <a:pt x="457" y="319"/>
                  </a:lnTo>
                  <a:lnTo>
                    <a:pt x="463" y="320"/>
                  </a:lnTo>
                  <a:lnTo>
                    <a:pt x="461" y="328"/>
                  </a:lnTo>
                  <a:lnTo>
                    <a:pt x="453" y="334"/>
                  </a:lnTo>
                  <a:lnTo>
                    <a:pt x="450" y="344"/>
                  </a:lnTo>
                  <a:lnTo>
                    <a:pt x="455" y="351"/>
                  </a:lnTo>
                  <a:lnTo>
                    <a:pt x="466" y="357"/>
                  </a:lnTo>
                  <a:lnTo>
                    <a:pt x="474" y="361"/>
                  </a:lnTo>
                  <a:lnTo>
                    <a:pt x="482" y="361"/>
                  </a:lnTo>
                  <a:lnTo>
                    <a:pt x="487" y="365"/>
                  </a:lnTo>
                  <a:lnTo>
                    <a:pt x="490" y="363"/>
                  </a:lnTo>
                  <a:lnTo>
                    <a:pt x="501" y="365"/>
                  </a:lnTo>
                  <a:lnTo>
                    <a:pt x="506" y="376"/>
                  </a:lnTo>
                  <a:lnTo>
                    <a:pt x="509" y="384"/>
                  </a:lnTo>
                  <a:lnTo>
                    <a:pt x="510" y="394"/>
                  </a:lnTo>
                  <a:lnTo>
                    <a:pt x="512" y="401"/>
                  </a:lnTo>
                  <a:lnTo>
                    <a:pt x="510" y="409"/>
                  </a:lnTo>
                  <a:lnTo>
                    <a:pt x="516" y="410"/>
                  </a:lnTo>
                  <a:lnTo>
                    <a:pt x="526" y="414"/>
                  </a:lnTo>
                  <a:lnTo>
                    <a:pt x="532" y="420"/>
                  </a:lnTo>
                  <a:lnTo>
                    <a:pt x="526" y="435"/>
                  </a:lnTo>
                  <a:lnTo>
                    <a:pt x="533" y="436"/>
                  </a:lnTo>
                  <a:lnTo>
                    <a:pt x="542" y="435"/>
                  </a:lnTo>
                  <a:lnTo>
                    <a:pt x="552" y="435"/>
                  </a:lnTo>
                  <a:lnTo>
                    <a:pt x="560" y="436"/>
                  </a:lnTo>
                  <a:lnTo>
                    <a:pt x="570" y="440"/>
                  </a:lnTo>
                  <a:lnTo>
                    <a:pt x="573" y="446"/>
                  </a:lnTo>
                  <a:lnTo>
                    <a:pt x="580" y="454"/>
                  </a:lnTo>
                  <a:lnTo>
                    <a:pt x="584" y="462"/>
                  </a:lnTo>
                  <a:lnTo>
                    <a:pt x="591" y="469"/>
                  </a:lnTo>
                  <a:lnTo>
                    <a:pt x="594" y="478"/>
                  </a:lnTo>
                  <a:lnTo>
                    <a:pt x="591" y="487"/>
                  </a:lnTo>
                  <a:lnTo>
                    <a:pt x="585" y="501"/>
                  </a:lnTo>
                  <a:lnTo>
                    <a:pt x="584" y="510"/>
                  </a:lnTo>
                  <a:lnTo>
                    <a:pt x="587" y="512"/>
                  </a:lnTo>
                  <a:lnTo>
                    <a:pt x="589" y="518"/>
                  </a:lnTo>
                  <a:lnTo>
                    <a:pt x="585" y="530"/>
                  </a:lnTo>
                  <a:lnTo>
                    <a:pt x="582" y="548"/>
                  </a:lnTo>
                  <a:lnTo>
                    <a:pt x="584" y="556"/>
                  </a:lnTo>
                  <a:lnTo>
                    <a:pt x="584" y="594"/>
                  </a:lnTo>
                  <a:lnTo>
                    <a:pt x="581" y="613"/>
                  </a:lnTo>
                  <a:lnTo>
                    <a:pt x="579" y="623"/>
                  </a:lnTo>
                  <a:lnTo>
                    <a:pt x="574" y="623"/>
                  </a:lnTo>
                  <a:lnTo>
                    <a:pt x="563" y="613"/>
                  </a:lnTo>
                  <a:lnTo>
                    <a:pt x="554" y="607"/>
                  </a:lnTo>
                  <a:lnTo>
                    <a:pt x="552" y="610"/>
                  </a:lnTo>
                  <a:lnTo>
                    <a:pt x="549" y="619"/>
                  </a:lnTo>
                  <a:lnTo>
                    <a:pt x="543" y="621"/>
                  </a:lnTo>
                  <a:lnTo>
                    <a:pt x="524" y="607"/>
                  </a:lnTo>
                  <a:lnTo>
                    <a:pt x="516" y="608"/>
                  </a:lnTo>
                  <a:lnTo>
                    <a:pt x="524" y="624"/>
                  </a:lnTo>
                  <a:lnTo>
                    <a:pt x="519" y="626"/>
                  </a:lnTo>
                  <a:lnTo>
                    <a:pt x="508" y="618"/>
                  </a:lnTo>
                  <a:lnTo>
                    <a:pt x="500" y="609"/>
                  </a:lnTo>
                  <a:lnTo>
                    <a:pt x="484" y="596"/>
                  </a:lnTo>
                  <a:lnTo>
                    <a:pt x="478" y="586"/>
                  </a:lnTo>
                  <a:lnTo>
                    <a:pt x="471" y="577"/>
                  </a:lnTo>
                  <a:lnTo>
                    <a:pt x="461" y="572"/>
                  </a:lnTo>
                  <a:lnTo>
                    <a:pt x="455" y="571"/>
                  </a:lnTo>
                  <a:lnTo>
                    <a:pt x="436" y="554"/>
                  </a:lnTo>
                  <a:lnTo>
                    <a:pt x="419" y="543"/>
                  </a:lnTo>
                  <a:lnTo>
                    <a:pt x="409" y="535"/>
                  </a:lnTo>
                  <a:lnTo>
                    <a:pt x="399" y="532"/>
                  </a:lnTo>
                  <a:lnTo>
                    <a:pt x="392" y="522"/>
                  </a:lnTo>
                  <a:lnTo>
                    <a:pt x="388" y="508"/>
                  </a:lnTo>
                  <a:lnTo>
                    <a:pt x="383" y="501"/>
                  </a:lnTo>
                  <a:lnTo>
                    <a:pt x="371" y="495"/>
                  </a:lnTo>
                  <a:lnTo>
                    <a:pt x="363" y="484"/>
                  </a:lnTo>
                  <a:lnTo>
                    <a:pt x="339" y="457"/>
                  </a:lnTo>
                  <a:lnTo>
                    <a:pt x="317" y="433"/>
                  </a:lnTo>
                  <a:lnTo>
                    <a:pt x="312" y="426"/>
                  </a:lnTo>
                  <a:lnTo>
                    <a:pt x="311" y="409"/>
                  </a:lnTo>
                  <a:lnTo>
                    <a:pt x="288" y="366"/>
                  </a:lnTo>
                  <a:lnTo>
                    <a:pt x="286" y="355"/>
                  </a:lnTo>
                  <a:lnTo>
                    <a:pt x="278" y="341"/>
                  </a:lnTo>
                  <a:lnTo>
                    <a:pt x="272" y="336"/>
                  </a:lnTo>
                  <a:lnTo>
                    <a:pt x="264" y="328"/>
                  </a:lnTo>
                  <a:lnTo>
                    <a:pt x="258" y="323"/>
                  </a:lnTo>
                  <a:lnTo>
                    <a:pt x="250" y="306"/>
                  </a:lnTo>
                  <a:lnTo>
                    <a:pt x="232" y="293"/>
                  </a:lnTo>
                  <a:lnTo>
                    <a:pt x="225" y="293"/>
                  </a:lnTo>
                  <a:lnTo>
                    <a:pt x="223" y="292"/>
                  </a:lnTo>
                  <a:lnTo>
                    <a:pt x="221" y="291"/>
                  </a:lnTo>
                  <a:lnTo>
                    <a:pt x="216" y="270"/>
                  </a:lnTo>
                  <a:lnTo>
                    <a:pt x="210" y="248"/>
                  </a:lnTo>
                  <a:lnTo>
                    <a:pt x="205" y="237"/>
                  </a:lnTo>
                  <a:lnTo>
                    <a:pt x="198" y="225"/>
                  </a:lnTo>
                  <a:lnTo>
                    <a:pt x="198" y="215"/>
                  </a:lnTo>
                  <a:lnTo>
                    <a:pt x="191" y="205"/>
                  </a:lnTo>
                  <a:lnTo>
                    <a:pt x="181" y="195"/>
                  </a:lnTo>
                  <a:lnTo>
                    <a:pt x="161" y="185"/>
                  </a:lnTo>
                  <a:lnTo>
                    <a:pt x="151" y="182"/>
                  </a:lnTo>
                  <a:lnTo>
                    <a:pt x="139" y="179"/>
                  </a:lnTo>
                  <a:lnTo>
                    <a:pt x="130" y="148"/>
                  </a:lnTo>
                  <a:lnTo>
                    <a:pt x="123" y="146"/>
                  </a:lnTo>
                  <a:lnTo>
                    <a:pt x="121" y="140"/>
                  </a:lnTo>
                  <a:lnTo>
                    <a:pt x="116" y="136"/>
                  </a:lnTo>
                  <a:lnTo>
                    <a:pt x="105" y="118"/>
                  </a:lnTo>
                  <a:lnTo>
                    <a:pt x="94" y="108"/>
                  </a:lnTo>
                  <a:lnTo>
                    <a:pt x="86" y="103"/>
                  </a:lnTo>
                  <a:lnTo>
                    <a:pt x="76" y="103"/>
                  </a:lnTo>
                  <a:lnTo>
                    <a:pt x="65" y="93"/>
                  </a:lnTo>
                  <a:lnTo>
                    <a:pt x="57" y="83"/>
                  </a:lnTo>
                  <a:lnTo>
                    <a:pt x="51" y="77"/>
                  </a:lnTo>
                  <a:lnTo>
                    <a:pt x="41" y="71"/>
                  </a:lnTo>
                  <a:lnTo>
                    <a:pt x="19" y="46"/>
                  </a:lnTo>
                  <a:lnTo>
                    <a:pt x="12" y="39"/>
                  </a:lnTo>
                  <a:lnTo>
                    <a:pt x="4" y="2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21" name="Freeform 65"/>
            <p:cNvSpPr>
              <a:spLocks noChangeAspect="1"/>
            </p:cNvSpPr>
            <p:nvPr/>
          </p:nvSpPr>
          <p:spPr bwMode="gray">
            <a:xfrm>
              <a:off x="7733844" y="4372107"/>
              <a:ext cx="160605" cy="55876"/>
            </a:xfrm>
            <a:custGeom>
              <a:avLst/>
              <a:gdLst/>
              <a:ahLst/>
              <a:cxnLst>
                <a:cxn ang="0">
                  <a:pos x="364" y="129"/>
                </a:cxn>
                <a:cxn ang="0">
                  <a:pos x="334" y="130"/>
                </a:cxn>
                <a:cxn ang="0">
                  <a:pos x="326" y="124"/>
                </a:cxn>
                <a:cxn ang="0">
                  <a:pos x="314" y="126"/>
                </a:cxn>
                <a:cxn ang="0">
                  <a:pos x="288" y="120"/>
                </a:cxn>
                <a:cxn ang="0">
                  <a:pos x="272" y="110"/>
                </a:cxn>
                <a:cxn ang="0">
                  <a:pos x="257" y="102"/>
                </a:cxn>
                <a:cxn ang="0">
                  <a:pos x="231" y="99"/>
                </a:cxn>
                <a:cxn ang="0">
                  <a:pos x="212" y="97"/>
                </a:cxn>
                <a:cxn ang="0">
                  <a:pos x="203" y="99"/>
                </a:cxn>
                <a:cxn ang="0">
                  <a:pos x="191" y="96"/>
                </a:cxn>
                <a:cxn ang="0">
                  <a:pos x="181" y="103"/>
                </a:cxn>
                <a:cxn ang="0">
                  <a:pos x="142" y="96"/>
                </a:cxn>
                <a:cxn ang="0">
                  <a:pos x="116" y="87"/>
                </a:cxn>
                <a:cxn ang="0">
                  <a:pos x="85" y="83"/>
                </a:cxn>
                <a:cxn ang="0">
                  <a:pos x="67" y="76"/>
                </a:cxn>
                <a:cxn ang="0">
                  <a:pos x="72" y="60"/>
                </a:cxn>
                <a:cxn ang="0">
                  <a:pos x="62" y="59"/>
                </a:cxn>
                <a:cxn ang="0">
                  <a:pos x="24" y="50"/>
                </a:cxn>
                <a:cxn ang="0">
                  <a:pos x="6" y="46"/>
                </a:cxn>
                <a:cxn ang="0">
                  <a:pos x="3" y="38"/>
                </a:cxn>
                <a:cxn ang="0">
                  <a:pos x="9" y="41"/>
                </a:cxn>
                <a:cxn ang="0">
                  <a:pos x="20" y="38"/>
                </a:cxn>
                <a:cxn ang="0">
                  <a:pos x="29" y="30"/>
                </a:cxn>
                <a:cxn ang="0">
                  <a:pos x="36" y="14"/>
                </a:cxn>
                <a:cxn ang="0">
                  <a:pos x="53" y="1"/>
                </a:cxn>
                <a:cxn ang="0">
                  <a:pos x="102" y="0"/>
                </a:cxn>
                <a:cxn ang="0">
                  <a:pos x="119" y="7"/>
                </a:cxn>
                <a:cxn ang="0">
                  <a:pos x="132" y="16"/>
                </a:cxn>
                <a:cxn ang="0">
                  <a:pos x="154" y="18"/>
                </a:cxn>
                <a:cxn ang="0">
                  <a:pos x="177" y="33"/>
                </a:cxn>
                <a:cxn ang="0">
                  <a:pos x="196" y="49"/>
                </a:cxn>
                <a:cxn ang="0">
                  <a:pos x="228" y="49"/>
                </a:cxn>
                <a:cxn ang="0">
                  <a:pos x="261" y="53"/>
                </a:cxn>
                <a:cxn ang="0">
                  <a:pos x="279" y="56"/>
                </a:cxn>
                <a:cxn ang="0">
                  <a:pos x="295" y="39"/>
                </a:cxn>
                <a:cxn ang="0">
                  <a:pos x="304" y="25"/>
                </a:cxn>
                <a:cxn ang="0">
                  <a:pos x="317" y="35"/>
                </a:cxn>
                <a:cxn ang="0">
                  <a:pos x="333" y="41"/>
                </a:cxn>
                <a:cxn ang="0">
                  <a:pos x="347" y="40"/>
                </a:cxn>
                <a:cxn ang="0">
                  <a:pos x="358" y="45"/>
                </a:cxn>
                <a:cxn ang="0">
                  <a:pos x="373" y="51"/>
                </a:cxn>
                <a:cxn ang="0">
                  <a:pos x="397" y="55"/>
                </a:cxn>
                <a:cxn ang="0">
                  <a:pos x="412" y="75"/>
                </a:cxn>
                <a:cxn ang="0">
                  <a:pos x="424" y="96"/>
                </a:cxn>
                <a:cxn ang="0">
                  <a:pos x="456" y="97"/>
                </a:cxn>
                <a:cxn ang="0">
                  <a:pos x="481" y="94"/>
                </a:cxn>
                <a:cxn ang="0">
                  <a:pos x="499" y="103"/>
                </a:cxn>
                <a:cxn ang="0">
                  <a:pos x="497" y="136"/>
                </a:cxn>
                <a:cxn ang="0">
                  <a:pos x="503" y="148"/>
                </a:cxn>
                <a:cxn ang="0">
                  <a:pos x="502" y="156"/>
                </a:cxn>
                <a:cxn ang="0">
                  <a:pos x="462" y="141"/>
                </a:cxn>
                <a:cxn ang="0">
                  <a:pos x="433" y="130"/>
                </a:cxn>
                <a:cxn ang="0">
                  <a:pos x="392" y="136"/>
                </a:cxn>
                <a:cxn ang="0">
                  <a:pos x="374" y="129"/>
                </a:cxn>
              </a:cxnLst>
              <a:rect l="0" t="0" r="r" b="b"/>
              <a:pathLst>
                <a:path w="506" h="158">
                  <a:moveTo>
                    <a:pt x="374" y="129"/>
                  </a:moveTo>
                  <a:lnTo>
                    <a:pt x="364" y="129"/>
                  </a:lnTo>
                  <a:lnTo>
                    <a:pt x="353" y="135"/>
                  </a:lnTo>
                  <a:lnTo>
                    <a:pt x="334" y="130"/>
                  </a:lnTo>
                  <a:lnTo>
                    <a:pt x="330" y="127"/>
                  </a:lnTo>
                  <a:lnTo>
                    <a:pt x="326" y="124"/>
                  </a:lnTo>
                  <a:lnTo>
                    <a:pt x="323" y="126"/>
                  </a:lnTo>
                  <a:lnTo>
                    <a:pt x="314" y="126"/>
                  </a:lnTo>
                  <a:lnTo>
                    <a:pt x="304" y="125"/>
                  </a:lnTo>
                  <a:lnTo>
                    <a:pt x="288" y="120"/>
                  </a:lnTo>
                  <a:lnTo>
                    <a:pt x="279" y="115"/>
                  </a:lnTo>
                  <a:lnTo>
                    <a:pt x="272" y="110"/>
                  </a:lnTo>
                  <a:lnTo>
                    <a:pt x="266" y="105"/>
                  </a:lnTo>
                  <a:lnTo>
                    <a:pt x="257" y="102"/>
                  </a:lnTo>
                  <a:lnTo>
                    <a:pt x="242" y="99"/>
                  </a:lnTo>
                  <a:lnTo>
                    <a:pt x="231" y="99"/>
                  </a:lnTo>
                  <a:lnTo>
                    <a:pt x="217" y="96"/>
                  </a:lnTo>
                  <a:lnTo>
                    <a:pt x="212" y="97"/>
                  </a:lnTo>
                  <a:lnTo>
                    <a:pt x="208" y="99"/>
                  </a:lnTo>
                  <a:lnTo>
                    <a:pt x="203" y="99"/>
                  </a:lnTo>
                  <a:lnTo>
                    <a:pt x="201" y="96"/>
                  </a:lnTo>
                  <a:lnTo>
                    <a:pt x="191" y="96"/>
                  </a:lnTo>
                  <a:lnTo>
                    <a:pt x="186" y="100"/>
                  </a:lnTo>
                  <a:lnTo>
                    <a:pt x="181" y="103"/>
                  </a:lnTo>
                  <a:lnTo>
                    <a:pt x="177" y="103"/>
                  </a:lnTo>
                  <a:lnTo>
                    <a:pt x="142" y="96"/>
                  </a:lnTo>
                  <a:lnTo>
                    <a:pt x="129" y="89"/>
                  </a:lnTo>
                  <a:lnTo>
                    <a:pt x="116" y="87"/>
                  </a:lnTo>
                  <a:lnTo>
                    <a:pt x="95" y="86"/>
                  </a:lnTo>
                  <a:lnTo>
                    <a:pt x="85" y="83"/>
                  </a:lnTo>
                  <a:lnTo>
                    <a:pt x="79" y="80"/>
                  </a:lnTo>
                  <a:lnTo>
                    <a:pt x="67" y="76"/>
                  </a:lnTo>
                  <a:lnTo>
                    <a:pt x="63" y="72"/>
                  </a:lnTo>
                  <a:lnTo>
                    <a:pt x="72" y="60"/>
                  </a:lnTo>
                  <a:lnTo>
                    <a:pt x="70" y="59"/>
                  </a:lnTo>
                  <a:lnTo>
                    <a:pt x="62" y="59"/>
                  </a:lnTo>
                  <a:lnTo>
                    <a:pt x="42" y="50"/>
                  </a:lnTo>
                  <a:lnTo>
                    <a:pt x="24" y="50"/>
                  </a:lnTo>
                  <a:lnTo>
                    <a:pt x="18" y="48"/>
                  </a:lnTo>
                  <a:lnTo>
                    <a:pt x="6" y="46"/>
                  </a:lnTo>
                  <a:lnTo>
                    <a:pt x="0" y="40"/>
                  </a:lnTo>
                  <a:lnTo>
                    <a:pt x="3" y="38"/>
                  </a:lnTo>
                  <a:lnTo>
                    <a:pt x="5" y="39"/>
                  </a:lnTo>
                  <a:lnTo>
                    <a:pt x="9" y="41"/>
                  </a:lnTo>
                  <a:lnTo>
                    <a:pt x="15" y="41"/>
                  </a:lnTo>
                  <a:lnTo>
                    <a:pt x="20" y="38"/>
                  </a:lnTo>
                  <a:lnTo>
                    <a:pt x="24" y="30"/>
                  </a:lnTo>
                  <a:lnTo>
                    <a:pt x="29" y="30"/>
                  </a:lnTo>
                  <a:lnTo>
                    <a:pt x="33" y="23"/>
                  </a:lnTo>
                  <a:lnTo>
                    <a:pt x="36" y="14"/>
                  </a:lnTo>
                  <a:lnTo>
                    <a:pt x="41" y="5"/>
                  </a:lnTo>
                  <a:lnTo>
                    <a:pt x="53" y="1"/>
                  </a:lnTo>
                  <a:lnTo>
                    <a:pt x="89" y="7"/>
                  </a:lnTo>
                  <a:lnTo>
                    <a:pt x="102" y="0"/>
                  </a:lnTo>
                  <a:lnTo>
                    <a:pt x="113" y="0"/>
                  </a:lnTo>
                  <a:lnTo>
                    <a:pt x="119" y="7"/>
                  </a:lnTo>
                  <a:lnTo>
                    <a:pt x="122" y="14"/>
                  </a:lnTo>
                  <a:lnTo>
                    <a:pt x="132" y="16"/>
                  </a:lnTo>
                  <a:lnTo>
                    <a:pt x="140" y="14"/>
                  </a:lnTo>
                  <a:lnTo>
                    <a:pt x="154" y="18"/>
                  </a:lnTo>
                  <a:lnTo>
                    <a:pt x="164" y="19"/>
                  </a:lnTo>
                  <a:lnTo>
                    <a:pt x="177" y="33"/>
                  </a:lnTo>
                  <a:lnTo>
                    <a:pt x="186" y="46"/>
                  </a:lnTo>
                  <a:lnTo>
                    <a:pt x="196" y="49"/>
                  </a:lnTo>
                  <a:lnTo>
                    <a:pt x="207" y="48"/>
                  </a:lnTo>
                  <a:lnTo>
                    <a:pt x="228" y="49"/>
                  </a:lnTo>
                  <a:lnTo>
                    <a:pt x="234" y="48"/>
                  </a:lnTo>
                  <a:lnTo>
                    <a:pt x="261" y="53"/>
                  </a:lnTo>
                  <a:lnTo>
                    <a:pt x="271" y="54"/>
                  </a:lnTo>
                  <a:lnTo>
                    <a:pt x="279" y="56"/>
                  </a:lnTo>
                  <a:lnTo>
                    <a:pt x="287" y="54"/>
                  </a:lnTo>
                  <a:lnTo>
                    <a:pt x="295" y="39"/>
                  </a:lnTo>
                  <a:lnTo>
                    <a:pt x="296" y="32"/>
                  </a:lnTo>
                  <a:lnTo>
                    <a:pt x="304" y="25"/>
                  </a:lnTo>
                  <a:lnTo>
                    <a:pt x="311" y="27"/>
                  </a:lnTo>
                  <a:lnTo>
                    <a:pt x="317" y="35"/>
                  </a:lnTo>
                  <a:lnTo>
                    <a:pt x="323" y="41"/>
                  </a:lnTo>
                  <a:lnTo>
                    <a:pt x="333" y="41"/>
                  </a:lnTo>
                  <a:lnTo>
                    <a:pt x="342" y="37"/>
                  </a:lnTo>
                  <a:lnTo>
                    <a:pt x="347" y="40"/>
                  </a:lnTo>
                  <a:lnTo>
                    <a:pt x="353" y="41"/>
                  </a:lnTo>
                  <a:lnTo>
                    <a:pt x="358" y="45"/>
                  </a:lnTo>
                  <a:lnTo>
                    <a:pt x="365" y="46"/>
                  </a:lnTo>
                  <a:lnTo>
                    <a:pt x="373" y="51"/>
                  </a:lnTo>
                  <a:lnTo>
                    <a:pt x="390" y="50"/>
                  </a:lnTo>
                  <a:lnTo>
                    <a:pt x="397" y="55"/>
                  </a:lnTo>
                  <a:lnTo>
                    <a:pt x="404" y="70"/>
                  </a:lnTo>
                  <a:lnTo>
                    <a:pt x="412" y="75"/>
                  </a:lnTo>
                  <a:lnTo>
                    <a:pt x="414" y="91"/>
                  </a:lnTo>
                  <a:lnTo>
                    <a:pt x="424" y="96"/>
                  </a:lnTo>
                  <a:lnTo>
                    <a:pt x="435" y="99"/>
                  </a:lnTo>
                  <a:lnTo>
                    <a:pt x="456" y="97"/>
                  </a:lnTo>
                  <a:lnTo>
                    <a:pt x="467" y="97"/>
                  </a:lnTo>
                  <a:lnTo>
                    <a:pt x="481" y="94"/>
                  </a:lnTo>
                  <a:lnTo>
                    <a:pt x="492" y="97"/>
                  </a:lnTo>
                  <a:lnTo>
                    <a:pt x="499" y="103"/>
                  </a:lnTo>
                  <a:lnTo>
                    <a:pt x="500" y="116"/>
                  </a:lnTo>
                  <a:lnTo>
                    <a:pt x="497" y="136"/>
                  </a:lnTo>
                  <a:lnTo>
                    <a:pt x="499" y="143"/>
                  </a:lnTo>
                  <a:lnTo>
                    <a:pt x="503" y="148"/>
                  </a:lnTo>
                  <a:lnTo>
                    <a:pt x="506" y="158"/>
                  </a:lnTo>
                  <a:lnTo>
                    <a:pt x="502" y="156"/>
                  </a:lnTo>
                  <a:lnTo>
                    <a:pt x="495" y="150"/>
                  </a:lnTo>
                  <a:lnTo>
                    <a:pt x="462" y="141"/>
                  </a:lnTo>
                  <a:lnTo>
                    <a:pt x="446" y="135"/>
                  </a:lnTo>
                  <a:lnTo>
                    <a:pt x="433" y="130"/>
                  </a:lnTo>
                  <a:lnTo>
                    <a:pt x="406" y="138"/>
                  </a:lnTo>
                  <a:lnTo>
                    <a:pt x="392" y="136"/>
                  </a:lnTo>
                  <a:lnTo>
                    <a:pt x="381" y="131"/>
                  </a:lnTo>
                  <a:lnTo>
                    <a:pt x="374" y="12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22" name="Freeform 66"/>
            <p:cNvSpPr>
              <a:spLocks noChangeAspect="1"/>
            </p:cNvSpPr>
            <p:nvPr/>
          </p:nvSpPr>
          <p:spPr bwMode="gray">
            <a:xfrm>
              <a:off x="7797450" y="4176540"/>
              <a:ext cx="173326" cy="162391"/>
            </a:xfrm>
            <a:custGeom>
              <a:avLst/>
              <a:gdLst/>
              <a:ahLst/>
              <a:cxnLst>
                <a:cxn ang="0">
                  <a:pos x="474" y="15"/>
                </a:cxn>
                <a:cxn ang="0">
                  <a:pos x="471" y="22"/>
                </a:cxn>
                <a:cxn ang="0">
                  <a:pos x="485" y="38"/>
                </a:cxn>
                <a:cxn ang="0">
                  <a:pos x="470" y="42"/>
                </a:cxn>
                <a:cxn ang="0">
                  <a:pos x="460" y="57"/>
                </a:cxn>
                <a:cxn ang="0">
                  <a:pos x="461" y="67"/>
                </a:cxn>
                <a:cxn ang="0">
                  <a:pos x="475" y="80"/>
                </a:cxn>
                <a:cxn ang="0">
                  <a:pos x="493" y="121"/>
                </a:cxn>
                <a:cxn ang="0">
                  <a:pos x="490" y="132"/>
                </a:cxn>
                <a:cxn ang="0">
                  <a:pos x="547" y="186"/>
                </a:cxn>
                <a:cxn ang="0">
                  <a:pos x="519" y="194"/>
                </a:cxn>
                <a:cxn ang="0">
                  <a:pos x="495" y="186"/>
                </a:cxn>
                <a:cxn ang="0">
                  <a:pos x="486" y="202"/>
                </a:cxn>
                <a:cxn ang="0">
                  <a:pos x="471" y="228"/>
                </a:cxn>
                <a:cxn ang="0">
                  <a:pos x="468" y="266"/>
                </a:cxn>
                <a:cxn ang="0">
                  <a:pos x="438" y="311"/>
                </a:cxn>
                <a:cxn ang="0">
                  <a:pos x="402" y="336"/>
                </a:cxn>
                <a:cxn ang="0">
                  <a:pos x="411" y="350"/>
                </a:cxn>
                <a:cxn ang="0">
                  <a:pos x="417" y="381"/>
                </a:cxn>
                <a:cxn ang="0">
                  <a:pos x="407" y="393"/>
                </a:cxn>
                <a:cxn ang="0">
                  <a:pos x="398" y="407"/>
                </a:cxn>
                <a:cxn ang="0">
                  <a:pos x="394" y="417"/>
                </a:cxn>
                <a:cxn ang="0">
                  <a:pos x="374" y="441"/>
                </a:cxn>
                <a:cxn ang="0">
                  <a:pos x="324" y="465"/>
                </a:cxn>
                <a:cxn ang="0">
                  <a:pos x="308" y="433"/>
                </a:cxn>
                <a:cxn ang="0">
                  <a:pos x="293" y="423"/>
                </a:cxn>
                <a:cxn ang="0">
                  <a:pos x="262" y="428"/>
                </a:cxn>
                <a:cxn ang="0">
                  <a:pos x="240" y="414"/>
                </a:cxn>
                <a:cxn ang="0">
                  <a:pos x="221" y="408"/>
                </a:cxn>
                <a:cxn ang="0">
                  <a:pos x="201" y="424"/>
                </a:cxn>
                <a:cxn ang="0">
                  <a:pos x="174" y="427"/>
                </a:cxn>
                <a:cxn ang="0">
                  <a:pos x="160" y="430"/>
                </a:cxn>
                <a:cxn ang="0">
                  <a:pos x="146" y="398"/>
                </a:cxn>
                <a:cxn ang="0">
                  <a:pos x="129" y="398"/>
                </a:cxn>
                <a:cxn ang="0">
                  <a:pos x="110" y="406"/>
                </a:cxn>
                <a:cxn ang="0">
                  <a:pos x="84" y="397"/>
                </a:cxn>
                <a:cxn ang="0">
                  <a:pos x="70" y="387"/>
                </a:cxn>
                <a:cxn ang="0">
                  <a:pos x="62" y="353"/>
                </a:cxn>
                <a:cxn ang="0">
                  <a:pos x="59" y="333"/>
                </a:cxn>
                <a:cxn ang="0">
                  <a:pos x="55" y="305"/>
                </a:cxn>
                <a:cxn ang="0">
                  <a:pos x="39" y="278"/>
                </a:cxn>
                <a:cxn ang="0">
                  <a:pos x="18" y="268"/>
                </a:cxn>
                <a:cxn ang="0">
                  <a:pos x="11" y="233"/>
                </a:cxn>
                <a:cxn ang="0">
                  <a:pos x="1" y="214"/>
                </a:cxn>
                <a:cxn ang="0">
                  <a:pos x="7" y="163"/>
                </a:cxn>
                <a:cxn ang="0">
                  <a:pos x="25" y="134"/>
                </a:cxn>
                <a:cxn ang="0">
                  <a:pos x="60" y="174"/>
                </a:cxn>
                <a:cxn ang="0">
                  <a:pos x="99" y="185"/>
                </a:cxn>
                <a:cxn ang="0">
                  <a:pos x="129" y="186"/>
                </a:cxn>
                <a:cxn ang="0">
                  <a:pos x="156" y="183"/>
                </a:cxn>
                <a:cxn ang="0">
                  <a:pos x="184" y="155"/>
                </a:cxn>
                <a:cxn ang="0">
                  <a:pos x="217" y="166"/>
                </a:cxn>
                <a:cxn ang="0">
                  <a:pos x="253" y="174"/>
                </a:cxn>
                <a:cxn ang="0">
                  <a:pos x="285" y="163"/>
                </a:cxn>
                <a:cxn ang="0">
                  <a:pos x="308" y="147"/>
                </a:cxn>
                <a:cxn ang="0">
                  <a:pos x="330" y="90"/>
                </a:cxn>
                <a:cxn ang="0">
                  <a:pos x="363" y="27"/>
                </a:cxn>
                <a:cxn ang="0">
                  <a:pos x="394" y="0"/>
                </a:cxn>
                <a:cxn ang="0">
                  <a:pos x="468" y="11"/>
                </a:cxn>
              </a:cxnLst>
              <a:rect l="0" t="0" r="r" b="b"/>
              <a:pathLst>
                <a:path w="547" h="467">
                  <a:moveTo>
                    <a:pt x="472" y="11"/>
                  </a:moveTo>
                  <a:lnTo>
                    <a:pt x="475" y="13"/>
                  </a:lnTo>
                  <a:lnTo>
                    <a:pt x="474" y="15"/>
                  </a:lnTo>
                  <a:lnTo>
                    <a:pt x="469" y="18"/>
                  </a:lnTo>
                  <a:lnTo>
                    <a:pt x="464" y="19"/>
                  </a:lnTo>
                  <a:lnTo>
                    <a:pt x="471" y="22"/>
                  </a:lnTo>
                  <a:lnTo>
                    <a:pt x="477" y="27"/>
                  </a:lnTo>
                  <a:lnTo>
                    <a:pt x="485" y="30"/>
                  </a:lnTo>
                  <a:lnTo>
                    <a:pt x="485" y="38"/>
                  </a:lnTo>
                  <a:lnTo>
                    <a:pt x="479" y="41"/>
                  </a:lnTo>
                  <a:lnTo>
                    <a:pt x="471" y="40"/>
                  </a:lnTo>
                  <a:lnTo>
                    <a:pt x="470" y="42"/>
                  </a:lnTo>
                  <a:lnTo>
                    <a:pt x="457" y="43"/>
                  </a:lnTo>
                  <a:lnTo>
                    <a:pt x="453" y="47"/>
                  </a:lnTo>
                  <a:lnTo>
                    <a:pt x="460" y="57"/>
                  </a:lnTo>
                  <a:lnTo>
                    <a:pt x="464" y="59"/>
                  </a:lnTo>
                  <a:lnTo>
                    <a:pt x="465" y="63"/>
                  </a:lnTo>
                  <a:lnTo>
                    <a:pt x="461" y="67"/>
                  </a:lnTo>
                  <a:lnTo>
                    <a:pt x="464" y="70"/>
                  </a:lnTo>
                  <a:lnTo>
                    <a:pt x="470" y="75"/>
                  </a:lnTo>
                  <a:lnTo>
                    <a:pt x="475" y="80"/>
                  </a:lnTo>
                  <a:lnTo>
                    <a:pt x="479" y="88"/>
                  </a:lnTo>
                  <a:lnTo>
                    <a:pt x="496" y="116"/>
                  </a:lnTo>
                  <a:lnTo>
                    <a:pt x="493" y="121"/>
                  </a:lnTo>
                  <a:lnTo>
                    <a:pt x="492" y="124"/>
                  </a:lnTo>
                  <a:lnTo>
                    <a:pt x="490" y="127"/>
                  </a:lnTo>
                  <a:lnTo>
                    <a:pt x="490" y="132"/>
                  </a:lnTo>
                  <a:lnTo>
                    <a:pt x="491" y="137"/>
                  </a:lnTo>
                  <a:lnTo>
                    <a:pt x="541" y="180"/>
                  </a:lnTo>
                  <a:lnTo>
                    <a:pt x="547" y="186"/>
                  </a:lnTo>
                  <a:lnTo>
                    <a:pt x="547" y="191"/>
                  </a:lnTo>
                  <a:lnTo>
                    <a:pt x="538" y="193"/>
                  </a:lnTo>
                  <a:lnTo>
                    <a:pt x="519" y="194"/>
                  </a:lnTo>
                  <a:lnTo>
                    <a:pt x="504" y="191"/>
                  </a:lnTo>
                  <a:lnTo>
                    <a:pt x="496" y="181"/>
                  </a:lnTo>
                  <a:lnTo>
                    <a:pt x="495" y="186"/>
                  </a:lnTo>
                  <a:lnTo>
                    <a:pt x="497" y="194"/>
                  </a:lnTo>
                  <a:lnTo>
                    <a:pt x="496" y="197"/>
                  </a:lnTo>
                  <a:lnTo>
                    <a:pt x="486" y="202"/>
                  </a:lnTo>
                  <a:lnTo>
                    <a:pt x="479" y="212"/>
                  </a:lnTo>
                  <a:lnTo>
                    <a:pt x="474" y="219"/>
                  </a:lnTo>
                  <a:lnTo>
                    <a:pt x="471" y="228"/>
                  </a:lnTo>
                  <a:lnTo>
                    <a:pt x="471" y="240"/>
                  </a:lnTo>
                  <a:lnTo>
                    <a:pt x="468" y="248"/>
                  </a:lnTo>
                  <a:lnTo>
                    <a:pt x="468" y="266"/>
                  </a:lnTo>
                  <a:lnTo>
                    <a:pt x="460" y="276"/>
                  </a:lnTo>
                  <a:lnTo>
                    <a:pt x="447" y="304"/>
                  </a:lnTo>
                  <a:lnTo>
                    <a:pt x="438" y="311"/>
                  </a:lnTo>
                  <a:lnTo>
                    <a:pt x="433" y="309"/>
                  </a:lnTo>
                  <a:lnTo>
                    <a:pt x="427" y="316"/>
                  </a:lnTo>
                  <a:lnTo>
                    <a:pt x="402" y="336"/>
                  </a:lnTo>
                  <a:lnTo>
                    <a:pt x="404" y="339"/>
                  </a:lnTo>
                  <a:lnTo>
                    <a:pt x="410" y="341"/>
                  </a:lnTo>
                  <a:lnTo>
                    <a:pt x="411" y="350"/>
                  </a:lnTo>
                  <a:lnTo>
                    <a:pt x="411" y="358"/>
                  </a:lnTo>
                  <a:lnTo>
                    <a:pt x="422" y="363"/>
                  </a:lnTo>
                  <a:lnTo>
                    <a:pt x="417" y="381"/>
                  </a:lnTo>
                  <a:lnTo>
                    <a:pt x="411" y="377"/>
                  </a:lnTo>
                  <a:lnTo>
                    <a:pt x="409" y="381"/>
                  </a:lnTo>
                  <a:lnTo>
                    <a:pt x="407" y="393"/>
                  </a:lnTo>
                  <a:lnTo>
                    <a:pt x="404" y="401"/>
                  </a:lnTo>
                  <a:lnTo>
                    <a:pt x="399" y="402"/>
                  </a:lnTo>
                  <a:lnTo>
                    <a:pt x="398" y="407"/>
                  </a:lnTo>
                  <a:lnTo>
                    <a:pt x="398" y="412"/>
                  </a:lnTo>
                  <a:lnTo>
                    <a:pt x="396" y="416"/>
                  </a:lnTo>
                  <a:lnTo>
                    <a:pt x="394" y="417"/>
                  </a:lnTo>
                  <a:lnTo>
                    <a:pt x="390" y="420"/>
                  </a:lnTo>
                  <a:lnTo>
                    <a:pt x="387" y="433"/>
                  </a:lnTo>
                  <a:lnTo>
                    <a:pt x="374" y="441"/>
                  </a:lnTo>
                  <a:lnTo>
                    <a:pt x="371" y="441"/>
                  </a:lnTo>
                  <a:lnTo>
                    <a:pt x="361" y="447"/>
                  </a:lnTo>
                  <a:lnTo>
                    <a:pt x="324" y="465"/>
                  </a:lnTo>
                  <a:lnTo>
                    <a:pt x="315" y="467"/>
                  </a:lnTo>
                  <a:lnTo>
                    <a:pt x="310" y="443"/>
                  </a:lnTo>
                  <a:lnTo>
                    <a:pt x="308" y="433"/>
                  </a:lnTo>
                  <a:lnTo>
                    <a:pt x="304" y="430"/>
                  </a:lnTo>
                  <a:lnTo>
                    <a:pt x="301" y="430"/>
                  </a:lnTo>
                  <a:lnTo>
                    <a:pt x="293" y="423"/>
                  </a:lnTo>
                  <a:lnTo>
                    <a:pt x="280" y="423"/>
                  </a:lnTo>
                  <a:lnTo>
                    <a:pt x="271" y="427"/>
                  </a:lnTo>
                  <a:lnTo>
                    <a:pt x="262" y="428"/>
                  </a:lnTo>
                  <a:lnTo>
                    <a:pt x="260" y="423"/>
                  </a:lnTo>
                  <a:lnTo>
                    <a:pt x="259" y="414"/>
                  </a:lnTo>
                  <a:lnTo>
                    <a:pt x="240" y="414"/>
                  </a:lnTo>
                  <a:lnTo>
                    <a:pt x="229" y="407"/>
                  </a:lnTo>
                  <a:lnTo>
                    <a:pt x="223" y="404"/>
                  </a:lnTo>
                  <a:lnTo>
                    <a:pt x="221" y="408"/>
                  </a:lnTo>
                  <a:lnTo>
                    <a:pt x="222" y="413"/>
                  </a:lnTo>
                  <a:lnTo>
                    <a:pt x="213" y="419"/>
                  </a:lnTo>
                  <a:lnTo>
                    <a:pt x="201" y="424"/>
                  </a:lnTo>
                  <a:lnTo>
                    <a:pt x="194" y="425"/>
                  </a:lnTo>
                  <a:lnTo>
                    <a:pt x="183" y="423"/>
                  </a:lnTo>
                  <a:lnTo>
                    <a:pt x="174" y="427"/>
                  </a:lnTo>
                  <a:lnTo>
                    <a:pt x="168" y="428"/>
                  </a:lnTo>
                  <a:lnTo>
                    <a:pt x="163" y="430"/>
                  </a:lnTo>
                  <a:lnTo>
                    <a:pt x="160" y="430"/>
                  </a:lnTo>
                  <a:lnTo>
                    <a:pt x="158" y="412"/>
                  </a:lnTo>
                  <a:lnTo>
                    <a:pt x="151" y="391"/>
                  </a:lnTo>
                  <a:lnTo>
                    <a:pt x="146" y="398"/>
                  </a:lnTo>
                  <a:lnTo>
                    <a:pt x="143" y="401"/>
                  </a:lnTo>
                  <a:lnTo>
                    <a:pt x="133" y="397"/>
                  </a:lnTo>
                  <a:lnTo>
                    <a:pt x="129" y="398"/>
                  </a:lnTo>
                  <a:lnTo>
                    <a:pt x="124" y="403"/>
                  </a:lnTo>
                  <a:lnTo>
                    <a:pt x="119" y="404"/>
                  </a:lnTo>
                  <a:lnTo>
                    <a:pt x="110" y="406"/>
                  </a:lnTo>
                  <a:lnTo>
                    <a:pt x="104" y="403"/>
                  </a:lnTo>
                  <a:lnTo>
                    <a:pt x="94" y="404"/>
                  </a:lnTo>
                  <a:lnTo>
                    <a:pt x="84" y="397"/>
                  </a:lnTo>
                  <a:lnTo>
                    <a:pt x="81" y="400"/>
                  </a:lnTo>
                  <a:lnTo>
                    <a:pt x="73" y="401"/>
                  </a:lnTo>
                  <a:lnTo>
                    <a:pt x="70" y="387"/>
                  </a:lnTo>
                  <a:lnTo>
                    <a:pt x="71" y="377"/>
                  </a:lnTo>
                  <a:lnTo>
                    <a:pt x="67" y="373"/>
                  </a:lnTo>
                  <a:lnTo>
                    <a:pt x="62" y="353"/>
                  </a:lnTo>
                  <a:lnTo>
                    <a:pt x="56" y="341"/>
                  </a:lnTo>
                  <a:lnTo>
                    <a:pt x="56" y="336"/>
                  </a:lnTo>
                  <a:lnTo>
                    <a:pt x="59" y="333"/>
                  </a:lnTo>
                  <a:lnTo>
                    <a:pt x="60" y="325"/>
                  </a:lnTo>
                  <a:lnTo>
                    <a:pt x="57" y="314"/>
                  </a:lnTo>
                  <a:lnTo>
                    <a:pt x="55" y="305"/>
                  </a:lnTo>
                  <a:lnTo>
                    <a:pt x="45" y="288"/>
                  </a:lnTo>
                  <a:lnTo>
                    <a:pt x="43" y="283"/>
                  </a:lnTo>
                  <a:lnTo>
                    <a:pt x="39" y="278"/>
                  </a:lnTo>
                  <a:lnTo>
                    <a:pt x="29" y="274"/>
                  </a:lnTo>
                  <a:lnTo>
                    <a:pt x="23" y="268"/>
                  </a:lnTo>
                  <a:lnTo>
                    <a:pt x="18" y="268"/>
                  </a:lnTo>
                  <a:lnTo>
                    <a:pt x="13" y="264"/>
                  </a:lnTo>
                  <a:lnTo>
                    <a:pt x="12" y="253"/>
                  </a:lnTo>
                  <a:lnTo>
                    <a:pt x="11" y="233"/>
                  </a:lnTo>
                  <a:lnTo>
                    <a:pt x="6" y="223"/>
                  </a:lnTo>
                  <a:lnTo>
                    <a:pt x="2" y="219"/>
                  </a:lnTo>
                  <a:lnTo>
                    <a:pt x="1" y="214"/>
                  </a:lnTo>
                  <a:lnTo>
                    <a:pt x="0" y="196"/>
                  </a:lnTo>
                  <a:lnTo>
                    <a:pt x="1" y="182"/>
                  </a:lnTo>
                  <a:lnTo>
                    <a:pt x="7" y="163"/>
                  </a:lnTo>
                  <a:lnTo>
                    <a:pt x="12" y="154"/>
                  </a:lnTo>
                  <a:lnTo>
                    <a:pt x="19" y="145"/>
                  </a:lnTo>
                  <a:lnTo>
                    <a:pt x="25" y="134"/>
                  </a:lnTo>
                  <a:lnTo>
                    <a:pt x="33" y="129"/>
                  </a:lnTo>
                  <a:lnTo>
                    <a:pt x="33" y="134"/>
                  </a:lnTo>
                  <a:lnTo>
                    <a:pt x="60" y="174"/>
                  </a:lnTo>
                  <a:lnTo>
                    <a:pt x="73" y="185"/>
                  </a:lnTo>
                  <a:lnTo>
                    <a:pt x="87" y="188"/>
                  </a:lnTo>
                  <a:lnTo>
                    <a:pt x="99" y="185"/>
                  </a:lnTo>
                  <a:lnTo>
                    <a:pt x="110" y="183"/>
                  </a:lnTo>
                  <a:lnTo>
                    <a:pt x="120" y="190"/>
                  </a:lnTo>
                  <a:lnTo>
                    <a:pt x="129" y="186"/>
                  </a:lnTo>
                  <a:lnTo>
                    <a:pt x="138" y="186"/>
                  </a:lnTo>
                  <a:lnTo>
                    <a:pt x="148" y="187"/>
                  </a:lnTo>
                  <a:lnTo>
                    <a:pt x="156" y="183"/>
                  </a:lnTo>
                  <a:lnTo>
                    <a:pt x="172" y="165"/>
                  </a:lnTo>
                  <a:lnTo>
                    <a:pt x="179" y="156"/>
                  </a:lnTo>
                  <a:lnTo>
                    <a:pt x="184" y="155"/>
                  </a:lnTo>
                  <a:lnTo>
                    <a:pt x="211" y="156"/>
                  </a:lnTo>
                  <a:lnTo>
                    <a:pt x="216" y="159"/>
                  </a:lnTo>
                  <a:lnTo>
                    <a:pt x="217" y="166"/>
                  </a:lnTo>
                  <a:lnTo>
                    <a:pt x="222" y="166"/>
                  </a:lnTo>
                  <a:lnTo>
                    <a:pt x="243" y="174"/>
                  </a:lnTo>
                  <a:lnTo>
                    <a:pt x="253" y="174"/>
                  </a:lnTo>
                  <a:lnTo>
                    <a:pt x="264" y="167"/>
                  </a:lnTo>
                  <a:lnTo>
                    <a:pt x="273" y="165"/>
                  </a:lnTo>
                  <a:lnTo>
                    <a:pt x="285" y="163"/>
                  </a:lnTo>
                  <a:lnTo>
                    <a:pt x="298" y="159"/>
                  </a:lnTo>
                  <a:lnTo>
                    <a:pt x="304" y="154"/>
                  </a:lnTo>
                  <a:lnTo>
                    <a:pt x="308" y="147"/>
                  </a:lnTo>
                  <a:lnTo>
                    <a:pt x="315" y="135"/>
                  </a:lnTo>
                  <a:lnTo>
                    <a:pt x="324" y="117"/>
                  </a:lnTo>
                  <a:lnTo>
                    <a:pt x="330" y="90"/>
                  </a:lnTo>
                  <a:lnTo>
                    <a:pt x="356" y="61"/>
                  </a:lnTo>
                  <a:lnTo>
                    <a:pt x="361" y="49"/>
                  </a:lnTo>
                  <a:lnTo>
                    <a:pt x="363" y="27"/>
                  </a:lnTo>
                  <a:lnTo>
                    <a:pt x="369" y="10"/>
                  </a:lnTo>
                  <a:lnTo>
                    <a:pt x="375" y="2"/>
                  </a:lnTo>
                  <a:lnTo>
                    <a:pt x="394" y="0"/>
                  </a:lnTo>
                  <a:lnTo>
                    <a:pt x="445" y="2"/>
                  </a:lnTo>
                  <a:lnTo>
                    <a:pt x="454" y="7"/>
                  </a:lnTo>
                  <a:lnTo>
                    <a:pt x="468" y="11"/>
                  </a:lnTo>
                  <a:lnTo>
                    <a:pt x="472" y="1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23" name="Freeform 67"/>
            <p:cNvSpPr>
              <a:spLocks noChangeAspect="1"/>
            </p:cNvSpPr>
            <p:nvPr/>
          </p:nvSpPr>
          <p:spPr bwMode="gray">
            <a:xfrm>
              <a:off x="8485980" y="4338930"/>
              <a:ext cx="69966" cy="41907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5" y="69"/>
                </a:cxn>
                <a:cxn ang="0">
                  <a:pos x="11" y="72"/>
                </a:cxn>
                <a:cxn ang="0">
                  <a:pos x="50" y="75"/>
                </a:cxn>
                <a:cxn ang="0">
                  <a:pos x="81" y="73"/>
                </a:cxn>
                <a:cxn ang="0">
                  <a:pos x="88" y="69"/>
                </a:cxn>
                <a:cxn ang="0">
                  <a:pos x="88" y="62"/>
                </a:cxn>
                <a:cxn ang="0">
                  <a:pos x="89" y="58"/>
                </a:cxn>
                <a:cxn ang="0">
                  <a:pos x="93" y="51"/>
                </a:cxn>
                <a:cxn ang="0">
                  <a:pos x="98" y="47"/>
                </a:cxn>
                <a:cxn ang="0">
                  <a:pos x="102" y="49"/>
                </a:cxn>
                <a:cxn ang="0">
                  <a:pos x="97" y="58"/>
                </a:cxn>
                <a:cxn ang="0">
                  <a:pos x="96" y="68"/>
                </a:cxn>
                <a:cxn ang="0">
                  <a:pos x="102" y="72"/>
                </a:cxn>
                <a:cxn ang="0">
                  <a:pos x="110" y="69"/>
                </a:cxn>
                <a:cxn ang="0">
                  <a:pos x="119" y="69"/>
                </a:cxn>
                <a:cxn ang="0">
                  <a:pos x="126" y="73"/>
                </a:cxn>
                <a:cxn ang="0">
                  <a:pos x="135" y="72"/>
                </a:cxn>
                <a:cxn ang="0">
                  <a:pos x="142" y="69"/>
                </a:cxn>
                <a:cxn ang="0">
                  <a:pos x="160" y="47"/>
                </a:cxn>
                <a:cxn ang="0">
                  <a:pos x="169" y="41"/>
                </a:cxn>
                <a:cxn ang="0">
                  <a:pos x="175" y="42"/>
                </a:cxn>
                <a:cxn ang="0">
                  <a:pos x="184" y="37"/>
                </a:cxn>
                <a:cxn ang="0">
                  <a:pos x="185" y="27"/>
                </a:cxn>
                <a:cxn ang="0">
                  <a:pos x="183" y="18"/>
                </a:cxn>
                <a:cxn ang="0">
                  <a:pos x="179" y="9"/>
                </a:cxn>
                <a:cxn ang="0">
                  <a:pos x="179" y="4"/>
                </a:cxn>
                <a:cxn ang="0">
                  <a:pos x="188" y="2"/>
                </a:cxn>
                <a:cxn ang="0">
                  <a:pos x="195" y="5"/>
                </a:cxn>
                <a:cxn ang="0">
                  <a:pos x="201" y="5"/>
                </a:cxn>
                <a:cxn ang="0">
                  <a:pos x="204" y="3"/>
                </a:cxn>
                <a:cxn ang="0">
                  <a:pos x="210" y="0"/>
                </a:cxn>
                <a:cxn ang="0">
                  <a:pos x="217" y="4"/>
                </a:cxn>
                <a:cxn ang="0">
                  <a:pos x="222" y="14"/>
                </a:cxn>
                <a:cxn ang="0">
                  <a:pos x="223" y="27"/>
                </a:cxn>
                <a:cxn ang="0">
                  <a:pos x="221" y="36"/>
                </a:cxn>
                <a:cxn ang="0">
                  <a:pos x="216" y="42"/>
                </a:cxn>
                <a:cxn ang="0">
                  <a:pos x="210" y="45"/>
                </a:cxn>
                <a:cxn ang="0">
                  <a:pos x="206" y="52"/>
                </a:cxn>
                <a:cxn ang="0">
                  <a:pos x="210" y="63"/>
                </a:cxn>
                <a:cxn ang="0">
                  <a:pos x="204" y="74"/>
                </a:cxn>
                <a:cxn ang="0">
                  <a:pos x="195" y="77"/>
                </a:cxn>
                <a:cxn ang="0">
                  <a:pos x="183" y="74"/>
                </a:cxn>
                <a:cxn ang="0">
                  <a:pos x="179" y="79"/>
                </a:cxn>
                <a:cxn ang="0">
                  <a:pos x="178" y="86"/>
                </a:cxn>
                <a:cxn ang="0">
                  <a:pos x="167" y="97"/>
                </a:cxn>
                <a:cxn ang="0">
                  <a:pos x="142" y="110"/>
                </a:cxn>
                <a:cxn ang="0">
                  <a:pos x="132" y="112"/>
                </a:cxn>
                <a:cxn ang="0">
                  <a:pos x="121" y="115"/>
                </a:cxn>
                <a:cxn ang="0">
                  <a:pos x="102" y="115"/>
                </a:cxn>
                <a:cxn ang="0">
                  <a:pos x="91" y="117"/>
                </a:cxn>
                <a:cxn ang="0">
                  <a:pos x="77" y="117"/>
                </a:cxn>
                <a:cxn ang="0">
                  <a:pos x="66" y="106"/>
                </a:cxn>
                <a:cxn ang="0">
                  <a:pos x="59" y="106"/>
                </a:cxn>
                <a:cxn ang="0">
                  <a:pos x="48" y="110"/>
                </a:cxn>
                <a:cxn ang="0">
                  <a:pos x="27" y="96"/>
                </a:cxn>
                <a:cxn ang="0">
                  <a:pos x="12" y="92"/>
                </a:cxn>
                <a:cxn ang="0">
                  <a:pos x="4" y="84"/>
                </a:cxn>
                <a:cxn ang="0">
                  <a:pos x="0" y="73"/>
                </a:cxn>
              </a:cxnLst>
              <a:rect l="0" t="0" r="r" b="b"/>
              <a:pathLst>
                <a:path w="223" h="117">
                  <a:moveTo>
                    <a:pt x="0" y="73"/>
                  </a:moveTo>
                  <a:lnTo>
                    <a:pt x="5" y="69"/>
                  </a:lnTo>
                  <a:lnTo>
                    <a:pt x="11" y="72"/>
                  </a:lnTo>
                  <a:lnTo>
                    <a:pt x="50" y="75"/>
                  </a:lnTo>
                  <a:lnTo>
                    <a:pt x="81" y="73"/>
                  </a:lnTo>
                  <a:lnTo>
                    <a:pt x="88" y="69"/>
                  </a:lnTo>
                  <a:lnTo>
                    <a:pt x="88" y="62"/>
                  </a:lnTo>
                  <a:lnTo>
                    <a:pt x="89" y="58"/>
                  </a:lnTo>
                  <a:lnTo>
                    <a:pt x="93" y="51"/>
                  </a:lnTo>
                  <a:lnTo>
                    <a:pt x="98" y="47"/>
                  </a:lnTo>
                  <a:lnTo>
                    <a:pt x="102" y="49"/>
                  </a:lnTo>
                  <a:lnTo>
                    <a:pt x="97" y="58"/>
                  </a:lnTo>
                  <a:lnTo>
                    <a:pt x="96" y="68"/>
                  </a:lnTo>
                  <a:lnTo>
                    <a:pt x="102" y="72"/>
                  </a:lnTo>
                  <a:lnTo>
                    <a:pt x="110" y="69"/>
                  </a:lnTo>
                  <a:lnTo>
                    <a:pt x="119" y="69"/>
                  </a:lnTo>
                  <a:lnTo>
                    <a:pt x="126" y="73"/>
                  </a:lnTo>
                  <a:lnTo>
                    <a:pt x="135" y="72"/>
                  </a:lnTo>
                  <a:lnTo>
                    <a:pt x="142" y="69"/>
                  </a:lnTo>
                  <a:lnTo>
                    <a:pt x="160" y="47"/>
                  </a:lnTo>
                  <a:lnTo>
                    <a:pt x="169" y="41"/>
                  </a:lnTo>
                  <a:lnTo>
                    <a:pt x="175" y="42"/>
                  </a:lnTo>
                  <a:lnTo>
                    <a:pt x="184" y="37"/>
                  </a:lnTo>
                  <a:lnTo>
                    <a:pt x="185" y="27"/>
                  </a:lnTo>
                  <a:lnTo>
                    <a:pt x="183" y="18"/>
                  </a:lnTo>
                  <a:lnTo>
                    <a:pt x="179" y="9"/>
                  </a:lnTo>
                  <a:lnTo>
                    <a:pt x="179" y="4"/>
                  </a:lnTo>
                  <a:lnTo>
                    <a:pt x="188" y="2"/>
                  </a:lnTo>
                  <a:lnTo>
                    <a:pt x="195" y="5"/>
                  </a:lnTo>
                  <a:lnTo>
                    <a:pt x="201" y="5"/>
                  </a:lnTo>
                  <a:lnTo>
                    <a:pt x="204" y="3"/>
                  </a:lnTo>
                  <a:lnTo>
                    <a:pt x="210" y="0"/>
                  </a:lnTo>
                  <a:lnTo>
                    <a:pt x="217" y="4"/>
                  </a:lnTo>
                  <a:lnTo>
                    <a:pt x="222" y="14"/>
                  </a:lnTo>
                  <a:lnTo>
                    <a:pt x="223" y="27"/>
                  </a:lnTo>
                  <a:lnTo>
                    <a:pt x="221" y="36"/>
                  </a:lnTo>
                  <a:lnTo>
                    <a:pt x="216" y="42"/>
                  </a:lnTo>
                  <a:lnTo>
                    <a:pt x="210" y="45"/>
                  </a:lnTo>
                  <a:lnTo>
                    <a:pt x="206" y="52"/>
                  </a:lnTo>
                  <a:lnTo>
                    <a:pt x="210" y="63"/>
                  </a:lnTo>
                  <a:lnTo>
                    <a:pt x="204" y="74"/>
                  </a:lnTo>
                  <a:lnTo>
                    <a:pt x="195" y="77"/>
                  </a:lnTo>
                  <a:lnTo>
                    <a:pt x="183" y="74"/>
                  </a:lnTo>
                  <a:lnTo>
                    <a:pt x="179" y="79"/>
                  </a:lnTo>
                  <a:lnTo>
                    <a:pt x="178" y="86"/>
                  </a:lnTo>
                  <a:lnTo>
                    <a:pt x="167" y="97"/>
                  </a:lnTo>
                  <a:lnTo>
                    <a:pt x="142" y="110"/>
                  </a:lnTo>
                  <a:lnTo>
                    <a:pt x="132" y="112"/>
                  </a:lnTo>
                  <a:lnTo>
                    <a:pt x="121" y="115"/>
                  </a:lnTo>
                  <a:lnTo>
                    <a:pt x="102" y="115"/>
                  </a:lnTo>
                  <a:lnTo>
                    <a:pt x="91" y="117"/>
                  </a:lnTo>
                  <a:lnTo>
                    <a:pt x="77" y="117"/>
                  </a:lnTo>
                  <a:lnTo>
                    <a:pt x="66" y="106"/>
                  </a:lnTo>
                  <a:lnTo>
                    <a:pt x="59" y="106"/>
                  </a:lnTo>
                  <a:lnTo>
                    <a:pt x="48" y="110"/>
                  </a:lnTo>
                  <a:lnTo>
                    <a:pt x="27" y="96"/>
                  </a:lnTo>
                  <a:lnTo>
                    <a:pt x="12" y="92"/>
                  </a:lnTo>
                  <a:lnTo>
                    <a:pt x="4" y="84"/>
                  </a:lnTo>
                  <a:lnTo>
                    <a:pt x="0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24" name="Freeform 68"/>
            <p:cNvSpPr>
              <a:spLocks noChangeAspect="1"/>
            </p:cNvSpPr>
            <p:nvPr/>
          </p:nvSpPr>
          <p:spPr bwMode="gray">
            <a:xfrm>
              <a:off x="8357179" y="4309247"/>
              <a:ext cx="173326" cy="155406"/>
            </a:xfrm>
            <a:custGeom>
              <a:avLst/>
              <a:gdLst/>
              <a:ahLst/>
              <a:cxnLst>
                <a:cxn ang="0">
                  <a:pos x="5" y="134"/>
                </a:cxn>
                <a:cxn ang="0">
                  <a:pos x="0" y="231"/>
                </a:cxn>
                <a:cxn ang="0">
                  <a:pos x="10" y="346"/>
                </a:cxn>
                <a:cxn ang="0">
                  <a:pos x="31" y="362"/>
                </a:cxn>
                <a:cxn ang="0">
                  <a:pos x="56" y="362"/>
                </a:cxn>
                <a:cxn ang="0">
                  <a:pos x="93" y="368"/>
                </a:cxn>
                <a:cxn ang="0">
                  <a:pos x="125" y="352"/>
                </a:cxn>
                <a:cxn ang="0">
                  <a:pos x="118" y="323"/>
                </a:cxn>
                <a:cxn ang="0">
                  <a:pos x="137" y="307"/>
                </a:cxn>
                <a:cxn ang="0">
                  <a:pos x="152" y="298"/>
                </a:cxn>
                <a:cxn ang="0">
                  <a:pos x="155" y="273"/>
                </a:cxn>
                <a:cxn ang="0">
                  <a:pos x="180" y="278"/>
                </a:cxn>
                <a:cxn ang="0">
                  <a:pos x="196" y="276"/>
                </a:cxn>
                <a:cxn ang="0">
                  <a:pos x="211" y="279"/>
                </a:cxn>
                <a:cxn ang="0">
                  <a:pos x="232" y="289"/>
                </a:cxn>
                <a:cxn ang="0">
                  <a:pos x="258" y="296"/>
                </a:cxn>
                <a:cxn ang="0">
                  <a:pos x="291" y="323"/>
                </a:cxn>
                <a:cxn ang="0">
                  <a:pos x="330" y="356"/>
                </a:cxn>
                <a:cxn ang="0">
                  <a:pos x="335" y="375"/>
                </a:cxn>
                <a:cxn ang="0">
                  <a:pos x="357" y="392"/>
                </a:cxn>
                <a:cxn ang="0">
                  <a:pos x="388" y="415"/>
                </a:cxn>
                <a:cxn ang="0">
                  <a:pos x="425" y="419"/>
                </a:cxn>
                <a:cxn ang="0">
                  <a:pos x="495" y="435"/>
                </a:cxn>
                <a:cxn ang="0">
                  <a:pos x="526" y="441"/>
                </a:cxn>
                <a:cxn ang="0">
                  <a:pos x="515" y="427"/>
                </a:cxn>
                <a:cxn ang="0">
                  <a:pos x="544" y="425"/>
                </a:cxn>
                <a:cxn ang="0">
                  <a:pos x="506" y="413"/>
                </a:cxn>
                <a:cxn ang="0">
                  <a:pos x="496" y="391"/>
                </a:cxn>
                <a:cxn ang="0">
                  <a:pos x="462" y="383"/>
                </a:cxn>
                <a:cxn ang="0">
                  <a:pos x="456" y="357"/>
                </a:cxn>
                <a:cxn ang="0">
                  <a:pos x="419" y="351"/>
                </a:cxn>
                <a:cxn ang="0">
                  <a:pos x="397" y="323"/>
                </a:cxn>
                <a:cxn ang="0">
                  <a:pos x="393" y="301"/>
                </a:cxn>
                <a:cxn ang="0">
                  <a:pos x="367" y="285"/>
                </a:cxn>
                <a:cxn ang="0">
                  <a:pos x="341" y="255"/>
                </a:cxn>
                <a:cxn ang="0">
                  <a:pos x="339" y="231"/>
                </a:cxn>
                <a:cxn ang="0">
                  <a:pos x="370" y="227"/>
                </a:cxn>
                <a:cxn ang="0">
                  <a:pos x="375" y="201"/>
                </a:cxn>
                <a:cxn ang="0">
                  <a:pos x="348" y="187"/>
                </a:cxn>
                <a:cxn ang="0">
                  <a:pos x="296" y="166"/>
                </a:cxn>
                <a:cxn ang="0">
                  <a:pos x="266" y="136"/>
                </a:cxn>
                <a:cxn ang="0">
                  <a:pos x="238" y="103"/>
                </a:cxn>
                <a:cxn ang="0">
                  <a:pos x="193" y="70"/>
                </a:cxn>
                <a:cxn ang="0">
                  <a:pos x="166" y="61"/>
                </a:cxn>
                <a:cxn ang="0">
                  <a:pos x="92" y="36"/>
                </a:cxn>
                <a:cxn ang="0">
                  <a:pos x="42" y="16"/>
                </a:cxn>
                <a:cxn ang="0">
                  <a:pos x="1" y="0"/>
                </a:cxn>
              </a:cxnLst>
              <a:rect l="0" t="0" r="r" b="b"/>
              <a:pathLst>
                <a:path w="544" h="446">
                  <a:moveTo>
                    <a:pt x="1" y="0"/>
                  </a:moveTo>
                  <a:lnTo>
                    <a:pt x="0" y="9"/>
                  </a:lnTo>
                  <a:lnTo>
                    <a:pt x="5" y="134"/>
                  </a:lnTo>
                  <a:lnTo>
                    <a:pt x="5" y="206"/>
                  </a:lnTo>
                  <a:lnTo>
                    <a:pt x="1" y="227"/>
                  </a:lnTo>
                  <a:lnTo>
                    <a:pt x="0" y="231"/>
                  </a:lnTo>
                  <a:lnTo>
                    <a:pt x="7" y="248"/>
                  </a:lnTo>
                  <a:lnTo>
                    <a:pt x="7" y="289"/>
                  </a:lnTo>
                  <a:lnTo>
                    <a:pt x="10" y="346"/>
                  </a:lnTo>
                  <a:lnTo>
                    <a:pt x="13" y="360"/>
                  </a:lnTo>
                  <a:lnTo>
                    <a:pt x="26" y="359"/>
                  </a:lnTo>
                  <a:lnTo>
                    <a:pt x="31" y="362"/>
                  </a:lnTo>
                  <a:lnTo>
                    <a:pt x="39" y="365"/>
                  </a:lnTo>
                  <a:lnTo>
                    <a:pt x="48" y="365"/>
                  </a:lnTo>
                  <a:lnTo>
                    <a:pt x="56" y="362"/>
                  </a:lnTo>
                  <a:lnTo>
                    <a:pt x="72" y="362"/>
                  </a:lnTo>
                  <a:lnTo>
                    <a:pt x="77" y="362"/>
                  </a:lnTo>
                  <a:lnTo>
                    <a:pt x="93" y="368"/>
                  </a:lnTo>
                  <a:lnTo>
                    <a:pt x="99" y="366"/>
                  </a:lnTo>
                  <a:lnTo>
                    <a:pt x="114" y="356"/>
                  </a:lnTo>
                  <a:lnTo>
                    <a:pt x="125" y="352"/>
                  </a:lnTo>
                  <a:lnTo>
                    <a:pt x="130" y="346"/>
                  </a:lnTo>
                  <a:lnTo>
                    <a:pt x="124" y="330"/>
                  </a:lnTo>
                  <a:lnTo>
                    <a:pt x="118" y="323"/>
                  </a:lnTo>
                  <a:lnTo>
                    <a:pt x="112" y="317"/>
                  </a:lnTo>
                  <a:lnTo>
                    <a:pt x="131" y="312"/>
                  </a:lnTo>
                  <a:lnTo>
                    <a:pt x="137" y="307"/>
                  </a:lnTo>
                  <a:lnTo>
                    <a:pt x="135" y="302"/>
                  </a:lnTo>
                  <a:lnTo>
                    <a:pt x="140" y="297"/>
                  </a:lnTo>
                  <a:lnTo>
                    <a:pt x="152" y="298"/>
                  </a:lnTo>
                  <a:lnTo>
                    <a:pt x="160" y="296"/>
                  </a:lnTo>
                  <a:lnTo>
                    <a:pt x="157" y="287"/>
                  </a:lnTo>
                  <a:lnTo>
                    <a:pt x="155" y="273"/>
                  </a:lnTo>
                  <a:lnTo>
                    <a:pt x="161" y="278"/>
                  </a:lnTo>
                  <a:lnTo>
                    <a:pt x="173" y="280"/>
                  </a:lnTo>
                  <a:lnTo>
                    <a:pt x="180" y="278"/>
                  </a:lnTo>
                  <a:lnTo>
                    <a:pt x="184" y="273"/>
                  </a:lnTo>
                  <a:lnTo>
                    <a:pt x="189" y="269"/>
                  </a:lnTo>
                  <a:lnTo>
                    <a:pt x="196" y="276"/>
                  </a:lnTo>
                  <a:lnTo>
                    <a:pt x="203" y="273"/>
                  </a:lnTo>
                  <a:lnTo>
                    <a:pt x="210" y="275"/>
                  </a:lnTo>
                  <a:lnTo>
                    <a:pt x="211" y="279"/>
                  </a:lnTo>
                  <a:lnTo>
                    <a:pt x="216" y="282"/>
                  </a:lnTo>
                  <a:lnTo>
                    <a:pt x="223" y="284"/>
                  </a:lnTo>
                  <a:lnTo>
                    <a:pt x="232" y="289"/>
                  </a:lnTo>
                  <a:lnTo>
                    <a:pt x="238" y="290"/>
                  </a:lnTo>
                  <a:lnTo>
                    <a:pt x="247" y="296"/>
                  </a:lnTo>
                  <a:lnTo>
                    <a:pt x="258" y="296"/>
                  </a:lnTo>
                  <a:lnTo>
                    <a:pt x="278" y="302"/>
                  </a:lnTo>
                  <a:lnTo>
                    <a:pt x="289" y="311"/>
                  </a:lnTo>
                  <a:lnTo>
                    <a:pt x="291" y="323"/>
                  </a:lnTo>
                  <a:lnTo>
                    <a:pt x="306" y="341"/>
                  </a:lnTo>
                  <a:lnTo>
                    <a:pt x="312" y="354"/>
                  </a:lnTo>
                  <a:lnTo>
                    <a:pt x="330" y="356"/>
                  </a:lnTo>
                  <a:lnTo>
                    <a:pt x="328" y="365"/>
                  </a:lnTo>
                  <a:lnTo>
                    <a:pt x="329" y="367"/>
                  </a:lnTo>
                  <a:lnTo>
                    <a:pt x="335" y="375"/>
                  </a:lnTo>
                  <a:lnTo>
                    <a:pt x="343" y="378"/>
                  </a:lnTo>
                  <a:lnTo>
                    <a:pt x="350" y="384"/>
                  </a:lnTo>
                  <a:lnTo>
                    <a:pt x="357" y="392"/>
                  </a:lnTo>
                  <a:lnTo>
                    <a:pt x="373" y="410"/>
                  </a:lnTo>
                  <a:lnTo>
                    <a:pt x="378" y="410"/>
                  </a:lnTo>
                  <a:lnTo>
                    <a:pt x="388" y="415"/>
                  </a:lnTo>
                  <a:lnTo>
                    <a:pt x="399" y="416"/>
                  </a:lnTo>
                  <a:lnTo>
                    <a:pt x="408" y="419"/>
                  </a:lnTo>
                  <a:lnTo>
                    <a:pt x="425" y="419"/>
                  </a:lnTo>
                  <a:lnTo>
                    <a:pt x="442" y="424"/>
                  </a:lnTo>
                  <a:lnTo>
                    <a:pt x="494" y="431"/>
                  </a:lnTo>
                  <a:lnTo>
                    <a:pt x="495" y="435"/>
                  </a:lnTo>
                  <a:lnTo>
                    <a:pt x="497" y="441"/>
                  </a:lnTo>
                  <a:lnTo>
                    <a:pt x="512" y="446"/>
                  </a:lnTo>
                  <a:lnTo>
                    <a:pt x="526" y="441"/>
                  </a:lnTo>
                  <a:lnTo>
                    <a:pt x="531" y="435"/>
                  </a:lnTo>
                  <a:lnTo>
                    <a:pt x="522" y="429"/>
                  </a:lnTo>
                  <a:lnTo>
                    <a:pt x="515" y="427"/>
                  </a:lnTo>
                  <a:lnTo>
                    <a:pt x="522" y="426"/>
                  </a:lnTo>
                  <a:lnTo>
                    <a:pt x="533" y="427"/>
                  </a:lnTo>
                  <a:lnTo>
                    <a:pt x="544" y="425"/>
                  </a:lnTo>
                  <a:lnTo>
                    <a:pt x="542" y="420"/>
                  </a:lnTo>
                  <a:lnTo>
                    <a:pt x="517" y="416"/>
                  </a:lnTo>
                  <a:lnTo>
                    <a:pt x="506" y="413"/>
                  </a:lnTo>
                  <a:lnTo>
                    <a:pt x="486" y="402"/>
                  </a:lnTo>
                  <a:lnTo>
                    <a:pt x="489" y="394"/>
                  </a:lnTo>
                  <a:lnTo>
                    <a:pt x="496" y="391"/>
                  </a:lnTo>
                  <a:lnTo>
                    <a:pt x="486" y="386"/>
                  </a:lnTo>
                  <a:lnTo>
                    <a:pt x="473" y="383"/>
                  </a:lnTo>
                  <a:lnTo>
                    <a:pt x="462" y="383"/>
                  </a:lnTo>
                  <a:lnTo>
                    <a:pt x="453" y="377"/>
                  </a:lnTo>
                  <a:lnTo>
                    <a:pt x="454" y="367"/>
                  </a:lnTo>
                  <a:lnTo>
                    <a:pt x="456" y="357"/>
                  </a:lnTo>
                  <a:lnTo>
                    <a:pt x="451" y="354"/>
                  </a:lnTo>
                  <a:lnTo>
                    <a:pt x="426" y="356"/>
                  </a:lnTo>
                  <a:lnTo>
                    <a:pt x="419" y="351"/>
                  </a:lnTo>
                  <a:lnTo>
                    <a:pt x="410" y="336"/>
                  </a:lnTo>
                  <a:lnTo>
                    <a:pt x="403" y="330"/>
                  </a:lnTo>
                  <a:lnTo>
                    <a:pt x="397" y="323"/>
                  </a:lnTo>
                  <a:lnTo>
                    <a:pt x="397" y="309"/>
                  </a:lnTo>
                  <a:lnTo>
                    <a:pt x="395" y="303"/>
                  </a:lnTo>
                  <a:lnTo>
                    <a:pt x="393" y="301"/>
                  </a:lnTo>
                  <a:lnTo>
                    <a:pt x="387" y="300"/>
                  </a:lnTo>
                  <a:lnTo>
                    <a:pt x="383" y="296"/>
                  </a:lnTo>
                  <a:lnTo>
                    <a:pt x="367" y="285"/>
                  </a:lnTo>
                  <a:lnTo>
                    <a:pt x="356" y="271"/>
                  </a:lnTo>
                  <a:lnTo>
                    <a:pt x="348" y="268"/>
                  </a:lnTo>
                  <a:lnTo>
                    <a:pt x="341" y="255"/>
                  </a:lnTo>
                  <a:lnTo>
                    <a:pt x="339" y="244"/>
                  </a:lnTo>
                  <a:lnTo>
                    <a:pt x="334" y="237"/>
                  </a:lnTo>
                  <a:lnTo>
                    <a:pt x="339" y="231"/>
                  </a:lnTo>
                  <a:lnTo>
                    <a:pt x="351" y="231"/>
                  </a:lnTo>
                  <a:lnTo>
                    <a:pt x="362" y="230"/>
                  </a:lnTo>
                  <a:lnTo>
                    <a:pt x="370" y="227"/>
                  </a:lnTo>
                  <a:lnTo>
                    <a:pt x="378" y="227"/>
                  </a:lnTo>
                  <a:lnTo>
                    <a:pt x="379" y="212"/>
                  </a:lnTo>
                  <a:lnTo>
                    <a:pt x="375" y="201"/>
                  </a:lnTo>
                  <a:lnTo>
                    <a:pt x="366" y="193"/>
                  </a:lnTo>
                  <a:lnTo>
                    <a:pt x="356" y="187"/>
                  </a:lnTo>
                  <a:lnTo>
                    <a:pt x="348" y="187"/>
                  </a:lnTo>
                  <a:lnTo>
                    <a:pt x="323" y="182"/>
                  </a:lnTo>
                  <a:lnTo>
                    <a:pt x="314" y="178"/>
                  </a:lnTo>
                  <a:lnTo>
                    <a:pt x="296" y="166"/>
                  </a:lnTo>
                  <a:lnTo>
                    <a:pt x="270" y="160"/>
                  </a:lnTo>
                  <a:lnTo>
                    <a:pt x="266" y="156"/>
                  </a:lnTo>
                  <a:lnTo>
                    <a:pt x="266" y="136"/>
                  </a:lnTo>
                  <a:lnTo>
                    <a:pt x="262" y="124"/>
                  </a:lnTo>
                  <a:lnTo>
                    <a:pt x="250" y="112"/>
                  </a:lnTo>
                  <a:lnTo>
                    <a:pt x="238" y="103"/>
                  </a:lnTo>
                  <a:lnTo>
                    <a:pt x="225" y="97"/>
                  </a:lnTo>
                  <a:lnTo>
                    <a:pt x="201" y="82"/>
                  </a:lnTo>
                  <a:lnTo>
                    <a:pt x="193" y="70"/>
                  </a:lnTo>
                  <a:lnTo>
                    <a:pt x="188" y="65"/>
                  </a:lnTo>
                  <a:lnTo>
                    <a:pt x="177" y="65"/>
                  </a:lnTo>
                  <a:lnTo>
                    <a:pt x="166" y="61"/>
                  </a:lnTo>
                  <a:lnTo>
                    <a:pt x="124" y="43"/>
                  </a:lnTo>
                  <a:lnTo>
                    <a:pt x="102" y="39"/>
                  </a:lnTo>
                  <a:lnTo>
                    <a:pt x="92" y="36"/>
                  </a:lnTo>
                  <a:lnTo>
                    <a:pt x="81" y="33"/>
                  </a:lnTo>
                  <a:lnTo>
                    <a:pt x="63" y="22"/>
                  </a:lnTo>
                  <a:lnTo>
                    <a:pt x="42" y="16"/>
                  </a:lnTo>
                  <a:lnTo>
                    <a:pt x="31" y="10"/>
                  </a:lnTo>
                  <a:lnTo>
                    <a:pt x="16" y="7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grpSp>
          <p:nvGrpSpPr>
            <p:cNvPr id="25" name="Group 69"/>
            <p:cNvGrpSpPr>
              <a:grpSpLocks noChangeAspect="1"/>
            </p:cNvGrpSpPr>
            <p:nvPr/>
          </p:nvGrpSpPr>
          <p:grpSpPr bwMode="gray">
            <a:xfrm>
              <a:off x="7942152" y="3898905"/>
              <a:ext cx="162194" cy="254936"/>
              <a:chOff x="3802" y="2280"/>
              <a:chExt cx="102" cy="146"/>
            </a:xfrm>
            <a:grpFill/>
          </p:grpSpPr>
          <p:sp>
            <p:nvSpPr>
              <p:cNvPr id="353" name="Freeform 70"/>
              <p:cNvSpPr>
                <a:spLocks noChangeAspect="1"/>
              </p:cNvSpPr>
              <p:nvPr/>
            </p:nvSpPr>
            <p:spPr bwMode="gray">
              <a:xfrm>
                <a:off x="3802" y="2362"/>
                <a:ext cx="25" cy="33"/>
              </a:xfrm>
              <a:custGeom>
                <a:avLst/>
                <a:gdLst/>
                <a:ahLst/>
                <a:cxnLst>
                  <a:cxn ang="0">
                    <a:pos x="120" y="2"/>
                  </a:cxn>
                  <a:cxn ang="0">
                    <a:pos x="123" y="0"/>
                  </a:cxn>
                  <a:cxn ang="0">
                    <a:pos x="124" y="1"/>
                  </a:cxn>
                  <a:cxn ang="0">
                    <a:pos x="125" y="15"/>
                  </a:cxn>
                  <a:cxn ang="0">
                    <a:pos x="126" y="18"/>
                  </a:cxn>
                  <a:cxn ang="0">
                    <a:pos x="124" y="23"/>
                  </a:cxn>
                  <a:cxn ang="0">
                    <a:pos x="124" y="32"/>
                  </a:cxn>
                  <a:cxn ang="0">
                    <a:pos x="129" y="47"/>
                  </a:cxn>
                  <a:cxn ang="0">
                    <a:pos x="126" y="53"/>
                  </a:cxn>
                  <a:cxn ang="0">
                    <a:pos x="117" y="59"/>
                  </a:cxn>
                  <a:cxn ang="0">
                    <a:pos x="112" y="67"/>
                  </a:cxn>
                  <a:cxn ang="0">
                    <a:pos x="103" y="76"/>
                  </a:cxn>
                  <a:cxn ang="0">
                    <a:pos x="93" y="80"/>
                  </a:cxn>
                  <a:cxn ang="0">
                    <a:pos x="86" y="85"/>
                  </a:cxn>
                  <a:cxn ang="0">
                    <a:pos x="82" y="98"/>
                  </a:cxn>
                  <a:cxn ang="0">
                    <a:pos x="70" y="112"/>
                  </a:cxn>
                  <a:cxn ang="0">
                    <a:pos x="49" y="130"/>
                  </a:cxn>
                  <a:cxn ang="0">
                    <a:pos x="37" y="142"/>
                  </a:cxn>
                  <a:cxn ang="0">
                    <a:pos x="28" y="150"/>
                  </a:cxn>
                  <a:cxn ang="0">
                    <a:pos x="19" y="151"/>
                  </a:cxn>
                  <a:cxn ang="0">
                    <a:pos x="13" y="158"/>
                  </a:cxn>
                  <a:cxn ang="0">
                    <a:pos x="6" y="163"/>
                  </a:cxn>
                  <a:cxn ang="0">
                    <a:pos x="0" y="163"/>
                  </a:cxn>
                  <a:cxn ang="0">
                    <a:pos x="2" y="150"/>
                  </a:cxn>
                  <a:cxn ang="0">
                    <a:pos x="10" y="137"/>
                  </a:cxn>
                  <a:cxn ang="0">
                    <a:pos x="17" y="130"/>
                  </a:cxn>
                  <a:cxn ang="0">
                    <a:pos x="32" y="119"/>
                  </a:cxn>
                  <a:cxn ang="0">
                    <a:pos x="37" y="118"/>
                  </a:cxn>
                  <a:cxn ang="0">
                    <a:pos x="69" y="85"/>
                  </a:cxn>
                  <a:cxn ang="0">
                    <a:pos x="77" y="75"/>
                  </a:cxn>
                  <a:cxn ang="0">
                    <a:pos x="82" y="71"/>
                  </a:cxn>
                  <a:cxn ang="0">
                    <a:pos x="88" y="61"/>
                  </a:cxn>
                  <a:cxn ang="0">
                    <a:pos x="97" y="55"/>
                  </a:cxn>
                  <a:cxn ang="0">
                    <a:pos x="104" y="53"/>
                  </a:cxn>
                  <a:cxn ang="0">
                    <a:pos x="112" y="39"/>
                  </a:cxn>
                  <a:cxn ang="0">
                    <a:pos x="110" y="29"/>
                  </a:cxn>
                  <a:cxn ang="0">
                    <a:pos x="113" y="34"/>
                  </a:cxn>
                  <a:cxn ang="0">
                    <a:pos x="117" y="31"/>
                  </a:cxn>
                  <a:cxn ang="0">
                    <a:pos x="115" y="27"/>
                  </a:cxn>
                  <a:cxn ang="0">
                    <a:pos x="112" y="23"/>
                  </a:cxn>
                  <a:cxn ang="0">
                    <a:pos x="114" y="21"/>
                  </a:cxn>
                  <a:cxn ang="0">
                    <a:pos x="117" y="13"/>
                  </a:cxn>
                  <a:cxn ang="0">
                    <a:pos x="118" y="5"/>
                  </a:cxn>
                  <a:cxn ang="0">
                    <a:pos x="120" y="2"/>
                  </a:cxn>
                </a:cxnLst>
                <a:rect l="0" t="0" r="r" b="b"/>
                <a:pathLst>
                  <a:path w="129" h="163">
                    <a:moveTo>
                      <a:pt x="120" y="2"/>
                    </a:moveTo>
                    <a:lnTo>
                      <a:pt x="123" y="0"/>
                    </a:lnTo>
                    <a:lnTo>
                      <a:pt x="124" y="1"/>
                    </a:lnTo>
                    <a:lnTo>
                      <a:pt x="125" y="15"/>
                    </a:lnTo>
                    <a:lnTo>
                      <a:pt x="126" y="18"/>
                    </a:lnTo>
                    <a:lnTo>
                      <a:pt x="124" y="23"/>
                    </a:lnTo>
                    <a:lnTo>
                      <a:pt x="124" y="32"/>
                    </a:lnTo>
                    <a:lnTo>
                      <a:pt x="129" y="47"/>
                    </a:lnTo>
                    <a:lnTo>
                      <a:pt x="126" y="53"/>
                    </a:lnTo>
                    <a:lnTo>
                      <a:pt x="117" y="59"/>
                    </a:lnTo>
                    <a:lnTo>
                      <a:pt x="112" y="67"/>
                    </a:lnTo>
                    <a:lnTo>
                      <a:pt x="103" y="76"/>
                    </a:lnTo>
                    <a:lnTo>
                      <a:pt x="93" y="80"/>
                    </a:lnTo>
                    <a:lnTo>
                      <a:pt x="86" y="85"/>
                    </a:lnTo>
                    <a:lnTo>
                      <a:pt x="82" y="98"/>
                    </a:lnTo>
                    <a:lnTo>
                      <a:pt x="70" y="112"/>
                    </a:lnTo>
                    <a:lnTo>
                      <a:pt x="49" y="130"/>
                    </a:lnTo>
                    <a:lnTo>
                      <a:pt x="37" y="142"/>
                    </a:lnTo>
                    <a:lnTo>
                      <a:pt x="28" y="150"/>
                    </a:lnTo>
                    <a:lnTo>
                      <a:pt x="19" y="151"/>
                    </a:lnTo>
                    <a:lnTo>
                      <a:pt x="13" y="158"/>
                    </a:lnTo>
                    <a:lnTo>
                      <a:pt x="6" y="163"/>
                    </a:lnTo>
                    <a:lnTo>
                      <a:pt x="0" y="163"/>
                    </a:lnTo>
                    <a:lnTo>
                      <a:pt x="2" y="150"/>
                    </a:lnTo>
                    <a:lnTo>
                      <a:pt x="10" y="137"/>
                    </a:lnTo>
                    <a:lnTo>
                      <a:pt x="17" y="130"/>
                    </a:lnTo>
                    <a:lnTo>
                      <a:pt x="32" y="119"/>
                    </a:lnTo>
                    <a:lnTo>
                      <a:pt x="37" y="118"/>
                    </a:lnTo>
                    <a:lnTo>
                      <a:pt x="69" y="85"/>
                    </a:lnTo>
                    <a:lnTo>
                      <a:pt x="77" y="75"/>
                    </a:lnTo>
                    <a:lnTo>
                      <a:pt x="82" y="71"/>
                    </a:lnTo>
                    <a:lnTo>
                      <a:pt x="88" y="61"/>
                    </a:lnTo>
                    <a:lnTo>
                      <a:pt x="97" y="55"/>
                    </a:lnTo>
                    <a:lnTo>
                      <a:pt x="104" y="53"/>
                    </a:lnTo>
                    <a:lnTo>
                      <a:pt x="112" y="39"/>
                    </a:lnTo>
                    <a:lnTo>
                      <a:pt x="110" y="29"/>
                    </a:lnTo>
                    <a:lnTo>
                      <a:pt x="113" y="34"/>
                    </a:lnTo>
                    <a:lnTo>
                      <a:pt x="117" y="31"/>
                    </a:lnTo>
                    <a:lnTo>
                      <a:pt x="115" y="27"/>
                    </a:lnTo>
                    <a:lnTo>
                      <a:pt x="112" y="23"/>
                    </a:lnTo>
                    <a:lnTo>
                      <a:pt x="114" y="21"/>
                    </a:lnTo>
                    <a:lnTo>
                      <a:pt x="117" y="13"/>
                    </a:lnTo>
                    <a:lnTo>
                      <a:pt x="118" y="5"/>
                    </a:lnTo>
                    <a:lnTo>
                      <a:pt x="120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54" name="Freeform 71"/>
              <p:cNvSpPr>
                <a:spLocks noChangeAspect="1"/>
              </p:cNvSpPr>
              <p:nvPr/>
            </p:nvSpPr>
            <p:spPr bwMode="gray">
              <a:xfrm>
                <a:off x="3835" y="2339"/>
                <a:ext cx="14" cy="14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32" y="0"/>
                  </a:cxn>
                  <a:cxn ang="0">
                    <a:pos x="37" y="0"/>
                  </a:cxn>
                  <a:cxn ang="0">
                    <a:pos x="47" y="3"/>
                  </a:cxn>
                  <a:cxn ang="0">
                    <a:pos x="56" y="10"/>
                  </a:cxn>
                  <a:cxn ang="0">
                    <a:pos x="59" y="16"/>
                  </a:cxn>
                  <a:cxn ang="0">
                    <a:pos x="63" y="17"/>
                  </a:cxn>
                  <a:cxn ang="0">
                    <a:pos x="64" y="28"/>
                  </a:cxn>
                  <a:cxn ang="0">
                    <a:pos x="64" y="38"/>
                  </a:cxn>
                  <a:cxn ang="0">
                    <a:pos x="67" y="51"/>
                  </a:cxn>
                  <a:cxn ang="0">
                    <a:pos x="63" y="54"/>
                  </a:cxn>
                  <a:cxn ang="0">
                    <a:pos x="63" y="62"/>
                  </a:cxn>
                  <a:cxn ang="0">
                    <a:pos x="48" y="71"/>
                  </a:cxn>
                  <a:cxn ang="0">
                    <a:pos x="45" y="64"/>
                  </a:cxn>
                  <a:cxn ang="0">
                    <a:pos x="36" y="57"/>
                  </a:cxn>
                  <a:cxn ang="0">
                    <a:pos x="26" y="36"/>
                  </a:cxn>
                  <a:cxn ang="0">
                    <a:pos x="25" y="25"/>
                  </a:cxn>
                  <a:cxn ang="0">
                    <a:pos x="20" y="16"/>
                  </a:cxn>
                  <a:cxn ang="0">
                    <a:pos x="13" y="13"/>
                  </a:cxn>
                  <a:cxn ang="0">
                    <a:pos x="10" y="4"/>
                  </a:cxn>
                  <a:cxn ang="0">
                    <a:pos x="5" y="3"/>
                  </a:cxn>
                  <a:cxn ang="0">
                    <a:pos x="2" y="3"/>
                  </a:cxn>
                </a:cxnLst>
                <a:rect l="0" t="0" r="r" b="b"/>
                <a:pathLst>
                  <a:path w="67" h="71">
                    <a:moveTo>
                      <a:pt x="2" y="3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32" y="0"/>
                    </a:lnTo>
                    <a:lnTo>
                      <a:pt x="37" y="0"/>
                    </a:lnTo>
                    <a:lnTo>
                      <a:pt x="47" y="3"/>
                    </a:lnTo>
                    <a:lnTo>
                      <a:pt x="56" y="10"/>
                    </a:lnTo>
                    <a:lnTo>
                      <a:pt x="59" y="16"/>
                    </a:lnTo>
                    <a:lnTo>
                      <a:pt x="63" y="17"/>
                    </a:lnTo>
                    <a:lnTo>
                      <a:pt x="64" y="28"/>
                    </a:lnTo>
                    <a:lnTo>
                      <a:pt x="64" y="38"/>
                    </a:lnTo>
                    <a:lnTo>
                      <a:pt x="67" y="51"/>
                    </a:lnTo>
                    <a:lnTo>
                      <a:pt x="63" y="54"/>
                    </a:lnTo>
                    <a:lnTo>
                      <a:pt x="63" y="62"/>
                    </a:lnTo>
                    <a:lnTo>
                      <a:pt x="48" y="71"/>
                    </a:lnTo>
                    <a:lnTo>
                      <a:pt x="45" y="64"/>
                    </a:lnTo>
                    <a:lnTo>
                      <a:pt x="36" y="57"/>
                    </a:lnTo>
                    <a:lnTo>
                      <a:pt x="26" y="36"/>
                    </a:lnTo>
                    <a:lnTo>
                      <a:pt x="25" y="25"/>
                    </a:lnTo>
                    <a:lnTo>
                      <a:pt x="20" y="16"/>
                    </a:lnTo>
                    <a:lnTo>
                      <a:pt x="13" y="13"/>
                    </a:lnTo>
                    <a:lnTo>
                      <a:pt x="10" y="4"/>
                    </a:lnTo>
                    <a:lnTo>
                      <a:pt x="5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55" name="Freeform 72"/>
              <p:cNvSpPr>
                <a:spLocks noChangeAspect="1"/>
              </p:cNvSpPr>
              <p:nvPr/>
            </p:nvSpPr>
            <p:spPr bwMode="gray">
              <a:xfrm>
                <a:off x="3830" y="2280"/>
                <a:ext cx="47" cy="69"/>
              </a:xfrm>
              <a:custGeom>
                <a:avLst/>
                <a:gdLst/>
                <a:ahLst/>
                <a:cxnLst>
                  <a:cxn ang="0">
                    <a:pos x="139" y="17"/>
                  </a:cxn>
                  <a:cxn ang="0">
                    <a:pos x="129" y="44"/>
                  </a:cxn>
                  <a:cxn ang="0">
                    <a:pos x="139" y="75"/>
                  </a:cxn>
                  <a:cxn ang="0">
                    <a:pos x="146" y="97"/>
                  </a:cxn>
                  <a:cxn ang="0">
                    <a:pos x="133" y="132"/>
                  </a:cxn>
                  <a:cxn ang="0">
                    <a:pos x="120" y="144"/>
                  </a:cxn>
                  <a:cxn ang="0">
                    <a:pos x="98" y="165"/>
                  </a:cxn>
                  <a:cxn ang="0">
                    <a:pos x="87" y="188"/>
                  </a:cxn>
                  <a:cxn ang="0">
                    <a:pos x="98" y="216"/>
                  </a:cxn>
                  <a:cxn ang="0">
                    <a:pos x="99" y="238"/>
                  </a:cxn>
                  <a:cxn ang="0">
                    <a:pos x="120" y="268"/>
                  </a:cxn>
                  <a:cxn ang="0">
                    <a:pos x="131" y="261"/>
                  </a:cxn>
                  <a:cxn ang="0">
                    <a:pos x="145" y="245"/>
                  </a:cxn>
                  <a:cxn ang="0">
                    <a:pos x="167" y="245"/>
                  </a:cxn>
                  <a:cxn ang="0">
                    <a:pos x="179" y="273"/>
                  </a:cxn>
                  <a:cxn ang="0">
                    <a:pos x="189" y="259"/>
                  </a:cxn>
                  <a:cxn ang="0">
                    <a:pos x="206" y="267"/>
                  </a:cxn>
                  <a:cxn ang="0">
                    <a:pos x="215" y="279"/>
                  </a:cxn>
                  <a:cxn ang="0">
                    <a:pos x="216" y="299"/>
                  </a:cxn>
                  <a:cxn ang="0">
                    <a:pos x="220" y="312"/>
                  </a:cxn>
                  <a:cxn ang="0">
                    <a:pos x="232" y="317"/>
                  </a:cxn>
                  <a:cxn ang="0">
                    <a:pos x="231" y="345"/>
                  </a:cxn>
                  <a:cxn ang="0">
                    <a:pos x="227" y="324"/>
                  </a:cxn>
                  <a:cxn ang="0">
                    <a:pos x="201" y="317"/>
                  </a:cxn>
                  <a:cxn ang="0">
                    <a:pos x="184" y="294"/>
                  </a:cxn>
                  <a:cxn ang="0">
                    <a:pos x="166" y="279"/>
                  </a:cxn>
                  <a:cxn ang="0">
                    <a:pos x="149" y="280"/>
                  </a:cxn>
                  <a:cxn ang="0">
                    <a:pos x="152" y="306"/>
                  </a:cxn>
                  <a:cxn ang="0">
                    <a:pos x="124" y="273"/>
                  </a:cxn>
                  <a:cxn ang="0">
                    <a:pos x="98" y="268"/>
                  </a:cxn>
                  <a:cxn ang="0">
                    <a:pos x="75" y="284"/>
                  </a:cxn>
                  <a:cxn ang="0">
                    <a:pos x="56" y="270"/>
                  </a:cxn>
                  <a:cxn ang="0">
                    <a:pos x="45" y="254"/>
                  </a:cxn>
                  <a:cxn ang="0">
                    <a:pos x="61" y="231"/>
                  </a:cxn>
                  <a:cxn ang="0">
                    <a:pos x="45" y="219"/>
                  </a:cxn>
                  <a:cxn ang="0">
                    <a:pos x="33" y="230"/>
                  </a:cxn>
                  <a:cxn ang="0">
                    <a:pos x="16" y="203"/>
                  </a:cxn>
                  <a:cxn ang="0">
                    <a:pos x="0" y="138"/>
                  </a:cxn>
                  <a:cxn ang="0">
                    <a:pos x="17" y="146"/>
                  </a:cxn>
                  <a:cxn ang="0">
                    <a:pos x="29" y="97"/>
                  </a:cxn>
                  <a:cxn ang="0">
                    <a:pos x="33" y="53"/>
                  </a:cxn>
                  <a:cxn ang="0">
                    <a:pos x="43" y="7"/>
                  </a:cxn>
                  <a:cxn ang="0">
                    <a:pos x="67" y="1"/>
                  </a:cxn>
                  <a:cxn ang="0">
                    <a:pos x="113" y="17"/>
                  </a:cxn>
                  <a:cxn ang="0">
                    <a:pos x="130" y="4"/>
                  </a:cxn>
                </a:cxnLst>
                <a:rect l="0" t="0" r="r" b="b"/>
                <a:pathLst>
                  <a:path w="236" h="345">
                    <a:moveTo>
                      <a:pt x="134" y="10"/>
                    </a:moveTo>
                    <a:lnTo>
                      <a:pt x="137" y="14"/>
                    </a:lnTo>
                    <a:lnTo>
                      <a:pt x="139" y="17"/>
                    </a:lnTo>
                    <a:lnTo>
                      <a:pt x="135" y="22"/>
                    </a:lnTo>
                    <a:lnTo>
                      <a:pt x="130" y="33"/>
                    </a:lnTo>
                    <a:lnTo>
                      <a:pt x="129" y="44"/>
                    </a:lnTo>
                    <a:lnTo>
                      <a:pt x="129" y="66"/>
                    </a:lnTo>
                    <a:lnTo>
                      <a:pt x="134" y="74"/>
                    </a:lnTo>
                    <a:lnTo>
                      <a:pt x="139" y="75"/>
                    </a:lnTo>
                    <a:lnTo>
                      <a:pt x="141" y="81"/>
                    </a:lnTo>
                    <a:lnTo>
                      <a:pt x="146" y="87"/>
                    </a:lnTo>
                    <a:lnTo>
                      <a:pt x="146" y="97"/>
                    </a:lnTo>
                    <a:lnTo>
                      <a:pt x="141" y="109"/>
                    </a:lnTo>
                    <a:lnTo>
                      <a:pt x="135" y="122"/>
                    </a:lnTo>
                    <a:lnTo>
                      <a:pt x="133" y="132"/>
                    </a:lnTo>
                    <a:lnTo>
                      <a:pt x="128" y="143"/>
                    </a:lnTo>
                    <a:lnTo>
                      <a:pt x="121" y="148"/>
                    </a:lnTo>
                    <a:lnTo>
                      <a:pt x="120" y="144"/>
                    </a:lnTo>
                    <a:lnTo>
                      <a:pt x="112" y="150"/>
                    </a:lnTo>
                    <a:lnTo>
                      <a:pt x="104" y="156"/>
                    </a:lnTo>
                    <a:lnTo>
                      <a:pt x="98" y="165"/>
                    </a:lnTo>
                    <a:lnTo>
                      <a:pt x="98" y="175"/>
                    </a:lnTo>
                    <a:lnTo>
                      <a:pt x="94" y="184"/>
                    </a:lnTo>
                    <a:lnTo>
                      <a:pt x="87" y="188"/>
                    </a:lnTo>
                    <a:lnTo>
                      <a:pt x="88" y="198"/>
                    </a:lnTo>
                    <a:lnTo>
                      <a:pt x="93" y="208"/>
                    </a:lnTo>
                    <a:lnTo>
                      <a:pt x="98" y="216"/>
                    </a:lnTo>
                    <a:lnTo>
                      <a:pt x="102" y="222"/>
                    </a:lnTo>
                    <a:lnTo>
                      <a:pt x="99" y="227"/>
                    </a:lnTo>
                    <a:lnTo>
                      <a:pt x="99" y="238"/>
                    </a:lnTo>
                    <a:lnTo>
                      <a:pt x="104" y="247"/>
                    </a:lnTo>
                    <a:lnTo>
                      <a:pt x="106" y="254"/>
                    </a:lnTo>
                    <a:lnTo>
                      <a:pt x="120" y="268"/>
                    </a:lnTo>
                    <a:lnTo>
                      <a:pt x="125" y="268"/>
                    </a:lnTo>
                    <a:lnTo>
                      <a:pt x="134" y="265"/>
                    </a:lnTo>
                    <a:lnTo>
                      <a:pt x="131" y="261"/>
                    </a:lnTo>
                    <a:lnTo>
                      <a:pt x="133" y="251"/>
                    </a:lnTo>
                    <a:lnTo>
                      <a:pt x="136" y="253"/>
                    </a:lnTo>
                    <a:lnTo>
                      <a:pt x="145" y="245"/>
                    </a:lnTo>
                    <a:lnTo>
                      <a:pt x="155" y="247"/>
                    </a:lnTo>
                    <a:lnTo>
                      <a:pt x="160" y="243"/>
                    </a:lnTo>
                    <a:lnTo>
                      <a:pt x="167" y="245"/>
                    </a:lnTo>
                    <a:lnTo>
                      <a:pt x="173" y="252"/>
                    </a:lnTo>
                    <a:lnTo>
                      <a:pt x="178" y="263"/>
                    </a:lnTo>
                    <a:lnTo>
                      <a:pt x="179" y="273"/>
                    </a:lnTo>
                    <a:lnTo>
                      <a:pt x="184" y="276"/>
                    </a:lnTo>
                    <a:lnTo>
                      <a:pt x="190" y="270"/>
                    </a:lnTo>
                    <a:lnTo>
                      <a:pt x="189" y="259"/>
                    </a:lnTo>
                    <a:lnTo>
                      <a:pt x="194" y="262"/>
                    </a:lnTo>
                    <a:lnTo>
                      <a:pt x="198" y="264"/>
                    </a:lnTo>
                    <a:lnTo>
                      <a:pt x="206" y="267"/>
                    </a:lnTo>
                    <a:lnTo>
                      <a:pt x="221" y="273"/>
                    </a:lnTo>
                    <a:lnTo>
                      <a:pt x="223" y="278"/>
                    </a:lnTo>
                    <a:lnTo>
                      <a:pt x="215" y="279"/>
                    </a:lnTo>
                    <a:lnTo>
                      <a:pt x="207" y="285"/>
                    </a:lnTo>
                    <a:lnTo>
                      <a:pt x="209" y="294"/>
                    </a:lnTo>
                    <a:lnTo>
                      <a:pt x="216" y="299"/>
                    </a:lnTo>
                    <a:lnTo>
                      <a:pt x="221" y="301"/>
                    </a:lnTo>
                    <a:lnTo>
                      <a:pt x="219" y="308"/>
                    </a:lnTo>
                    <a:lnTo>
                      <a:pt x="220" y="312"/>
                    </a:lnTo>
                    <a:lnTo>
                      <a:pt x="225" y="312"/>
                    </a:lnTo>
                    <a:lnTo>
                      <a:pt x="226" y="316"/>
                    </a:lnTo>
                    <a:lnTo>
                      <a:pt x="232" y="317"/>
                    </a:lnTo>
                    <a:lnTo>
                      <a:pt x="236" y="321"/>
                    </a:lnTo>
                    <a:lnTo>
                      <a:pt x="236" y="339"/>
                    </a:lnTo>
                    <a:lnTo>
                      <a:pt x="231" y="345"/>
                    </a:lnTo>
                    <a:lnTo>
                      <a:pt x="223" y="338"/>
                    </a:lnTo>
                    <a:lnTo>
                      <a:pt x="221" y="331"/>
                    </a:lnTo>
                    <a:lnTo>
                      <a:pt x="227" y="324"/>
                    </a:lnTo>
                    <a:lnTo>
                      <a:pt x="223" y="324"/>
                    </a:lnTo>
                    <a:lnTo>
                      <a:pt x="211" y="324"/>
                    </a:lnTo>
                    <a:lnTo>
                      <a:pt x="201" y="317"/>
                    </a:lnTo>
                    <a:lnTo>
                      <a:pt x="194" y="315"/>
                    </a:lnTo>
                    <a:lnTo>
                      <a:pt x="190" y="302"/>
                    </a:lnTo>
                    <a:lnTo>
                      <a:pt x="184" y="294"/>
                    </a:lnTo>
                    <a:lnTo>
                      <a:pt x="173" y="289"/>
                    </a:lnTo>
                    <a:lnTo>
                      <a:pt x="168" y="284"/>
                    </a:lnTo>
                    <a:lnTo>
                      <a:pt x="166" y="279"/>
                    </a:lnTo>
                    <a:lnTo>
                      <a:pt x="157" y="270"/>
                    </a:lnTo>
                    <a:lnTo>
                      <a:pt x="147" y="268"/>
                    </a:lnTo>
                    <a:lnTo>
                      <a:pt x="149" y="280"/>
                    </a:lnTo>
                    <a:lnTo>
                      <a:pt x="158" y="302"/>
                    </a:lnTo>
                    <a:lnTo>
                      <a:pt x="158" y="306"/>
                    </a:lnTo>
                    <a:lnTo>
                      <a:pt x="152" y="306"/>
                    </a:lnTo>
                    <a:lnTo>
                      <a:pt x="147" y="294"/>
                    </a:lnTo>
                    <a:lnTo>
                      <a:pt x="137" y="286"/>
                    </a:lnTo>
                    <a:lnTo>
                      <a:pt x="124" y="273"/>
                    </a:lnTo>
                    <a:lnTo>
                      <a:pt x="115" y="268"/>
                    </a:lnTo>
                    <a:lnTo>
                      <a:pt x="109" y="267"/>
                    </a:lnTo>
                    <a:lnTo>
                      <a:pt x="98" y="268"/>
                    </a:lnTo>
                    <a:lnTo>
                      <a:pt x="92" y="278"/>
                    </a:lnTo>
                    <a:lnTo>
                      <a:pt x="85" y="283"/>
                    </a:lnTo>
                    <a:lnTo>
                      <a:pt x="75" y="284"/>
                    </a:lnTo>
                    <a:lnTo>
                      <a:pt x="70" y="278"/>
                    </a:lnTo>
                    <a:lnTo>
                      <a:pt x="63" y="276"/>
                    </a:lnTo>
                    <a:lnTo>
                      <a:pt x="56" y="270"/>
                    </a:lnTo>
                    <a:lnTo>
                      <a:pt x="50" y="274"/>
                    </a:lnTo>
                    <a:lnTo>
                      <a:pt x="47" y="264"/>
                    </a:lnTo>
                    <a:lnTo>
                      <a:pt x="45" y="254"/>
                    </a:lnTo>
                    <a:lnTo>
                      <a:pt x="49" y="247"/>
                    </a:lnTo>
                    <a:lnTo>
                      <a:pt x="56" y="240"/>
                    </a:lnTo>
                    <a:lnTo>
                      <a:pt x="61" y="231"/>
                    </a:lnTo>
                    <a:lnTo>
                      <a:pt x="61" y="225"/>
                    </a:lnTo>
                    <a:lnTo>
                      <a:pt x="55" y="220"/>
                    </a:lnTo>
                    <a:lnTo>
                      <a:pt x="45" y="219"/>
                    </a:lnTo>
                    <a:lnTo>
                      <a:pt x="44" y="233"/>
                    </a:lnTo>
                    <a:lnTo>
                      <a:pt x="42" y="238"/>
                    </a:lnTo>
                    <a:lnTo>
                      <a:pt x="33" y="230"/>
                    </a:lnTo>
                    <a:lnTo>
                      <a:pt x="28" y="219"/>
                    </a:lnTo>
                    <a:lnTo>
                      <a:pt x="21" y="219"/>
                    </a:lnTo>
                    <a:lnTo>
                      <a:pt x="16" y="203"/>
                    </a:lnTo>
                    <a:lnTo>
                      <a:pt x="13" y="188"/>
                    </a:lnTo>
                    <a:lnTo>
                      <a:pt x="2" y="155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8" y="136"/>
                    </a:lnTo>
                    <a:lnTo>
                      <a:pt x="17" y="146"/>
                    </a:lnTo>
                    <a:lnTo>
                      <a:pt x="29" y="143"/>
                    </a:lnTo>
                    <a:lnTo>
                      <a:pt x="28" y="113"/>
                    </a:lnTo>
                    <a:lnTo>
                      <a:pt x="29" y="97"/>
                    </a:lnTo>
                    <a:lnTo>
                      <a:pt x="34" y="82"/>
                    </a:lnTo>
                    <a:lnTo>
                      <a:pt x="34" y="65"/>
                    </a:lnTo>
                    <a:lnTo>
                      <a:pt x="33" y="53"/>
                    </a:lnTo>
                    <a:lnTo>
                      <a:pt x="34" y="41"/>
                    </a:lnTo>
                    <a:lnTo>
                      <a:pt x="38" y="17"/>
                    </a:lnTo>
                    <a:lnTo>
                      <a:pt x="43" y="7"/>
                    </a:lnTo>
                    <a:lnTo>
                      <a:pt x="50" y="0"/>
                    </a:lnTo>
                    <a:lnTo>
                      <a:pt x="56" y="1"/>
                    </a:lnTo>
                    <a:lnTo>
                      <a:pt x="67" y="1"/>
                    </a:lnTo>
                    <a:lnTo>
                      <a:pt x="80" y="4"/>
                    </a:lnTo>
                    <a:lnTo>
                      <a:pt x="102" y="17"/>
                    </a:lnTo>
                    <a:lnTo>
                      <a:pt x="113" y="17"/>
                    </a:lnTo>
                    <a:lnTo>
                      <a:pt x="120" y="15"/>
                    </a:lnTo>
                    <a:lnTo>
                      <a:pt x="123" y="4"/>
                    </a:lnTo>
                    <a:lnTo>
                      <a:pt x="130" y="4"/>
                    </a:lnTo>
                    <a:lnTo>
                      <a:pt x="134" y="1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56" name="Freeform 73"/>
              <p:cNvSpPr>
                <a:spLocks noChangeAspect="1"/>
              </p:cNvSpPr>
              <p:nvPr/>
            </p:nvSpPr>
            <p:spPr bwMode="gray">
              <a:xfrm>
                <a:off x="3867" y="2349"/>
                <a:ext cx="9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6" y="2"/>
                  </a:cxn>
                  <a:cxn ang="0">
                    <a:pos x="7" y="4"/>
                  </a:cxn>
                  <a:cxn ang="0">
                    <a:pos x="9" y="6"/>
                  </a:cxn>
                  <a:cxn ang="0">
                    <a:pos x="14" y="6"/>
                  </a:cxn>
                  <a:cxn ang="0">
                    <a:pos x="43" y="29"/>
                  </a:cxn>
                  <a:cxn ang="0">
                    <a:pos x="45" y="35"/>
                  </a:cxn>
                  <a:cxn ang="0">
                    <a:pos x="45" y="45"/>
                  </a:cxn>
                  <a:cxn ang="0">
                    <a:pos x="35" y="41"/>
                  </a:cxn>
                  <a:cxn ang="0">
                    <a:pos x="27" y="35"/>
                  </a:cxn>
                  <a:cxn ang="0">
                    <a:pos x="20" y="25"/>
                  </a:cxn>
                  <a:cxn ang="0">
                    <a:pos x="17" y="22"/>
                  </a:cxn>
                  <a:cxn ang="0">
                    <a:pos x="9" y="27"/>
                  </a:cxn>
                  <a:cxn ang="0">
                    <a:pos x="2" y="33"/>
                  </a:cxn>
                  <a:cxn ang="0">
                    <a:pos x="0" y="32"/>
                  </a:cxn>
                  <a:cxn ang="0">
                    <a:pos x="2" y="18"/>
                  </a:cxn>
                  <a:cxn ang="0">
                    <a:pos x="2" y="0"/>
                  </a:cxn>
                </a:cxnLst>
                <a:rect l="0" t="0" r="r" b="b"/>
                <a:pathLst>
                  <a:path w="45" h="45">
                    <a:moveTo>
                      <a:pt x="2" y="0"/>
                    </a:moveTo>
                    <a:lnTo>
                      <a:pt x="6" y="2"/>
                    </a:lnTo>
                    <a:lnTo>
                      <a:pt x="7" y="4"/>
                    </a:lnTo>
                    <a:lnTo>
                      <a:pt x="9" y="6"/>
                    </a:lnTo>
                    <a:lnTo>
                      <a:pt x="14" y="6"/>
                    </a:lnTo>
                    <a:lnTo>
                      <a:pt x="43" y="29"/>
                    </a:lnTo>
                    <a:lnTo>
                      <a:pt x="45" y="35"/>
                    </a:lnTo>
                    <a:lnTo>
                      <a:pt x="45" y="45"/>
                    </a:lnTo>
                    <a:lnTo>
                      <a:pt x="35" y="41"/>
                    </a:lnTo>
                    <a:lnTo>
                      <a:pt x="27" y="35"/>
                    </a:lnTo>
                    <a:lnTo>
                      <a:pt x="20" y="25"/>
                    </a:lnTo>
                    <a:lnTo>
                      <a:pt x="17" y="22"/>
                    </a:lnTo>
                    <a:lnTo>
                      <a:pt x="9" y="27"/>
                    </a:lnTo>
                    <a:lnTo>
                      <a:pt x="2" y="33"/>
                    </a:lnTo>
                    <a:lnTo>
                      <a:pt x="0" y="32"/>
                    </a:lnTo>
                    <a:lnTo>
                      <a:pt x="2" y="18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57" name="Freeform 74"/>
              <p:cNvSpPr>
                <a:spLocks noChangeAspect="1"/>
              </p:cNvSpPr>
              <p:nvPr/>
            </p:nvSpPr>
            <p:spPr bwMode="gray">
              <a:xfrm>
                <a:off x="3879" y="2348"/>
                <a:ext cx="15" cy="17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3" y="4"/>
                  </a:cxn>
                  <a:cxn ang="0">
                    <a:pos x="26" y="5"/>
                  </a:cxn>
                  <a:cxn ang="0">
                    <a:pos x="38" y="0"/>
                  </a:cxn>
                  <a:cxn ang="0">
                    <a:pos x="44" y="2"/>
                  </a:cxn>
                  <a:cxn ang="0">
                    <a:pos x="51" y="6"/>
                  </a:cxn>
                  <a:cxn ang="0">
                    <a:pos x="55" y="15"/>
                  </a:cxn>
                  <a:cxn ang="0">
                    <a:pos x="64" y="21"/>
                  </a:cxn>
                  <a:cxn ang="0">
                    <a:pos x="64" y="32"/>
                  </a:cxn>
                  <a:cxn ang="0">
                    <a:pos x="62" y="47"/>
                  </a:cxn>
                  <a:cxn ang="0">
                    <a:pos x="64" y="57"/>
                  </a:cxn>
                  <a:cxn ang="0">
                    <a:pos x="72" y="78"/>
                  </a:cxn>
                  <a:cxn ang="0">
                    <a:pos x="77" y="85"/>
                  </a:cxn>
                  <a:cxn ang="0">
                    <a:pos x="62" y="85"/>
                  </a:cxn>
                  <a:cxn ang="0">
                    <a:pos x="51" y="83"/>
                  </a:cxn>
                  <a:cxn ang="0">
                    <a:pos x="48" y="73"/>
                  </a:cxn>
                  <a:cxn ang="0">
                    <a:pos x="42" y="70"/>
                  </a:cxn>
                  <a:cxn ang="0">
                    <a:pos x="34" y="64"/>
                  </a:cxn>
                  <a:cxn ang="0">
                    <a:pos x="34" y="59"/>
                  </a:cxn>
                  <a:cxn ang="0">
                    <a:pos x="37" y="51"/>
                  </a:cxn>
                  <a:cxn ang="0">
                    <a:pos x="35" y="48"/>
                  </a:cxn>
                  <a:cxn ang="0">
                    <a:pos x="19" y="32"/>
                  </a:cxn>
                  <a:cxn ang="0">
                    <a:pos x="13" y="30"/>
                  </a:cxn>
                  <a:cxn ang="0">
                    <a:pos x="6" y="21"/>
                  </a:cxn>
                  <a:cxn ang="0">
                    <a:pos x="0" y="6"/>
                  </a:cxn>
                  <a:cxn ang="0">
                    <a:pos x="0" y="4"/>
                  </a:cxn>
                </a:cxnLst>
                <a:rect l="0" t="0" r="r" b="b"/>
                <a:pathLst>
                  <a:path w="77" h="85">
                    <a:moveTo>
                      <a:pt x="0" y="4"/>
                    </a:moveTo>
                    <a:lnTo>
                      <a:pt x="3" y="4"/>
                    </a:lnTo>
                    <a:lnTo>
                      <a:pt x="26" y="5"/>
                    </a:lnTo>
                    <a:lnTo>
                      <a:pt x="38" y="0"/>
                    </a:lnTo>
                    <a:lnTo>
                      <a:pt x="44" y="2"/>
                    </a:lnTo>
                    <a:lnTo>
                      <a:pt x="51" y="6"/>
                    </a:lnTo>
                    <a:lnTo>
                      <a:pt x="55" y="15"/>
                    </a:lnTo>
                    <a:lnTo>
                      <a:pt x="64" y="21"/>
                    </a:lnTo>
                    <a:lnTo>
                      <a:pt x="64" y="32"/>
                    </a:lnTo>
                    <a:lnTo>
                      <a:pt x="62" y="47"/>
                    </a:lnTo>
                    <a:lnTo>
                      <a:pt x="64" y="57"/>
                    </a:lnTo>
                    <a:lnTo>
                      <a:pt x="72" y="78"/>
                    </a:lnTo>
                    <a:lnTo>
                      <a:pt x="77" y="85"/>
                    </a:lnTo>
                    <a:lnTo>
                      <a:pt x="62" y="85"/>
                    </a:lnTo>
                    <a:lnTo>
                      <a:pt x="51" y="83"/>
                    </a:lnTo>
                    <a:lnTo>
                      <a:pt x="48" y="73"/>
                    </a:lnTo>
                    <a:lnTo>
                      <a:pt x="42" y="70"/>
                    </a:lnTo>
                    <a:lnTo>
                      <a:pt x="34" y="64"/>
                    </a:lnTo>
                    <a:lnTo>
                      <a:pt x="34" y="59"/>
                    </a:lnTo>
                    <a:lnTo>
                      <a:pt x="37" y="51"/>
                    </a:lnTo>
                    <a:lnTo>
                      <a:pt x="35" y="48"/>
                    </a:lnTo>
                    <a:lnTo>
                      <a:pt x="19" y="32"/>
                    </a:lnTo>
                    <a:lnTo>
                      <a:pt x="13" y="30"/>
                    </a:lnTo>
                    <a:lnTo>
                      <a:pt x="6" y="21"/>
                    </a:lnTo>
                    <a:lnTo>
                      <a:pt x="0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58" name="Freeform 75"/>
              <p:cNvSpPr>
                <a:spLocks noChangeAspect="1"/>
              </p:cNvSpPr>
              <p:nvPr/>
            </p:nvSpPr>
            <p:spPr bwMode="gray">
              <a:xfrm>
                <a:off x="3853" y="2356"/>
                <a:ext cx="13" cy="17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11" y="2"/>
                  </a:cxn>
                  <a:cxn ang="0">
                    <a:pos x="24" y="11"/>
                  </a:cxn>
                  <a:cxn ang="0">
                    <a:pos x="27" y="17"/>
                  </a:cxn>
                  <a:cxn ang="0">
                    <a:pos x="33" y="18"/>
                  </a:cxn>
                  <a:cxn ang="0">
                    <a:pos x="49" y="18"/>
                  </a:cxn>
                  <a:cxn ang="0">
                    <a:pos x="50" y="22"/>
                  </a:cxn>
                  <a:cxn ang="0">
                    <a:pos x="60" y="19"/>
                  </a:cxn>
                  <a:cxn ang="0">
                    <a:pos x="63" y="21"/>
                  </a:cxn>
                  <a:cxn ang="0">
                    <a:pos x="63" y="33"/>
                  </a:cxn>
                  <a:cxn ang="0">
                    <a:pos x="60" y="44"/>
                  </a:cxn>
                  <a:cxn ang="0">
                    <a:pos x="52" y="49"/>
                  </a:cxn>
                  <a:cxn ang="0">
                    <a:pos x="44" y="59"/>
                  </a:cxn>
                  <a:cxn ang="0">
                    <a:pos x="36" y="65"/>
                  </a:cxn>
                  <a:cxn ang="0">
                    <a:pos x="32" y="67"/>
                  </a:cxn>
                  <a:cxn ang="0">
                    <a:pos x="23" y="68"/>
                  </a:cxn>
                  <a:cxn ang="0">
                    <a:pos x="11" y="73"/>
                  </a:cxn>
                  <a:cxn ang="0">
                    <a:pos x="3" y="83"/>
                  </a:cxn>
                  <a:cxn ang="0">
                    <a:pos x="1" y="71"/>
                  </a:cxn>
                  <a:cxn ang="0">
                    <a:pos x="1" y="59"/>
                  </a:cxn>
                  <a:cxn ang="0">
                    <a:pos x="3" y="45"/>
                  </a:cxn>
                  <a:cxn ang="0">
                    <a:pos x="6" y="17"/>
                  </a:cxn>
                  <a:cxn ang="0">
                    <a:pos x="4" y="11"/>
                  </a:cxn>
                  <a:cxn ang="0">
                    <a:pos x="0" y="6"/>
                  </a:cxn>
                  <a:cxn ang="0">
                    <a:pos x="0" y="1"/>
                  </a:cxn>
                </a:cxnLst>
                <a:rect l="0" t="0" r="r" b="b"/>
                <a:pathLst>
                  <a:path w="63" h="83">
                    <a:moveTo>
                      <a:pt x="0" y="1"/>
                    </a:moveTo>
                    <a:lnTo>
                      <a:pt x="2" y="0"/>
                    </a:lnTo>
                    <a:lnTo>
                      <a:pt x="11" y="2"/>
                    </a:lnTo>
                    <a:lnTo>
                      <a:pt x="24" y="11"/>
                    </a:lnTo>
                    <a:lnTo>
                      <a:pt x="27" y="17"/>
                    </a:lnTo>
                    <a:lnTo>
                      <a:pt x="33" y="18"/>
                    </a:lnTo>
                    <a:lnTo>
                      <a:pt x="49" y="18"/>
                    </a:lnTo>
                    <a:lnTo>
                      <a:pt x="50" y="22"/>
                    </a:lnTo>
                    <a:lnTo>
                      <a:pt x="60" y="19"/>
                    </a:lnTo>
                    <a:lnTo>
                      <a:pt x="63" y="21"/>
                    </a:lnTo>
                    <a:lnTo>
                      <a:pt x="63" y="33"/>
                    </a:lnTo>
                    <a:lnTo>
                      <a:pt x="60" y="44"/>
                    </a:lnTo>
                    <a:lnTo>
                      <a:pt x="52" y="49"/>
                    </a:lnTo>
                    <a:lnTo>
                      <a:pt x="44" y="59"/>
                    </a:lnTo>
                    <a:lnTo>
                      <a:pt x="36" y="65"/>
                    </a:lnTo>
                    <a:lnTo>
                      <a:pt x="32" y="67"/>
                    </a:lnTo>
                    <a:lnTo>
                      <a:pt x="23" y="68"/>
                    </a:lnTo>
                    <a:lnTo>
                      <a:pt x="11" y="73"/>
                    </a:lnTo>
                    <a:lnTo>
                      <a:pt x="3" y="83"/>
                    </a:lnTo>
                    <a:lnTo>
                      <a:pt x="1" y="71"/>
                    </a:lnTo>
                    <a:lnTo>
                      <a:pt x="1" y="59"/>
                    </a:lnTo>
                    <a:lnTo>
                      <a:pt x="3" y="45"/>
                    </a:lnTo>
                    <a:lnTo>
                      <a:pt x="6" y="17"/>
                    </a:lnTo>
                    <a:lnTo>
                      <a:pt x="4" y="11"/>
                    </a:lnTo>
                    <a:lnTo>
                      <a:pt x="0" y="6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59" name="Freeform 76"/>
              <p:cNvSpPr>
                <a:spLocks noChangeAspect="1"/>
              </p:cNvSpPr>
              <p:nvPr/>
            </p:nvSpPr>
            <p:spPr bwMode="gray">
              <a:xfrm>
                <a:off x="3858" y="2367"/>
                <a:ext cx="12" cy="21"/>
              </a:xfrm>
              <a:custGeom>
                <a:avLst/>
                <a:gdLst/>
                <a:ahLst/>
                <a:cxnLst>
                  <a:cxn ang="0">
                    <a:pos x="29" y="8"/>
                  </a:cxn>
                  <a:cxn ang="0">
                    <a:pos x="39" y="0"/>
                  </a:cxn>
                  <a:cxn ang="0">
                    <a:pos x="43" y="1"/>
                  </a:cxn>
                  <a:cxn ang="0">
                    <a:pos x="59" y="5"/>
                  </a:cxn>
                  <a:cxn ang="0">
                    <a:pos x="59" y="14"/>
                  </a:cxn>
                  <a:cxn ang="0">
                    <a:pos x="57" y="25"/>
                  </a:cxn>
                  <a:cxn ang="0">
                    <a:pos x="52" y="30"/>
                  </a:cxn>
                  <a:cxn ang="0">
                    <a:pos x="51" y="41"/>
                  </a:cxn>
                  <a:cxn ang="0">
                    <a:pos x="41" y="62"/>
                  </a:cxn>
                  <a:cxn ang="0">
                    <a:pos x="40" y="75"/>
                  </a:cxn>
                  <a:cxn ang="0">
                    <a:pos x="41" y="83"/>
                  </a:cxn>
                  <a:cxn ang="0">
                    <a:pos x="44" y="90"/>
                  </a:cxn>
                  <a:cxn ang="0">
                    <a:pos x="43" y="101"/>
                  </a:cxn>
                  <a:cxn ang="0">
                    <a:pos x="34" y="107"/>
                  </a:cxn>
                  <a:cxn ang="0">
                    <a:pos x="25" y="97"/>
                  </a:cxn>
                  <a:cxn ang="0">
                    <a:pos x="19" y="89"/>
                  </a:cxn>
                  <a:cxn ang="0">
                    <a:pos x="13" y="86"/>
                  </a:cxn>
                  <a:cxn ang="0">
                    <a:pos x="6" y="79"/>
                  </a:cxn>
                  <a:cxn ang="0">
                    <a:pos x="0" y="69"/>
                  </a:cxn>
                  <a:cxn ang="0">
                    <a:pos x="3" y="57"/>
                  </a:cxn>
                  <a:cxn ang="0">
                    <a:pos x="18" y="51"/>
                  </a:cxn>
                  <a:cxn ang="0">
                    <a:pos x="22" y="42"/>
                  </a:cxn>
                  <a:cxn ang="0">
                    <a:pos x="22" y="25"/>
                  </a:cxn>
                  <a:cxn ang="0">
                    <a:pos x="27" y="10"/>
                  </a:cxn>
                  <a:cxn ang="0">
                    <a:pos x="29" y="8"/>
                  </a:cxn>
                </a:cxnLst>
                <a:rect l="0" t="0" r="r" b="b"/>
                <a:pathLst>
                  <a:path w="59" h="107">
                    <a:moveTo>
                      <a:pt x="29" y="8"/>
                    </a:moveTo>
                    <a:lnTo>
                      <a:pt x="39" y="0"/>
                    </a:lnTo>
                    <a:lnTo>
                      <a:pt x="43" y="1"/>
                    </a:lnTo>
                    <a:lnTo>
                      <a:pt x="59" y="5"/>
                    </a:lnTo>
                    <a:lnTo>
                      <a:pt x="59" y="14"/>
                    </a:lnTo>
                    <a:lnTo>
                      <a:pt x="57" y="25"/>
                    </a:lnTo>
                    <a:lnTo>
                      <a:pt x="52" y="30"/>
                    </a:lnTo>
                    <a:lnTo>
                      <a:pt x="51" y="41"/>
                    </a:lnTo>
                    <a:lnTo>
                      <a:pt x="41" y="62"/>
                    </a:lnTo>
                    <a:lnTo>
                      <a:pt x="40" y="75"/>
                    </a:lnTo>
                    <a:lnTo>
                      <a:pt x="41" y="83"/>
                    </a:lnTo>
                    <a:lnTo>
                      <a:pt x="44" y="90"/>
                    </a:lnTo>
                    <a:lnTo>
                      <a:pt x="43" y="101"/>
                    </a:lnTo>
                    <a:lnTo>
                      <a:pt x="34" y="107"/>
                    </a:lnTo>
                    <a:lnTo>
                      <a:pt x="25" y="97"/>
                    </a:lnTo>
                    <a:lnTo>
                      <a:pt x="19" y="89"/>
                    </a:lnTo>
                    <a:lnTo>
                      <a:pt x="13" y="86"/>
                    </a:lnTo>
                    <a:lnTo>
                      <a:pt x="6" y="79"/>
                    </a:lnTo>
                    <a:lnTo>
                      <a:pt x="0" y="69"/>
                    </a:lnTo>
                    <a:lnTo>
                      <a:pt x="3" y="57"/>
                    </a:lnTo>
                    <a:lnTo>
                      <a:pt x="18" y="51"/>
                    </a:lnTo>
                    <a:lnTo>
                      <a:pt x="22" y="42"/>
                    </a:lnTo>
                    <a:lnTo>
                      <a:pt x="22" y="25"/>
                    </a:lnTo>
                    <a:lnTo>
                      <a:pt x="27" y="10"/>
                    </a:lnTo>
                    <a:lnTo>
                      <a:pt x="29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60" name="Freeform 77"/>
              <p:cNvSpPr>
                <a:spLocks noChangeAspect="1"/>
              </p:cNvSpPr>
              <p:nvPr/>
            </p:nvSpPr>
            <p:spPr bwMode="gray">
              <a:xfrm>
                <a:off x="3879" y="2361"/>
                <a:ext cx="10" cy="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"/>
                  </a:cxn>
                  <a:cxn ang="0">
                    <a:pos x="6" y="8"/>
                  </a:cxn>
                  <a:cxn ang="0">
                    <a:pos x="11" y="6"/>
                  </a:cxn>
                  <a:cxn ang="0">
                    <a:pos x="16" y="8"/>
                  </a:cxn>
                  <a:cxn ang="0">
                    <a:pos x="29" y="7"/>
                  </a:cxn>
                  <a:cxn ang="0">
                    <a:pos x="37" y="18"/>
                  </a:cxn>
                  <a:cxn ang="0">
                    <a:pos x="38" y="43"/>
                  </a:cxn>
                  <a:cxn ang="0">
                    <a:pos x="43" y="51"/>
                  </a:cxn>
                  <a:cxn ang="0">
                    <a:pos x="48" y="64"/>
                  </a:cxn>
                  <a:cxn ang="0">
                    <a:pos x="51" y="69"/>
                  </a:cxn>
                  <a:cxn ang="0">
                    <a:pos x="44" y="72"/>
                  </a:cxn>
                  <a:cxn ang="0">
                    <a:pos x="38" y="70"/>
                  </a:cxn>
                  <a:cxn ang="0">
                    <a:pos x="37" y="81"/>
                  </a:cxn>
                  <a:cxn ang="0">
                    <a:pos x="29" y="78"/>
                  </a:cxn>
                  <a:cxn ang="0">
                    <a:pos x="26" y="67"/>
                  </a:cxn>
                  <a:cxn ang="0">
                    <a:pos x="26" y="43"/>
                  </a:cxn>
                  <a:cxn ang="0">
                    <a:pos x="19" y="30"/>
                  </a:cxn>
                  <a:cxn ang="0">
                    <a:pos x="8" y="34"/>
                  </a:cxn>
                  <a:cxn ang="0">
                    <a:pos x="6" y="22"/>
                  </a:cxn>
                  <a:cxn ang="0">
                    <a:pos x="3" y="10"/>
                  </a:cxn>
                  <a:cxn ang="0">
                    <a:pos x="1" y="6"/>
                  </a:cxn>
                  <a:cxn ang="0">
                    <a:pos x="0" y="0"/>
                  </a:cxn>
                </a:cxnLst>
                <a:rect l="0" t="0" r="r" b="b"/>
                <a:pathLst>
                  <a:path w="51" h="81">
                    <a:moveTo>
                      <a:pt x="0" y="0"/>
                    </a:moveTo>
                    <a:lnTo>
                      <a:pt x="2" y="5"/>
                    </a:lnTo>
                    <a:lnTo>
                      <a:pt x="6" y="8"/>
                    </a:lnTo>
                    <a:lnTo>
                      <a:pt x="11" y="6"/>
                    </a:lnTo>
                    <a:lnTo>
                      <a:pt x="16" y="8"/>
                    </a:lnTo>
                    <a:lnTo>
                      <a:pt x="29" y="7"/>
                    </a:lnTo>
                    <a:lnTo>
                      <a:pt x="37" y="18"/>
                    </a:lnTo>
                    <a:lnTo>
                      <a:pt x="38" y="43"/>
                    </a:lnTo>
                    <a:lnTo>
                      <a:pt x="43" y="51"/>
                    </a:lnTo>
                    <a:lnTo>
                      <a:pt x="48" y="64"/>
                    </a:lnTo>
                    <a:lnTo>
                      <a:pt x="51" y="69"/>
                    </a:lnTo>
                    <a:lnTo>
                      <a:pt x="44" y="72"/>
                    </a:lnTo>
                    <a:lnTo>
                      <a:pt x="38" y="70"/>
                    </a:lnTo>
                    <a:lnTo>
                      <a:pt x="37" y="81"/>
                    </a:lnTo>
                    <a:lnTo>
                      <a:pt x="29" y="78"/>
                    </a:lnTo>
                    <a:lnTo>
                      <a:pt x="26" y="67"/>
                    </a:lnTo>
                    <a:lnTo>
                      <a:pt x="26" y="43"/>
                    </a:lnTo>
                    <a:lnTo>
                      <a:pt x="19" y="30"/>
                    </a:lnTo>
                    <a:lnTo>
                      <a:pt x="8" y="34"/>
                    </a:lnTo>
                    <a:lnTo>
                      <a:pt x="6" y="22"/>
                    </a:lnTo>
                    <a:lnTo>
                      <a:pt x="3" y="10"/>
                    </a:lnTo>
                    <a:lnTo>
                      <a:pt x="1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61" name="Freeform 78"/>
              <p:cNvSpPr>
                <a:spLocks noChangeAspect="1"/>
              </p:cNvSpPr>
              <p:nvPr/>
            </p:nvSpPr>
            <p:spPr bwMode="gray">
              <a:xfrm>
                <a:off x="3869" y="2363"/>
                <a:ext cx="7" cy="20"/>
              </a:xfrm>
              <a:custGeom>
                <a:avLst/>
                <a:gdLst/>
                <a:ahLst/>
                <a:cxnLst>
                  <a:cxn ang="0">
                    <a:pos x="35" y="2"/>
                  </a:cxn>
                  <a:cxn ang="0">
                    <a:pos x="37" y="0"/>
                  </a:cxn>
                  <a:cxn ang="0">
                    <a:pos x="38" y="5"/>
                  </a:cxn>
                  <a:cxn ang="0">
                    <a:pos x="37" y="10"/>
                  </a:cxn>
                  <a:cxn ang="0">
                    <a:pos x="37" y="33"/>
                  </a:cxn>
                  <a:cxn ang="0">
                    <a:pos x="36" y="48"/>
                  </a:cxn>
                  <a:cxn ang="0">
                    <a:pos x="24" y="58"/>
                  </a:cxn>
                  <a:cxn ang="0">
                    <a:pos x="15" y="75"/>
                  </a:cxn>
                  <a:cxn ang="0">
                    <a:pos x="10" y="86"/>
                  </a:cxn>
                  <a:cxn ang="0">
                    <a:pos x="6" y="96"/>
                  </a:cxn>
                  <a:cxn ang="0">
                    <a:pos x="3" y="99"/>
                  </a:cxn>
                  <a:cxn ang="0">
                    <a:pos x="0" y="87"/>
                  </a:cxn>
                  <a:cxn ang="0">
                    <a:pos x="0" y="78"/>
                  </a:cxn>
                  <a:cxn ang="0">
                    <a:pos x="8" y="58"/>
                  </a:cxn>
                  <a:cxn ang="0">
                    <a:pos x="17" y="41"/>
                  </a:cxn>
                  <a:cxn ang="0">
                    <a:pos x="26" y="21"/>
                  </a:cxn>
                  <a:cxn ang="0">
                    <a:pos x="31" y="5"/>
                  </a:cxn>
                  <a:cxn ang="0">
                    <a:pos x="35" y="2"/>
                  </a:cxn>
                </a:cxnLst>
                <a:rect l="0" t="0" r="r" b="b"/>
                <a:pathLst>
                  <a:path w="38" h="99">
                    <a:moveTo>
                      <a:pt x="35" y="2"/>
                    </a:moveTo>
                    <a:lnTo>
                      <a:pt x="37" y="0"/>
                    </a:lnTo>
                    <a:lnTo>
                      <a:pt x="38" y="5"/>
                    </a:lnTo>
                    <a:lnTo>
                      <a:pt x="37" y="10"/>
                    </a:lnTo>
                    <a:lnTo>
                      <a:pt x="37" y="33"/>
                    </a:lnTo>
                    <a:lnTo>
                      <a:pt x="36" y="48"/>
                    </a:lnTo>
                    <a:lnTo>
                      <a:pt x="24" y="58"/>
                    </a:lnTo>
                    <a:lnTo>
                      <a:pt x="15" y="75"/>
                    </a:lnTo>
                    <a:lnTo>
                      <a:pt x="10" y="86"/>
                    </a:lnTo>
                    <a:lnTo>
                      <a:pt x="6" y="96"/>
                    </a:lnTo>
                    <a:lnTo>
                      <a:pt x="3" y="99"/>
                    </a:lnTo>
                    <a:lnTo>
                      <a:pt x="0" y="87"/>
                    </a:lnTo>
                    <a:lnTo>
                      <a:pt x="0" y="78"/>
                    </a:lnTo>
                    <a:lnTo>
                      <a:pt x="8" y="58"/>
                    </a:lnTo>
                    <a:lnTo>
                      <a:pt x="17" y="41"/>
                    </a:lnTo>
                    <a:lnTo>
                      <a:pt x="26" y="21"/>
                    </a:lnTo>
                    <a:lnTo>
                      <a:pt x="31" y="5"/>
                    </a:lnTo>
                    <a:lnTo>
                      <a:pt x="35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62" name="Freeform 79"/>
              <p:cNvSpPr>
                <a:spLocks noChangeAspect="1"/>
              </p:cNvSpPr>
              <p:nvPr/>
            </p:nvSpPr>
            <p:spPr bwMode="gray">
              <a:xfrm>
                <a:off x="3874" y="2375"/>
                <a:ext cx="8" cy="7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9" y="12"/>
                  </a:cxn>
                  <a:cxn ang="0">
                    <a:pos x="12" y="5"/>
                  </a:cxn>
                  <a:cxn ang="0">
                    <a:pos x="20" y="0"/>
                  </a:cxn>
                  <a:cxn ang="0">
                    <a:pos x="32" y="5"/>
                  </a:cxn>
                  <a:cxn ang="0">
                    <a:pos x="39" y="3"/>
                  </a:cxn>
                  <a:cxn ang="0">
                    <a:pos x="39" y="14"/>
                  </a:cxn>
                  <a:cxn ang="0">
                    <a:pos x="38" y="18"/>
                  </a:cxn>
                  <a:cxn ang="0">
                    <a:pos x="39" y="24"/>
                  </a:cxn>
                  <a:cxn ang="0">
                    <a:pos x="37" y="27"/>
                  </a:cxn>
                  <a:cxn ang="0">
                    <a:pos x="22" y="31"/>
                  </a:cxn>
                  <a:cxn ang="0">
                    <a:pos x="7" y="30"/>
                  </a:cxn>
                  <a:cxn ang="0">
                    <a:pos x="4" y="26"/>
                  </a:cxn>
                  <a:cxn ang="0">
                    <a:pos x="0" y="18"/>
                  </a:cxn>
                </a:cxnLst>
                <a:rect l="0" t="0" r="r" b="b"/>
                <a:pathLst>
                  <a:path w="39" h="31">
                    <a:moveTo>
                      <a:pt x="0" y="18"/>
                    </a:moveTo>
                    <a:lnTo>
                      <a:pt x="0" y="16"/>
                    </a:lnTo>
                    <a:lnTo>
                      <a:pt x="2" y="16"/>
                    </a:lnTo>
                    <a:lnTo>
                      <a:pt x="9" y="12"/>
                    </a:lnTo>
                    <a:lnTo>
                      <a:pt x="12" y="5"/>
                    </a:lnTo>
                    <a:lnTo>
                      <a:pt x="20" y="0"/>
                    </a:lnTo>
                    <a:lnTo>
                      <a:pt x="32" y="5"/>
                    </a:lnTo>
                    <a:lnTo>
                      <a:pt x="39" y="3"/>
                    </a:lnTo>
                    <a:lnTo>
                      <a:pt x="39" y="14"/>
                    </a:lnTo>
                    <a:lnTo>
                      <a:pt x="38" y="18"/>
                    </a:lnTo>
                    <a:lnTo>
                      <a:pt x="39" y="24"/>
                    </a:lnTo>
                    <a:lnTo>
                      <a:pt x="37" y="27"/>
                    </a:lnTo>
                    <a:lnTo>
                      <a:pt x="22" y="31"/>
                    </a:lnTo>
                    <a:lnTo>
                      <a:pt x="7" y="30"/>
                    </a:lnTo>
                    <a:lnTo>
                      <a:pt x="4" y="26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63" name="Freeform 80"/>
              <p:cNvSpPr>
                <a:spLocks noChangeAspect="1"/>
              </p:cNvSpPr>
              <p:nvPr/>
            </p:nvSpPr>
            <p:spPr bwMode="gray">
              <a:xfrm>
                <a:off x="3853" y="2380"/>
                <a:ext cx="51" cy="46"/>
              </a:xfrm>
              <a:custGeom>
                <a:avLst/>
                <a:gdLst/>
                <a:ahLst/>
                <a:cxnLst>
                  <a:cxn ang="0">
                    <a:pos x="190" y="0"/>
                  </a:cxn>
                  <a:cxn ang="0">
                    <a:pos x="207" y="10"/>
                  </a:cxn>
                  <a:cxn ang="0">
                    <a:pos x="224" y="26"/>
                  </a:cxn>
                  <a:cxn ang="0">
                    <a:pos x="233" y="33"/>
                  </a:cxn>
                  <a:cxn ang="0">
                    <a:pos x="240" y="51"/>
                  </a:cxn>
                  <a:cxn ang="0">
                    <a:pos x="242" y="70"/>
                  </a:cxn>
                  <a:cxn ang="0">
                    <a:pos x="246" y="86"/>
                  </a:cxn>
                  <a:cxn ang="0">
                    <a:pos x="250" y="110"/>
                  </a:cxn>
                  <a:cxn ang="0">
                    <a:pos x="254" y="142"/>
                  </a:cxn>
                  <a:cxn ang="0">
                    <a:pos x="243" y="152"/>
                  </a:cxn>
                  <a:cxn ang="0">
                    <a:pos x="238" y="185"/>
                  </a:cxn>
                  <a:cxn ang="0">
                    <a:pos x="227" y="167"/>
                  </a:cxn>
                  <a:cxn ang="0">
                    <a:pos x="221" y="142"/>
                  </a:cxn>
                  <a:cxn ang="0">
                    <a:pos x="212" y="131"/>
                  </a:cxn>
                  <a:cxn ang="0">
                    <a:pos x="192" y="158"/>
                  </a:cxn>
                  <a:cxn ang="0">
                    <a:pos x="197" y="179"/>
                  </a:cxn>
                  <a:cxn ang="0">
                    <a:pos x="206" y="201"/>
                  </a:cxn>
                  <a:cxn ang="0">
                    <a:pos x="194" y="227"/>
                  </a:cxn>
                  <a:cxn ang="0">
                    <a:pos x="184" y="211"/>
                  </a:cxn>
                  <a:cxn ang="0">
                    <a:pos x="174" y="211"/>
                  </a:cxn>
                  <a:cxn ang="0">
                    <a:pos x="156" y="210"/>
                  </a:cxn>
                  <a:cxn ang="0">
                    <a:pos x="125" y="189"/>
                  </a:cxn>
                  <a:cxn ang="0">
                    <a:pos x="119" y="171"/>
                  </a:cxn>
                  <a:cxn ang="0">
                    <a:pos x="113" y="150"/>
                  </a:cxn>
                  <a:cxn ang="0">
                    <a:pos x="125" y="126"/>
                  </a:cxn>
                  <a:cxn ang="0">
                    <a:pos x="105" y="108"/>
                  </a:cxn>
                  <a:cxn ang="0">
                    <a:pos x="89" y="104"/>
                  </a:cxn>
                  <a:cxn ang="0">
                    <a:pos x="81" y="125"/>
                  </a:cxn>
                  <a:cxn ang="0">
                    <a:pos x="68" y="121"/>
                  </a:cxn>
                  <a:cxn ang="0">
                    <a:pos x="55" y="126"/>
                  </a:cxn>
                  <a:cxn ang="0">
                    <a:pos x="50" y="123"/>
                  </a:cxn>
                  <a:cxn ang="0">
                    <a:pos x="39" y="112"/>
                  </a:cxn>
                  <a:cxn ang="0">
                    <a:pos x="16" y="153"/>
                  </a:cxn>
                  <a:cxn ang="0">
                    <a:pos x="3" y="155"/>
                  </a:cxn>
                  <a:cxn ang="0">
                    <a:pos x="7" y="121"/>
                  </a:cxn>
                  <a:cxn ang="0">
                    <a:pos x="22" y="93"/>
                  </a:cxn>
                  <a:cxn ang="0">
                    <a:pos x="56" y="76"/>
                  </a:cxn>
                  <a:cxn ang="0">
                    <a:pos x="73" y="64"/>
                  </a:cxn>
                  <a:cxn ang="0">
                    <a:pos x="99" y="64"/>
                  </a:cxn>
                  <a:cxn ang="0">
                    <a:pos x="98" y="94"/>
                  </a:cxn>
                  <a:cxn ang="0">
                    <a:pos x="127" y="69"/>
                  </a:cxn>
                  <a:cxn ang="0">
                    <a:pos x="146" y="66"/>
                  </a:cxn>
                  <a:cxn ang="0">
                    <a:pos x="153" y="49"/>
                  </a:cxn>
                  <a:cxn ang="0">
                    <a:pos x="169" y="46"/>
                  </a:cxn>
                  <a:cxn ang="0">
                    <a:pos x="189" y="43"/>
                  </a:cxn>
                  <a:cxn ang="0">
                    <a:pos x="194" y="26"/>
                  </a:cxn>
                  <a:cxn ang="0">
                    <a:pos x="191" y="1"/>
                  </a:cxn>
                </a:cxnLst>
                <a:rect l="0" t="0" r="r" b="b"/>
                <a:pathLst>
                  <a:path w="254" h="227">
                    <a:moveTo>
                      <a:pt x="191" y="1"/>
                    </a:moveTo>
                    <a:lnTo>
                      <a:pt x="190" y="0"/>
                    </a:lnTo>
                    <a:lnTo>
                      <a:pt x="200" y="0"/>
                    </a:lnTo>
                    <a:lnTo>
                      <a:pt x="207" y="10"/>
                    </a:lnTo>
                    <a:lnTo>
                      <a:pt x="215" y="13"/>
                    </a:lnTo>
                    <a:lnTo>
                      <a:pt x="224" y="26"/>
                    </a:lnTo>
                    <a:lnTo>
                      <a:pt x="229" y="26"/>
                    </a:lnTo>
                    <a:lnTo>
                      <a:pt x="233" y="33"/>
                    </a:lnTo>
                    <a:lnTo>
                      <a:pt x="240" y="46"/>
                    </a:lnTo>
                    <a:lnTo>
                      <a:pt x="240" y="51"/>
                    </a:lnTo>
                    <a:lnTo>
                      <a:pt x="231" y="64"/>
                    </a:lnTo>
                    <a:lnTo>
                      <a:pt x="242" y="70"/>
                    </a:lnTo>
                    <a:lnTo>
                      <a:pt x="242" y="81"/>
                    </a:lnTo>
                    <a:lnTo>
                      <a:pt x="246" y="86"/>
                    </a:lnTo>
                    <a:lnTo>
                      <a:pt x="248" y="104"/>
                    </a:lnTo>
                    <a:lnTo>
                      <a:pt x="250" y="110"/>
                    </a:lnTo>
                    <a:lnTo>
                      <a:pt x="254" y="124"/>
                    </a:lnTo>
                    <a:lnTo>
                      <a:pt x="254" y="142"/>
                    </a:lnTo>
                    <a:lnTo>
                      <a:pt x="249" y="150"/>
                    </a:lnTo>
                    <a:lnTo>
                      <a:pt x="243" y="152"/>
                    </a:lnTo>
                    <a:lnTo>
                      <a:pt x="238" y="161"/>
                    </a:lnTo>
                    <a:lnTo>
                      <a:pt x="238" y="185"/>
                    </a:lnTo>
                    <a:lnTo>
                      <a:pt x="231" y="179"/>
                    </a:lnTo>
                    <a:lnTo>
                      <a:pt x="227" y="167"/>
                    </a:lnTo>
                    <a:lnTo>
                      <a:pt x="227" y="151"/>
                    </a:lnTo>
                    <a:lnTo>
                      <a:pt x="221" y="142"/>
                    </a:lnTo>
                    <a:lnTo>
                      <a:pt x="217" y="134"/>
                    </a:lnTo>
                    <a:lnTo>
                      <a:pt x="212" y="131"/>
                    </a:lnTo>
                    <a:lnTo>
                      <a:pt x="207" y="135"/>
                    </a:lnTo>
                    <a:lnTo>
                      <a:pt x="192" y="158"/>
                    </a:lnTo>
                    <a:lnTo>
                      <a:pt x="191" y="172"/>
                    </a:lnTo>
                    <a:lnTo>
                      <a:pt x="197" y="179"/>
                    </a:lnTo>
                    <a:lnTo>
                      <a:pt x="202" y="189"/>
                    </a:lnTo>
                    <a:lnTo>
                      <a:pt x="206" y="201"/>
                    </a:lnTo>
                    <a:lnTo>
                      <a:pt x="206" y="207"/>
                    </a:lnTo>
                    <a:lnTo>
                      <a:pt x="194" y="227"/>
                    </a:lnTo>
                    <a:lnTo>
                      <a:pt x="186" y="223"/>
                    </a:lnTo>
                    <a:lnTo>
                      <a:pt x="184" y="211"/>
                    </a:lnTo>
                    <a:lnTo>
                      <a:pt x="183" y="205"/>
                    </a:lnTo>
                    <a:lnTo>
                      <a:pt x="174" y="211"/>
                    </a:lnTo>
                    <a:lnTo>
                      <a:pt x="164" y="212"/>
                    </a:lnTo>
                    <a:lnTo>
                      <a:pt x="156" y="210"/>
                    </a:lnTo>
                    <a:lnTo>
                      <a:pt x="133" y="199"/>
                    </a:lnTo>
                    <a:lnTo>
                      <a:pt x="125" y="189"/>
                    </a:lnTo>
                    <a:lnTo>
                      <a:pt x="120" y="182"/>
                    </a:lnTo>
                    <a:lnTo>
                      <a:pt x="119" y="171"/>
                    </a:lnTo>
                    <a:lnTo>
                      <a:pt x="116" y="162"/>
                    </a:lnTo>
                    <a:lnTo>
                      <a:pt x="113" y="150"/>
                    </a:lnTo>
                    <a:lnTo>
                      <a:pt x="125" y="134"/>
                    </a:lnTo>
                    <a:lnTo>
                      <a:pt x="125" y="126"/>
                    </a:lnTo>
                    <a:lnTo>
                      <a:pt x="116" y="116"/>
                    </a:lnTo>
                    <a:lnTo>
                      <a:pt x="105" y="108"/>
                    </a:lnTo>
                    <a:lnTo>
                      <a:pt x="97" y="104"/>
                    </a:lnTo>
                    <a:lnTo>
                      <a:pt x="89" y="104"/>
                    </a:lnTo>
                    <a:lnTo>
                      <a:pt x="81" y="119"/>
                    </a:lnTo>
                    <a:lnTo>
                      <a:pt x="81" y="125"/>
                    </a:lnTo>
                    <a:lnTo>
                      <a:pt x="73" y="121"/>
                    </a:lnTo>
                    <a:lnTo>
                      <a:pt x="68" y="121"/>
                    </a:lnTo>
                    <a:lnTo>
                      <a:pt x="68" y="114"/>
                    </a:lnTo>
                    <a:lnTo>
                      <a:pt x="55" y="126"/>
                    </a:lnTo>
                    <a:lnTo>
                      <a:pt x="54" y="132"/>
                    </a:lnTo>
                    <a:lnTo>
                      <a:pt x="50" y="123"/>
                    </a:lnTo>
                    <a:lnTo>
                      <a:pt x="47" y="112"/>
                    </a:lnTo>
                    <a:lnTo>
                      <a:pt x="39" y="112"/>
                    </a:lnTo>
                    <a:lnTo>
                      <a:pt x="28" y="124"/>
                    </a:lnTo>
                    <a:lnTo>
                      <a:pt x="16" y="153"/>
                    </a:lnTo>
                    <a:lnTo>
                      <a:pt x="9" y="156"/>
                    </a:lnTo>
                    <a:lnTo>
                      <a:pt x="3" y="155"/>
                    </a:lnTo>
                    <a:lnTo>
                      <a:pt x="0" y="144"/>
                    </a:lnTo>
                    <a:lnTo>
                      <a:pt x="7" y="121"/>
                    </a:lnTo>
                    <a:lnTo>
                      <a:pt x="12" y="104"/>
                    </a:lnTo>
                    <a:lnTo>
                      <a:pt x="22" y="93"/>
                    </a:lnTo>
                    <a:lnTo>
                      <a:pt x="52" y="85"/>
                    </a:lnTo>
                    <a:lnTo>
                      <a:pt x="56" y="76"/>
                    </a:lnTo>
                    <a:lnTo>
                      <a:pt x="63" y="69"/>
                    </a:lnTo>
                    <a:lnTo>
                      <a:pt x="73" y="64"/>
                    </a:lnTo>
                    <a:lnTo>
                      <a:pt x="79" y="56"/>
                    </a:lnTo>
                    <a:lnTo>
                      <a:pt x="99" y="64"/>
                    </a:lnTo>
                    <a:lnTo>
                      <a:pt x="104" y="76"/>
                    </a:lnTo>
                    <a:lnTo>
                      <a:pt x="98" y="94"/>
                    </a:lnTo>
                    <a:lnTo>
                      <a:pt x="120" y="85"/>
                    </a:lnTo>
                    <a:lnTo>
                      <a:pt x="127" y="69"/>
                    </a:lnTo>
                    <a:lnTo>
                      <a:pt x="138" y="64"/>
                    </a:lnTo>
                    <a:lnTo>
                      <a:pt x="146" y="66"/>
                    </a:lnTo>
                    <a:lnTo>
                      <a:pt x="151" y="60"/>
                    </a:lnTo>
                    <a:lnTo>
                      <a:pt x="153" y="49"/>
                    </a:lnTo>
                    <a:lnTo>
                      <a:pt x="158" y="43"/>
                    </a:lnTo>
                    <a:lnTo>
                      <a:pt x="169" y="46"/>
                    </a:lnTo>
                    <a:lnTo>
                      <a:pt x="181" y="40"/>
                    </a:lnTo>
                    <a:lnTo>
                      <a:pt x="189" y="43"/>
                    </a:lnTo>
                    <a:lnTo>
                      <a:pt x="192" y="39"/>
                    </a:lnTo>
                    <a:lnTo>
                      <a:pt x="194" y="26"/>
                    </a:lnTo>
                    <a:lnTo>
                      <a:pt x="191" y="7"/>
                    </a:lnTo>
                    <a:lnTo>
                      <a:pt x="191" y="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</p:grpSp>
        <p:sp>
          <p:nvSpPr>
            <p:cNvPr id="26" name="Freeform 81"/>
            <p:cNvSpPr>
              <a:spLocks noChangeAspect="1"/>
            </p:cNvSpPr>
            <p:nvPr/>
          </p:nvSpPr>
          <p:spPr bwMode="gray">
            <a:xfrm>
              <a:off x="7884907" y="4162571"/>
              <a:ext cx="23853" cy="20954"/>
            </a:xfrm>
            <a:custGeom>
              <a:avLst/>
              <a:gdLst/>
              <a:ahLst/>
              <a:cxnLst>
                <a:cxn ang="0">
                  <a:pos x="67" y="9"/>
                </a:cxn>
                <a:cxn ang="0">
                  <a:pos x="72" y="14"/>
                </a:cxn>
                <a:cxn ang="0">
                  <a:pos x="76" y="21"/>
                </a:cxn>
                <a:cxn ang="0">
                  <a:pos x="77" y="26"/>
                </a:cxn>
                <a:cxn ang="0">
                  <a:pos x="77" y="32"/>
                </a:cxn>
                <a:cxn ang="0">
                  <a:pos x="76" y="37"/>
                </a:cxn>
                <a:cxn ang="0">
                  <a:pos x="70" y="37"/>
                </a:cxn>
                <a:cxn ang="0">
                  <a:pos x="65" y="35"/>
                </a:cxn>
                <a:cxn ang="0">
                  <a:pos x="61" y="27"/>
                </a:cxn>
                <a:cxn ang="0">
                  <a:pos x="59" y="20"/>
                </a:cxn>
                <a:cxn ang="0">
                  <a:pos x="56" y="16"/>
                </a:cxn>
                <a:cxn ang="0">
                  <a:pos x="51" y="16"/>
                </a:cxn>
                <a:cxn ang="0">
                  <a:pos x="46" y="19"/>
                </a:cxn>
                <a:cxn ang="0">
                  <a:pos x="43" y="24"/>
                </a:cxn>
                <a:cxn ang="0">
                  <a:pos x="41" y="48"/>
                </a:cxn>
                <a:cxn ang="0">
                  <a:pos x="39" y="56"/>
                </a:cxn>
                <a:cxn ang="0">
                  <a:pos x="34" y="58"/>
                </a:cxn>
                <a:cxn ang="0">
                  <a:pos x="29" y="57"/>
                </a:cxn>
                <a:cxn ang="0">
                  <a:pos x="26" y="53"/>
                </a:cxn>
                <a:cxn ang="0">
                  <a:pos x="21" y="48"/>
                </a:cxn>
                <a:cxn ang="0">
                  <a:pos x="17" y="42"/>
                </a:cxn>
                <a:cxn ang="0">
                  <a:pos x="7" y="31"/>
                </a:cxn>
                <a:cxn ang="0">
                  <a:pos x="3" y="29"/>
                </a:cxn>
                <a:cxn ang="0">
                  <a:pos x="0" y="27"/>
                </a:cxn>
                <a:cxn ang="0">
                  <a:pos x="2" y="25"/>
                </a:cxn>
                <a:cxn ang="0">
                  <a:pos x="11" y="22"/>
                </a:cxn>
                <a:cxn ang="0">
                  <a:pos x="26" y="21"/>
                </a:cxn>
                <a:cxn ang="0">
                  <a:pos x="33" y="16"/>
                </a:cxn>
                <a:cxn ang="0">
                  <a:pos x="53" y="0"/>
                </a:cxn>
                <a:cxn ang="0">
                  <a:pos x="55" y="8"/>
                </a:cxn>
                <a:cxn ang="0">
                  <a:pos x="67" y="9"/>
                </a:cxn>
              </a:cxnLst>
              <a:rect l="0" t="0" r="r" b="b"/>
              <a:pathLst>
                <a:path w="77" h="58">
                  <a:moveTo>
                    <a:pt x="67" y="9"/>
                  </a:moveTo>
                  <a:lnTo>
                    <a:pt x="72" y="14"/>
                  </a:lnTo>
                  <a:lnTo>
                    <a:pt x="76" y="21"/>
                  </a:lnTo>
                  <a:lnTo>
                    <a:pt x="77" y="26"/>
                  </a:lnTo>
                  <a:lnTo>
                    <a:pt x="77" y="32"/>
                  </a:lnTo>
                  <a:lnTo>
                    <a:pt x="76" y="37"/>
                  </a:lnTo>
                  <a:lnTo>
                    <a:pt x="70" y="37"/>
                  </a:lnTo>
                  <a:lnTo>
                    <a:pt x="65" y="35"/>
                  </a:lnTo>
                  <a:lnTo>
                    <a:pt x="61" y="27"/>
                  </a:lnTo>
                  <a:lnTo>
                    <a:pt x="59" y="20"/>
                  </a:lnTo>
                  <a:lnTo>
                    <a:pt x="56" y="16"/>
                  </a:lnTo>
                  <a:lnTo>
                    <a:pt x="51" y="16"/>
                  </a:lnTo>
                  <a:lnTo>
                    <a:pt x="46" y="19"/>
                  </a:lnTo>
                  <a:lnTo>
                    <a:pt x="43" y="24"/>
                  </a:lnTo>
                  <a:lnTo>
                    <a:pt x="41" y="48"/>
                  </a:lnTo>
                  <a:lnTo>
                    <a:pt x="39" y="56"/>
                  </a:lnTo>
                  <a:lnTo>
                    <a:pt x="34" y="58"/>
                  </a:lnTo>
                  <a:lnTo>
                    <a:pt x="29" y="57"/>
                  </a:lnTo>
                  <a:lnTo>
                    <a:pt x="26" y="53"/>
                  </a:lnTo>
                  <a:lnTo>
                    <a:pt x="21" y="48"/>
                  </a:lnTo>
                  <a:lnTo>
                    <a:pt x="17" y="42"/>
                  </a:lnTo>
                  <a:lnTo>
                    <a:pt x="7" y="31"/>
                  </a:lnTo>
                  <a:lnTo>
                    <a:pt x="3" y="29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11" y="22"/>
                  </a:lnTo>
                  <a:lnTo>
                    <a:pt x="26" y="21"/>
                  </a:lnTo>
                  <a:lnTo>
                    <a:pt x="33" y="16"/>
                  </a:lnTo>
                  <a:lnTo>
                    <a:pt x="53" y="0"/>
                  </a:lnTo>
                  <a:lnTo>
                    <a:pt x="55" y="8"/>
                  </a:lnTo>
                  <a:lnTo>
                    <a:pt x="67" y="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27" name="Freeform 82"/>
            <p:cNvSpPr>
              <a:spLocks noChangeAspect="1"/>
            </p:cNvSpPr>
            <p:nvPr/>
          </p:nvSpPr>
          <p:spPr bwMode="gray">
            <a:xfrm>
              <a:off x="7921481" y="4321469"/>
              <a:ext cx="4771" cy="15716"/>
            </a:xfrm>
            <a:custGeom>
              <a:avLst/>
              <a:gdLst/>
              <a:ahLst/>
              <a:cxnLst>
                <a:cxn ang="0">
                  <a:pos x="8" y="1"/>
                </a:cxn>
                <a:cxn ang="0">
                  <a:pos x="9" y="0"/>
                </a:cxn>
                <a:cxn ang="0">
                  <a:pos x="11" y="10"/>
                </a:cxn>
                <a:cxn ang="0">
                  <a:pos x="13" y="26"/>
                </a:cxn>
                <a:cxn ang="0">
                  <a:pos x="15" y="33"/>
                </a:cxn>
                <a:cxn ang="0">
                  <a:pos x="9" y="41"/>
                </a:cxn>
                <a:cxn ang="0">
                  <a:pos x="4" y="42"/>
                </a:cxn>
                <a:cxn ang="0">
                  <a:pos x="0" y="27"/>
                </a:cxn>
                <a:cxn ang="0">
                  <a:pos x="0" y="13"/>
                </a:cxn>
                <a:cxn ang="0">
                  <a:pos x="3" y="4"/>
                </a:cxn>
                <a:cxn ang="0">
                  <a:pos x="8" y="0"/>
                </a:cxn>
                <a:cxn ang="0">
                  <a:pos x="8" y="1"/>
                </a:cxn>
              </a:cxnLst>
              <a:rect l="0" t="0" r="r" b="b"/>
              <a:pathLst>
                <a:path w="15" h="42">
                  <a:moveTo>
                    <a:pt x="8" y="1"/>
                  </a:moveTo>
                  <a:lnTo>
                    <a:pt x="9" y="0"/>
                  </a:lnTo>
                  <a:lnTo>
                    <a:pt x="11" y="10"/>
                  </a:lnTo>
                  <a:lnTo>
                    <a:pt x="13" y="26"/>
                  </a:lnTo>
                  <a:lnTo>
                    <a:pt x="15" y="33"/>
                  </a:lnTo>
                  <a:lnTo>
                    <a:pt x="9" y="41"/>
                  </a:lnTo>
                  <a:lnTo>
                    <a:pt x="4" y="42"/>
                  </a:lnTo>
                  <a:lnTo>
                    <a:pt x="0" y="27"/>
                  </a:lnTo>
                  <a:lnTo>
                    <a:pt x="0" y="13"/>
                  </a:lnTo>
                  <a:lnTo>
                    <a:pt x="3" y="4"/>
                  </a:lnTo>
                  <a:lnTo>
                    <a:pt x="8" y="0"/>
                  </a:lnTo>
                  <a:lnTo>
                    <a:pt x="8" y="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28" name="Freeform 83"/>
            <p:cNvSpPr>
              <a:spLocks noChangeAspect="1"/>
            </p:cNvSpPr>
            <p:nvPr/>
          </p:nvSpPr>
          <p:spPr bwMode="gray">
            <a:xfrm>
              <a:off x="8072544" y="4419252"/>
              <a:ext cx="42934" cy="20954"/>
            </a:xfrm>
            <a:custGeom>
              <a:avLst/>
              <a:gdLst/>
              <a:ahLst/>
              <a:cxnLst>
                <a:cxn ang="0">
                  <a:pos x="0" y="39"/>
                </a:cxn>
                <a:cxn ang="0">
                  <a:pos x="2" y="38"/>
                </a:cxn>
                <a:cxn ang="0">
                  <a:pos x="11" y="29"/>
                </a:cxn>
                <a:cxn ang="0">
                  <a:pos x="18" y="17"/>
                </a:cxn>
                <a:cxn ang="0">
                  <a:pos x="27" y="16"/>
                </a:cxn>
                <a:cxn ang="0">
                  <a:pos x="55" y="11"/>
                </a:cxn>
                <a:cxn ang="0">
                  <a:pos x="61" y="7"/>
                </a:cxn>
                <a:cxn ang="0">
                  <a:pos x="71" y="10"/>
                </a:cxn>
                <a:cxn ang="0">
                  <a:pos x="98" y="7"/>
                </a:cxn>
                <a:cxn ang="0">
                  <a:pos x="109" y="3"/>
                </a:cxn>
                <a:cxn ang="0">
                  <a:pos x="118" y="2"/>
                </a:cxn>
                <a:cxn ang="0">
                  <a:pos x="124" y="0"/>
                </a:cxn>
                <a:cxn ang="0">
                  <a:pos x="132" y="2"/>
                </a:cxn>
                <a:cxn ang="0">
                  <a:pos x="133" y="6"/>
                </a:cxn>
                <a:cxn ang="0">
                  <a:pos x="129" y="19"/>
                </a:cxn>
                <a:cxn ang="0">
                  <a:pos x="113" y="23"/>
                </a:cxn>
                <a:cxn ang="0">
                  <a:pos x="88" y="37"/>
                </a:cxn>
                <a:cxn ang="0">
                  <a:pos x="73" y="40"/>
                </a:cxn>
                <a:cxn ang="0">
                  <a:pos x="61" y="46"/>
                </a:cxn>
                <a:cxn ang="0">
                  <a:pos x="39" y="51"/>
                </a:cxn>
                <a:cxn ang="0">
                  <a:pos x="23" y="61"/>
                </a:cxn>
                <a:cxn ang="0">
                  <a:pos x="18" y="59"/>
                </a:cxn>
                <a:cxn ang="0">
                  <a:pos x="0" y="39"/>
                </a:cxn>
              </a:cxnLst>
              <a:rect l="0" t="0" r="r" b="b"/>
              <a:pathLst>
                <a:path w="133" h="61">
                  <a:moveTo>
                    <a:pt x="0" y="39"/>
                  </a:moveTo>
                  <a:lnTo>
                    <a:pt x="2" y="38"/>
                  </a:lnTo>
                  <a:lnTo>
                    <a:pt x="11" y="29"/>
                  </a:lnTo>
                  <a:lnTo>
                    <a:pt x="18" y="17"/>
                  </a:lnTo>
                  <a:lnTo>
                    <a:pt x="27" y="16"/>
                  </a:lnTo>
                  <a:lnTo>
                    <a:pt x="55" y="11"/>
                  </a:lnTo>
                  <a:lnTo>
                    <a:pt x="61" y="7"/>
                  </a:lnTo>
                  <a:lnTo>
                    <a:pt x="71" y="10"/>
                  </a:lnTo>
                  <a:lnTo>
                    <a:pt x="98" y="7"/>
                  </a:lnTo>
                  <a:lnTo>
                    <a:pt x="109" y="3"/>
                  </a:lnTo>
                  <a:lnTo>
                    <a:pt x="118" y="2"/>
                  </a:lnTo>
                  <a:lnTo>
                    <a:pt x="124" y="0"/>
                  </a:lnTo>
                  <a:lnTo>
                    <a:pt x="132" y="2"/>
                  </a:lnTo>
                  <a:lnTo>
                    <a:pt x="133" y="6"/>
                  </a:lnTo>
                  <a:lnTo>
                    <a:pt x="129" y="19"/>
                  </a:lnTo>
                  <a:lnTo>
                    <a:pt x="113" y="23"/>
                  </a:lnTo>
                  <a:lnTo>
                    <a:pt x="88" y="37"/>
                  </a:lnTo>
                  <a:lnTo>
                    <a:pt x="73" y="40"/>
                  </a:lnTo>
                  <a:lnTo>
                    <a:pt x="61" y="46"/>
                  </a:lnTo>
                  <a:lnTo>
                    <a:pt x="39" y="51"/>
                  </a:lnTo>
                  <a:lnTo>
                    <a:pt x="23" y="61"/>
                  </a:lnTo>
                  <a:lnTo>
                    <a:pt x="18" y="59"/>
                  </a:lnTo>
                  <a:lnTo>
                    <a:pt x="0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29" name="Freeform 84"/>
            <p:cNvSpPr>
              <a:spLocks noChangeAspect="1"/>
            </p:cNvSpPr>
            <p:nvPr/>
          </p:nvSpPr>
          <p:spPr bwMode="gray">
            <a:xfrm>
              <a:off x="8051872" y="4433222"/>
              <a:ext cx="27033" cy="24446"/>
            </a:xfrm>
            <a:custGeom>
              <a:avLst/>
              <a:gdLst/>
              <a:ahLst/>
              <a:cxnLst>
                <a:cxn ang="0">
                  <a:pos x="85" y="20"/>
                </a:cxn>
                <a:cxn ang="0">
                  <a:pos x="85" y="22"/>
                </a:cxn>
                <a:cxn ang="0">
                  <a:pos x="80" y="35"/>
                </a:cxn>
                <a:cxn ang="0">
                  <a:pos x="69" y="46"/>
                </a:cxn>
                <a:cxn ang="0">
                  <a:pos x="63" y="54"/>
                </a:cxn>
                <a:cxn ang="0">
                  <a:pos x="54" y="58"/>
                </a:cxn>
                <a:cxn ang="0">
                  <a:pos x="49" y="60"/>
                </a:cxn>
                <a:cxn ang="0">
                  <a:pos x="40" y="63"/>
                </a:cxn>
                <a:cxn ang="0">
                  <a:pos x="31" y="68"/>
                </a:cxn>
                <a:cxn ang="0">
                  <a:pos x="21" y="70"/>
                </a:cxn>
                <a:cxn ang="0">
                  <a:pos x="15" y="71"/>
                </a:cxn>
                <a:cxn ang="0">
                  <a:pos x="5" y="71"/>
                </a:cxn>
                <a:cxn ang="0">
                  <a:pos x="0" y="66"/>
                </a:cxn>
                <a:cxn ang="0">
                  <a:pos x="8" y="58"/>
                </a:cxn>
                <a:cxn ang="0">
                  <a:pos x="9" y="52"/>
                </a:cxn>
                <a:cxn ang="0">
                  <a:pos x="6" y="46"/>
                </a:cxn>
                <a:cxn ang="0">
                  <a:pos x="8" y="31"/>
                </a:cxn>
                <a:cxn ang="0">
                  <a:pos x="15" y="23"/>
                </a:cxn>
                <a:cxn ang="0">
                  <a:pos x="22" y="17"/>
                </a:cxn>
                <a:cxn ang="0">
                  <a:pos x="32" y="15"/>
                </a:cxn>
                <a:cxn ang="0">
                  <a:pos x="41" y="9"/>
                </a:cxn>
                <a:cxn ang="0">
                  <a:pos x="48" y="6"/>
                </a:cxn>
                <a:cxn ang="0">
                  <a:pos x="53" y="4"/>
                </a:cxn>
                <a:cxn ang="0">
                  <a:pos x="62" y="3"/>
                </a:cxn>
                <a:cxn ang="0">
                  <a:pos x="67" y="0"/>
                </a:cxn>
                <a:cxn ang="0">
                  <a:pos x="85" y="20"/>
                </a:cxn>
              </a:cxnLst>
              <a:rect l="0" t="0" r="r" b="b"/>
              <a:pathLst>
                <a:path w="85" h="71">
                  <a:moveTo>
                    <a:pt x="85" y="20"/>
                  </a:moveTo>
                  <a:lnTo>
                    <a:pt x="85" y="22"/>
                  </a:lnTo>
                  <a:lnTo>
                    <a:pt x="80" y="35"/>
                  </a:lnTo>
                  <a:lnTo>
                    <a:pt x="69" y="46"/>
                  </a:lnTo>
                  <a:lnTo>
                    <a:pt x="63" y="54"/>
                  </a:lnTo>
                  <a:lnTo>
                    <a:pt x="54" y="58"/>
                  </a:lnTo>
                  <a:lnTo>
                    <a:pt x="49" y="60"/>
                  </a:lnTo>
                  <a:lnTo>
                    <a:pt x="40" y="63"/>
                  </a:lnTo>
                  <a:lnTo>
                    <a:pt x="31" y="68"/>
                  </a:lnTo>
                  <a:lnTo>
                    <a:pt x="21" y="70"/>
                  </a:lnTo>
                  <a:lnTo>
                    <a:pt x="15" y="71"/>
                  </a:lnTo>
                  <a:lnTo>
                    <a:pt x="5" y="71"/>
                  </a:lnTo>
                  <a:lnTo>
                    <a:pt x="0" y="66"/>
                  </a:lnTo>
                  <a:lnTo>
                    <a:pt x="8" y="58"/>
                  </a:lnTo>
                  <a:lnTo>
                    <a:pt x="9" y="52"/>
                  </a:lnTo>
                  <a:lnTo>
                    <a:pt x="6" y="46"/>
                  </a:lnTo>
                  <a:lnTo>
                    <a:pt x="8" y="31"/>
                  </a:lnTo>
                  <a:lnTo>
                    <a:pt x="15" y="23"/>
                  </a:lnTo>
                  <a:lnTo>
                    <a:pt x="22" y="17"/>
                  </a:lnTo>
                  <a:lnTo>
                    <a:pt x="32" y="15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3" y="4"/>
                  </a:lnTo>
                  <a:lnTo>
                    <a:pt x="62" y="3"/>
                  </a:lnTo>
                  <a:lnTo>
                    <a:pt x="67" y="0"/>
                  </a:lnTo>
                  <a:lnTo>
                    <a:pt x="85" y="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30" name="Freeform 85"/>
            <p:cNvSpPr>
              <a:spLocks noChangeAspect="1"/>
            </p:cNvSpPr>
            <p:nvPr/>
          </p:nvSpPr>
          <p:spPr bwMode="gray">
            <a:xfrm>
              <a:off x="8128199" y="4312739"/>
              <a:ext cx="50884" cy="20954"/>
            </a:xfrm>
            <a:custGeom>
              <a:avLst/>
              <a:gdLst/>
              <a:ahLst/>
              <a:cxnLst>
                <a:cxn ang="0">
                  <a:pos x="3" y="38"/>
                </a:cxn>
                <a:cxn ang="0">
                  <a:pos x="1" y="37"/>
                </a:cxn>
                <a:cxn ang="0">
                  <a:pos x="0" y="24"/>
                </a:cxn>
                <a:cxn ang="0">
                  <a:pos x="2" y="18"/>
                </a:cxn>
                <a:cxn ang="0">
                  <a:pos x="7" y="14"/>
                </a:cxn>
                <a:cxn ang="0">
                  <a:pos x="12" y="8"/>
                </a:cxn>
                <a:cxn ang="0">
                  <a:pos x="17" y="3"/>
                </a:cxn>
                <a:cxn ang="0">
                  <a:pos x="43" y="5"/>
                </a:cxn>
                <a:cxn ang="0">
                  <a:pos x="54" y="4"/>
                </a:cxn>
                <a:cxn ang="0">
                  <a:pos x="63" y="2"/>
                </a:cxn>
                <a:cxn ang="0">
                  <a:pos x="70" y="5"/>
                </a:cxn>
                <a:cxn ang="0">
                  <a:pos x="88" y="0"/>
                </a:cxn>
                <a:cxn ang="0">
                  <a:pos x="99" y="4"/>
                </a:cxn>
                <a:cxn ang="0">
                  <a:pos x="108" y="11"/>
                </a:cxn>
                <a:cxn ang="0">
                  <a:pos x="116" y="13"/>
                </a:cxn>
                <a:cxn ang="0">
                  <a:pos x="125" y="13"/>
                </a:cxn>
                <a:cxn ang="0">
                  <a:pos x="132" y="10"/>
                </a:cxn>
                <a:cxn ang="0">
                  <a:pos x="142" y="14"/>
                </a:cxn>
                <a:cxn ang="0">
                  <a:pos x="148" y="30"/>
                </a:cxn>
                <a:cxn ang="0">
                  <a:pos x="152" y="35"/>
                </a:cxn>
                <a:cxn ang="0">
                  <a:pos x="160" y="37"/>
                </a:cxn>
                <a:cxn ang="0">
                  <a:pos x="162" y="50"/>
                </a:cxn>
                <a:cxn ang="0">
                  <a:pos x="157" y="59"/>
                </a:cxn>
                <a:cxn ang="0">
                  <a:pos x="149" y="54"/>
                </a:cxn>
                <a:cxn ang="0">
                  <a:pos x="108" y="32"/>
                </a:cxn>
                <a:cxn ang="0">
                  <a:pos x="98" y="30"/>
                </a:cxn>
                <a:cxn ang="0">
                  <a:pos x="88" y="30"/>
                </a:cxn>
                <a:cxn ang="0">
                  <a:pos x="88" y="35"/>
                </a:cxn>
                <a:cxn ang="0">
                  <a:pos x="83" y="36"/>
                </a:cxn>
                <a:cxn ang="0">
                  <a:pos x="72" y="35"/>
                </a:cxn>
                <a:cxn ang="0">
                  <a:pos x="62" y="34"/>
                </a:cxn>
                <a:cxn ang="0">
                  <a:pos x="54" y="26"/>
                </a:cxn>
                <a:cxn ang="0">
                  <a:pos x="45" y="30"/>
                </a:cxn>
                <a:cxn ang="0">
                  <a:pos x="41" y="35"/>
                </a:cxn>
                <a:cxn ang="0">
                  <a:pos x="34" y="37"/>
                </a:cxn>
                <a:cxn ang="0">
                  <a:pos x="24" y="32"/>
                </a:cxn>
                <a:cxn ang="0">
                  <a:pos x="13" y="21"/>
                </a:cxn>
                <a:cxn ang="0">
                  <a:pos x="11" y="24"/>
                </a:cxn>
                <a:cxn ang="0">
                  <a:pos x="3" y="38"/>
                </a:cxn>
              </a:cxnLst>
              <a:rect l="0" t="0" r="r" b="b"/>
              <a:pathLst>
                <a:path w="162" h="59">
                  <a:moveTo>
                    <a:pt x="3" y="38"/>
                  </a:moveTo>
                  <a:lnTo>
                    <a:pt x="1" y="37"/>
                  </a:lnTo>
                  <a:lnTo>
                    <a:pt x="0" y="24"/>
                  </a:lnTo>
                  <a:lnTo>
                    <a:pt x="2" y="18"/>
                  </a:lnTo>
                  <a:lnTo>
                    <a:pt x="7" y="14"/>
                  </a:lnTo>
                  <a:lnTo>
                    <a:pt x="12" y="8"/>
                  </a:lnTo>
                  <a:lnTo>
                    <a:pt x="17" y="3"/>
                  </a:lnTo>
                  <a:lnTo>
                    <a:pt x="43" y="5"/>
                  </a:lnTo>
                  <a:lnTo>
                    <a:pt x="54" y="4"/>
                  </a:lnTo>
                  <a:lnTo>
                    <a:pt x="63" y="2"/>
                  </a:lnTo>
                  <a:lnTo>
                    <a:pt x="70" y="5"/>
                  </a:lnTo>
                  <a:lnTo>
                    <a:pt x="88" y="0"/>
                  </a:lnTo>
                  <a:lnTo>
                    <a:pt x="99" y="4"/>
                  </a:lnTo>
                  <a:lnTo>
                    <a:pt x="108" y="11"/>
                  </a:lnTo>
                  <a:lnTo>
                    <a:pt x="116" y="13"/>
                  </a:lnTo>
                  <a:lnTo>
                    <a:pt x="125" y="13"/>
                  </a:lnTo>
                  <a:lnTo>
                    <a:pt x="132" y="10"/>
                  </a:lnTo>
                  <a:lnTo>
                    <a:pt x="142" y="14"/>
                  </a:lnTo>
                  <a:lnTo>
                    <a:pt x="148" y="30"/>
                  </a:lnTo>
                  <a:lnTo>
                    <a:pt x="152" y="35"/>
                  </a:lnTo>
                  <a:lnTo>
                    <a:pt x="160" y="37"/>
                  </a:lnTo>
                  <a:lnTo>
                    <a:pt x="162" y="50"/>
                  </a:lnTo>
                  <a:lnTo>
                    <a:pt x="157" y="59"/>
                  </a:lnTo>
                  <a:lnTo>
                    <a:pt x="149" y="54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5"/>
                  </a:lnTo>
                  <a:lnTo>
                    <a:pt x="83" y="36"/>
                  </a:lnTo>
                  <a:lnTo>
                    <a:pt x="72" y="35"/>
                  </a:lnTo>
                  <a:lnTo>
                    <a:pt x="62" y="34"/>
                  </a:lnTo>
                  <a:lnTo>
                    <a:pt x="54" y="26"/>
                  </a:lnTo>
                  <a:lnTo>
                    <a:pt x="45" y="30"/>
                  </a:lnTo>
                  <a:lnTo>
                    <a:pt x="41" y="35"/>
                  </a:lnTo>
                  <a:lnTo>
                    <a:pt x="34" y="37"/>
                  </a:lnTo>
                  <a:lnTo>
                    <a:pt x="24" y="32"/>
                  </a:lnTo>
                  <a:lnTo>
                    <a:pt x="13" y="21"/>
                  </a:lnTo>
                  <a:lnTo>
                    <a:pt x="11" y="24"/>
                  </a:lnTo>
                  <a:lnTo>
                    <a:pt x="3" y="3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31" name="Freeform 86"/>
            <p:cNvSpPr>
              <a:spLocks noChangeAspect="1"/>
            </p:cNvSpPr>
            <p:nvPr/>
          </p:nvSpPr>
          <p:spPr bwMode="gray">
            <a:xfrm>
              <a:off x="7970775" y="4227178"/>
              <a:ext cx="109720" cy="141437"/>
            </a:xfrm>
            <a:custGeom>
              <a:avLst/>
              <a:gdLst/>
              <a:ahLst/>
              <a:cxnLst>
                <a:cxn ang="0">
                  <a:pos x="141" y="30"/>
                </a:cxn>
                <a:cxn ang="0">
                  <a:pos x="163" y="33"/>
                </a:cxn>
                <a:cxn ang="0">
                  <a:pos x="184" y="36"/>
                </a:cxn>
                <a:cxn ang="0">
                  <a:pos x="205" y="43"/>
                </a:cxn>
                <a:cxn ang="0">
                  <a:pos x="229" y="42"/>
                </a:cxn>
                <a:cxn ang="0">
                  <a:pos x="288" y="42"/>
                </a:cxn>
                <a:cxn ang="0">
                  <a:pos x="325" y="6"/>
                </a:cxn>
                <a:cxn ang="0">
                  <a:pos x="344" y="4"/>
                </a:cxn>
                <a:cxn ang="0">
                  <a:pos x="339" y="30"/>
                </a:cxn>
                <a:cxn ang="0">
                  <a:pos x="303" y="69"/>
                </a:cxn>
                <a:cxn ang="0">
                  <a:pos x="268" y="78"/>
                </a:cxn>
                <a:cxn ang="0">
                  <a:pos x="218" y="68"/>
                </a:cxn>
                <a:cxn ang="0">
                  <a:pos x="164" y="72"/>
                </a:cxn>
                <a:cxn ang="0">
                  <a:pos x="145" y="69"/>
                </a:cxn>
                <a:cxn ang="0">
                  <a:pos x="121" y="72"/>
                </a:cxn>
                <a:cxn ang="0">
                  <a:pos x="87" y="69"/>
                </a:cxn>
                <a:cxn ang="0">
                  <a:pos x="67" y="107"/>
                </a:cxn>
                <a:cxn ang="0">
                  <a:pos x="86" y="148"/>
                </a:cxn>
                <a:cxn ang="0">
                  <a:pos x="124" y="164"/>
                </a:cxn>
                <a:cxn ang="0">
                  <a:pos x="151" y="143"/>
                </a:cxn>
                <a:cxn ang="0">
                  <a:pos x="172" y="148"/>
                </a:cxn>
                <a:cxn ang="0">
                  <a:pos x="215" y="138"/>
                </a:cxn>
                <a:cxn ang="0">
                  <a:pos x="244" y="124"/>
                </a:cxn>
                <a:cxn ang="0">
                  <a:pos x="243" y="150"/>
                </a:cxn>
                <a:cxn ang="0">
                  <a:pos x="198" y="172"/>
                </a:cxn>
                <a:cxn ang="0">
                  <a:pos x="166" y="189"/>
                </a:cxn>
                <a:cxn ang="0">
                  <a:pos x="137" y="193"/>
                </a:cxn>
                <a:cxn ang="0">
                  <a:pos x="180" y="251"/>
                </a:cxn>
                <a:cxn ang="0">
                  <a:pos x="196" y="271"/>
                </a:cxn>
                <a:cxn ang="0">
                  <a:pos x="184" y="286"/>
                </a:cxn>
                <a:cxn ang="0">
                  <a:pos x="202" y="309"/>
                </a:cxn>
                <a:cxn ang="0">
                  <a:pos x="216" y="320"/>
                </a:cxn>
                <a:cxn ang="0">
                  <a:pos x="211" y="337"/>
                </a:cxn>
                <a:cxn ang="0">
                  <a:pos x="175" y="354"/>
                </a:cxn>
                <a:cxn ang="0">
                  <a:pos x="146" y="348"/>
                </a:cxn>
                <a:cxn ang="0">
                  <a:pos x="143" y="314"/>
                </a:cxn>
                <a:cxn ang="0">
                  <a:pos x="113" y="280"/>
                </a:cxn>
                <a:cxn ang="0">
                  <a:pos x="119" y="245"/>
                </a:cxn>
                <a:cxn ang="0">
                  <a:pos x="92" y="245"/>
                </a:cxn>
                <a:cxn ang="0">
                  <a:pos x="83" y="280"/>
                </a:cxn>
                <a:cxn ang="0">
                  <a:pos x="86" y="354"/>
                </a:cxn>
                <a:cxn ang="0">
                  <a:pos x="85" y="397"/>
                </a:cxn>
                <a:cxn ang="0">
                  <a:pos x="55" y="404"/>
                </a:cxn>
                <a:cxn ang="0">
                  <a:pos x="27" y="384"/>
                </a:cxn>
                <a:cxn ang="0">
                  <a:pos x="43" y="316"/>
                </a:cxn>
                <a:cxn ang="0">
                  <a:pos x="22" y="284"/>
                </a:cxn>
                <a:cxn ang="0">
                  <a:pos x="0" y="259"/>
                </a:cxn>
                <a:cxn ang="0">
                  <a:pos x="18" y="210"/>
                </a:cxn>
                <a:cxn ang="0">
                  <a:pos x="37" y="144"/>
                </a:cxn>
                <a:cxn ang="0">
                  <a:pos x="51" y="138"/>
                </a:cxn>
                <a:cxn ang="0">
                  <a:pos x="45" y="97"/>
                </a:cxn>
                <a:cxn ang="0">
                  <a:pos x="55" y="80"/>
                </a:cxn>
                <a:cxn ang="0">
                  <a:pos x="73" y="46"/>
                </a:cxn>
                <a:cxn ang="0">
                  <a:pos x="93" y="51"/>
                </a:cxn>
                <a:cxn ang="0">
                  <a:pos x="110" y="24"/>
                </a:cxn>
              </a:cxnLst>
              <a:rect l="0" t="0" r="r" b="b"/>
              <a:pathLst>
                <a:path w="345" h="404">
                  <a:moveTo>
                    <a:pt x="120" y="22"/>
                  </a:moveTo>
                  <a:lnTo>
                    <a:pt x="139" y="24"/>
                  </a:lnTo>
                  <a:lnTo>
                    <a:pt x="141" y="30"/>
                  </a:lnTo>
                  <a:lnTo>
                    <a:pt x="147" y="35"/>
                  </a:lnTo>
                  <a:lnTo>
                    <a:pt x="155" y="36"/>
                  </a:lnTo>
                  <a:lnTo>
                    <a:pt x="163" y="33"/>
                  </a:lnTo>
                  <a:lnTo>
                    <a:pt x="169" y="33"/>
                  </a:lnTo>
                  <a:lnTo>
                    <a:pt x="178" y="35"/>
                  </a:lnTo>
                  <a:lnTo>
                    <a:pt x="184" y="36"/>
                  </a:lnTo>
                  <a:lnTo>
                    <a:pt x="193" y="36"/>
                  </a:lnTo>
                  <a:lnTo>
                    <a:pt x="201" y="38"/>
                  </a:lnTo>
                  <a:lnTo>
                    <a:pt x="205" y="43"/>
                  </a:lnTo>
                  <a:lnTo>
                    <a:pt x="216" y="47"/>
                  </a:lnTo>
                  <a:lnTo>
                    <a:pt x="222" y="46"/>
                  </a:lnTo>
                  <a:lnTo>
                    <a:pt x="229" y="42"/>
                  </a:lnTo>
                  <a:lnTo>
                    <a:pt x="237" y="41"/>
                  </a:lnTo>
                  <a:lnTo>
                    <a:pt x="274" y="46"/>
                  </a:lnTo>
                  <a:lnTo>
                    <a:pt x="288" y="42"/>
                  </a:lnTo>
                  <a:lnTo>
                    <a:pt x="309" y="21"/>
                  </a:lnTo>
                  <a:lnTo>
                    <a:pt x="317" y="16"/>
                  </a:lnTo>
                  <a:lnTo>
                    <a:pt x="325" y="6"/>
                  </a:lnTo>
                  <a:lnTo>
                    <a:pt x="335" y="0"/>
                  </a:lnTo>
                  <a:lnTo>
                    <a:pt x="341" y="2"/>
                  </a:lnTo>
                  <a:lnTo>
                    <a:pt x="344" y="4"/>
                  </a:lnTo>
                  <a:lnTo>
                    <a:pt x="345" y="13"/>
                  </a:lnTo>
                  <a:lnTo>
                    <a:pt x="344" y="20"/>
                  </a:lnTo>
                  <a:lnTo>
                    <a:pt x="339" y="30"/>
                  </a:lnTo>
                  <a:lnTo>
                    <a:pt x="323" y="47"/>
                  </a:lnTo>
                  <a:lnTo>
                    <a:pt x="313" y="60"/>
                  </a:lnTo>
                  <a:lnTo>
                    <a:pt x="303" y="69"/>
                  </a:lnTo>
                  <a:lnTo>
                    <a:pt x="293" y="75"/>
                  </a:lnTo>
                  <a:lnTo>
                    <a:pt x="280" y="75"/>
                  </a:lnTo>
                  <a:lnTo>
                    <a:pt x="268" y="78"/>
                  </a:lnTo>
                  <a:lnTo>
                    <a:pt x="245" y="78"/>
                  </a:lnTo>
                  <a:lnTo>
                    <a:pt x="234" y="70"/>
                  </a:lnTo>
                  <a:lnTo>
                    <a:pt x="218" y="68"/>
                  </a:lnTo>
                  <a:lnTo>
                    <a:pt x="201" y="68"/>
                  </a:lnTo>
                  <a:lnTo>
                    <a:pt x="178" y="69"/>
                  </a:lnTo>
                  <a:lnTo>
                    <a:pt x="164" y="72"/>
                  </a:lnTo>
                  <a:lnTo>
                    <a:pt x="156" y="68"/>
                  </a:lnTo>
                  <a:lnTo>
                    <a:pt x="148" y="68"/>
                  </a:lnTo>
                  <a:lnTo>
                    <a:pt x="145" y="69"/>
                  </a:lnTo>
                  <a:lnTo>
                    <a:pt x="135" y="67"/>
                  </a:lnTo>
                  <a:lnTo>
                    <a:pt x="130" y="68"/>
                  </a:lnTo>
                  <a:lnTo>
                    <a:pt x="121" y="72"/>
                  </a:lnTo>
                  <a:lnTo>
                    <a:pt x="109" y="72"/>
                  </a:lnTo>
                  <a:lnTo>
                    <a:pt x="98" y="69"/>
                  </a:lnTo>
                  <a:lnTo>
                    <a:pt x="87" y="69"/>
                  </a:lnTo>
                  <a:lnTo>
                    <a:pt x="77" y="80"/>
                  </a:lnTo>
                  <a:lnTo>
                    <a:pt x="70" y="94"/>
                  </a:lnTo>
                  <a:lnTo>
                    <a:pt x="67" y="107"/>
                  </a:lnTo>
                  <a:lnTo>
                    <a:pt x="67" y="137"/>
                  </a:lnTo>
                  <a:lnTo>
                    <a:pt x="75" y="144"/>
                  </a:lnTo>
                  <a:lnTo>
                    <a:pt x="86" y="148"/>
                  </a:lnTo>
                  <a:lnTo>
                    <a:pt x="100" y="171"/>
                  </a:lnTo>
                  <a:lnTo>
                    <a:pt x="121" y="170"/>
                  </a:lnTo>
                  <a:lnTo>
                    <a:pt x="124" y="164"/>
                  </a:lnTo>
                  <a:lnTo>
                    <a:pt x="132" y="156"/>
                  </a:lnTo>
                  <a:lnTo>
                    <a:pt x="140" y="146"/>
                  </a:lnTo>
                  <a:lnTo>
                    <a:pt x="151" y="143"/>
                  </a:lnTo>
                  <a:lnTo>
                    <a:pt x="159" y="145"/>
                  </a:lnTo>
                  <a:lnTo>
                    <a:pt x="163" y="145"/>
                  </a:lnTo>
                  <a:lnTo>
                    <a:pt x="172" y="148"/>
                  </a:lnTo>
                  <a:lnTo>
                    <a:pt x="177" y="140"/>
                  </a:lnTo>
                  <a:lnTo>
                    <a:pt x="193" y="138"/>
                  </a:lnTo>
                  <a:lnTo>
                    <a:pt x="215" y="138"/>
                  </a:lnTo>
                  <a:lnTo>
                    <a:pt x="217" y="129"/>
                  </a:lnTo>
                  <a:lnTo>
                    <a:pt x="233" y="124"/>
                  </a:lnTo>
                  <a:lnTo>
                    <a:pt x="244" y="124"/>
                  </a:lnTo>
                  <a:lnTo>
                    <a:pt x="250" y="133"/>
                  </a:lnTo>
                  <a:lnTo>
                    <a:pt x="249" y="144"/>
                  </a:lnTo>
                  <a:lnTo>
                    <a:pt x="243" y="150"/>
                  </a:lnTo>
                  <a:lnTo>
                    <a:pt x="231" y="144"/>
                  </a:lnTo>
                  <a:lnTo>
                    <a:pt x="218" y="146"/>
                  </a:lnTo>
                  <a:lnTo>
                    <a:pt x="198" y="172"/>
                  </a:lnTo>
                  <a:lnTo>
                    <a:pt x="189" y="180"/>
                  </a:lnTo>
                  <a:lnTo>
                    <a:pt x="173" y="187"/>
                  </a:lnTo>
                  <a:lnTo>
                    <a:pt x="166" y="189"/>
                  </a:lnTo>
                  <a:lnTo>
                    <a:pt x="155" y="196"/>
                  </a:lnTo>
                  <a:lnTo>
                    <a:pt x="150" y="197"/>
                  </a:lnTo>
                  <a:lnTo>
                    <a:pt x="137" y="193"/>
                  </a:lnTo>
                  <a:lnTo>
                    <a:pt x="139" y="203"/>
                  </a:lnTo>
                  <a:lnTo>
                    <a:pt x="152" y="212"/>
                  </a:lnTo>
                  <a:lnTo>
                    <a:pt x="180" y="251"/>
                  </a:lnTo>
                  <a:lnTo>
                    <a:pt x="185" y="252"/>
                  </a:lnTo>
                  <a:lnTo>
                    <a:pt x="190" y="263"/>
                  </a:lnTo>
                  <a:lnTo>
                    <a:pt x="196" y="271"/>
                  </a:lnTo>
                  <a:lnTo>
                    <a:pt x="193" y="277"/>
                  </a:lnTo>
                  <a:lnTo>
                    <a:pt x="185" y="279"/>
                  </a:lnTo>
                  <a:lnTo>
                    <a:pt x="184" y="286"/>
                  </a:lnTo>
                  <a:lnTo>
                    <a:pt x="185" y="293"/>
                  </a:lnTo>
                  <a:lnTo>
                    <a:pt x="198" y="301"/>
                  </a:lnTo>
                  <a:lnTo>
                    <a:pt x="202" y="309"/>
                  </a:lnTo>
                  <a:lnTo>
                    <a:pt x="202" y="317"/>
                  </a:lnTo>
                  <a:lnTo>
                    <a:pt x="209" y="321"/>
                  </a:lnTo>
                  <a:lnTo>
                    <a:pt x="216" y="320"/>
                  </a:lnTo>
                  <a:lnTo>
                    <a:pt x="218" y="328"/>
                  </a:lnTo>
                  <a:lnTo>
                    <a:pt x="215" y="332"/>
                  </a:lnTo>
                  <a:lnTo>
                    <a:pt x="211" y="337"/>
                  </a:lnTo>
                  <a:lnTo>
                    <a:pt x="196" y="337"/>
                  </a:lnTo>
                  <a:lnTo>
                    <a:pt x="182" y="341"/>
                  </a:lnTo>
                  <a:lnTo>
                    <a:pt x="175" y="354"/>
                  </a:lnTo>
                  <a:lnTo>
                    <a:pt x="166" y="360"/>
                  </a:lnTo>
                  <a:lnTo>
                    <a:pt x="150" y="359"/>
                  </a:lnTo>
                  <a:lnTo>
                    <a:pt x="146" y="348"/>
                  </a:lnTo>
                  <a:lnTo>
                    <a:pt x="145" y="333"/>
                  </a:lnTo>
                  <a:lnTo>
                    <a:pt x="148" y="321"/>
                  </a:lnTo>
                  <a:lnTo>
                    <a:pt x="143" y="314"/>
                  </a:lnTo>
                  <a:lnTo>
                    <a:pt x="131" y="305"/>
                  </a:lnTo>
                  <a:lnTo>
                    <a:pt x="120" y="294"/>
                  </a:lnTo>
                  <a:lnTo>
                    <a:pt x="113" y="280"/>
                  </a:lnTo>
                  <a:lnTo>
                    <a:pt x="121" y="264"/>
                  </a:lnTo>
                  <a:lnTo>
                    <a:pt x="121" y="253"/>
                  </a:lnTo>
                  <a:lnTo>
                    <a:pt x="119" y="245"/>
                  </a:lnTo>
                  <a:lnTo>
                    <a:pt x="116" y="239"/>
                  </a:lnTo>
                  <a:lnTo>
                    <a:pt x="105" y="237"/>
                  </a:lnTo>
                  <a:lnTo>
                    <a:pt x="92" y="245"/>
                  </a:lnTo>
                  <a:lnTo>
                    <a:pt x="81" y="253"/>
                  </a:lnTo>
                  <a:lnTo>
                    <a:pt x="76" y="267"/>
                  </a:lnTo>
                  <a:lnTo>
                    <a:pt x="83" y="280"/>
                  </a:lnTo>
                  <a:lnTo>
                    <a:pt x="83" y="294"/>
                  </a:lnTo>
                  <a:lnTo>
                    <a:pt x="82" y="344"/>
                  </a:lnTo>
                  <a:lnTo>
                    <a:pt x="86" y="354"/>
                  </a:lnTo>
                  <a:lnTo>
                    <a:pt x="80" y="368"/>
                  </a:lnTo>
                  <a:lnTo>
                    <a:pt x="81" y="384"/>
                  </a:lnTo>
                  <a:lnTo>
                    <a:pt x="85" y="397"/>
                  </a:lnTo>
                  <a:lnTo>
                    <a:pt x="82" y="400"/>
                  </a:lnTo>
                  <a:lnTo>
                    <a:pt x="67" y="401"/>
                  </a:lnTo>
                  <a:lnTo>
                    <a:pt x="55" y="404"/>
                  </a:lnTo>
                  <a:lnTo>
                    <a:pt x="42" y="403"/>
                  </a:lnTo>
                  <a:lnTo>
                    <a:pt x="33" y="398"/>
                  </a:lnTo>
                  <a:lnTo>
                    <a:pt x="27" y="384"/>
                  </a:lnTo>
                  <a:lnTo>
                    <a:pt x="34" y="363"/>
                  </a:lnTo>
                  <a:lnTo>
                    <a:pt x="35" y="350"/>
                  </a:lnTo>
                  <a:lnTo>
                    <a:pt x="43" y="316"/>
                  </a:lnTo>
                  <a:lnTo>
                    <a:pt x="39" y="310"/>
                  </a:lnTo>
                  <a:lnTo>
                    <a:pt x="34" y="284"/>
                  </a:lnTo>
                  <a:lnTo>
                    <a:pt x="22" y="284"/>
                  </a:lnTo>
                  <a:lnTo>
                    <a:pt x="11" y="285"/>
                  </a:lnTo>
                  <a:lnTo>
                    <a:pt x="2" y="273"/>
                  </a:lnTo>
                  <a:lnTo>
                    <a:pt x="0" y="259"/>
                  </a:lnTo>
                  <a:lnTo>
                    <a:pt x="1" y="240"/>
                  </a:lnTo>
                  <a:lnTo>
                    <a:pt x="12" y="226"/>
                  </a:lnTo>
                  <a:lnTo>
                    <a:pt x="18" y="210"/>
                  </a:lnTo>
                  <a:lnTo>
                    <a:pt x="26" y="196"/>
                  </a:lnTo>
                  <a:lnTo>
                    <a:pt x="24" y="166"/>
                  </a:lnTo>
                  <a:lnTo>
                    <a:pt x="37" y="144"/>
                  </a:lnTo>
                  <a:lnTo>
                    <a:pt x="44" y="137"/>
                  </a:lnTo>
                  <a:lnTo>
                    <a:pt x="49" y="128"/>
                  </a:lnTo>
                  <a:lnTo>
                    <a:pt x="51" y="138"/>
                  </a:lnTo>
                  <a:lnTo>
                    <a:pt x="54" y="126"/>
                  </a:lnTo>
                  <a:lnTo>
                    <a:pt x="53" y="105"/>
                  </a:lnTo>
                  <a:lnTo>
                    <a:pt x="45" y="97"/>
                  </a:lnTo>
                  <a:lnTo>
                    <a:pt x="48" y="97"/>
                  </a:lnTo>
                  <a:lnTo>
                    <a:pt x="55" y="86"/>
                  </a:lnTo>
                  <a:lnTo>
                    <a:pt x="55" y="80"/>
                  </a:lnTo>
                  <a:lnTo>
                    <a:pt x="57" y="69"/>
                  </a:lnTo>
                  <a:lnTo>
                    <a:pt x="62" y="58"/>
                  </a:lnTo>
                  <a:lnTo>
                    <a:pt x="73" y="46"/>
                  </a:lnTo>
                  <a:lnTo>
                    <a:pt x="78" y="46"/>
                  </a:lnTo>
                  <a:lnTo>
                    <a:pt x="86" y="52"/>
                  </a:lnTo>
                  <a:lnTo>
                    <a:pt x="93" y="51"/>
                  </a:lnTo>
                  <a:lnTo>
                    <a:pt x="102" y="40"/>
                  </a:lnTo>
                  <a:lnTo>
                    <a:pt x="104" y="27"/>
                  </a:lnTo>
                  <a:lnTo>
                    <a:pt x="110" y="24"/>
                  </a:lnTo>
                  <a:lnTo>
                    <a:pt x="120" y="2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32" name="Freeform 87"/>
            <p:cNvSpPr>
              <a:spLocks noChangeAspect="1"/>
            </p:cNvSpPr>
            <p:nvPr/>
          </p:nvSpPr>
          <p:spPr bwMode="gray">
            <a:xfrm>
              <a:off x="8118658" y="4216701"/>
              <a:ext cx="25442" cy="59369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32" y="0"/>
                </a:cxn>
                <a:cxn ang="0">
                  <a:pos x="34" y="2"/>
                </a:cxn>
                <a:cxn ang="0">
                  <a:pos x="36" y="6"/>
                </a:cxn>
                <a:cxn ang="0">
                  <a:pos x="31" y="14"/>
                </a:cxn>
                <a:cxn ang="0">
                  <a:pos x="27" y="17"/>
                </a:cxn>
                <a:cxn ang="0">
                  <a:pos x="26" y="21"/>
                </a:cxn>
                <a:cxn ang="0">
                  <a:pos x="31" y="25"/>
                </a:cxn>
                <a:cxn ang="0">
                  <a:pos x="34" y="36"/>
                </a:cxn>
                <a:cxn ang="0">
                  <a:pos x="36" y="45"/>
                </a:cxn>
                <a:cxn ang="0">
                  <a:pos x="34" y="53"/>
                </a:cxn>
                <a:cxn ang="0">
                  <a:pos x="22" y="65"/>
                </a:cxn>
                <a:cxn ang="0">
                  <a:pos x="15" y="72"/>
                </a:cxn>
                <a:cxn ang="0">
                  <a:pos x="15" y="74"/>
                </a:cxn>
                <a:cxn ang="0">
                  <a:pos x="22" y="75"/>
                </a:cxn>
                <a:cxn ang="0">
                  <a:pos x="28" y="69"/>
                </a:cxn>
                <a:cxn ang="0">
                  <a:pos x="37" y="63"/>
                </a:cxn>
                <a:cxn ang="0">
                  <a:pos x="47" y="45"/>
                </a:cxn>
                <a:cxn ang="0">
                  <a:pos x="57" y="40"/>
                </a:cxn>
                <a:cxn ang="0">
                  <a:pos x="68" y="38"/>
                </a:cxn>
                <a:cxn ang="0">
                  <a:pos x="70" y="41"/>
                </a:cxn>
                <a:cxn ang="0">
                  <a:pos x="74" y="49"/>
                </a:cxn>
                <a:cxn ang="0">
                  <a:pos x="74" y="63"/>
                </a:cxn>
                <a:cxn ang="0">
                  <a:pos x="52" y="78"/>
                </a:cxn>
                <a:cxn ang="0">
                  <a:pos x="52" y="81"/>
                </a:cxn>
                <a:cxn ang="0">
                  <a:pos x="69" y="92"/>
                </a:cxn>
                <a:cxn ang="0">
                  <a:pos x="70" y="99"/>
                </a:cxn>
                <a:cxn ang="0">
                  <a:pos x="74" y="103"/>
                </a:cxn>
                <a:cxn ang="0">
                  <a:pos x="80" y="107"/>
                </a:cxn>
                <a:cxn ang="0">
                  <a:pos x="70" y="108"/>
                </a:cxn>
                <a:cxn ang="0">
                  <a:pos x="62" y="102"/>
                </a:cxn>
                <a:cxn ang="0">
                  <a:pos x="47" y="100"/>
                </a:cxn>
                <a:cxn ang="0">
                  <a:pos x="36" y="96"/>
                </a:cxn>
                <a:cxn ang="0">
                  <a:pos x="31" y="102"/>
                </a:cxn>
                <a:cxn ang="0">
                  <a:pos x="30" y="118"/>
                </a:cxn>
                <a:cxn ang="0">
                  <a:pos x="32" y="137"/>
                </a:cxn>
                <a:cxn ang="0">
                  <a:pos x="37" y="146"/>
                </a:cxn>
                <a:cxn ang="0">
                  <a:pos x="43" y="158"/>
                </a:cxn>
                <a:cxn ang="0">
                  <a:pos x="54" y="170"/>
                </a:cxn>
                <a:cxn ang="0">
                  <a:pos x="49" y="170"/>
                </a:cxn>
                <a:cxn ang="0">
                  <a:pos x="39" y="160"/>
                </a:cxn>
                <a:cxn ang="0">
                  <a:pos x="21" y="137"/>
                </a:cxn>
                <a:cxn ang="0">
                  <a:pos x="17" y="106"/>
                </a:cxn>
                <a:cxn ang="0">
                  <a:pos x="12" y="92"/>
                </a:cxn>
                <a:cxn ang="0">
                  <a:pos x="12" y="80"/>
                </a:cxn>
                <a:cxn ang="0">
                  <a:pos x="10" y="72"/>
                </a:cxn>
                <a:cxn ang="0">
                  <a:pos x="5" y="68"/>
                </a:cxn>
                <a:cxn ang="0">
                  <a:pos x="0" y="59"/>
                </a:cxn>
                <a:cxn ang="0">
                  <a:pos x="1" y="49"/>
                </a:cxn>
                <a:cxn ang="0">
                  <a:pos x="3" y="48"/>
                </a:cxn>
                <a:cxn ang="0">
                  <a:pos x="10" y="25"/>
                </a:cxn>
                <a:cxn ang="0">
                  <a:pos x="15" y="15"/>
                </a:cxn>
                <a:cxn ang="0">
                  <a:pos x="31" y="0"/>
                </a:cxn>
              </a:cxnLst>
              <a:rect l="0" t="0" r="r" b="b"/>
              <a:pathLst>
                <a:path w="80" h="170">
                  <a:moveTo>
                    <a:pt x="31" y="0"/>
                  </a:moveTo>
                  <a:lnTo>
                    <a:pt x="32" y="0"/>
                  </a:lnTo>
                  <a:lnTo>
                    <a:pt x="34" y="2"/>
                  </a:lnTo>
                  <a:lnTo>
                    <a:pt x="36" y="6"/>
                  </a:lnTo>
                  <a:lnTo>
                    <a:pt x="31" y="14"/>
                  </a:lnTo>
                  <a:lnTo>
                    <a:pt x="27" y="17"/>
                  </a:lnTo>
                  <a:lnTo>
                    <a:pt x="26" y="21"/>
                  </a:lnTo>
                  <a:lnTo>
                    <a:pt x="31" y="25"/>
                  </a:lnTo>
                  <a:lnTo>
                    <a:pt x="34" y="36"/>
                  </a:lnTo>
                  <a:lnTo>
                    <a:pt x="36" y="45"/>
                  </a:lnTo>
                  <a:lnTo>
                    <a:pt x="34" y="53"/>
                  </a:lnTo>
                  <a:lnTo>
                    <a:pt x="22" y="65"/>
                  </a:lnTo>
                  <a:lnTo>
                    <a:pt x="15" y="72"/>
                  </a:lnTo>
                  <a:lnTo>
                    <a:pt x="15" y="74"/>
                  </a:lnTo>
                  <a:lnTo>
                    <a:pt x="22" y="75"/>
                  </a:lnTo>
                  <a:lnTo>
                    <a:pt x="28" y="69"/>
                  </a:lnTo>
                  <a:lnTo>
                    <a:pt x="37" y="63"/>
                  </a:lnTo>
                  <a:lnTo>
                    <a:pt x="47" y="45"/>
                  </a:lnTo>
                  <a:lnTo>
                    <a:pt x="57" y="40"/>
                  </a:lnTo>
                  <a:lnTo>
                    <a:pt x="68" y="38"/>
                  </a:lnTo>
                  <a:lnTo>
                    <a:pt x="70" y="41"/>
                  </a:lnTo>
                  <a:lnTo>
                    <a:pt x="74" y="49"/>
                  </a:lnTo>
                  <a:lnTo>
                    <a:pt x="74" y="63"/>
                  </a:lnTo>
                  <a:lnTo>
                    <a:pt x="52" y="78"/>
                  </a:lnTo>
                  <a:lnTo>
                    <a:pt x="52" y="81"/>
                  </a:lnTo>
                  <a:lnTo>
                    <a:pt x="69" y="92"/>
                  </a:lnTo>
                  <a:lnTo>
                    <a:pt x="70" y="99"/>
                  </a:lnTo>
                  <a:lnTo>
                    <a:pt x="74" y="103"/>
                  </a:lnTo>
                  <a:lnTo>
                    <a:pt x="80" y="107"/>
                  </a:lnTo>
                  <a:lnTo>
                    <a:pt x="70" y="108"/>
                  </a:lnTo>
                  <a:lnTo>
                    <a:pt x="62" y="102"/>
                  </a:lnTo>
                  <a:lnTo>
                    <a:pt x="47" y="100"/>
                  </a:lnTo>
                  <a:lnTo>
                    <a:pt x="36" y="96"/>
                  </a:lnTo>
                  <a:lnTo>
                    <a:pt x="31" y="102"/>
                  </a:lnTo>
                  <a:lnTo>
                    <a:pt x="30" y="118"/>
                  </a:lnTo>
                  <a:lnTo>
                    <a:pt x="32" y="137"/>
                  </a:lnTo>
                  <a:lnTo>
                    <a:pt x="37" y="146"/>
                  </a:lnTo>
                  <a:lnTo>
                    <a:pt x="43" y="158"/>
                  </a:lnTo>
                  <a:lnTo>
                    <a:pt x="54" y="170"/>
                  </a:lnTo>
                  <a:lnTo>
                    <a:pt x="49" y="170"/>
                  </a:lnTo>
                  <a:lnTo>
                    <a:pt x="39" y="160"/>
                  </a:lnTo>
                  <a:lnTo>
                    <a:pt x="21" y="137"/>
                  </a:lnTo>
                  <a:lnTo>
                    <a:pt x="17" y="106"/>
                  </a:lnTo>
                  <a:lnTo>
                    <a:pt x="12" y="92"/>
                  </a:lnTo>
                  <a:lnTo>
                    <a:pt x="12" y="80"/>
                  </a:lnTo>
                  <a:lnTo>
                    <a:pt x="10" y="72"/>
                  </a:lnTo>
                  <a:lnTo>
                    <a:pt x="5" y="68"/>
                  </a:lnTo>
                  <a:lnTo>
                    <a:pt x="0" y="59"/>
                  </a:lnTo>
                  <a:lnTo>
                    <a:pt x="1" y="49"/>
                  </a:lnTo>
                  <a:lnTo>
                    <a:pt x="3" y="48"/>
                  </a:lnTo>
                  <a:lnTo>
                    <a:pt x="10" y="25"/>
                  </a:lnTo>
                  <a:lnTo>
                    <a:pt x="15" y="15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33" name="Freeform 88"/>
            <p:cNvSpPr>
              <a:spLocks noChangeAspect="1"/>
            </p:cNvSpPr>
            <p:nvPr/>
          </p:nvSpPr>
          <p:spPr bwMode="gray">
            <a:xfrm>
              <a:off x="8180673" y="4267339"/>
              <a:ext cx="181276" cy="167629"/>
            </a:xfrm>
            <a:custGeom>
              <a:avLst/>
              <a:gdLst/>
              <a:ahLst/>
              <a:cxnLst>
                <a:cxn ang="0">
                  <a:pos x="549" y="469"/>
                </a:cxn>
                <a:cxn ang="0">
                  <a:pos x="503" y="428"/>
                </a:cxn>
                <a:cxn ang="0">
                  <a:pos x="474" y="427"/>
                </a:cxn>
                <a:cxn ang="0">
                  <a:pos x="441" y="433"/>
                </a:cxn>
                <a:cxn ang="0">
                  <a:pos x="426" y="433"/>
                </a:cxn>
                <a:cxn ang="0">
                  <a:pos x="378" y="431"/>
                </a:cxn>
                <a:cxn ang="0">
                  <a:pos x="419" y="383"/>
                </a:cxn>
                <a:cxn ang="0">
                  <a:pos x="444" y="385"/>
                </a:cxn>
                <a:cxn ang="0">
                  <a:pos x="431" y="368"/>
                </a:cxn>
                <a:cxn ang="0">
                  <a:pos x="421" y="335"/>
                </a:cxn>
                <a:cxn ang="0">
                  <a:pos x="406" y="293"/>
                </a:cxn>
                <a:cxn ang="0">
                  <a:pos x="378" y="269"/>
                </a:cxn>
                <a:cxn ang="0">
                  <a:pos x="342" y="250"/>
                </a:cxn>
                <a:cxn ang="0">
                  <a:pos x="290" y="235"/>
                </a:cxn>
                <a:cxn ang="0">
                  <a:pos x="229" y="223"/>
                </a:cxn>
                <a:cxn ang="0">
                  <a:pos x="210" y="206"/>
                </a:cxn>
                <a:cxn ang="0">
                  <a:pos x="188" y="203"/>
                </a:cxn>
                <a:cxn ang="0">
                  <a:pos x="168" y="183"/>
                </a:cxn>
                <a:cxn ang="0">
                  <a:pos x="161" y="149"/>
                </a:cxn>
                <a:cxn ang="0">
                  <a:pos x="152" y="167"/>
                </a:cxn>
                <a:cxn ang="0">
                  <a:pos x="132" y="203"/>
                </a:cxn>
                <a:cxn ang="0">
                  <a:pos x="105" y="190"/>
                </a:cxn>
                <a:cxn ang="0">
                  <a:pos x="95" y="163"/>
                </a:cxn>
                <a:cxn ang="0">
                  <a:pos x="56" y="141"/>
                </a:cxn>
                <a:cxn ang="0">
                  <a:pos x="95" y="130"/>
                </a:cxn>
                <a:cxn ang="0">
                  <a:pos x="147" y="120"/>
                </a:cxn>
                <a:cxn ang="0">
                  <a:pos x="162" y="93"/>
                </a:cxn>
                <a:cxn ang="0">
                  <a:pos x="94" y="106"/>
                </a:cxn>
                <a:cxn ang="0">
                  <a:pos x="55" y="83"/>
                </a:cxn>
                <a:cxn ang="0">
                  <a:pos x="27" y="63"/>
                </a:cxn>
                <a:cxn ang="0">
                  <a:pos x="2" y="51"/>
                </a:cxn>
                <a:cxn ang="0">
                  <a:pos x="29" y="23"/>
                </a:cxn>
                <a:cxn ang="0">
                  <a:pos x="78" y="0"/>
                </a:cxn>
                <a:cxn ang="0">
                  <a:pos x="126" y="18"/>
                </a:cxn>
                <a:cxn ang="0">
                  <a:pos x="178" y="49"/>
                </a:cxn>
                <a:cxn ang="0">
                  <a:pos x="179" y="114"/>
                </a:cxn>
                <a:cxn ang="0">
                  <a:pos x="205" y="122"/>
                </a:cxn>
                <a:cxn ang="0">
                  <a:pos x="234" y="164"/>
                </a:cxn>
                <a:cxn ang="0">
                  <a:pos x="269" y="148"/>
                </a:cxn>
                <a:cxn ang="0">
                  <a:pos x="302" y="103"/>
                </a:cxn>
                <a:cxn ang="0">
                  <a:pos x="345" y="90"/>
                </a:cxn>
                <a:cxn ang="0">
                  <a:pos x="380" y="57"/>
                </a:cxn>
                <a:cxn ang="0">
                  <a:pos x="421" y="77"/>
                </a:cxn>
                <a:cxn ang="0">
                  <a:pos x="471" y="100"/>
                </a:cxn>
                <a:cxn ang="0">
                  <a:pos x="506" y="104"/>
                </a:cxn>
                <a:cxn ang="0">
                  <a:pos x="534" y="114"/>
                </a:cxn>
                <a:cxn ang="0">
                  <a:pos x="543" y="121"/>
                </a:cxn>
                <a:cxn ang="0">
                  <a:pos x="555" y="129"/>
                </a:cxn>
                <a:cxn ang="0">
                  <a:pos x="555" y="351"/>
                </a:cxn>
                <a:cxn ang="0">
                  <a:pos x="568" y="480"/>
                </a:cxn>
              </a:cxnLst>
              <a:rect l="0" t="0" r="r" b="b"/>
              <a:pathLst>
                <a:path w="568" h="480">
                  <a:moveTo>
                    <a:pt x="568" y="480"/>
                  </a:moveTo>
                  <a:lnTo>
                    <a:pt x="568" y="479"/>
                  </a:lnTo>
                  <a:lnTo>
                    <a:pt x="556" y="475"/>
                  </a:lnTo>
                  <a:lnTo>
                    <a:pt x="549" y="469"/>
                  </a:lnTo>
                  <a:lnTo>
                    <a:pt x="532" y="455"/>
                  </a:lnTo>
                  <a:lnTo>
                    <a:pt x="523" y="444"/>
                  </a:lnTo>
                  <a:lnTo>
                    <a:pt x="513" y="433"/>
                  </a:lnTo>
                  <a:lnTo>
                    <a:pt x="503" y="428"/>
                  </a:lnTo>
                  <a:lnTo>
                    <a:pt x="501" y="425"/>
                  </a:lnTo>
                  <a:lnTo>
                    <a:pt x="497" y="421"/>
                  </a:lnTo>
                  <a:lnTo>
                    <a:pt x="484" y="423"/>
                  </a:lnTo>
                  <a:lnTo>
                    <a:pt x="474" y="427"/>
                  </a:lnTo>
                  <a:lnTo>
                    <a:pt x="455" y="423"/>
                  </a:lnTo>
                  <a:lnTo>
                    <a:pt x="447" y="431"/>
                  </a:lnTo>
                  <a:lnTo>
                    <a:pt x="442" y="426"/>
                  </a:lnTo>
                  <a:lnTo>
                    <a:pt x="441" y="433"/>
                  </a:lnTo>
                  <a:lnTo>
                    <a:pt x="441" y="436"/>
                  </a:lnTo>
                  <a:lnTo>
                    <a:pt x="438" y="437"/>
                  </a:lnTo>
                  <a:lnTo>
                    <a:pt x="431" y="437"/>
                  </a:lnTo>
                  <a:lnTo>
                    <a:pt x="426" y="433"/>
                  </a:lnTo>
                  <a:lnTo>
                    <a:pt x="405" y="439"/>
                  </a:lnTo>
                  <a:lnTo>
                    <a:pt x="385" y="440"/>
                  </a:lnTo>
                  <a:lnTo>
                    <a:pt x="378" y="440"/>
                  </a:lnTo>
                  <a:lnTo>
                    <a:pt x="378" y="431"/>
                  </a:lnTo>
                  <a:lnTo>
                    <a:pt x="384" y="421"/>
                  </a:lnTo>
                  <a:lnTo>
                    <a:pt x="390" y="405"/>
                  </a:lnTo>
                  <a:lnTo>
                    <a:pt x="406" y="386"/>
                  </a:lnTo>
                  <a:lnTo>
                    <a:pt x="419" y="383"/>
                  </a:lnTo>
                  <a:lnTo>
                    <a:pt x="427" y="384"/>
                  </a:lnTo>
                  <a:lnTo>
                    <a:pt x="437" y="390"/>
                  </a:lnTo>
                  <a:lnTo>
                    <a:pt x="444" y="393"/>
                  </a:lnTo>
                  <a:lnTo>
                    <a:pt x="444" y="385"/>
                  </a:lnTo>
                  <a:lnTo>
                    <a:pt x="433" y="377"/>
                  </a:lnTo>
                  <a:lnTo>
                    <a:pt x="435" y="373"/>
                  </a:lnTo>
                  <a:lnTo>
                    <a:pt x="442" y="372"/>
                  </a:lnTo>
                  <a:lnTo>
                    <a:pt x="431" y="368"/>
                  </a:lnTo>
                  <a:lnTo>
                    <a:pt x="420" y="359"/>
                  </a:lnTo>
                  <a:lnTo>
                    <a:pt x="426" y="357"/>
                  </a:lnTo>
                  <a:lnTo>
                    <a:pt x="430" y="341"/>
                  </a:lnTo>
                  <a:lnTo>
                    <a:pt x="421" y="335"/>
                  </a:lnTo>
                  <a:lnTo>
                    <a:pt x="414" y="321"/>
                  </a:lnTo>
                  <a:lnTo>
                    <a:pt x="410" y="300"/>
                  </a:lnTo>
                  <a:lnTo>
                    <a:pt x="410" y="297"/>
                  </a:lnTo>
                  <a:lnTo>
                    <a:pt x="406" y="293"/>
                  </a:lnTo>
                  <a:lnTo>
                    <a:pt x="395" y="277"/>
                  </a:lnTo>
                  <a:lnTo>
                    <a:pt x="389" y="277"/>
                  </a:lnTo>
                  <a:lnTo>
                    <a:pt x="383" y="275"/>
                  </a:lnTo>
                  <a:lnTo>
                    <a:pt x="378" y="269"/>
                  </a:lnTo>
                  <a:lnTo>
                    <a:pt x="377" y="269"/>
                  </a:lnTo>
                  <a:lnTo>
                    <a:pt x="372" y="262"/>
                  </a:lnTo>
                  <a:lnTo>
                    <a:pt x="361" y="260"/>
                  </a:lnTo>
                  <a:lnTo>
                    <a:pt x="342" y="250"/>
                  </a:lnTo>
                  <a:lnTo>
                    <a:pt x="334" y="251"/>
                  </a:lnTo>
                  <a:lnTo>
                    <a:pt x="313" y="240"/>
                  </a:lnTo>
                  <a:lnTo>
                    <a:pt x="299" y="237"/>
                  </a:lnTo>
                  <a:lnTo>
                    <a:pt x="290" y="235"/>
                  </a:lnTo>
                  <a:lnTo>
                    <a:pt x="270" y="228"/>
                  </a:lnTo>
                  <a:lnTo>
                    <a:pt x="260" y="227"/>
                  </a:lnTo>
                  <a:lnTo>
                    <a:pt x="243" y="224"/>
                  </a:lnTo>
                  <a:lnTo>
                    <a:pt x="229" y="223"/>
                  </a:lnTo>
                  <a:lnTo>
                    <a:pt x="228" y="219"/>
                  </a:lnTo>
                  <a:lnTo>
                    <a:pt x="224" y="218"/>
                  </a:lnTo>
                  <a:lnTo>
                    <a:pt x="215" y="213"/>
                  </a:lnTo>
                  <a:lnTo>
                    <a:pt x="210" y="206"/>
                  </a:lnTo>
                  <a:lnTo>
                    <a:pt x="207" y="199"/>
                  </a:lnTo>
                  <a:lnTo>
                    <a:pt x="199" y="199"/>
                  </a:lnTo>
                  <a:lnTo>
                    <a:pt x="189" y="197"/>
                  </a:lnTo>
                  <a:lnTo>
                    <a:pt x="188" y="203"/>
                  </a:lnTo>
                  <a:lnTo>
                    <a:pt x="184" y="197"/>
                  </a:lnTo>
                  <a:lnTo>
                    <a:pt x="175" y="191"/>
                  </a:lnTo>
                  <a:lnTo>
                    <a:pt x="170" y="189"/>
                  </a:lnTo>
                  <a:lnTo>
                    <a:pt x="168" y="183"/>
                  </a:lnTo>
                  <a:lnTo>
                    <a:pt x="158" y="179"/>
                  </a:lnTo>
                  <a:lnTo>
                    <a:pt x="156" y="171"/>
                  </a:lnTo>
                  <a:lnTo>
                    <a:pt x="157" y="162"/>
                  </a:lnTo>
                  <a:lnTo>
                    <a:pt x="161" y="149"/>
                  </a:lnTo>
                  <a:lnTo>
                    <a:pt x="159" y="142"/>
                  </a:lnTo>
                  <a:lnTo>
                    <a:pt x="157" y="148"/>
                  </a:lnTo>
                  <a:lnTo>
                    <a:pt x="156" y="159"/>
                  </a:lnTo>
                  <a:lnTo>
                    <a:pt x="152" y="167"/>
                  </a:lnTo>
                  <a:lnTo>
                    <a:pt x="145" y="181"/>
                  </a:lnTo>
                  <a:lnTo>
                    <a:pt x="142" y="189"/>
                  </a:lnTo>
                  <a:lnTo>
                    <a:pt x="138" y="196"/>
                  </a:lnTo>
                  <a:lnTo>
                    <a:pt x="132" y="203"/>
                  </a:lnTo>
                  <a:lnTo>
                    <a:pt x="113" y="206"/>
                  </a:lnTo>
                  <a:lnTo>
                    <a:pt x="108" y="203"/>
                  </a:lnTo>
                  <a:lnTo>
                    <a:pt x="105" y="200"/>
                  </a:lnTo>
                  <a:lnTo>
                    <a:pt x="105" y="190"/>
                  </a:lnTo>
                  <a:lnTo>
                    <a:pt x="102" y="179"/>
                  </a:lnTo>
                  <a:lnTo>
                    <a:pt x="103" y="174"/>
                  </a:lnTo>
                  <a:lnTo>
                    <a:pt x="103" y="163"/>
                  </a:lnTo>
                  <a:lnTo>
                    <a:pt x="95" y="163"/>
                  </a:lnTo>
                  <a:lnTo>
                    <a:pt x="88" y="149"/>
                  </a:lnTo>
                  <a:lnTo>
                    <a:pt x="78" y="143"/>
                  </a:lnTo>
                  <a:lnTo>
                    <a:pt x="65" y="143"/>
                  </a:lnTo>
                  <a:lnTo>
                    <a:pt x="56" y="141"/>
                  </a:lnTo>
                  <a:lnTo>
                    <a:pt x="57" y="132"/>
                  </a:lnTo>
                  <a:lnTo>
                    <a:pt x="67" y="127"/>
                  </a:lnTo>
                  <a:lnTo>
                    <a:pt x="81" y="127"/>
                  </a:lnTo>
                  <a:lnTo>
                    <a:pt x="95" y="130"/>
                  </a:lnTo>
                  <a:lnTo>
                    <a:pt x="115" y="119"/>
                  </a:lnTo>
                  <a:lnTo>
                    <a:pt x="125" y="115"/>
                  </a:lnTo>
                  <a:lnTo>
                    <a:pt x="135" y="119"/>
                  </a:lnTo>
                  <a:lnTo>
                    <a:pt x="147" y="120"/>
                  </a:lnTo>
                  <a:lnTo>
                    <a:pt x="156" y="116"/>
                  </a:lnTo>
                  <a:lnTo>
                    <a:pt x="157" y="105"/>
                  </a:lnTo>
                  <a:lnTo>
                    <a:pt x="161" y="99"/>
                  </a:lnTo>
                  <a:lnTo>
                    <a:pt x="162" y="93"/>
                  </a:lnTo>
                  <a:lnTo>
                    <a:pt x="152" y="97"/>
                  </a:lnTo>
                  <a:lnTo>
                    <a:pt x="132" y="101"/>
                  </a:lnTo>
                  <a:lnTo>
                    <a:pt x="110" y="106"/>
                  </a:lnTo>
                  <a:lnTo>
                    <a:pt x="94" y="106"/>
                  </a:lnTo>
                  <a:lnTo>
                    <a:pt x="86" y="104"/>
                  </a:lnTo>
                  <a:lnTo>
                    <a:pt x="77" y="106"/>
                  </a:lnTo>
                  <a:lnTo>
                    <a:pt x="62" y="99"/>
                  </a:lnTo>
                  <a:lnTo>
                    <a:pt x="55" y="83"/>
                  </a:lnTo>
                  <a:lnTo>
                    <a:pt x="52" y="72"/>
                  </a:lnTo>
                  <a:lnTo>
                    <a:pt x="46" y="67"/>
                  </a:lnTo>
                  <a:lnTo>
                    <a:pt x="36" y="62"/>
                  </a:lnTo>
                  <a:lnTo>
                    <a:pt x="27" y="63"/>
                  </a:lnTo>
                  <a:lnTo>
                    <a:pt x="19" y="60"/>
                  </a:lnTo>
                  <a:lnTo>
                    <a:pt x="17" y="66"/>
                  </a:lnTo>
                  <a:lnTo>
                    <a:pt x="0" y="58"/>
                  </a:lnTo>
                  <a:lnTo>
                    <a:pt x="2" y="51"/>
                  </a:lnTo>
                  <a:lnTo>
                    <a:pt x="7" y="45"/>
                  </a:lnTo>
                  <a:lnTo>
                    <a:pt x="16" y="28"/>
                  </a:lnTo>
                  <a:lnTo>
                    <a:pt x="19" y="25"/>
                  </a:lnTo>
                  <a:lnTo>
                    <a:pt x="29" y="23"/>
                  </a:lnTo>
                  <a:lnTo>
                    <a:pt x="38" y="23"/>
                  </a:lnTo>
                  <a:lnTo>
                    <a:pt x="48" y="19"/>
                  </a:lnTo>
                  <a:lnTo>
                    <a:pt x="66" y="3"/>
                  </a:lnTo>
                  <a:lnTo>
                    <a:pt x="78" y="0"/>
                  </a:lnTo>
                  <a:lnTo>
                    <a:pt x="93" y="0"/>
                  </a:lnTo>
                  <a:lnTo>
                    <a:pt x="107" y="2"/>
                  </a:lnTo>
                  <a:lnTo>
                    <a:pt x="119" y="11"/>
                  </a:lnTo>
                  <a:lnTo>
                    <a:pt x="126" y="18"/>
                  </a:lnTo>
                  <a:lnTo>
                    <a:pt x="135" y="23"/>
                  </a:lnTo>
                  <a:lnTo>
                    <a:pt x="168" y="23"/>
                  </a:lnTo>
                  <a:lnTo>
                    <a:pt x="172" y="39"/>
                  </a:lnTo>
                  <a:lnTo>
                    <a:pt x="178" y="49"/>
                  </a:lnTo>
                  <a:lnTo>
                    <a:pt x="179" y="65"/>
                  </a:lnTo>
                  <a:lnTo>
                    <a:pt x="175" y="77"/>
                  </a:lnTo>
                  <a:lnTo>
                    <a:pt x="174" y="90"/>
                  </a:lnTo>
                  <a:lnTo>
                    <a:pt x="179" y="114"/>
                  </a:lnTo>
                  <a:lnTo>
                    <a:pt x="193" y="132"/>
                  </a:lnTo>
                  <a:lnTo>
                    <a:pt x="194" y="127"/>
                  </a:lnTo>
                  <a:lnTo>
                    <a:pt x="195" y="119"/>
                  </a:lnTo>
                  <a:lnTo>
                    <a:pt x="205" y="122"/>
                  </a:lnTo>
                  <a:lnTo>
                    <a:pt x="210" y="138"/>
                  </a:lnTo>
                  <a:lnTo>
                    <a:pt x="213" y="142"/>
                  </a:lnTo>
                  <a:lnTo>
                    <a:pt x="218" y="153"/>
                  </a:lnTo>
                  <a:lnTo>
                    <a:pt x="234" y="164"/>
                  </a:lnTo>
                  <a:lnTo>
                    <a:pt x="242" y="164"/>
                  </a:lnTo>
                  <a:lnTo>
                    <a:pt x="255" y="163"/>
                  </a:lnTo>
                  <a:lnTo>
                    <a:pt x="261" y="151"/>
                  </a:lnTo>
                  <a:lnTo>
                    <a:pt x="269" y="148"/>
                  </a:lnTo>
                  <a:lnTo>
                    <a:pt x="275" y="143"/>
                  </a:lnTo>
                  <a:lnTo>
                    <a:pt x="276" y="135"/>
                  </a:lnTo>
                  <a:lnTo>
                    <a:pt x="296" y="120"/>
                  </a:lnTo>
                  <a:lnTo>
                    <a:pt x="302" y="103"/>
                  </a:lnTo>
                  <a:lnTo>
                    <a:pt x="310" y="100"/>
                  </a:lnTo>
                  <a:lnTo>
                    <a:pt x="318" y="100"/>
                  </a:lnTo>
                  <a:lnTo>
                    <a:pt x="336" y="97"/>
                  </a:lnTo>
                  <a:lnTo>
                    <a:pt x="345" y="90"/>
                  </a:lnTo>
                  <a:lnTo>
                    <a:pt x="344" y="81"/>
                  </a:lnTo>
                  <a:lnTo>
                    <a:pt x="349" y="77"/>
                  </a:lnTo>
                  <a:lnTo>
                    <a:pt x="361" y="67"/>
                  </a:lnTo>
                  <a:lnTo>
                    <a:pt x="380" y="57"/>
                  </a:lnTo>
                  <a:lnTo>
                    <a:pt x="387" y="60"/>
                  </a:lnTo>
                  <a:lnTo>
                    <a:pt x="390" y="65"/>
                  </a:lnTo>
                  <a:lnTo>
                    <a:pt x="410" y="72"/>
                  </a:lnTo>
                  <a:lnTo>
                    <a:pt x="421" y="77"/>
                  </a:lnTo>
                  <a:lnTo>
                    <a:pt x="427" y="78"/>
                  </a:lnTo>
                  <a:lnTo>
                    <a:pt x="432" y="83"/>
                  </a:lnTo>
                  <a:lnTo>
                    <a:pt x="455" y="90"/>
                  </a:lnTo>
                  <a:lnTo>
                    <a:pt x="471" y="100"/>
                  </a:lnTo>
                  <a:lnTo>
                    <a:pt x="479" y="104"/>
                  </a:lnTo>
                  <a:lnTo>
                    <a:pt x="491" y="108"/>
                  </a:lnTo>
                  <a:lnTo>
                    <a:pt x="501" y="106"/>
                  </a:lnTo>
                  <a:lnTo>
                    <a:pt x="506" y="104"/>
                  </a:lnTo>
                  <a:lnTo>
                    <a:pt x="514" y="108"/>
                  </a:lnTo>
                  <a:lnTo>
                    <a:pt x="519" y="106"/>
                  </a:lnTo>
                  <a:lnTo>
                    <a:pt x="523" y="108"/>
                  </a:lnTo>
                  <a:lnTo>
                    <a:pt x="534" y="114"/>
                  </a:lnTo>
                  <a:lnTo>
                    <a:pt x="539" y="114"/>
                  </a:lnTo>
                  <a:lnTo>
                    <a:pt x="541" y="116"/>
                  </a:lnTo>
                  <a:lnTo>
                    <a:pt x="541" y="119"/>
                  </a:lnTo>
                  <a:lnTo>
                    <a:pt x="543" y="121"/>
                  </a:lnTo>
                  <a:lnTo>
                    <a:pt x="549" y="121"/>
                  </a:lnTo>
                  <a:lnTo>
                    <a:pt x="551" y="120"/>
                  </a:lnTo>
                  <a:lnTo>
                    <a:pt x="556" y="120"/>
                  </a:lnTo>
                  <a:lnTo>
                    <a:pt x="555" y="129"/>
                  </a:lnTo>
                  <a:lnTo>
                    <a:pt x="560" y="254"/>
                  </a:lnTo>
                  <a:lnTo>
                    <a:pt x="560" y="326"/>
                  </a:lnTo>
                  <a:lnTo>
                    <a:pt x="556" y="347"/>
                  </a:lnTo>
                  <a:lnTo>
                    <a:pt x="555" y="351"/>
                  </a:lnTo>
                  <a:lnTo>
                    <a:pt x="562" y="368"/>
                  </a:lnTo>
                  <a:lnTo>
                    <a:pt x="562" y="409"/>
                  </a:lnTo>
                  <a:lnTo>
                    <a:pt x="565" y="466"/>
                  </a:lnTo>
                  <a:lnTo>
                    <a:pt x="568" y="48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34" name="Freeform 89"/>
            <p:cNvSpPr>
              <a:spLocks noChangeAspect="1"/>
            </p:cNvSpPr>
            <p:nvPr/>
          </p:nvSpPr>
          <p:spPr bwMode="gray">
            <a:xfrm>
              <a:off x="8528915" y="4309247"/>
              <a:ext cx="41344" cy="4190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20" y="11"/>
                </a:cxn>
                <a:cxn ang="0">
                  <a:pos x="26" y="16"/>
                </a:cxn>
                <a:cxn ang="0">
                  <a:pos x="34" y="20"/>
                </a:cxn>
                <a:cxn ang="0">
                  <a:pos x="54" y="35"/>
                </a:cxn>
                <a:cxn ang="0">
                  <a:pos x="66" y="36"/>
                </a:cxn>
                <a:cxn ang="0">
                  <a:pos x="75" y="43"/>
                </a:cxn>
                <a:cxn ang="0">
                  <a:pos x="81" y="49"/>
                </a:cxn>
                <a:cxn ang="0">
                  <a:pos x="95" y="58"/>
                </a:cxn>
                <a:cxn ang="0">
                  <a:pos x="100" y="66"/>
                </a:cxn>
                <a:cxn ang="0">
                  <a:pos x="107" y="71"/>
                </a:cxn>
                <a:cxn ang="0">
                  <a:pos x="117" y="74"/>
                </a:cxn>
                <a:cxn ang="0">
                  <a:pos x="121" y="78"/>
                </a:cxn>
                <a:cxn ang="0">
                  <a:pos x="124" y="87"/>
                </a:cxn>
                <a:cxn ang="0">
                  <a:pos x="129" y="93"/>
                </a:cxn>
                <a:cxn ang="0">
                  <a:pos x="129" y="100"/>
                </a:cxn>
                <a:cxn ang="0">
                  <a:pos x="124" y="107"/>
                </a:cxn>
                <a:cxn ang="0">
                  <a:pos x="120" y="119"/>
                </a:cxn>
                <a:cxn ang="0">
                  <a:pos x="111" y="119"/>
                </a:cxn>
                <a:cxn ang="0">
                  <a:pos x="105" y="93"/>
                </a:cxn>
                <a:cxn ang="0">
                  <a:pos x="97" y="71"/>
                </a:cxn>
                <a:cxn ang="0">
                  <a:pos x="86" y="53"/>
                </a:cxn>
                <a:cxn ang="0">
                  <a:pos x="80" y="49"/>
                </a:cxn>
                <a:cxn ang="0">
                  <a:pos x="66" y="47"/>
                </a:cxn>
                <a:cxn ang="0">
                  <a:pos x="54" y="39"/>
                </a:cxn>
                <a:cxn ang="0">
                  <a:pos x="46" y="31"/>
                </a:cxn>
                <a:cxn ang="0">
                  <a:pos x="40" y="30"/>
                </a:cxn>
                <a:cxn ang="0">
                  <a:pos x="31" y="23"/>
                </a:cxn>
                <a:cxn ang="0">
                  <a:pos x="26" y="21"/>
                </a:cxn>
                <a:cxn ang="0">
                  <a:pos x="9" y="10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129" h="119">
                  <a:moveTo>
                    <a:pt x="0" y="3"/>
                  </a:moveTo>
                  <a:lnTo>
                    <a:pt x="2" y="0"/>
                  </a:lnTo>
                  <a:lnTo>
                    <a:pt x="20" y="11"/>
                  </a:lnTo>
                  <a:lnTo>
                    <a:pt x="26" y="16"/>
                  </a:lnTo>
                  <a:lnTo>
                    <a:pt x="34" y="20"/>
                  </a:lnTo>
                  <a:lnTo>
                    <a:pt x="54" y="35"/>
                  </a:lnTo>
                  <a:lnTo>
                    <a:pt x="66" y="36"/>
                  </a:lnTo>
                  <a:lnTo>
                    <a:pt x="75" y="43"/>
                  </a:lnTo>
                  <a:lnTo>
                    <a:pt x="81" y="49"/>
                  </a:lnTo>
                  <a:lnTo>
                    <a:pt x="95" y="58"/>
                  </a:lnTo>
                  <a:lnTo>
                    <a:pt x="100" y="66"/>
                  </a:lnTo>
                  <a:lnTo>
                    <a:pt x="107" y="71"/>
                  </a:lnTo>
                  <a:lnTo>
                    <a:pt x="117" y="74"/>
                  </a:lnTo>
                  <a:lnTo>
                    <a:pt x="121" y="78"/>
                  </a:lnTo>
                  <a:lnTo>
                    <a:pt x="124" y="87"/>
                  </a:lnTo>
                  <a:lnTo>
                    <a:pt x="129" y="93"/>
                  </a:lnTo>
                  <a:lnTo>
                    <a:pt x="129" y="100"/>
                  </a:lnTo>
                  <a:lnTo>
                    <a:pt x="124" y="107"/>
                  </a:lnTo>
                  <a:lnTo>
                    <a:pt x="120" y="119"/>
                  </a:lnTo>
                  <a:lnTo>
                    <a:pt x="111" y="119"/>
                  </a:lnTo>
                  <a:lnTo>
                    <a:pt x="105" y="93"/>
                  </a:lnTo>
                  <a:lnTo>
                    <a:pt x="97" y="71"/>
                  </a:lnTo>
                  <a:lnTo>
                    <a:pt x="86" y="53"/>
                  </a:lnTo>
                  <a:lnTo>
                    <a:pt x="80" y="49"/>
                  </a:lnTo>
                  <a:lnTo>
                    <a:pt x="66" y="47"/>
                  </a:lnTo>
                  <a:lnTo>
                    <a:pt x="54" y="39"/>
                  </a:lnTo>
                  <a:lnTo>
                    <a:pt x="46" y="31"/>
                  </a:lnTo>
                  <a:lnTo>
                    <a:pt x="40" y="30"/>
                  </a:lnTo>
                  <a:lnTo>
                    <a:pt x="31" y="23"/>
                  </a:lnTo>
                  <a:lnTo>
                    <a:pt x="26" y="21"/>
                  </a:lnTo>
                  <a:lnTo>
                    <a:pt x="9" y="10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35" name="Freeform 90"/>
            <p:cNvSpPr>
              <a:spLocks noChangeAspect="1"/>
            </p:cNvSpPr>
            <p:nvPr/>
          </p:nvSpPr>
          <p:spPr bwMode="gray">
            <a:xfrm>
              <a:off x="7678189" y="3806360"/>
              <a:ext cx="125622" cy="289858"/>
            </a:xfrm>
            <a:custGeom>
              <a:avLst/>
              <a:gdLst/>
              <a:ahLst/>
              <a:cxnLst>
                <a:cxn ang="0">
                  <a:pos x="237" y="758"/>
                </a:cxn>
                <a:cxn ang="0">
                  <a:pos x="250" y="749"/>
                </a:cxn>
                <a:cxn ang="0">
                  <a:pos x="270" y="727"/>
                </a:cxn>
                <a:cxn ang="0">
                  <a:pos x="321" y="713"/>
                </a:cxn>
                <a:cxn ang="0">
                  <a:pos x="376" y="679"/>
                </a:cxn>
                <a:cxn ang="0">
                  <a:pos x="387" y="654"/>
                </a:cxn>
                <a:cxn ang="0">
                  <a:pos x="388" y="643"/>
                </a:cxn>
                <a:cxn ang="0">
                  <a:pos x="388" y="607"/>
                </a:cxn>
                <a:cxn ang="0">
                  <a:pos x="395" y="596"/>
                </a:cxn>
                <a:cxn ang="0">
                  <a:pos x="389" y="557"/>
                </a:cxn>
                <a:cxn ang="0">
                  <a:pos x="382" y="507"/>
                </a:cxn>
                <a:cxn ang="0">
                  <a:pos x="336" y="409"/>
                </a:cxn>
                <a:cxn ang="0">
                  <a:pos x="323" y="401"/>
                </a:cxn>
                <a:cxn ang="0">
                  <a:pos x="281" y="372"/>
                </a:cxn>
                <a:cxn ang="0">
                  <a:pos x="255" y="344"/>
                </a:cxn>
                <a:cxn ang="0">
                  <a:pos x="228" y="297"/>
                </a:cxn>
                <a:cxn ang="0">
                  <a:pos x="194" y="245"/>
                </a:cxn>
                <a:cxn ang="0">
                  <a:pos x="239" y="171"/>
                </a:cxn>
                <a:cxn ang="0">
                  <a:pos x="258" y="140"/>
                </a:cxn>
                <a:cxn ang="0">
                  <a:pos x="307" y="105"/>
                </a:cxn>
                <a:cxn ang="0">
                  <a:pos x="312" y="97"/>
                </a:cxn>
                <a:cxn ang="0">
                  <a:pos x="255" y="77"/>
                </a:cxn>
                <a:cxn ang="0">
                  <a:pos x="244" y="26"/>
                </a:cxn>
                <a:cxn ang="0">
                  <a:pos x="184" y="5"/>
                </a:cxn>
                <a:cxn ang="0">
                  <a:pos x="142" y="19"/>
                </a:cxn>
                <a:cxn ang="0">
                  <a:pos x="104" y="33"/>
                </a:cxn>
                <a:cxn ang="0">
                  <a:pos x="71" y="31"/>
                </a:cxn>
                <a:cxn ang="0">
                  <a:pos x="36" y="33"/>
                </a:cxn>
                <a:cxn ang="0">
                  <a:pos x="13" y="37"/>
                </a:cxn>
                <a:cxn ang="0">
                  <a:pos x="12" y="60"/>
                </a:cxn>
                <a:cxn ang="0">
                  <a:pos x="41" y="112"/>
                </a:cxn>
                <a:cxn ang="0">
                  <a:pos x="97" y="134"/>
                </a:cxn>
                <a:cxn ang="0">
                  <a:pos x="129" y="162"/>
                </a:cxn>
                <a:cxn ang="0">
                  <a:pos x="146" y="192"/>
                </a:cxn>
                <a:cxn ang="0">
                  <a:pos x="107" y="208"/>
                </a:cxn>
                <a:cxn ang="0">
                  <a:pos x="107" y="231"/>
                </a:cxn>
                <a:cxn ang="0">
                  <a:pos x="165" y="280"/>
                </a:cxn>
                <a:cxn ang="0">
                  <a:pos x="213" y="332"/>
                </a:cxn>
                <a:cxn ang="0">
                  <a:pos x="238" y="371"/>
                </a:cxn>
                <a:cxn ang="0">
                  <a:pos x="265" y="396"/>
                </a:cxn>
                <a:cxn ang="0">
                  <a:pos x="292" y="457"/>
                </a:cxn>
                <a:cxn ang="0">
                  <a:pos x="299" y="558"/>
                </a:cxn>
                <a:cxn ang="0">
                  <a:pos x="281" y="625"/>
                </a:cxn>
                <a:cxn ang="0">
                  <a:pos x="238" y="646"/>
                </a:cxn>
                <a:cxn ang="0">
                  <a:pos x="206" y="674"/>
                </a:cxn>
                <a:cxn ang="0">
                  <a:pos x="194" y="697"/>
                </a:cxn>
                <a:cxn ang="0">
                  <a:pos x="158" y="705"/>
                </a:cxn>
                <a:cxn ang="0">
                  <a:pos x="134" y="726"/>
                </a:cxn>
                <a:cxn ang="0">
                  <a:pos x="161" y="752"/>
                </a:cxn>
                <a:cxn ang="0">
                  <a:pos x="148" y="797"/>
                </a:cxn>
                <a:cxn ang="0">
                  <a:pos x="153" y="832"/>
                </a:cxn>
                <a:cxn ang="0">
                  <a:pos x="195" y="797"/>
                </a:cxn>
                <a:cxn ang="0">
                  <a:pos x="228" y="773"/>
                </a:cxn>
              </a:cxnLst>
              <a:rect l="0" t="0" r="r" b="b"/>
              <a:pathLst>
                <a:path w="395" h="832">
                  <a:moveTo>
                    <a:pt x="228" y="773"/>
                  </a:moveTo>
                  <a:lnTo>
                    <a:pt x="238" y="776"/>
                  </a:lnTo>
                  <a:lnTo>
                    <a:pt x="242" y="768"/>
                  </a:lnTo>
                  <a:lnTo>
                    <a:pt x="237" y="758"/>
                  </a:lnTo>
                  <a:lnTo>
                    <a:pt x="239" y="753"/>
                  </a:lnTo>
                  <a:lnTo>
                    <a:pt x="245" y="754"/>
                  </a:lnTo>
                  <a:lnTo>
                    <a:pt x="247" y="748"/>
                  </a:lnTo>
                  <a:lnTo>
                    <a:pt x="250" y="749"/>
                  </a:lnTo>
                  <a:lnTo>
                    <a:pt x="249" y="741"/>
                  </a:lnTo>
                  <a:lnTo>
                    <a:pt x="253" y="737"/>
                  </a:lnTo>
                  <a:lnTo>
                    <a:pt x="255" y="731"/>
                  </a:lnTo>
                  <a:lnTo>
                    <a:pt x="270" y="727"/>
                  </a:lnTo>
                  <a:lnTo>
                    <a:pt x="276" y="731"/>
                  </a:lnTo>
                  <a:lnTo>
                    <a:pt x="283" y="731"/>
                  </a:lnTo>
                  <a:lnTo>
                    <a:pt x="308" y="716"/>
                  </a:lnTo>
                  <a:lnTo>
                    <a:pt x="321" y="713"/>
                  </a:lnTo>
                  <a:lnTo>
                    <a:pt x="330" y="701"/>
                  </a:lnTo>
                  <a:lnTo>
                    <a:pt x="361" y="687"/>
                  </a:lnTo>
                  <a:lnTo>
                    <a:pt x="367" y="681"/>
                  </a:lnTo>
                  <a:lnTo>
                    <a:pt x="376" y="679"/>
                  </a:lnTo>
                  <a:lnTo>
                    <a:pt x="378" y="673"/>
                  </a:lnTo>
                  <a:lnTo>
                    <a:pt x="379" y="665"/>
                  </a:lnTo>
                  <a:lnTo>
                    <a:pt x="385" y="660"/>
                  </a:lnTo>
                  <a:lnTo>
                    <a:pt x="387" y="654"/>
                  </a:lnTo>
                  <a:lnTo>
                    <a:pt x="383" y="650"/>
                  </a:lnTo>
                  <a:lnTo>
                    <a:pt x="385" y="646"/>
                  </a:lnTo>
                  <a:lnTo>
                    <a:pt x="388" y="647"/>
                  </a:lnTo>
                  <a:lnTo>
                    <a:pt x="388" y="643"/>
                  </a:lnTo>
                  <a:lnTo>
                    <a:pt x="383" y="619"/>
                  </a:lnTo>
                  <a:lnTo>
                    <a:pt x="384" y="615"/>
                  </a:lnTo>
                  <a:lnTo>
                    <a:pt x="388" y="618"/>
                  </a:lnTo>
                  <a:lnTo>
                    <a:pt x="388" y="607"/>
                  </a:lnTo>
                  <a:lnTo>
                    <a:pt x="392" y="602"/>
                  </a:lnTo>
                  <a:lnTo>
                    <a:pt x="395" y="603"/>
                  </a:lnTo>
                  <a:lnTo>
                    <a:pt x="395" y="607"/>
                  </a:lnTo>
                  <a:lnTo>
                    <a:pt x="395" y="596"/>
                  </a:lnTo>
                  <a:lnTo>
                    <a:pt x="394" y="587"/>
                  </a:lnTo>
                  <a:lnTo>
                    <a:pt x="390" y="585"/>
                  </a:lnTo>
                  <a:lnTo>
                    <a:pt x="389" y="569"/>
                  </a:lnTo>
                  <a:lnTo>
                    <a:pt x="389" y="557"/>
                  </a:lnTo>
                  <a:lnTo>
                    <a:pt x="388" y="549"/>
                  </a:lnTo>
                  <a:lnTo>
                    <a:pt x="388" y="539"/>
                  </a:lnTo>
                  <a:lnTo>
                    <a:pt x="385" y="536"/>
                  </a:lnTo>
                  <a:lnTo>
                    <a:pt x="382" y="507"/>
                  </a:lnTo>
                  <a:lnTo>
                    <a:pt x="366" y="456"/>
                  </a:lnTo>
                  <a:lnTo>
                    <a:pt x="344" y="434"/>
                  </a:lnTo>
                  <a:lnTo>
                    <a:pt x="337" y="424"/>
                  </a:lnTo>
                  <a:lnTo>
                    <a:pt x="336" y="409"/>
                  </a:lnTo>
                  <a:lnTo>
                    <a:pt x="335" y="413"/>
                  </a:lnTo>
                  <a:lnTo>
                    <a:pt x="329" y="414"/>
                  </a:lnTo>
                  <a:lnTo>
                    <a:pt x="329" y="409"/>
                  </a:lnTo>
                  <a:lnTo>
                    <a:pt x="323" y="401"/>
                  </a:lnTo>
                  <a:lnTo>
                    <a:pt x="306" y="398"/>
                  </a:lnTo>
                  <a:lnTo>
                    <a:pt x="298" y="387"/>
                  </a:lnTo>
                  <a:lnTo>
                    <a:pt x="290" y="378"/>
                  </a:lnTo>
                  <a:lnTo>
                    <a:pt x="281" y="372"/>
                  </a:lnTo>
                  <a:lnTo>
                    <a:pt x="274" y="362"/>
                  </a:lnTo>
                  <a:lnTo>
                    <a:pt x="270" y="359"/>
                  </a:lnTo>
                  <a:lnTo>
                    <a:pt x="265" y="351"/>
                  </a:lnTo>
                  <a:lnTo>
                    <a:pt x="255" y="344"/>
                  </a:lnTo>
                  <a:lnTo>
                    <a:pt x="248" y="334"/>
                  </a:lnTo>
                  <a:lnTo>
                    <a:pt x="236" y="324"/>
                  </a:lnTo>
                  <a:lnTo>
                    <a:pt x="234" y="312"/>
                  </a:lnTo>
                  <a:lnTo>
                    <a:pt x="228" y="297"/>
                  </a:lnTo>
                  <a:lnTo>
                    <a:pt x="217" y="290"/>
                  </a:lnTo>
                  <a:lnTo>
                    <a:pt x="197" y="270"/>
                  </a:lnTo>
                  <a:lnTo>
                    <a:pt x="191" y="258"/>
                  </a:lnTo>
                  <a:lnTo>
                    <a:pt x="194" y="245"/>
                  </a:lnTo>
                  <a:lnTo>
                    <a:pt x="197" y="235"/>
                  </a:lnTo>
                  <a:lnTo>
                    <a:pt x="199" y="222"/>
                  </a:lnTo>
                  <a:lnTo>
                    <a:pt x="211" y="195"/>
                  </a:lnTo>
                  <a:lnTo>
                    <a:pt x="239" y="171"/>
                  </a:lnTo>
                  <a:lnTo>
                    <a:pt x="243" y="166"/>
                  </a:lnTo>
                  <a:lnTo>
                    <a:pt x="247" y="152"/>
                  </a:lnTo>
                  <a:lnTo>
                    <a:pt x="253" y="145"/>
                  </a:lnTo>
                  <a:lnTo>
                    <a:pt x="258" y="140"/>
                  </a:lnTo>
                  <a:lnTo>
                    <a:pt x="276" y="132"/>
                  </a:lnTo>
                  <a:lnTo>
                    <a:pt x="286" y="124"/>
                  </a:lnTo>
                  <a:lnTo>
                    <a:pt x="287" y="116"/>
                  </a:lnTo>
                  <a:lnTo>
                    <a:pt x="307" y="105"/>
                  </a:lnTo>
                  <a:lnTo>
                    <a:pt x="315" y="108"/>
                  </a:lnTo>
                  <a:lnTo>
                    <a:pt x="318" y="106"/>
                  </a:lnTo>
                  <a:lnTo>
                    <a:pt x="319" y="102"/>
                  </a:lnTo>
                  <a:lnTo>
                    <a:pt x="312" y="97"/>
                  </a:lnTo>
                  <a:lnTo>
                    <a:pt x="293" y="98"/>
                  </a:lnTo>
                  <a:lnTo>
                    <a:pt x="283" y="96"/>
                  </a:lnTo>
                  <a:lnTo>
                    <a:pt x="278" y="91"/>
                  </a:lnTo>
                  <a:lnTo>
                    <a:pt x="255" y="77"/>
                  </a:lnTo>
                  <a:lnTo>
                    <a:pt x="248" y="65"/>
                  </a:lnTo>
                  <a:lnTo>
                    <a:pt x="243" y="50"/>
                  </a:lnTo>
                  <a:lnTo>
                    <a:pt x="248" y="35"/>
                  </a:lnTo>
                  <a:lnTo>
                    <a:pt x="244" y="26"/>
                  </a:lnTo>
                  <a:lnTo>
                    <a:pt x="224" y="25"/>
                  </a:lnTo>
                  <a:lnTo>
                    <a:pt x="211" y="21"/>
                  </a:lnTo>
                  <a:lnTo>
                    <a:pt x="196" y="15"/>
                  </a:lnTo>
                  <a:lnTo>
                    <a:pt x="184" y="5"/>
                  </a:lnTo>
                  <a:lnTo>
                    <a:pt x="169" y="0"/>
                  </a:lnTo>
                  <a:lnTo>
                    <a:pt x="162" y="1"/>
                  </a:lnTo>
                  <a:lnTo>
                    <a:pt x="152" y="12"/>
                  </a:lnTo>
                  <a:lnTo>
                    <a:pt x="142" y="19"/>
                  </a:lnTo>
                  <a:lnTo>
                    <a:pt x="127" y="27"/>
                  </a:lnTo>
                  <a:lnTo>
                    <a:pt x="121" y="28"/>
                  </a:lnTo>
                  <a:lnTo>
                    <a:pt x="113" y="26"/>
                  </a:lnTo>
                  <a:lnTo>
                    <a:pt x="104" y="33"/>
                  </a:lnTo>
                  <a:lnTo>
                    <a:pt x="94" y="38"/>
                  </a:lnTo>
                  <a:lnTo>
                    <a:pt x="91" y="32"/>
                  </a:lnTo>
                  <a:lnTo>
                    <a:pt x="77" y="36"/>
                  </a:lnTo>
                  <a:lnTo>
                    <a:pt x="71" y="31"/>
                  </a:lnTo>
                  <a:lnTo>
                    <a:pt x="65" y="32"/>
                  </a:lnTo>
                  <a:lnTo>
                    <a:pt x="50" y="42"/>
                  </a:lnTo>
                  <a:lnTo>
                    <a:pt x="44" y="41"/>
                  </a:lnTo>
                  <a:lnTo>
                    <a:pt x="36" y="33"/>
                  </a:lnTo>
                  <a:lnTo>
                    <a:pt x="23" y="31"/>
                  </a:lnTo>
                  <a:lnTo>
                    <a:pt x="21" y="28"/>
                  </a:lnTo>
                  <a:lnTo>
                    <a:pt x="17" y="31"/>
                  </a:lnTo>
                  <a:lnTo>
                    <a:pt x="13" y="37"/>
                  </a:lnTo>
                  <a:lnTo>
                    <a:pt x="7" y="44"/>
                  </a:lnTo>
                  <a:lnTo>
                    <a:pt x="7" y="48"/>
                  </a:lnTo>
                  <a:lnTo>
                    <a:pt x="0" y="44"/>
                  </a:lnTo>
                  <a:lnTo>
                    <a:pt x="12" y="60"/>
                  </a:lnTo>
                  <a:lnTo>
                    <a:pt x="29" y="80"/>
                  </a:lnTo>
                  <a:lnTo>
                    <a:pt x="39" y="90"/>
                  </a:lnTo>
                  <a:lnTo>
                    <a:pt x="44" y="100"/>
                  </a:lnTo>
                  <a:lnTo>
                    <a:pt x="41" y="112"/>
                  </a:lnTo>
                  <a:lnTo>
                    <a:pt x="43" y="120"/>
                  </a:lnTo>
                  <a:lnTo>
                    <a:pt x="57" y="135"/>
                  </a:lnTo>
                  <a:lnTo>
                    <a:pt x="77" y="139"/>
                  </a:lnTo>
                  <a:lnTo>
                    <a:pt x="97" y="134"/>
                  </a:lnTo>
                  <a:lnTo>
                    <a:pt x="113" y="135"/>
                  </a:lnTo>
                  <a:lnTo>
                    <a:pt x="122" y="146"/>
                  </a:lnTo>
                  <a:lnTo>
                    <a:pt x="127" y="155"/>
                  </a:lnTo>
                  <a:lnTo>
                    <a:pt x="129" y="162"/>
                  </a:lnTo>
                  <a:lnTo>
                    <a:pt x="137" y="168"/>
                  </a:lnTo>
                  <a:lnTo>
                    <a:pt x="141" y="177"/>
                  </a:lnTo>
                  <a:lnTo>
                    <a:pt x="147" y="183"/>
                  </a:lnTo>
                  <a:lnTo>
                    <a:pt x="146" y="192"/>
                  </a:lnTo>
                  <a:lnTo>
                    <a:pt x="130" y="208"/>
                  </a:lnTo>
                  <a:lnTo>
                    <a:pt x="125" y="208"/>
                  </a:lnTo>
                  <a:lnTo>
                    <a:pt x="114" y="205"/>
                  </a:lnTo>
                  <a:lnTo>
                    <a:pt x="107" y="208"/>
                  </a:lnTo>
                  <a:lnTo>
                    <a:pt x="103" y="213"/>
                  </a:lnTo>
                  <a:lnTo>
                    <a:pt x="99" y="222"/>
                  </a:lnTo>
                  <a:lnTo>
                    <a:pt x="100" y="229"/>
                  </a:lnTo>
                  <a:lnTo>
                    <a:pt x="107" y="231"/>
                  </a:lnTo>
                  <a:lnTo>
                    <a:pt x="115" y="237"/>
                  </a:lnTo>
                  <a:lnTo>
                    <a:pt x="134" y="247"/>
                  </a:lnTo>
                  <a:lnTo>
                    <a:pt x="161" y="267"/>
                  </a:lnTo>
                  <a:lnTo>
                    <a:pt x="165" y="280"/>
                  </a:lnTo>
                  <a:lnTo>
                    <a:pt x="188" y="301"/>
                  </a:lnTo>
                  <a:lnTo>
                    <a:pt x="191" y="311"/>
                  </a:lnTo>
                  <a:lnTo>
                    <a:pt x="208" y="331"/>
                  </a:lnTo>
                  <a:lnTo>
                    <a:pt x="213" y="332"/>
                  </a:lnTo>
                  <a:lnTo>
                    <a:pt x="231" y="344"/>
                  </a:lnTo>
                  <a:lnTo>
                    <a:pt x="236" y="358"/>
                  </a:lnTo>
                  <a:lnTo>
                    <a:pt x="239" y="370"/>
                  </a:lnTo>
                  <a:lnTo>
                    <a:pt x="238" y="371"/>
                  </a:lnTo>
                  <a:lnTo>
                    <a:pt x="239" y="372"/>
                  </a:lnTo>
                  <a:lnTo>
                    <a:pt x="243" y="386"/>
                  </a:lnTo>
                  <a:lnTo>
                    <a:pt x="251" y="386"/>
                  </a:lnTo>
                  <a:lnTo>
                    <a:pt x="265" y="396"/>
                  </a:lnTo>
                  <a:lnTo>
                    <a:pt x="274" y="404"/>
                  </a:lnTo>
                  <a:lnTo>
                    <a:pt x="278" y="421"/>
                  </a:lnTo>
                  <a:lnTo>
                    <a:pt x="291" y="450"/>
                  </a:lnTo>
                  <a:lnTo>
                    <a:pt x="292" y="457"/>
                  </a:lnTo>
                  <a:lnTo>
                    <a:pt x="292" y="490"/>
                  </a:lnTo>
                  <a:lnTo>
                    <a:pt x="290" y="527"/>
                  </a:lnTo>
                  <a:lnTo>
                    <a:pt x="292" y="543"/>
                  </a:lnTo>
                  <a:lnTo>
                    <a:pt x="299" y="558"/>
                  </a:lnTo>
                  <a:lnTo>
                    <a:pt x="298" y="607"/>
                  </a:lnTo>
                  <a:lnTo>
                    <a:pt x="296" y="619"/>
                  </a:lnTo>
                  <a:lnTo>
                    <a:pt x="290" y="628"/>
                  </a:lnTo>
                  <a:lnTo>
                    <a:pt x="281" y="625"/>
                  </a:lnTo>
                  <a:lnTo>
                    <a:pt x="271" y="634"/>
                  </a:lnTo>
                  <a:lnTo>
                    <a:pt x="264" y="638"/>
                  </a:lnTo>
                  <a:lnTo>
                    <a:pt x="256" y="638"/>
                  </a:lnTo>
                  <a:lnTo>
                    <a:pt x="238" y="646"/>
                  </a:lnTo>
                  <a:lnTo>
                    <a:pt x="237" y="656"/>
                  </a:lnTo>
                  <a:lnTo>
                    <a:pt x="218" y="657"/>
                  </a:lnTo>
                  <a:lnTo>
                    <a:pt x="208" y="661"/>
                  </a:lnTo>
                  <a:lnTo>
                    <a:pt x="206" y="674"/>
                  </a:lnTo>
                  <a:lnTo>
                    <a:pt x="207" y="683"/>
                  </a:lnTo>
                  <a:lnTo>
                    <a:pt x="208" y="692"/>
                  </a:lnTo>
                  <a:lnTo>
                    <a:pt x="202" y="694"/>
                  </a:lnTo>
                  <a:lnTo>
                    <a:pt x="194" y="697"/>
                  </a:lnTo>
                  <a:lnTo>
                    <a:pt x="183" y="704"/>
                  </a:lnTo>
                  <a:lnTo>
                    <a:pt x="173" y="708"/>
                  </a:lnTo>
                  <a:lnTo>
                    <a:pt x="165" y="705"/>
                  </a:lnTo>
                  <a:lnTo>
                    <a:pt x="158" y="705"/>
                  </a:lnTo>
                  <a:lnTo>
                    <a:pt x="157" y="715"/>
                  </a:lnTo>
                  <a:lnTo>
                    <a:pt x="152" y="720"/>
                  </a:lnTo>
                  <a:lnTo>
                    <a:pt x="145" y="724"/>
                  </a:lnTo>
                  <a:lnTo>
                    <a:pt x="134" y="726"/>
                  </a:lnTo>
                  <a:lnTo>
                    <a:pt x="129" y="727"/>
                  </a:lnTo>
                  <a:lnTo>
                    <a:pt x="136" y="738"/>
                  </a:lnTo>
                  <a:lnTo>
                    <a:pt x="154" y="746"/>
                  </a:lnTo>
                  <a:lnTo>
                    <a:pt x="161" y="752"/>
                  </a:lnTo>
                  <a:lnTo>
                    <a:pt x="157" y="760"/>
                  </a:lnTo>
                  <a:lnTo>
                    <a:pt x="150" y="770"/>
                  </a:lnTo>
                  <a:lnTo>
                    <a:pt x="148" y="786"/>
                  </a:lnTo>
                  <a:lnTo>
                    <a:pt x="148" y="797"/>
                  </a:lnTo>
                  <a:lnTo>
                    <a:pt x="151" y="810"/>
                  </a:lnTo>
                  <a:lnTo>
                    <a:pt x="156" y="822"/>
                  </a:lnTo>
                  <a:lnTo>
                    <a:pt x="151" y="827"/>
                  </a:lnTo>
                  <a:lnTo>
                    <a:pt x="153" y="832"/>
                  </a:lnTo>
                  <a:lnTo>
                    <a:pt x="162" y="830"/>
                  </a:lnTo>
                  <a:lnTo>
                    <a:pt x="175" y="821"/>
                  </a:lnTo>
                  <a:lnTo>
                    <a:pt x="186" y="807"/>
                  </a:lnTo>
                  <a:lnTo>
                    <a:pt x="195" y="797"/>
                  </a:lnTo>
                  <a:lnTo>
                    <a:pt x="216" y="789"/>
                  </a:lnTo>
                  <a:lnTo>
                    <a:pt x="220" y="785"/>
                  </a:lnTo>
                  <a:lnTo>
                    <a:pt x="220" y="778"/>
                  </a:lnTo>
                  <a:lnTo>
                    <a:pt x="228" y="7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36" name="Freeform 91"/>
            <p:cNvSpPr>
              <a:spLocks noChangeAspect="1"/>
            </p:cNvSpPr>
            <p:nvPr/>
          </p:nvSpPr>
          <p:spPr bwMode="gray">
            <a:xfrm>
              <a:off x="7808581" y="4127649"/>
              <a:ext cx="168555" cy="115245"/>
            </a:xfrm>
            <a:custGeom>
              <a:avLst/>
              <a:gdLst/>
              <a:ahLst/>
              <a:cxnLst>
                <a:cxn ang="0">
                  <a:pos x="249" y="133"/>
                </a:cxn>
                <a:cxn ang="0">
                  <a:pos x="268" y="155"/>
                </a:cxn>
                <a:cxn ang="0">
                  <a:pos x="281" y="158"/>
                </a:cxn>
                <a:cxn ang="0">
                  <a:pos x="288" y="121"/>
                </a:cxn>
                <a:cxn ang="0">
                  <a:pos x="301" y="122"/>
                </a:cxn>
                <a:cxn ang="0">
                  <a:pos x="312" y="139"/>
                </a:cxn>
                <a:cxn ang="0">
                  <a:pos x="319" y="128"/>
                </a:cxn>
                <a:cxn ang="0">
                  <a:pos x="309" y="111"/>
                </a:cxn>
                <a:cxn ang="0">
                  <a:pos x="328" y="96"/>
                </a:cxn>
                <a:cxn ang="0">
                  <a:pos x="324" y="81"/>
                </a:cxn>
                <a:cxn ang="0">
                  <a:pos x="351" y="64"/>
                </a:cxn>
                <a:cxn ang="0">
                  <a:pos x="383" y="20"/>
                </a:cxn>
                <a:cxn ang="0">
                  <a:pos x="392" y="0"/>
                </a:cxn>
                <a:cxn ang="0">
                  <a:pos x="395" y="14"/>
                </a:cxn>
                <a:cxn ang="0">
                  <a:pos x="404" y="9"/>
                </a:cxn>
                <a:cxn ang="0">
                  <a:pos x="417" y="4"/>
                </a:cxn>
                <a:cxn ang="0">
                  <a:pos x="433" y="20"/>
                </a:cxn>
                <a:cxn ang="0">
                  <a:pos x="442" y="43"/>
                </a:cxn>
                <a:cxn ang="0">
                  <a:pos x="448" y="57"/>
                </a:cxn>
                <a:cxn ang="0">
                  <a:pos x="463" y="54"/>
                </a:cxn>
                <a:cxn ang="0">
                  <a:pos x="462" y="68"/>
                </a:cxn>
                <a:cxn ang="0">
                  <a:pos x="474" y="65"/>
                </a:cxn>
                <a:cxn ang="0">
                  <a:pos x="502" y="80"/>
                </a:cxn>
                <a:cxn ang="0">
                  <a:pos x="530" y="95"/>
                </a:cxn>
                <a:cxn ang="0">
                  <a:pos x="512" y="108"/>
                </a:cxn>
                <a:cxn ang="0">
                  <a:pos x="482" y="110"/>
                </a:cxn>
                <a:cxn ang="0">
                  <a:pos x="476" y="126"/>
                </a:cxn>
                <a:cxn ang="0">
                  <a:pos x="492" y="137"/>
                </a:cxn>
                <a:cxn ang="0">
                  <a:pos x="463" y="149"/>
                </a:cxn>
                <a:cxn ang="0">
                  <a:pos x="446" y="143"/>
                </a:cxn>
                <a:cxn ang="0">
                  <a:pos x="439" y="151"/>
                </a:cxn>
                <a:cxn ang="0">
                  <a:pos x="412" y="142"/>
                </a:cxn>
                <a:cxn ang="0">
                  <a:pos x="336" y="150"/>
                </a:cxn>
                <a:cxn ang="0">
                  <a:pos x="323" y="201"/>
                </a:cxn>
                <a:cxn ang="0">
                  <a:pos x="282" y="275"/>
                </a:cxn>
                <a:cxn ang="0">
                  <a:pos x="265" y="299"/>
                </a:cxn>
                <a:cxn ang="0">
                  <a:pos x="231" y="307"/>
                </a:cxn>
                <a:cxn ang="0">
                  <a:pos x="189" y="306"/>
                </a:cxn>
                <a:cxn ang="0">
                  <a:pos x="178" y="296"/>
                </a:cxn>
                <a:cxn ang="0">
                  <a:pos x="139" y="305"/>
                </a:cxn>
                <a:cxn ang="0">
                  <a:pos x="105" y="326"/>
                </a:cxn>
                <a:cxn ang="0">
                  <a:pos x="77" y="323"/>
                </a:cxn>
                <a:cxn ang="0">
                  <a:pos x="40" y="325"/>
                </a:cxn>
                <a:cxn ang="0">
                  <a:pos x="0" y="269"/>
                </a:cxn>
                <a:cxn ang="0">
                  <a:pos x="7" y="264"/>
                </a:cxn>
                <a:cxn ang="0">
                  <a:pos x="28" y="283"/>
                </a:cxn>
                <a:cxn ang="0">
                  <a:pos x="53" y="284"/>
                </a:cxn>
                <a:cxn ang="0">
                  <a:pos x="84" y="293"/>
                </a:cxn>
                <a:cxn ang="0">
                  <a:pos x="91" y="269"/>
                </a:cxn>
                <a:cxn ang="0">
                  <a:pos x="96" y="250"/>
                </a:cxn>
                <a:cxn ang="0">
                  <a:pos x="103" y="239"/>
                </a:cxn>
                <a:cxn ang="0">
                  <a:pos x="116" y="221"/>
                </a:cxn>
                <a:cxn ang="0">
                  <a:pos x="137" y="218"/>
                </a:cxn>
                <a:cxn ang="0">
                  <a:pos x="161" y="215"/>
                </a:cxn>
                <a:cxn ang="0">
                  <a:pos x="190" y="201"/>
                </a:cxn>
                <a:cxn ang="0">
                  <a:pos x="215" y="167"/>
                </a:cxn>
                <a:cxn ang="0">
                  <a:pos x="240" y="131"/>
                </a:cxn>
              </a:cxnLst>
              <a:rect l="0" t="0" r="r" b="b"/>
              <a:pathLst>
                <a:path w="530" h="330">
                  <a:moveTo>
                    <a:pt x="242" y="129"/>
                  </a:moveTo>
                  <a:lnTo>
                    <a:pt x="245" y="131"/>
                  </a:lnTo>
                  <a:lnTo>
                    <a:pt x="249" y="133"/>
                  </a:lnTo>
                  <a:lnTo>
                    <a:pt x="259" y="144"/>
                  </a:lnTo>
                  <a:lnTo>
                    <a:pt x="263" y="150"/>
                  </a:lnTo>
                  <a:lnTo>
                    <a:pt x="268" y="155"/>
                  </a:lnTo>
                  <a:lnTo>
                    <a:pt x="271" y="159"/>
                  </a:lnTo>
                  <a:lnTo>
                    <a:pt x="276" y="160"/>
                  </a:lnTo>
                  <a:lnTo>
                    <a:pt x="281" y="158"/>
                  </a:lnTo>
                  <a:lnTo>
                    <a:pt x="283" y="150"/>
                  </a:lnTo>
                  <a:lnTo>
                    <a:pt x="285" y="126"/>
                  </a:lnTo>
                  <a:lnTo>
                    <a:pt x="288" y="121"/>
                  </a:lnTo>
                  <a:lnTo>
                    <a:pt x="293" y="118"/>
                  </a:lnTo>
                  <a:lnTo>
                    <a:pt x="298" y="118"/>
                  </a:lnTo>
                  <a:lnTo>
                    <a:pt x="301" y="122"/>
                  </a:lnTo>
                  <a:lnTo>
                    <a:pt x="303" y="129"/>
                  </a:lnTo>
                  <a:lnTo>
                    <a:pt x="307" y="137"/>
                  </a:lnTo>
                  <a:lnTo>
                    <a:pt x="312" y="139"/>
                  </a:lnTo>
                  <a:lnTo>
                    <a:pt x="318" y="139"/>
                  </a:lnTo>
                  <a:lnTo>
                    <a:pt x="319" y="134"/>
                  </a:lnTo>
                  <a:lnTo>
                    <a:pt x="319" y="128"/>
                  </a:lnTo>
                  <a:lnTo>
                    <a:pt x="318" y="123"/>
                  </a:lnTo>
                  <a:lnTo>
                    <a:pt x="314" y="116"/>
                  </a:lnTo>
                  <a:lnTo>
                    <a:pt x="309" y="111"/>
                  </a:lnTo>
                  <a:lnTo>
                    <a:pt x="315" y="110"/>
                  </a:lnTo>
                  <a:lnTo>
                    <a:pt x="320" y="106"/>
                  </a:lnTo>
                  <a:lnTo>
                    <a:pt x="328" y="96"/>
                  </a:lnTo>
                  <a:lnTo>
                    <a:pt x="322" y="94"/>
                  </a:lnTo>
                  <a:lnTo>
                    <a:pt x="319" y="88"/>
                  </a:lnTo>
                  <a:lnTo>
                    <a:pt x="324" y="81"/>
                  </a:lnTo>
                  <a:lnTo>
                    <a:pt x="329" y="79"/>
                  </a:lnTo>
                  <a:lnTo>
                    <a:pt x="339" y="79"/>
                  </a:lnTo>
                  <a:lnTo>
                    <a:pt x="351" y="64"/>
                  </a:lnTo>
                  <a:lnTo>
                    <a:pt x="357" y="53"/>
                  </a:lnTo>
                  <a:lnTo>
                    <a:pt x="357" y="47"/>
                  </a:lnTo>
                  <a:lnTo>
                    <a:pt x="383" y="20"/>
                  </a:lnTo>
                  <a:lnTo>
                    <a:pt x="387" y="13"/>
                  </a:lnTo>
                  <a:lnTo>
                    <a:pt x="388" y="6"/>
                  </a:lnTo>
                  <a:lnTo>
                    <a:pt x="392" y="0"/>
                  </a:lnTo>
                  <a:lnTo>
                    <a:pt x="394" y="0"/>
                  </a:lnTo>
                  <a:lnTo>
                    <a:pt x="395" y="3"/>
                  </a:lnTo>
                  <a:lnTo>
                    <a:pt x="395" y="14"/>
                  </a:lnTo>
                  <a:lnTo>
                    <a:pt x="393" y="20"/>
                  </a:lnTo>
                  <a:lnTo>
                    <a:pt x="393" y="22"/>
                  </a:lnTo>
                  <a:lnTo>
                    <a:pt x="404" y="9"/>
                  </a:lnTo>
                  <a:lnTo>
                    <a:pt x="408" y="2"/>
                  </a:lnTo>
                  <a:lnTo>
                    <a:pt x="415" y="2"/>
                  </a:lnTo>
                  <a:lnTo>
                    <a:pt x="417" y="4"/>
                  </a:lnTo>
                  <a:lnTo>
                    <a:pt x="422" y="19"/>
                  </a:lnTo>
                  <a:lnTo>
                    <a:pt x="428" y="22"/>
                  </a:lnTo>
                  <a:lnTo>
                    <a:pt x="433" y="20"/>
                  </a:lnTo>
                  <a:lnTo>
                    <a:pt x="443" y="29"/>
                  </a:lnTo>
                  <a:lnTo>
                    <a:pt x="446" y="40"/>
                  </a:lnTo>
                  <a:lnTo>
                    <a:pt x="442" y="43"/>
                  </a:lnTo>
                  <a:lnTo>
                    <a:pt x="443" y="57"/>
                  </a:lnTo>
                  <a:lnTo>
                    <a:pt x="444" y="58"/>
                  </a:lnTo>
                  <a:lnTo>
                    <a:pt x="448" y="57"/>
                  </a:lnTo>
                  <a:lnTo>
                    <a:pt x="452" y="57"/>
                  </a:lnTo>
                  <a:lnTo>
                    <a:pt x="458" y="54"/>
                  </a:lnTo>
                  <a:lnTo>
                    <a:pt x="463" y="54"/>
                  </a:lnTo>
                  <a:lnTo>
                    <a:pt x="467" y="59"/>
                  </a:lnTo>
                  <a:lnTo>
                    <a:pt x="465" y="64"/>
                  </a:lnTo>
                  <a:lnTo>
                    <a:pt x="462" y="68"/>
                  </a:lnTo>
                  <a:lnTo>
                    <a:pt x="463" y="70"/>
                  </a:lnTo>
                  <a:lnTo>
                    <a:pt x="469" y="70"/>
                  </a:lnTo>
                  <a:lnTo>
                    <a:pt x="474" y="65"/>
                  </a:lnTo>
                  <a:lnTo>
                    <a:pt x="480" y="65"/>
                  </a:lnTo>
                  <a:lnTo>
                    <a:pt x="486" y="69"/>
                  </a:lnTo>
                  <a:lnTo>
                    <a:pt x="502" y="80"/>
                  </a:lnTo>
                  <a:lnTo>
                    <a:pt x="523" y="86"/>
                  </a:lnTo>
                  <a:lnTo>
                    <a:pt x="529" y="91"/>
                  </a:lnTo>
                  <a:lnTo>
                    <a:pt x="530" y="95"/>
                  </a:lnTo>
                  <a:lnTo>
                    <a:pt x="528" y="100"/>
                  </a:lnTo>
                  <a:lnTo>
                    <a:pt x="518" y="104"/>
                  </a:lnTo>
                  <a:lnTo>
                    <a:pt x="512" y="108"/>
                  </a:lnTo>
                  <a:lnTo>
                    <a:pt x="501" y="112"/>
                  </a:lnTo>
                  <a:lnTo>
                    <a:pt x="491" y="115"/>
                  </a:lnTo>
                  <a:lnTo>
                    <a:pt x="482" y="110"/>
                  </a:lnTo>
                  <a:lnTo>
                    <a:pt x="475" y="113"/>
                  </a:lnTo>
                  <a:lnTo>
                    <a:pt x="474" y="121"/>
                  </a:lnTo>
                  <a:lnTo>
                    <a:pt x="476" y="126"/>
                  </a:lnTo>
                  <a:lnTo>
                    <a:pt x="482" y="132"/>
                  </a:lnTo>
                  <a:lnTo>
                    <a:pt x="487" y="133"/>
                  </a:lnTo>
                  <a:lnTo>
                    <a:pt x="492" y="137"/>
                  </a:lnTo>
                  <a:lnTo>
                    <a:pt x="494" y="140"/>
                  </a:lnTo>
                  <a:lnTo>
                    <a:pt x="480" y="143"/>
                  </a:lnTo>
                  <a:lnTo>
                    <a:pt x="463" y="149"/>
                  </a:lnTo>
                  <a:lnTo>
                    <a:pt x="457" y="149"/>
                  </a:lnTo>
                  <a:lnTo>
                    <a:pt x="452" y="147"/>
                  </a:lnTo>
                  <a:lnTo>
                    <a:pt x="446" y="143"/>
                  </a:lnTo>
                  <a:lnTo>
                    <a:pt x="444" y="143"/>
                  </a:lnTo>
                  <a:lnTo>
                    <a:pt x="443" y="148"/>
                  </a:lnTo>
                  <a:lnTo>
                    <a:pt x="439" y="151"/>
                  </a:lnTo>
                  <a:lnTo>
                    <a:pt x="435" y="151"/>
                  </a:lnTo>
                  <a:lnTo>
                    <a:pt x="421" y="147"/>
                  </a:lnTo>
                  <a:lnTo>
                    <a:pt x="412" y="142"/>
                  </a:lnTo>
                  <a:lnTo>
                    <a:pt x="361" y="140"/>
                  </a:lnTo>
                  <a:lnTo>
                    <a:pt x="342" y="142"/>
                  </a:lnTo>
                  <a:lnTo>
                    <a:pt x="336" y="150"/>
                  </a:lnTo>
                  <a:lnTo>
                    <a:pt x="330" y="167"/>
                  </a:lnTo>
                  <a:lnTo>
                    <a:pt x="328" y="189"/>
                  </a:lnTo>
                  <a:lnTo>
                    <a:pt x="323" y="201"/>
                  </a:lnTo>
                  <a:lnTo>
                    <a:pt x="297" y="230"/>
                  </a:lnTo>
                  <a:lnTo>
                    <a:pt x="291" y="257"/>
                  </a:lnTo>
                  <a:lnTo>
                    <a:pt x="282" y="275"/>
                  </a:lnTo>
                  <a:lnTo>
                    <a:pt x="275" y="287"/>
                  </a:lnTo>
                  <a:lnTo>
                    <a:pt x="271" y="294"/>
                  </a:lnTo>
                  <a:lnTo>
                    <a:pt x="265" y="299"/>
                  </a:lnTo>
                  <a:lnTo>
                    <a:pt x="252" y="303"/>
                  </a:lnTo>
                  <a:lnTo>
                    <a:pt x="240" y="305"/>
                  </a:lnTo>
                  <a:lnTo>
                    <a:pt x="231" y="307"/>
                  </a:lnTo>
                  <a:lnTo>
                    <a:pt x="220" y="314"/>
                  </a:lnTo>
                  <a:lnTo>
                    <a:pt x="210" y="314"/>
                  </a:lnTo>
                  <a:lnTo>
                    <a:pt x="189" y="306"/>
                  </a:lnTo>
                  <a:lnTo>
                    <a:pt x="184" y="306"/>
                  </a:lnTo>
                  <a:lnTo>
                    <a:pt x="183" y="299"/>
                  </a:lnTo>
                  <a:lnTo>
                    <a:pt x="178" y="296"/>
                  </a:lnTo>
                  <a:lnTo>
                    <a:pt x="151" y="295"/>
                  </a:lnTo>
                  <a:lnTo>
                    <a:pt x="146" y="296"/>
                  </a:lnTo>
                  <a:lnTo>
                    <a:pt x="139" y="305"/>
                  </a:lnTo>
                  <a:lnTo>
                    <a:pt x="123" y="323"/>
                  </a:lnTo>
                  <a:lnTo>
                    <a:pt x="115" y="327"/>
                  </a:lnTo>
                  <a:lnTo>
                    <a:pt x="105" y="326"/>
                  </a:lnTo>
                  <a:lnTo>
                    <a:pt x="96" y="326"/>
                  </a:lnTo>
                  <a:lnTo>
                    <a:pt x="87" y="330"/>
                  </a:lnTo>
                  <a:lnTo>
                    <a:pt x="77" y="323"/>
                  </a:lnTo>
                  <a:lnTo>
                    <a:pt x="66" y="325"/>
                  </a:lnTo>
                  <a:lnTo>
                    <a:pt x="54" y="328"/>
                  </a:lnTo>
                  <a:lnTo>
                    <a:pt x="40" y="325"/>
                  </a:lnTo>
                  <a:lnTo>
                    <a:pt x="27" y="314"/>
                  </a:lnTo>
                  <a:lnTo>
                    <a:pt x="0" y="274"/>
                  </a:lnTo>
                  <a:lnTo>
                    <a:pt x="0" y="269"/>
                  </a:lnTo>
                  <a:lnTo>
                    <a:pt x="2" y="268"/>
                  </a:lnTo>
                  <a:lnTo>
                    <a:pt x="5" y="266"/>
                  </a:lnTo>
                  <a:lnTo>
                    <a:pt x="7" y="264"/>
                  </a:lnTo>
                  <a:lnTo>
                    <a:pt x="10" y="273"/>
                  </a:lnTo>
                  <a:lnTo>
                    <a:pt x="13" y="278"/>
                  </a:lnTo>
                  <a:lnTo>
                    <a:pt x="28" y="283"/>
                  </a:lnTo>
                  <a:lnTo>
                    <a:pt x="34" y="284"/>
                  </a:lnTo>
                  <a:lnTo>
                    <a:pt x="48" y="283"/>
                  </a:lnTo>
                  <a:lnTo>
                    <a:pt x="53" y="284"/>
                  </a:lnTo>
                  <a:lnTo>
                    <a:pt x="59" y="288"/>
                  </a:lnTo>
                  <a:lnTo>
                    <a:pt x="67" y="290"/>
                  </a:lnTo>
                  <a:lnTo>
                    <a:pt x="84" y="293"/>
                  </a:lnTo>
                  <a:lnTo>
                    <a:pt x="86" y="285"/>
                  </a:lnTo>
                  <a:lnTo>
                    <a:pt x="89" y="279"/>
                  </a:lnTo>
                  <a:lnTo>
                    <a:pt x="91" y="269"/>
                  </a:lnTo>
                  <a:lnTo>
                    <a:pt x="93" y="263"/>
                  </a:lnTo>
                  <a:lnTo>
                    <a:pt x="91" y="253"/>
                  </a:lnTo>
                  <a:lnTo>
                    <a:pt x="96" y="250"/>
                  </a:lnTo>
                  <a:lnTo>
                    <a:pt x="102" y="251"/>
                  </a:lnTo>
                  <a:lnTo>
                    <a:pt x="103" y="253"/>
                  </a:lnTo>
                  <a:lnTo>
                    <a:pt x="103" y="239"/>
                  </a:lnTo>
                  <a:lnTo>
                    <a:pt x="105" y="235"/>
                  </a:lnTo>
                  <a:lnTo>
                    <a:pt x="113" y="225"/>
                  </a:lnTo>
                  <a:lnTo>
                    <a:pt x="116" y="221"/>
                  </a:lnTo>
                  <a:lnTo>
                    <a:pt x="134" y="220"/>
                  </a:lnTo>
                  <a:lnTo>
                    <a:pt x="137" y="219"/>
                  </a:lnTo>
                  <a:lnTo>
                    <a:pt x="137" y="218"/>
                  </a:lnTo>
                  <a:lnTo>
                    <a:pt x="142" y="217"/>
                  </a:lnTo>
                  <a:lnTo>
                    <a:pt x="152" y="217"/>
                  </a:lnTo>
                  <a:lnTo>
                    <a:pt x="161" y="215"/>
                  </a:lnTo>
                  <a:lnTo>
                    <a:pt x="174" y="214"/>
                  </a:lnTo>
                  <a:lnTo>
                    <a:pt x="179" y="212"/>
                  </a:lnTo>
                  <a:lnTo>
                    <a:pt x="190" y="201"/>
                  </a:lnTo>
                  <a:lnTo>
                    <a:pt x="205" y="183"/>
                  </a:lnTo>
                  <a:lnTo>
                    <a:pt x="207" y="177"/>
                  </a:lnTo>
                  <a:lnTo>
                    <a:pt x="215" y="167"/>
                  </a:lnTo>
                  <a:lnTo>
                    <a:pt x="231" y="154"/>
                  </a:lnTo>
                  <a:lnTo>
                    <a:pt x="238" y="143"/>
                  </a:lnTo>
                  <a:lnTo>
                    <a:pt x="240" y="131"/>
                  </a:lnTo>
                  <a:lnTo>
                    <a:pt x="242" y="12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37" name="Freeform 92"/>
            <p:cNvSpPr>
              <a:spLocks noChangeAspect="1"/>
            </p:cNvSpPr>
            <p:nvPr/>
          </p:nvSpPr>
          <p:spPr bwMode="gray">
            <a:xfrm>
              <a:off x="7644797" y="4131141"/>
              <a:ext cx="71557" cy="103022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2" y="16"/>
                </a:cxn>
                <a:cxn ang="0">
                  <a:pos x="7" y="24"/>
                </a:cxn>
                <a:cxn ang="0">
                  <a:pos x="10" y="43"/>
                </a:cxn>
                <a:cxn ang="0">
                  <a:pos x="14" y="55"/>
                </a:cxn>
                <a:cxn ang="0">
                  <a:pos x="15" y="87"/>
                </a:cxn>
                <a:cxn ang="0">
                  <a:pos x="18" y="98"/>
                </a:cxn>
                <a:cxn ang="0">
                  <a:pos x="26" y="104"/>
                </a:cxn>
                <a:cxn ang="0">
                  <a:pos x="27" y="115"/>
                </a:cxn>
                <a:cxn ang="0">
                  <a:pos x="26" y="130"/>
                </a:cxn>
                <a:cxn ang="0">
                  <a:pos x="32" y="141"/>
                </a:cxn>
                <a:cxn ang="0">
                  <a:pos x="33" y="148"/>
                </a:cxn>
                <a:cxn ang="0">
                  <a:pos x="52" y="173"/>
                </a:cxn>
                <a:cxn ang="0">
                  <a:pos x="60" y="183"/>
                </a:cxn>
                <a:cxn ang="0">
                  <a:pos x="66" y="196"/>
                </a:cxn>
                <a:cxn ang="0">
                  <a:pos x="68" y="208"/>
                </a:cxn>
                <a:cxn ang="0">
                  <a:pos x="77" y="218"/>
                </a:cxn>
                <a:cxn ang="0">
                  <a:pos x="93" y="229"/>
                </a:cxn>
                <a:cxn ang="0">
                  <a:pos x="114" y="248"/>
                </a:cxn>
                <a:cxn ang="0">
                  <a:pos x="129" y="253"/>
                </a:cxn>
                <a:cxn ang="0">
                  <a:pos x="144" y="265"/>
                </a:cxn>
                <a:cxn ang="0">
                  <a:pos x="152" y="269"/>
                </a:cxn>
                <a:cxn ang="0">
                  <a:pos x="166" y="276"/>
                </a:cxn>
                <a:cxn ang="0">
                  <a:pos x="178" y="287"/>
                </a:cxn>
                <a:cxn ang="0">
                  <a:pos x="182" y="285"/>
                </a:cxn>
                <a:cxn ang="0">
                  <a:pos x="185" y="291"/>
                </a:cxn>
                <a:cxn ang="0">
                  <a:pos x="189" y="287"/>
                </a:cxn>
                <a:cxn ang="0">
                  <a:pos x="192" y="281"/>
                </a:cxn>
                <a:cxn ang="0">
                  <a:pos x="198" y="277"/>
                </a:cxn>
                <a:cxn ang="0">
                  <a:pos x="211" y="280"/>
                </a:cxn>
                <a:cxn ang="0">
                  <a:pos x="220" y="288"/>
                </a:cxn>
                <a:cxn ang="0">
                  <a:pos x="224" y="281"/>
                </a:cxn>
                <a:cxn ang="0">
                  <a:pos x="226" y="265"/>
                </a:cxn>
                <a:cxn ang="0">
                  <a:pos x="210" y="237"/>
                </a:cxn>
                <a:cxn ang="0">
                  <a:pos x="205" y="222"/>
                </a:cxn>
                <a:cxn ang="0">
                  <a:pos x="188" y="210"/>
                </a:cxn>
                <a:cxn ang="0">
                  <a:pos x="182" y="191"/>
                </a:cxn>
                <a:cxn ang="0">
                  <a:pos x="179" y="151"/>
                </a:cxn>
                <a:cxn ang="0">
                  <a:pos x="183" y="126"/>
                </a:cxn>
                <a:cxn ang="0">
                  <a:pos x="183" y="108"/>
                </a:cxn>
                <a:cxn ang="0">
                  <a:pos x="181" y="95"/>
                </a:cxn>
                <a:cxn ang="0">
                  <a:pos x="174" y="83"/>
                </a:cxn>
                <a:cxn ang="0">
                  <a:pos x="158" y="60"/>
                </a:cxn>
                <a:cxn ang="0">
                  <a:pos x="136" y="44"/>
                </a:cxn>
                <a:cxn ang="0">
                  <a:pos x="123" y="28"/>
                </a:cxn>
                <a:cxn ang="0">
                  <a:pos x="111" y="29"/>
                </a:cxn>
                <a:cxn ang="0">
                  <a:pos x="103" y="41"/>
                </a:cxn>
                <a:cxn ang="0">
                  <a:pos x="92" y="43"/>
                </a:cxn>
                <a:cxn ang="0">
                  <a:pos x="81" y="41"/>
                </a:cxn>
                <a:cxn ang="0">
                  <a:pos x="58" y="56"/>
                </a:cxn>
                <a:cxn ang="0">
                  <a:pos x="54" y="45"/>
                </a:cxn>
                <a:cxn ang="0">
                  <a:pos x="57" y="29"/>
                </a:cxn>
                <a:cxn ang="0">
                  <a:pos x="47" y="14"/>
                </a:cxn>
                <a:cxn ang="0">
                  <a:pos x="37" y="12"/>
                </a:cxn>
                <a:cxn ang="0">
                  <a:pos x="20" y="9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5" y="16"/>
                </a:cxn>
              </a:cxnLst>
              <a:rect l="0" t="0" r="r" b="b"/>
              <a:pathLst>
                <a:path w="226" h="291">
                  <a:moveTo>
                    <a:pt x="5" y="16"/>
                  </a:moveTo>
                  <a:lnTo>
                    <a:pt x="2" y="16"/>
                  </a:lnTo>
                  <a:lnTo>
                    <a:pt x="7" y="24"/>
                  </a:lnTo>
                  <a:lnTo>
                    <a:pt x="10" y="43"/>
                  </a:lnTo>
                  <a:lnTo>
                    <a:pt x="14" y="55"/>
                  </a:lnTo>
                  <a:lnTo>
                    <a:pt x="15" y="87"/>
                  </a:lnTo>
                  <a:lnTo>
                    <a:pt x="18" y="98"/>
                  </a:lnTo>
                  <a:lnTo>
                    <a:pt x="26" y="104"/>
                  </a:lnTo>
                  <a:lnTo>
                    <a:pt x="27" y="115"/>
                  </a:lnTo>
                  <a:lnTo>
                    <a:pt x="26" y="130"/>
                  </a:lnTo>
                  <a:lnTo>
                    <a:pt x="32" y="141"/>
                  </a:lnTo>
                  <a:lnTo>
                    <a:pt x="33" y="148"/>
                  </a:lnTo>
                  <a:lnTo>
                    <a:pt x="52" y="173"/>
                  </a:lnTo>
                  <a:lnTo>
                    <a:pt x="60" y="183"/>
                  </a:lnTo>
                  <a:lnTo>
                    <a:pt x="66" y="196"/>
                  </a:lnTo>
                  <a:lnTo>
                    <a:pt x="68" y="208"/>
                  </a:lnTo>
                  <a:lnTo>
                    <a:pt x="77" y="218"/>
                  </a:lnTo>
                  <a:lnTo>
                    <a:pt x="93" y="229"/>
                  </a:lnTo>
                  <a:lnTo>
                    <a:pt x="114" y="248"/>
                  </a:lnTo>
                  <a:lnTo>
                    <a:pt x="129" y="253"/>
                  </a:lnTo>
                  <a:lnTo>
                    <a:pt x="144" y="265"/>
                  </a:lnTo>
                  <a:lnTo>
                    <a:pt x="152" y="269"/>
                  </a:lnTo>
                  <a:lnTo>
                    <a:pt x="166" y="276"/>
                  </a:lnTo>
                  <a:lnTo>
                    <a:pt x="178" y="287"/>
                  </a:lnTo>
                  <a:lnTo>
                    <a:pt x="182" y="285"/>
                  </a:lnTo>
                  <a:lnTo>
                    <a:pt x="185" y="291"/>
                  </a:lnTo>
                  <a:lnTo>
                    <a:pt x="189" y="287"/>
                  </a:lnTo>
                  <a:lnTo>
                    <a:pt x="192" y="281"/>
                  </a:lnTo>
                  <a:lnTo>
                    <a:pt x="198" y="277"/>
                  </a:lnTo>
                  <a:lnTo>
                    <a:pt x="211" y="280"/>
                  </a:lnTo>
                  <a:lnTo>
                    <a:pt x="220" y="288"/>
                  </a:lnTo>
                  <a:lnTo>
                    <a:pt x="224" y="281"/>
                  </a:lnTo>
                  <a:lnTo>
                    <a:pt x="226" y="265"/>
                  </a:lnTo>
                  <a:lnTo>
                    <a:pt x="210" y="237"/>
                  </a:lnTo>
                  <a:lnTo>
                    <a:pt x="205" y="222"/>
                  </a:lnTo>
                  <a:lnTo>
                    <a:pt x="188" y="210"/>
                  </a:lnTo>
                  <a:lnTo>
                    <a:pt x="182" y="191"/>
                  </a:lnTo>
                  <a:lnTo>
                    <a:pt x="179" y="151"/>
                  </a:lnTo>
                  <a:lnTo>
                    <a:pt x="183" y="126"/>
                  </a:lnTo>
                  <a:lnTo>
                    <a:pt x="183" y="108"/>
                  </a:lnTo>
                  <a:lnTo>
                    <a:pt x="181" y="95"/>
                  </a:lnTo>
                  <a:lnTo>
                    <a:pt x="174" y="83"/>
                  </a:lnTo>
                  <a:lnTo>
                    <a:pt x="158" y="60"/>
                  </a:lnTo>
                  <a:lnTo>
                    <a:pt x="136" y="44"/>
                  </a:lnTo>
                  <a:lnTo>
                    <a:pt x="123" y="28"/>
                  </a:lnTo>
                  <a:lnTo>
                    <a:pt x="111" y="29"/>
                  </a:lnTo>
                  <a:lnTo>
                    <a:pt x="103" y="41"/>
                  </a:lnTo>
                  <a:lnTo>
                    <a:pt x="92" y="43"/>
                  </a:lnTo>
                  <a:lnTo>
                    <a:pt x="81" y="41"/>
                  </a:lnTo>
                  <a:lnTo>
                    <a:pt x="58" y="56"/>
                  </a:lnTo>
                  <a:lnTo>
                    <a:pt x="54" y="45"/>
                  </a:lnTo>
                  <a:lnTo>
                    <a:pt x="57" y="29"/>
                  </a:lnTo>
                  <a:lnTo>
                    <a:pt x="47" y="14"/>
                  </a:lnTo>
                  <a:lnTo>
                    <a:pt x="37" y="12"/>
                  </a:lnTo>
                  <a:lnTo>
                    <a:pt x="20" y="9"/>
                  </a:lnTo>
                  <a:lnTo>
                    <a:pt x="12" y="0"/>
                  </a:lnTo>
                  <a:lnTo>
                    <a:pt x="0" y="0"/>
                  </a:lnTo>
                  <a:lnTo>
                    <a:pt x="5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38" name="Freeform 93"/>
            <p:cNvSpPr>
              <a:spLocks noChangeAspect="1"/>
            </p:cNvSpPr>
            <p:nvPr/>
          </p:nvSpPr>
          <p:spPr bwMode="gray">
            <a:xfrm>
              <a:off x="7600273" y="3856997"/>
              <a:ext cx="136752" cy="295097"/>
            </a:xfrm>
            <a:custGeom>
              <a:avLst/>
              <a:gdLst/>
              <a:ahLst/>
              <a:cxnLst>
                <a:cxn ang="0">
                  <a:pos x="125" y="24"/>
                </a:cxn>
                <a:cxn ang="0">
                  <a:pos x="77" y="49"/>
                </a:cxn>
                <a:cxn ang="0">
                  <a:pos x="23" y="67"/>
                </a:cxn>
                <a:cxn ang="0">
                  <a:pos x="0" y="135"/>
                </a:cxn>
                <a:cxn ang="0">
                  <a:pos x="40" y="199"/>
                </a:cxn>
                <a:cxn ang="0">
                  <a:pos x="52" y="252"/>
                </a:cxn>
                <a:cxn ang="0">
                  <a:pos x="53" y="283"/>
                </a:cxn>
                <a:cxn ang="0">
                  <a:pos x="38" y="315"/>
                </a:cxn>
                <a:cxn ang="0">
                  <a:pos x="58" y="366"/>
                </a:cxn>
                <a:cxn ang="0">
                  <a:pos x="82" y="434"/>
                </a:cxn>
                <a:cxn ang="0">
                  <a:pos x="111" y="503"/>
                </a:cxn>
                <a:cxn ang="0">
                  <a:pos x="72" y="559"/>
                </a:cxn>
                <a:cxn ang="0">
                  <a:pos x="59" y="597"/>
                </a:cxn>
                <a:cxn ang="0">
                  <a:pos x="37" y="681"/>
                </a:cxn>
                <a:cxn ang="0">
                  <a:pos x="80" y="725"/>
                </a:cxn>
                <a:cxn ang="0">
                  <a:pos x="118" y="774"/>
                </a:cxn>
                <a:cxn ang="0">
                  <a:pos x="160" y="797"/>
                </a:cxn>
                <a:cxn ang="0">
                  <a:pos x="194" y="833"/>
                </a:cxn>
                <a:cxn ang="0">
                  <a:pos x="243" y="829"/>
                </a:cxn>
                <a:cxn ang="0">
                  <a:pos x="215" y="778"/>
                </a:cxn>
                <a:cxn ang="0">
                  <a:pos x="157" y="745"/>
                </a:cxn>
                <a:cxn ang="0">
                  <a:pos x="131" y="676"/>
                </a:cxn>
                <a:cxn ang="0">
                  <a:pos x="102" y="651"/>
                </a:cxn>
                <a:cxn ang="0">
                  <a:pos x="85" y="607"/>
                </a:cxn>
                <a:cxn ang="0">
                  <a:pos x="93" y="568"/>
                </a:cxn>
                <a:cxn ang="0">
                  <a:pos x="112" y="515"/>
                </a:cxn>
                <a:cxn ang="0">
                  <a:pos x="133" y="439"/>
                </a:cxn>
                <a:cxn ang="0">
                  <a:pos x="161" y="409"/>
                </a:cxn>
                <a:cxn ang="0">
                  <a:pos x="179" y="455"/>
                </a:cxn>
                <a:cxn ang="0">
                  <a:pos x="189" y="458"/>
                </a:cxn>
                <a:cxn ang="0">
                  <a:pos x="251" y="476"/>
                </a:cxn>
                <a:cxn ang="0">
                  <a:pos x="271" y="489"/>
                </a:cxn>
                <a:cxn ang="0">
                  <a:pos x="292" y="510"/>
                </a:cxn>
                <a:cxn ang="0">
                  <a:pos x="265" y="462"/>
                </a:cxn>
                <a:cxn ang="0">
                  <a:pos x="265" y="407"/>
                </a:cxn>
                <a:cxn ang="0">
                  <a:pos x="298" y="366"/>
                </a:cxn>
                <a:cxn ang="0">
                  <a:pos x="368" y="365"/>
                </a:cxn>
                <a:cxn ang="0">
                  <a:pos x="416" y="365"/>
                </a:cxn>
                <a:cxn ang="0">
                  <a:pos x="431" y="302"/>
                </a:cxn>
                <a:cxn ang="0">
                  <a:pos x="416" y="275"/>
                </a:cxn>
                <a:cxn ang="0">
                  <a:pos x="389" y="252"/>
                </a:cxn>
                <a:cxn ang="0">
                  <a:pos x="382" y="191"/>
                </a:cxn>
                <a:cxn ang="0">
                  <a:pos x="360" y="165"/>
                </a:cxn>
                <a:cxn ang="0">
                  <a:pos x="323" y="134"/>
                </a:cxn>
                <a:cxn ang="0">
                  <a:pos x="292" y="153"/>
                </a:cxn>
                <a:cxn ang="0">
                  <a:pos x="255" y="156"/>
                </a:cxn>
                <a:cxn ang="0">
                  <a:pos x="220" y="151"/>
                </a:cxn>
                <a:cxn ang="0">
                  <a:pos x="183" y="182"/>
                </a:cxn>
                <a:cxn ang="0">
                  <a:pos x="188" y="126"/>
                </a:cxn>
                <a:cxn ang="0">
                  <a:pos x="190" y="81"/>
                </a:cxn>
                <a:cxn ang="0">
                  <a:pos x="163" y="59"/>
                </a:cxn>
                <a:cxn ang="0">
                  <a:pos x="152" y="16"/>
                </a:cxn>
                <a:cxn ang="0">
                  <a:pos x="141" y="0"/>
                </a:cxn>
              </a:cxnLst>
              <a:rect l="0" t="0" r="r" b="b"/>
              <a:pathLst>
                <a:path w="431" h="844">
                  <a:moveTo>
                    <a:pt x="144" y="0"/>
                  </a:moveTo>
                  <a:lnTo>
                    <a:pt x="138" y="3"/>
                  </a:lnTo>
                  <a:lnTo>
                    <a:pt x="131" y="11"/>
                  </a:lnTo>
                  <a:lnTo>
                    <a:pt x="125" y="24"/>
                  </a:lnTo>
                  <a:lnTo>
                    <a:pt x="112" y="27"/>
                  </a:lnTo>
                  <a:lnTo>
                    <a:pt x="103" y="32"/>
                  </a:lnTo>
                  <a:lnTo>
                    <a:pt x="88" y="43"/>
                  </a:lnTo>
                  <a:lnTo>
                    <a:pt x="77" y="49"/>
                  </a:lnTo>
                  <a:lnTo>
                    <a:pt x="66" y="60"/>
                  </a:lnTo>
                  <a:lnTo>
                    <a:pt x="55" y="64"/>
                  </a:lnTo>
                  <a:lnTo>
                    <a:pt x="37" y="65"/>
                  </a:lnTo>
                  <a:lnTo>
                    <a:pt x="23" y="67"/>
                  </a:lnTo>
                  <a:lnTo>
                    <a:pt x="9" y="106"/>
                  </a:lnTo>
                  <a:lnTo>
                    <a:pt x="7" y="118"/>
                  </a:lnTo>
                  <a:lnTo>
                    <a:pt x="9" y="128"/>
                  </a:lnTo>
                  <a:lnTo>
                    <a:pt x="0" y="135"/>
                  </a:lnTo>
                  <a:lnTo>
                    <a:pt x="1" y="142"/>
                  </a:lnTo>
                  <a:lnTo>
                    <a:pt x="7" y="159"/>
                  </a:lnTo>
                  <a:lnTo>
                    <a:pt x="17" y="182"/>
                  </a:lnTo>
                  <a:lnTo>
                    <a:pt x="40" y="199"/>
                  </a:lnTo>
                  <a:lnTo>
                    <a:pt x="48" y="209"/>
                  </a:lnTo>
                  <a:lnTo>
                    <a:pt x="50" y="225"/>
                  </a:lnTo>
                  <a:lnTo>
                    <a:pt x="49" y="240"/>
                  </a:lnTo>
                  <a:lnTo>
                    <a:pt x="52" y="252"/>
                  </a:lnTo>
                  <a:lnTo>
                    <a:pt x="61" y="253"/>
                  </a:lnTo>
                  <a:lnTo>
                    <a:pt x="65" y="263"/>
                  </a:lnTo>
                  <a:lnTo>
                    <a:pt x="59" y="269"/>
                  </a:lnTo>
                  <a:lnTo>
                    <a:pt x="53" y="283"/>
                  </a:lnTo>
                  <a:lnTo>
                    <a:pt x="50" y="291"/>
                  </a:lnTo>
                  <a:lnTo>
                    <a:pt x="50" y="304"/>
                  </a:lnTo>
                  <a:lnTo>
                    <a:pt x="47" y="307"/>
                  </a:lnTo>
                  <a:lnTo>
                    <a:pt x="38" y="315"/>
                  </a:lnTo>
                  <a:lnTo>
                    <a:pt x="34" y="323"/>
                  </a:lnTo>
                  <a:lnTo>
                    <a:pt x="33" y="337"/>
                  </a:lnTo>
                  <a:lnTo>
                    <a:pt x="39" y="354"/>
                  </a:lnTo>
                  <a:lnTo>
                    <a:pt x="58" y="366"/>
                  </a:lnTo>
                  <a:lnTo>
                    <a:pt x="76" y="386"/>
                  </a:lnTo>
                  <a:lnTo>
                    <a:pt x="79" y="392"/>
                  </a:lnTo>
                  <a:lnTo>
                    <a:pt x="81" y="401"/>
                  </a:lnTo>
                  <a:lnTo>
                    <a:pt x="82" y="434"/>
                  </a:lnTo>
                  <a:lnTo>
                    <a:pt x="88" y="452"/>
                  </a:lnTo>
                  <a:lnTo>
                    <a:pt x="91" y="454"/>
                  </a:lnTo>
                  <a:lnTo>
                    <a:pt x="96" y="469"/>
                  </a:lnTo>
                  <a:lnTo>
                    <a:pt x="111" y="503"/>
                  </a:lnTo>
                  <a:lnTo>
                    <a:pt x="109" y="510"/>
                  </a:lnTo>
                  <a:lnTo>
                    <a:pt x="91" y="540"/>
                  </a:lnTo>
                  <a:lnTo>
                    <a:pt x="80" y="547"/>
                  </a:lnTo>
                  <a:lnTo>
                    <a:pt x="72" y="559"/>
                  </a:lnTo>
                  <a:lnTo>
                    <a:pt x="70" y="574"/>
                  </a:lnTo>
                  <a:lnTo>
                    <a:pt x="65" y="586"/>
                  </a:lnTo>
                  <a:lnTo>
                    <a:pt x="60" y="594"/>
                  </a:lnTo>
                  <a:lnTo>
                    <a:pt x="59" y="597"/>
                  </a:lnTo>
                  <a:lnTo>
                    <a:pt x="54" y="610"/>
                  </a:lnTo>
                  <a:lnTo>
                    <a:pt x="53" y="618"/>
                  </a:lnTo>
                  <a:lnTo>
                    <a:pt x="39" y="664"/>
                  </a:lnTo>
                  <a:lnTo>
                    <a:pt x="37" y="681"/>
                  </a:lnTo>
                  <a:lnTo>
                    <a:pt x="37" y="696"/>
                  </a:lnTo>
                  <a:lnTo>
                    <a:pt x="40" y="705"/>
                  </a:lnTo>
                  <a:lnTo>
                    <a:pt x="60" y="703"/>
                  </a:lnTo>
                  <a:lnTo>
                    <a:pt x="80" y="725"/>
                  </a:lnTo>
                  <a:lnTo>
                    <a:pt x="86" y="729"/>
                  </a:lnTo>
                  <a:lnTo>
                    <a:pt x="101" y="750"/>
                  </a:lnTo>
                  <a:lnTo>
                    <a:pt x="112" y="759"/>
                  </a:lnTo>
                  <a:lnTo>
                    <a:pt x="118" y="774"/>
                  </a:lnTo>
                  <a:lnTo>
                    <a:pt x="145" y="804"/>
                  </a:lnTo>
                  <a:lnTo>
                    <a:pt x="140" y="788"/>
                  </a:lnTo>
                  <a:lnTo>
                    <a:pt x="152" y="788"/>
                  </a:lnTo>
                  <a:lnTo>
                    <a:pt x="160" y="797"/>
                  </a:lnTo>
                  <a:lnTo>
                    <a:pt x="177" y="800"/>
                  </a:lnTo>
                  <a:lnTo>
                    <a:pt x="187" y="802"/>
                  </a:lnTo>
                  <a:lnTo>
                    <a:pt x="197" y="817"/>
                  </a:lnTo>
                  <a:lnTo>
                    <a:pt x="194" y="833"/>
                  </a:lnTo>
                  <a:lnTo>
                    <a:pt x="198" y="844"/>
                  </a:lnTo>
                  <a:lnTo>
                    <a:pt x="221" y="829"/>
                  </a:lnTo>
                  <a:lnTo>
                    <a:pt x="232" y="831"/>
                  </a:lnTo>
                  <a:lnTo>
                    <a:pt x="243" y="829"/>
                  </a:lnTo>
                  <a:lnTo>
                    <a:pt x="251" y="817"/>
                  </a:lnTo>
                  <a:lnTo>
                    <a:pt x="242" y="804"/>
                  </a:lnTo>
                  <a:lnTo>
                    <a:pt x="230" y="790"/>
                  </a:lnTo>
                  <a:lnTo>
                    <a:pt x="215" y="778"/>
                  </a:lnTo>
                  <a:lnTo>
                    <a:pt x="181" y="773"/>
                  </a:lnTo>
                  <a:lnTo>
                    <a:pt x="168" y="758"/>
                  </a:lnTo>
                  <a:lnTo>
                    <a:pt x="162" y="754"/>
                  </a:lnTo>
                  <a:lnTo>
                    <a:pt x="157" y="745"/>
                  </a:lnTo>
                  <a:lnTo>
                    <a:pt x="151" y="709"/>
                  </a:lnTo>
                  <a:lnTo>
                    <a:pt x="145" y="699"/>
                  </a:lnTo>
                  <a:lnTo>
                    <a:pt x="136" y="691"/>
                  </a:lnTo>
                  <a:lnTo>
                    <a:pt x="131" y="676"/>
                  </a:lnTo>
                  <a:lnTo>
                    <a:pt x="129" y="660"/>
                  </a:lnTo>
                  <a:lnTo>
                    <a:pt x="124" y="649"/>
                  </a:lnTo>
                  <a:lnTo>
                    <a:pt x="114" y="646"/>
                  </a:lnTo>
                  <a:lnTo>
                    <a:pt x="102" y="651"/>
                  </a:lnTo>
                  <a:lnTo>
                    <a:pt x="92" y="649"/>
                  </a:lnTo>
                  <a:lnTo>
                    <a:pt x="88" y="640"/>
                  </a:lnTo>
                  <a:lnTo>
                    <a:pt x="86" y="623"/>
                  </a:lnTo>
                  <a:lnTo>
                    <a:pt x="85" y="607"/>
                  </a:lnTo>
                  <a:lnTo>
                    <a:pt x="85" y="592"/>
                  </a:lnTo>
                  <a:lnTo>
                    <a:pt x="86" y="586"/>
                  </a:lnTo>
                  <a:lnTo>
                    <a:pt x="92" y="578"/>
                  </a:lnTo>
                  <a:lnTo>
                    <a:pt x="93" y="568"/>
                  </a:lnTo>
                  <a:lnTo>
                    <a:pt x="98" y="563"/>
                  </a:lnTo>
                  <a:lnTo>
                    <a:pt x="103" y="553"/>
                  </a:lnTo>
                  <a:lnTo>
                    <a:pt x="103" y="542"/>
                  </a:lnTo>
                  <a:lnTo>
                    <a:pt x="112" y="515"/>
                  </a:lnTo>
                  <a:lnTo>
                    <a:pt x="119" y="501"/>
                  </a:lnTo>
                  <a:lnTo>
                    <a:pt x="126" y="487"/>
                  </a:lnTo>
                  <a:lnTo>
                    <a:pt x="128" y="471"/>
                  </a:lnTo>
                  <a:lnTo>
                    <a:pt x="133" y="439"/>
                  </a:lnTo>
                  <a:lnTo>
                    <a:pt x="129" y="415"/>
                  </a:lnTo>
                  <a:lnTo>
                    <a:pt x="142" y="411"/>
                  </a:lnTo>
                  <a:lnTo>
                    <a:pt x="157" y="409"/>
                  </a:lnTo>
                  <a:lnTo>
                    <a:pt x="161" y="409"/>
                  </a:lnTo>
                  <a:lnTo>
                    <a:pt x="168" y="411"/>
                  </a:lnTo>
                  <a:lnTo>
                    <a:pt x="179" y="414"/>
                  </a:lnTo>
                  <a:lnTo>
                    <a:pt x="182" y="419"/>
                  </a:lnTo>
                  <a:lnTo>
                    <a:pt x="179" y="455"/>
                  </a:lnTo>
                  <a:lnTo>
                    <a:pt x="183" y="462"/>
                  </a:lnTo>
                  <a:lnTo>
                    <a:pt x="187" y="462"/>
                  </a:lnTo>
                  <a:lnTo>
                    <a:pt x="184" y="458"/>
                  </a:lnTo>
                  <a:lnTo>
                    <a:pt x="189" y="458"/>
                  </a:lnTo>
                  <a:lnTo>
                    <a:pt x="212" y="460"/>
                  </a:lnTo>
                  <a:lnTo>
                    <a:pt x="222" y="458"/>
                  </a:lnTo>
                  <a:lnTo>
                    <a:pt x="233" y="461"/>
                  </a:lnTo>
                  <a:lnTo>
                    <a:pt x="251" y="476"/>
                  </a:lnTo>
                  <a:lnTo>
                    <a:pt x="257" y="484"/>
                  </a:lnTo>
                  <a:lnTo>
                    <a:pt x="264" y="488"/>
                  </a:lnTo>
                  <a:lnTo>
                    <a:pt x="270" y="492"/>
                  </a:lnTo>
                  <a:lnTo>
                    <a:pt x="271" y="489"/>
                  </a:lnTo>
                  <a:lnTo>
                    <a:pt x="276" y="493"/>
                  </a:lnTo>
                  <a:lnTo>
                    <a:pt x="285" y="511"/>
                  </a:lnTo>
                  <a:lnTo>
                    <a:pt x="291" y="516"/>
                  </a:lnTo>
                  <a:lnTo>
                    <a:pt x="292" y="510"/>
                  </a:lnTo>
                  <a:lnTo>
                    <a:pt x="292" y="501"/>
                  </a:lnTo>
                  <a:lnTo>
                    <a:pt x="286" y="487"/>
                  </a:lnTo>
                  <a:lnTo>
                    <a:pt x="280" y="473"/>
                  </a:lnTo>
                  <a:lnTo>
                    <a:pt x="265" y="462"/>
                  </a:lnTo>
                  <a:lnTo>
                    <a:pt x="258" y="440"/>
                  </a:lnTo>
                  <a:lnTo>
                    <a:pt x="255" y="429"/>
                  </a:lnTo>
                  <a:lnTo>
                    <a:pt x="258" y="411"/>
                  </a:lnTo>
                  <a:lnTo>
                    <a:pt x="265" y="407"/>
                  </a:lnTo>
                  <a:lnTo>
                    <a:pt x="270" y="396"/>
                  </a:lnTo>
                  <a:lnTo>
                    <a:pt x="278" y="392"/>
                  </a:lnTo>
                  <a:lnTo>
                    <a:pt x="292" y="372"/>
                  </a:lnTo>
                  <a:lnTo>
                    <a:pt x="298" y="366"/>
                  </a:lnTo>
                  <a:lnTo>
                    <a:pt x="307" y="363"/>
                  </a:lnTo>
                  <a:lnTo>
                    <a:pt x="334" y="365"/>
                  </a:lnTo>
                  <a:lnTo>
                    <a:pt x="350" y="368"/>
                  </a:lnTo>
                  <a:lnTo>
                    <a:pt x="368" y="365"/>
                  </a:lnTo>
                  <a:lnTo>
                    <a:pt x="396" y="364"/>
                  </a:lnTo>
                  <a:lnTo>
                    <a:pt x="405" y="374"/>
                  </a:lnTo>
                  <a:lnTo>
                    <a:pt x="416" y="369"/>
                  </a:lnTo>
                  <a:lnTo>
                    <a:pt x="416" y="365"/>
                  </a:lnTo>
                  <a:lnTo>
                    <a:pt x="420" y="365"/>
                  </a:lnTo>
                  <a:lnTo>
                    <a:pt x="427" y="354"/>
                  </a:lnTo>
                  <a:lnTo>
                    <a:pt x="427" y="312"/>
                  </a:lnTo>
                  <a:lnTo>
                    <a:pt x="431" y="302"/>
                  </a:lnTo>
                  <a:lnTo>
                    <a:pt x="430" y="293"/>
                  </a:lnTo>
                  <a:lnTo>
                    <a:pt x="429" y="286"/>
                  </a:lnTo>
                  <a:lnTo>
                    <a:pt x="424" y="280"/>
                  </a:lnTo>
                  <a:lnTo>
                    <a:pt x="416" y="275"/>
                  </a:lnTo>
                  <a:lnTo>
                    <a:pt x="414" y="268"/>
                  </a:lnTo>
                  <a:lnTo>
                    <a:pt x="404" y="267"/>
                  </a:lnTo>
                  <a:lnTo>
                    <a:pt x="397" y="262"/>
                  </a:lnTo>
                  <a:lnTo>
                    <a:pt x="389" y="252"/>
                  </a:lnTo>
                  <a:lnTo>
                    <a:pt x="386" y="241"/>
                  </a:lnTo>
                  <a:lnTo>
                    <a:pt x="387" y="216"/>
                  </a:lnTo>
                  <a:lnTo>
                    <a:pt x="386" y="203"/>
                  </a:lnTo>
                  <a:lnTo>
                    <a:pt x="382" y="191"/>
                  </a:lnTo>
                  <a:lnTo>
                    <a:pt x="377" y="181"/>
                  </a:lnTo>
                  <a:lnTo>
                    <a:pt x="370" y="176"/>
                  </a:lnTo>
                  <a:lnTo>
                    <a:pt x="368" y="169"/>
                  </a:lnTo>
                  <a:lnTo>
                    <a:pt x="360" y="165"/>
                  </a:lnTo>
                  <a:lnTo>
                    <a:pt x="353" y="158"/>
                  </a:lnTo>
                  <a:lnTo>
                    <a:pt x="348" y="150"/>
                  </a:lnTo>
                  <a:lnTo>
                    <a:pt x="335" y="135"/>
                  </a:lnTo>
                  <a:lnTo>
                    <a:pt x="323" y="134"/>
                  </a:lnTo>
                  <a:lnTo>
                    <a:pt x="312" y="135"/>
                  </a:lnTo>
                  <a:lnTo>
                    <a:pt x="301" y="138"/>
                  </a:lnTo>
                  <a:lnTo>
                    <a:pt x="297" y="149"/>
                  </a:lnTo>
                  <a:lnTo>
                    <a:pt x="292" y="153"/>
                  </a:lnTo>
                  <a:lnTo>
                    <a:pt x="285" y="156"/>
                  </a:lnTo>
                  <a:lnTo>
                    <a:pt x="273" y="162"/>
                  </a:lnTo>
                  <a:lnTo>
                    <a:pt x="264" y="162"/>
                  </a:lnTo>
                  <a:lnTo>
                    <a:pt x="255" y="156"/>
                  </a:lnTo>
                  <a:lnTo>
                    <a:pt x="249" y="146"/>
                  </a:lnTo>
                  <a:lnTo>
                    <a:pt x="242" y="144"/>
                  </a:lnTo>
                  <a:lnTo>
                    <a:pt x="233" y="146"/>
                  </a:lnTo>
                  <a:lnTo>
                    <a:pt x="220" y="151"/>
                  </a:lnTo>
                  <a:lnTo>
                    <a:pt x="208" y="164"/>
                  </a:lnTo>
                  <a:lnTo>
                    <a:pt x="195" y="169"/>
                  </a:lnTo>
                  <a:lnTo>
                    <a:pt x="188" y="178"/>
                  </a:lnTo>
                  <a:lnTo>
                    <a:pt x="183" y="182"/>
                  </a:lnTo>
                  <a:lnTo>
                    <a:pt x="184" y="177"/>
                  </a:lnTo>
                  <a:lnTo>
                    <a:pt x="181" y="164"/>
                  </a:lnTo>
                  <a:lnTo>
                    <a:pt x="185" y="150"/>
                  </a:lnTo>
                  <a:lnTo>
                    <a:pt x="188" y="126"/>
                  </a:lnTo>
                  <a:lnTo>
                    <a:pt x="193" y="115"/>
                  </a:lnTo>
                  <a:lnTo>
                    <a:pt x="193" y="106"/>
                  </a:lnTo>
                  <a:lnTo>
                    <a:pt x="194" y="97"/>
                  </a:lnTo>
                  <a:lnTo>
                    <a:pt x="190" y="81"/>
                  </a:lnTo>
                  <a:lnTo>
                    <a:pt x="194" y="64"/>
                  </a:lnTo>
                  <a:lnTo>
                    <a:pt x="190" y="60"/>
                  </a:lnTo>
                  <a:lnTo>
                    <a:pt x="169" y="60"/>
                  </a:lnTo>
                  <a:lnTo>
                    <a:pt x="163" y="59"/>
                  </a:lnTo>
                  <a:lnTo>
                    <a:pt x="161" y="58"/>
                  </a:lnTo>
                  <a:lnTo>
                    <a:pt x="161" y="40"/>
                  </a:lnTo>
                  <a:lnTo>
                    <a:pt x="158" y="25"/>
                  </a:lnTo>
                  <a:lnTo>
                    <a:pt x="152" y="16"/>
                  </a:lnTo>
                  <a:lnTo>
                    <a:pt x="149" y="11"/>
                  </a:lnTo>
                  <a:lnTo>
                    <a:pt x="142" y="14"/>
                  </a:lnTo>
                  <a:lnTo>
                    <a:pt x="140" y="8"/>
                  </a:lnTo>
                  <a:lnTo>
                    <a:pt x="141" y="0"/>
                  </a:lnTo>
                  <a:lnTo>
                    <a:pt x="14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39" name="Freeform 94"/>
            <p:cNvSpPr>
              <a:spLocks noChangeAspect="1"/>
            </p:cNvSpPr>
            <p:nvPr/>
          </p:nvSpPr>
          <p:spPr bwMode="gray">
            <a:xfrm>
              <a:off x="7506454" y="3698100"/>
              <a:ext cx="154244" cy="366688"/>
            </a:xfrm>
            <a:custGeom>
              <a:avLst/>
              <a:gdLst/>
              <a:ahLst/>
              <a:cxnLst>
                <a:cxn ang="0">
                  <a:pos x="125" y="657"/>
                </a:cxn>
                <a:cxn ang="0">
                  <a:pos x="116" y="592"/>
                </a:cxn>
                <a:cxn ang="0">
                  <a:pos x="89" y="559"/>
                </a:cxn>
                <a:cxn ang="0">
                  <a:pos x="85" y="536"/>
                </a:cxn>
                <a:cxn ang="0">
                  <a:pos x="78" y="512"/>
                </a:cxn>
                <a:cxn ang="0">
                  <a:pos x="22" y="470"/>
                </a:cxn>
                <a:cxn ang="0">
                  <a:pos x="0" y="443"/>
                </a:cxn>
                <a:cxn ang="0">
                  <a:pos x="19" y="416"/>
                </a:cxn>
                <a:cxn ang="0">
                  <a:pos x="27" y="376"/>
                </a:cxn>
                <a:cxn ang="0">
                  <a:pos x="47" y="365"/>
                </a:cxn>
                <a:cxn ang="0">
                  <a:pos x="42" y="326"/>
                </a:cxn>
                <a:cxn ang="0">
                  <a:pos x="59" y="276"/>
                </a:cxn>
                <a:cxn ang="0">
                  <a:pos x="101" y="268"/>
                </a:cxn>
                <a:cxn ang="0">
                  <a:pos x="134" y="197"/>
                </a:cxn>
                <a:cxn ang="0">
                  <a:pos x="160" y="155"/>
                </a:cxn>
                <a:cxn ang="0">
                  <a:pos x="194" y="92"/>
                </a:cxn>
                <a:cxn ang="0">
                  <a:pos x="242" y="63"/>
                </a:cxn>
                <a:cxn ang="0">
                  <a:pos x="264" y="33"/>
                </a:cxn>
                <a:cxn ang="0">
                  <a:pos x="290" y="5"/>
                </a:cxn>
                <a:cxn ang="0">
                  <a:pos x="322" y="20"/>
                </a:cxn>
                <a:cxn ang="0">
                  <a:pos x="354" y="79"/>
                </a:cxn>
                <a:cxn ang="0">
                  <a:pos x="342" y="163"/>
                </a:cxn>
                <a:cxn ang="0">
                  <a:pos x="311" y="198"/>
                </a:cxn>
                <a:cxn ang="0">
                  <a:pos x="304" y="256"/>
                </a:cxn>
                <a:cxn ang="0">
                  <a:pos x="323" y="258"/>
                </a:cxn>
                <a:cxn ang="0">
                  <a:pos x="366" y="281"/>
                </a:cxn>
                <a:cxn ang="0">
                  <a:pos x="391" y="346"/>
                </a:cxn>
                <a:cxn ang="0">
                  <a:pos x="423" y="387"/>
                </a:cxn>
                <a:cxn ang="0">
                  <a:pos x="488" y="391"/>
                </a:cxn>
                <a:cxn ang="0">
                  <a:pos x="456" y="427"/>
                </a:cxn>
                <a:cxn ang="0">
                  <a:pos x="445" y="443"/>
                </a:cxn>
                <a:cxn ang="0">
                  <a:pos x="426" y="464"/>
                </a:cxn>
                <a:cxn ang="0">
                  <a:pos x="383" y="496"/>
                </a:cxn>
                <a:cxn ang="0">
                  <a:pos x="332" y="518"/>
                </a:cxn>
                <a:cxn ang="0">
                  <a:pos x="304" y="581"/>
                </a:cxn>
                <a:cxn ang="0">
                  <a:pos x="312" y="635"/>
                </a:cxn>
                <a:cxn ang="0">
                  <a:pos x="344" y="693"/>
                </a:cxn>
                <a:cxn ang="0">
                  <a:pos x="354" y="722"/>
                </a:cxn>
                <a:cxn ang="0">
                  <a:pos x="342" y="760"/>
                </a:cxn>
                <a:cxn ang="0">
                  <a:pos x="334" y="807"/>
                </a:cxn>
                <a:cxn ang="0">
                  <a:pos x="376" y="854"/>
                </a:cxn>
                <a:cxn ang="0">
                  <a:pos x="391" y="922"/>
                </a:cxn>
                <a:cxn ang="0">
                  <a:pos x="375" y="1000"/>
                </a:cxn>
                <a:cxn ang="0">
                  <a:pos x="355" y="1047"/>
                </a:cxn>
                <a:cxn ang="0">
                  <a:pos x="349" y="1017"/>
                </a:cxn>
                <a:cxn ang="0">
                  <a:pos x="351" y="958"/>
                </a:cxn>
                <a:cxn ang="0">
                  <a:pos x="351" y="937"/>
                </a:cxn>
                <a:cxn ang="0">
                  <a:pos x="333" y="851"/>
                </a:cxn>
                <a:cxn ang="0">
                  <a:pos x="317" y="821"/>
                </a:cxn>
                <a:cxn ang="0">
                  <a:pos x="297" y="721"/>
                </a:cxn>
                <a:cxn ang="0">
                  <a:pos x="279" y="688"/>
                </a:cxn>
                <a:cxn ang="0">
                  <a:pos x="251" y="653"/>
                </a:cxn>
                <a:cxn ang="0">
                  <a:pos x="226" y="693"/>
                </a:cxn>
                <a:cxn ang="0">
                  <a:pos x="179" y="726"/>
                </a:cxn>
                <a:cxn ang="0">
                  <a:pos x="154" y="728"/>
                </a:cxn>
                <a:cxn ang="0">
                  <a:pos x="122" y="726"/>
                </a:cxn>
                <a:cxn ang="0">
                  <a:pos x="112" y="704"/>
                </a:cxn>
              </a:cxnLst>
              <a:rect l="0" t="0" r="r" b="b"/>
              <a:pathLst>
                <a:path w="489" h="1050">
                  <a:moveTo>
                    <a:pt x="112" y="704"/>
                  </a:moveTo>
                  <a:lnTo>
                    <a:pt x="117" y="690"/>
                  </a:lnTo>
                  <a:lnTo>
                    <a:pt x="119" y="673"/>
                  </a:lnTo>
                  <a:lnTo>
                    <a:pt x="125" y="657"/>
                  </a:lnTo>
                  <a:lnTo>
                    <a:pt x="125" y="638"/>
                  </a:lnTo>
                  <a:lnTo>
                    <a:pt x="121" y="607"/>
                  </a:lnTo>
                  <a:lnTo>
                    <a:pt x="117" y="599"/>
                  </a:lnTo>
                  <a:lnTo>
                    <a:pt x="116" y="592"/>
                  </a:lnTo>
                  <a:lnTo>
                    <a:pt x="109" y="580"/>
                  </a:lnTo>
                  <a:lnTo>
                    <a:pt x="95" y="556"/>
                  </a:lnTo>
                  <a:lnTo>
                    <a:pt x="92" y="545"/>
                  </a:lnTo>
                  <a:lnTo>
                    <a:pt x="89" y="559"/>
                  </a:lnTo>
                  <a:lnTo>
                    <a:pt x="78" y="553"/>
                  </a:lnTo>
                  <a:lnTo>
                    <a:pt x="71" y="539"/>
                  </a:lnTo>
                  <a:lnTo>
                    <a:pt x="74" y="531"/>
                  </a:lnTo>
                  <a:lnTo>
                    <a:pt x="85" y="536"/>
                  </a:lnTo>
                  <a:lnTo>
                    <a:pt x="84" y="531"/>
                  </a:lnTo>
                  <a:lnTo>
                    <a:pt x="76" y="525"/>
                  </a:lnTo>
                  <a:lnTo>
                    <a:pt x="79" y="518"/>
                  </a:lnTo>
                  <a:lnTo>
                    <a:pt x="78" y="512"/>
                  </a:lnTo>
                  <a:lnTo>
                    <a:pt x="38" y="493"/>
                  </a:lnTo>
                  <a:lnTo>
                    <a:pt x="37" y="482"/>
                  </a:lnTo>
                  <a:lnTo>
                    <a:pt x="28" y="479"/>
                  </a:lnTo>
                  <a:lnTo>
                    <a:pt x="22" y="470"/>
                  </a:lnTo>
                  <a:lnTo>
                    <a:pt x="21" y="474"/>
                  </a:lnTo>
                  <a:lnTo>
                    <a:pt x="14" y="468"/>
                  </a:lnTo>
                  <a:lnTo>
                    <a:pt x="10" y="458"/>
                  </a:lnTo>
                  <a:lnTo>
                    <a:pt x="0" y="443"/>
                  </a:lnTo>
                  <a:lnTo>
                    <a:pt x="1" y="425"/>
                  </a:lnTo>
                  <a:lnTo>
                    <a:pt x="3" y="418"/>
                  </a:lnTo>
                  <a:lnTo>
                    <a:pt x="7" y="413"/>
                  </a:lnTo>
                  <a:lnTo>
                    <a:pt x="19" y="416"/>
                  </a:lnTo>
                  <a:lnTo>
                    <a:pt x="17" y="387"/>
                  </a:lnTo>
                  <a:lnTo>
                    <a:pt x="19" y="384"/>
                  </a:lnTo>
                  <a:lnTo>
                    <a:pt x="22" y="381"/>
                  </a:lnTo>
                  <a:lnTo>
                    <a:pt x="27" y="376"/>
                  </a:lnTo>
                  <a:lnTo>
                    <a:pt x="36" y="378"/>
                  </a:lnTo>
                  <a:lnTo>
                    <a:pt x="41" y="377"/>
                  </a:lnTo>
                  <a:lnTo>
                    <a:pt x="46" y="371"/>
                  </a:lnTo>
                  <a:lnTo>
                    <a:pt x="47" y="365"/>
                  </a:lnTo>
                  <a:lnTo>
                    <a:pt x="44" y="365"/>
                  </a:lnTo>
                  <a:lnTo>
                    <a:pt x="41" y="355"/>
                  </a:lnTo>
                  <a:lnTo>
                    <a:pt x="41" y="339"/>
                  </a:lnTo>
                  <a:lnTo>
                    <a:pt x="42" y="326"/>
                  </a:lnTo>
                  <a:lnTo>
                    <a:pt x="53" y="327"/>
                  </a:lnTo>
                  <a:lnTo>
                    <a:pt x="57" y="322"/>
                  </a:lnTo>
                  <a:lnTo>
                    <a:pt x="60" y="302"/>
                  </a:lnTo>
                  <a:lnTo>
                    <a:pt x="59" y="276"/>
                  </a:lnTo>
                  <a:lnTo>
                    <a:pt x="66" y="269"/>
                  </a:lnTo>
                  <a:lnTo>
                    <a:pt x="80" y="265"/>
                  </a:lnTo>
                  <a:lnTo>
                    <a:pt x="93" y="268"/>
                  </a:lnTo>
                  <a:lnTo>
                    <a:pt x="101" y="268"/>
                  </a:lnTo>
                  <a:lnTo>
                    <a:pt x="106" y="263"/>
                  </a:lnTo>
                  <a:lnTo>
                    <a:pt x="112" y="243"/>
                  </a:lnTo>
                  <a:lnTo>
                    <a:pt x="130" y="208"/>
                  </a:lnTo>
                  <a:lnTo>
                    <a:pt x="134" y="197"/>
                  </a:lnTo>
                  <a:lnTo>
                    <a:pt x="132" y="187"/>
                  </a:lnTo>
                  <a:lnTo>
                    <a:pt x="138" y="178"/>
                  </a:lnTo>
                  <a:lnTo>
                    <a:pt x="154" y="167"/>
                  </a:lnTo>
                  <a:lnTo>
                    <a:pt x="160" y="155"/>
                  </a:lnTo>
                  <a:lnTo>
                    <a:pt x="159" y="127"/>
                  </a:lnTo>
                  <a:lnTo>
                    <a:pt x="166" y="111"/>
                  </a:lnTo>
                  <a:lnTo>
                    <a:pt x="179" y="100"/>
                  </a:lnTo>
                  <a:lnTo>
                    <a:pt x="194" y="92"/>
                  </a:lnTo>
                  <a:lnTo>
                    <a:pt x="204" y="84"/>
                  </a:lnTo>
                  <a:lnTo>
                    <a:pt x="211" y="70"/>
                  </a:lnTo>
                  <a:lnTo>
                    <a:pt x="231" y="66"/>
                  </a:lnTo>
                  <a:lnTo>
                    <a:pt x="242" y="63"/>
                  </a:lnTo>
                  <a:lnTo>
                    <a:pt x="258" y="68"/>
                  </a:lnTo>
                  <a:lnTo>
                    <a:pt x="263" y="63"/>
                  </a:lnTo>
                  <a:lnTo>
                    <a:pt x="259" y="47"/>
                  </a:lnTo>
                  <a:lnTo>
                    <a:pt x="264" y="33"/>
                  </a:lnTo>
                  <a:lnTo>
                    <a:pt x="275" y="28"/>
                  </a:lnTo>
                  <a:lnTo>
                    <a:pt x="281" y="21"/>
                  </a:lnTo>
                  <a:lnTo>
                    <a:pt x="281" y="9"/>
                  </a:lnTo>
                  <a:lnTo>
                    <a:pt x="290" y="5"/>
                  </a:lnTo>
                  <a:lnTo>
                    <a:pt x="294" y="0"/>
                  </a:lnTo>
                  <a:lnTo>
                    <a:pt x="297" y="0"/>
                  </a:lnTo>
                  <a:lnTo>
                    <a:pt x="310" y="6"/>
                  </a:lnTo>
                  <a:lnTo>
                    <a:pt x="322" y="20"/>
                  </a:lnTo>
                  <a:lnTo>
                    <a:pt x="326" y="37"/>
                  </a:lnTo>
                  <a:lnTo>
                    <a:pt x="331" y="45"/>
                  </a:lnTo>
                  <a:lnTo>
                    <a:pt x="347" y="47"/>
                  </a:lnTo>
                  <a:lnTo>
                    <a:pt x="354" y="79"/>
                  </a:lnTo>
                  <a:lnTo>
                    <a:pt x="355" y="100"/>
                  </a:lnTo>
                  <a:lnTo>
                    <a:pt x="351" y="128"/>
                  </a:lnTo>
                  <a:lnTo>
                    <a:pt x="351" y="136"/>
                  </a:lnTo>
                  <a:lnTo>
                    <a:pt x="342" y="163"/>
                  </a:lnTo>
                  <a:lnTo>
                    <a:pt x="333" y="174"/>
                  </a:lnTo>
                  <a:lnTo>
                    <a:pt x="326" y="177"/>
                  </a:lnTo>
                  <a:lnTo>
                    <a:pt x="322" y="187"/>
                  </a:lnTo>
                  <a:lnTo>
                    <a:pt x="311" y="198"/>
                  </a:lnTo>
                  <a:lnTo>
                    <a:pt x="307" y="217"/>
                  </a:lnTo>
                  <a:lnTo>
                    <a:pt x="301" y="231"/>
                  </a:lnTo>
                  <a:lnTo>
                    <a:pt x="305" y="247"/>
                  </a:lnTo>
                  <a:lnTo>
                    <a:pt x="304" y="256"/>
                  </a:lnTo>
                  <a:lnTo>
                    <a:pt x="294" y="273"/>
                  </a:lnTo>
                  <a:lnTo>
                    <a:pt x="299" y="278"/>
                  </a:lnTo>
                  <a:lnTo>
                    <a:pt x="312" y="264"/>
                  </a:lnTo>
                  <a:lnTo>
                    <a:pt x="323" y="258"/>
                  </a:lnTo>
                  <a:lnTo>
                    <a:pt x="342" y="257"/>
                  </a:lnTo>
                  <a:lnTo>
                    <a:pt x="361" y="256"/>
                  </a:lnTo>
                  <a:lnTo>
                    <a:pt x="361" y="267"/>
                  </a:lnTo>
                  <a:lnTo>
                    <a:pt x="366" y="281"/>
                  </a:lnTo>
                  <a:lnTo>
                    <a:pt x="367" y="301"/>
                  </a:lnTo>
                  <a:lnTo>
                    <a:pt x="381" y="311"/>
                  </a:lnTo>
                  <a:lnTo>
                    <a:pt x="397" y="319"/>
                  </a:lnTo>
                  <a:lnTo>
                    <a:pt x="391" y="346"/>
                  </a:lnTo>
                  <a:lnTo>
                    <a:pt x="387" y="366"/>
                  </a:lnTo>
                  <a:lnTo>
                    <a:pt x="402" y="369"/>
                  </a:lnTo>
                  <a:lnTo>
                    <a:pt x="420" y="375"/>
                  </a:lnTo>
                  <a:lnTo>
                    <a:pt x="423" y="387"/>
                  </a:lnTo>
                  <a:lnTo>
                    <a:pt x="441" y="404"/>
                  </a:lnTo>
                  <a:lnTo>
                    <a:pt x="461" y="402"/>
                  </a:lnTo>
                  <a:lnTo>
                    <a:pt x="476" y="389"/>
                  </a:lnTo>
                  <a:lnTo>
                    <a:pt x="488" y="391"/>
                  </a:lnTo>
                  <a:lnTo>
                    <a:pt x="489" y="397"/>
                  </a:lnTo>
                  <a:lnTo>
                    <a:pt x="488" y="402"/>
                  </a:lnTo>
                  <a:lnTo>
                    <a:pt x="483" y="409"/>
                  </a:lnTo>
                  <a:lnTo>
                    <a:pt x="456" y="427"/>
                  </a:lnTo>
                  <a:lnTo>
                    <a:pt x="456" y="432"/>
                  </a:lnTo>
                  <a:lnTo>
                    <a:pt x="458" y="440"/>
                  </a:lnTo>
                  <a:lnTo>
                    <a:pt x="452" y="441"/>
                  </a:lnTo>
                  <a:lnTo>
                    <a:pt x="445" y="443"/>
                  </a:lnTo>
                  <a:lnTo>
                    <a:pt x="440" y="447"/>
                  </a:lnTo>
                  <a:lnTo>
                    <a:pt x="439" y="453"/>
                  </a:lnTo>
                  <a:lnTo>
                    <a:pt x="433" y="456"/>
                  </a:lnTo>
                  <a:lnTo>
                    <a:pt x="426" y="464"/>
                  </a:lnTo>
                  <a:lnTo>
                    <a:pt x="420" y="477"/>
                  </a:lnTo>
                  <a:lnTo>
                    <a:pt x="407" y="480"/>
                  </a:lnTo>
                  <a:lnTo>
                    <a:pt x="398" y="485"/>
                  </a:lnTo>
                  <a:lnTo>
                    <a:pt x="383" y="496"/>
                  </a:lnTo>
                  <a:lnTo>
                    <a:pt x="372" y="502"/>
                  </a:lnTo>
                  <a:lnTo>
                    <a:pt x="361" y="513"/>
                  </a:lnTo>
                  <a:lnTo>
                    <a:pt x="350" y="517"/>
                  </a:lnTo>
                  <a:lnTo>
                    <a:pt x="332" y="518"/>
                  </a:lnTo>
                  <a:lnTo>
                    <a:pt x="318" y="520"/>
                  </a:lnTo>
                  <a:lnTo>
                    <a:pt x="304" y="559"/>
                  </a:lnTo>
                  <a:lnTo>
                    <a:pt x="302" y="571"/>
                  </a:lnTo>
                  <a:lnTo>
                    <a:pt x="304" y="581"/>
                  </a:lnTo>
                  <a:lnTo>
                    <a:pt x="295" y="588"/>
                  </a:lnTo>
                  <a:lnTo>
                    <a:pt x="296" y="595"/>
                  </a:lnTo>
                  <a:lnTo>
                    <a:pt x="302" y="612"/>
                  </a:lnTo>
                  <a:lnTo>
                    <a:pt x="312" y="635"/>
                  </a:lnTo>
                  <a:lnTo>
                    <a:pt x="335" y="652"/>
                  </a:lnTo>
                  <a:lnTo>
                    <a:pt x="343" y="662"/>
                  </a:lnTo>
                  <a:lnTo>
                    <a:pt x="345" y="678"/>
                  </a:lnTo>
                  <a:lnTo>
                    <a:pt x="344" y="693"/>
                  </a:lnTo>
                  <a:lnTo>
                    <a:pt x="347" y="705"/>
                  </a:lnTo>
                  <a:lnTo>
                    <a:pt x="356" y="706"/>
                  </a:lnTo>
                  <a:lnTo>
                    <a:pt x="360" y="716"/>
                  </a:lnTo>
                  <a:lnTo>
                    <a:pt x="354" y="722"/>
                  </a:lnTo>
                  <a:lnTo>
                    <a:pt x="348" y="736"/>
                  </a:lnTo>
                  <a:lnTo>
                    <a:pt x="345" y="744"/>
                  </a:lnTo>
                  <a:lnTo>
                    <a:pt x="345" y="757"/>
                  </a:lnTo>
                  <a:lnTo>
                    <a:pt x="342" y="760"/>
                  </a:lnTo>
                  <a:lnTo>
                    <a:pt x="333" y="768"/>
                  </a:lnTo>
                  <a:lnTo>
                    <a:pt x="329" y="776"/>
                  </a:lnTo>
                  <a:lnTo>
                    <a:pt x="328" y="790"/>
                  </a:lnTo>
                  <a:lnTo>
                    <a:pt x="334" y="807"/>
                  </a:lnTo>
                  <a:lnTo>
                    <a:pt x="353" y="819"/>
                  </a:lnTo>
                  <a:lnTo>
                    <a:pt x="371" y="839"/>
                  </a:lnTo>
                  <a:lnTo>
                    <a:pt x="374" y="845"/>
                  </a:lnTo>
                  <a:lnTo>
                    <a:pt x="376" y="854"/>
                  </a:lnTo>
                  <a:lnTo>
                    <a:pt x="377" y="887"/>
                  </a:lnTo>
                  <a:lnTo>
                    <a:pt x="383" y="905"/>
                  </a:lnTo>
                  <a:lnTo>
                    <a:pt x="386" y="907"/>
                  </a:lnTo>
                  <a:lnTo>
                    <a:pt x="391" y="922"/>
                  </a:lnTo>
                  <a:lnTo>
                    <a:pt x="406" y="956"/>
                  </a:lnTo>
                  <a:lnTo>
                    <a:pt x="404" y="963"/>
                  </a:lnTo>
                  <a:lnTo>
                    <a:pt x="386" y="993"/>
                  </a:lnTo>
                  <a:lnTo>
                    <a:pt x="375" y="1000"/>
                  </a:lnTo>
                  <a:lnTo>
                    <a:pt x="367" y="1012"/>
                  </a:lnTo>
                  <a:lnTo>
                    <a:pt x="365" y="1027"/>
                  </a:lnTo>
                  <a:lnTo>
                    <a:pt x="360" y="1039"/>
                  </a:lnTo>
                  <a:lnTo>
                    <a:pt x="355" y="1047"/>
                  </a:lnTo>
                  <a:lnTo>
                    <a:pt x="354" y="1050"/>
                  </a:lnTo>
                  <a:lnTo>
                    <a:pt x="344" y="1043"/>
                  </a:lnTo>
                  <a:lnTo>
                    <a:pt x="345" y="1031"/>
                  </a:lnTo>
                  <a:lnTo>
                    <a:pt x="349" y="1017"/>
                  </a:lnTo>
                  <a:lnTo>
                    <a:pt x="359" y="993"/>
                  </a:lnTo>
                  <a:lnTo>
                    <a:pt x="359" y="981"/>
                  </a:lnTo>
                  <a:lnTo>
                    <a:pt x="361" y="964"/>
                  </a:lnTo>
                  <a:lnTo>
                    <a:pt x="351" y="958"/>
                  </a:lnTo>
                  <a:lnTo>
                    <a:pt x="344" y="953"/>
                  </a:lnTo>
                  <a:lnTo>
                    <a:pt x="345" y="946"/>
                  </a:lnTo>
                  <a:lnTo>
                    <a:pt x="354" y="947"/>
                  </a:lnTo>
                  <a:lnTo>
                    <a:pt x="351" y="937"/>
                  </a:lnTo>
                  <a:lnTo>
                    <a:pt x="354" y="924"/>
                  </a:lnTo>
                  <a:lnTo>
                    <a:pt x="349" y="897"/>
                  </a:lnTo>
                  <a:lnTo>
                    <a:pt x="338" y="870"/>
                  </a:lnTo>
                  <a:lnTo>
                    <a:pt x="333" y="851"/>
                  </a:lnTo>
                  <a:lnTo>
                    <a:pt x="329" y="855"/>
                  </a:lnTo>
                  <a:lnTo>
                    <a:pt x="327" y="860"/>
                  </a:lnTo>
                  <a:lnTo>
                    <a:pt x="322" y="844"/>
                  </a:lnTo>
                  <a:lnTo>
                    <a:pt x="317" y="821"/>
                  </a:lnTo>
                  <a:lnTo>
                    <a:pt x="311" y="805"/>
                  </a:lnTo>
                  <a:lnTo>
                    <a:pt x="306" y="784"/>
                  </a:lnTo>
                  <a:lnTo>
                    <a:pt x="301" y="759"/>
                  </a:lnTo>
                  <a:lnTo>
                    <a:pt x="297" y="721"/>
                  </a:lnTo>
                  <a:lnTo>
                    <a:pt x="299" y="695"/>
                  </a:lnTo>
                  <a:lnTo>
                    <a:pt x="295" y="695"/>
                  </a:lnTo>
                  <a:lnTo>
                    <a:pt x="291" y="694"/>
                  </a:lnTo>
                  <a:lnTo>
                    <a:pt x="279" y="688"/>
                  </a:lnTo>
                  <a:lnTo>
                    <a:pt x="269" y="679"/>
                  </a:lnTo>
                  <a:lnTo>
                    <a:pt x="262" y="671"/>
                  </a:lnTo>
                  <a:lnTo>
                    <a:pt x="254" y="673"/>
                  </a:lnTo>
                  <a:lnTo>
                    <a:pt x="251" y="653"/>
                  </a:lnTo>
                  <a:lnTo>
                    <a:pt x="246" y="642"/>
                  </a:lnTo>
                  <a:lnTo>
                    <a:pt x="246" y="662"/>
                  </a:lnTo>
                  <a:lnTo>
                    <a:pt x="241" y="685"/>
                  </a:lnTo>
                  <a:lnTo>
                    <a:pt x="226" y="693"/>
                  </a:lnTo>
                  <a:lnTo>
                    <a:pt x="211" y="700"/>
                  </a:lnTo>
                  <a:lnTo>
                    <a:pt x="200" y="710"/>
                  </a:lnTo>
                  <a:lnTo>
                    <a:pt x="189" y="717"/>
                  </a:lnTo>
                  <a:lnTo>
                    <a:pt x="179" y="726"/>
                  </a:lnTo>
                  <a:lnTo>
                    <a:pt x="170" y="738"/>
                  </a:lnTo>
                  <a:lnTo>
                    <a:pt x="165" y="733"/>
                  </a:lnTo>
                  <a:lnTo>
                    <a:pt x="159" y="735"/>
                  </a:lnTo>
                  <a:lnTo>
                    <a:pt x="154" y="728"/>
                  </a:lnTo>
                  <a:lnTo>
                    <a:pt x="146" y="738"/>
                  </a:lnTo>
                  <a:lnTo>
                    <a:pt x="136" y="733"/>
                  </a:lnTo>
                  <a:lnTo>
                    <a:pt x="127" y="730"/>
                  </a:lnTo>
                  <a:lnTo>
                    <a:pt x="122" y="726"/>
                  </a:lnTo>
                  <a:lnTo>
                    <a:pt x="125" y="717"/>
                  </a:lnTo>
                  <a:lnTo>
                    <a:pt x="116" y="725"/>
                  </a:lnTo>
                  <a:lnTo>
                    <a:pt x="109" y="721"/>
                  </a:lnTo>
                  <a:lnTo>
                    <a:pt x="112" y="70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40" name="Freeform 95"/>
            <p:cNvSpPr>
              <a:spLocks noChangeAspect="1"/>
            </p:cNvSpPr>
            <p:nvPr/>
          </p:nvSpPr>
          <p:spPr bwMode="gray">
            <a:xfrm>
              <a:off x="7681369" y="3977481"/>
              <a:ext cx="92228" cy="82069"/>
            </a:xfrm>
            <a:custGeom>
              <a:avLst/>
              <a:gdLst/>
              <a:ahLst/>
              <a:cxnLst>
                <a:cxn ang="0">
                  <a:pos x="115" y="236"/>
                </a:cxn>
                <a:cxn ang="0">
                  <a:pos x="106" y="230"/>
                </a:cxn>
                <a:cxn ang="0">
                  <a:pos x="82" y="232"/>
                </a:cxn>
                <a:cxn ang="0">
                  <a:pos x="72" y="221"/>
                </a:cxn>
                <a:cxn ang="0">
                  <a:pos x="75" y="204"/>
                </a:cxn>
                <a:cxn ang="0">
                  <a:pos x="64" y="203"/>
                </a:cxn>
                <a:cxn ang="0">
                  <a:pos x="50" y="214"/>
                </a:cxn>
                <a:cxn ang="0">
                  <a:pos x="41" y="186"/>
                </a:cxn>
                <a:cxn ang="0">
                  <a:pos x="45" y="184"/>
                </a:cxn>
                <a:cxn ang="0">
                  <a:pos x="36" y="172"/>
                </a:cxn>
                <a:cxn ang="0">
                  <a:pos x="37" y="157"/>
                </a:cxn>
                <a:cxn ang="0">
                  <a:pos x="25" y="129"/>
                </a:cxn>
                <a:cxn ang="0">
                  <a:pos x="3" y="96"/>
                </a:cxn>
                <a:cxn ang="0">
                  <a:pos x="3" y="67"/>
                </a:cxn>
                <a:cxn ang="0">
                  <a:pos x="15" y="52"/>
                </a:cxn>
                <a:cxn ang="0">
                  <a:pos x="37" y="28"/>
                </a:cxn>
                <a:cxn ang="0">
                  <a:pos x="52" y="19"/>
                </a:cxn>
                <a:cxn ang="0">
                  <a:pos x="95" y="24"/>
                </a:cxn>
                <a:cxn ang="0">
                  <a:pos x="141" y="20"/>
                </a:cxn>
                <a:cxn ang="0">
                  <a:pos x="161" y="25"/>
                </a:cxn>
                <a:cxn ang="0">
                  <a:pos x="187" y="37"/>
                </a:cxn>
                <a:cxn ang="0">
                  <a:pos x="207" y="38"/>
                </a:cxn>
                <a:cxn ang="0">
                  <a:pos x="223" y="15"/>
                </a:cxn>
                <a:cxn ang="0">
                  <a:pos x="242" y="11"/>
                </a:cxn>
                <a:cxn ang="0">
                  <a:pos x="258" y="20"/>
                </a:cxn>
                <a:cxn ang="0">
                  <a:pos x="279" y="6"/>
                </a:cxn>
                <a:cxn ang="0">
                  <a:pos x="281" y="37"/>
                </a:cxn>
                <a:cxn ang="0">
                  <a:pos x="290" y="68"/>
                </a:cxn>
                <a:cxn ang="0">
                  <a:pos x="287" y="129"/>
                </a:cxn>
                <a:cxn ang="0">
                  <a:pos x="272" y="135"/>
                </a:cxn>
                <a:cxn ang="0">
                  <a:pos x="255" y="148"/>
                </a:cxn>
                <a:cxn ang="0">
                  <a:pos x="229" y="156"/>
                </a:cxn>
                <a:cxn ang="0">
                  <a:pos x="209" y="167"/>
                </a:cxn>
                <a:cxn ang="0">
                  <a:pos x="197" y="184"/>
                </a:cxn>
                <a:cxn ang="0">
                  <a:pos x="199" y="202"/>
                </a:cxn>
                <a:cxn ang="0">
                  <a:pos x="185" y="207"/>
                </a:cxn>
                <a:cxn ang="0">
                  <a:pos x="164" y="218"/>
                </a:cxn>
                <a:cxn ang="0">
                  <a:pos x="149" y="215"/>
                </a:cxn>
                <a:cxn ang="0">
                  <a:pos x="143" y="230"/>
                </a:cxn>
                <a:cxn ang="0">
                  <a:pos x="125" y="236"/>
                </a:cxn>
              </a:cxnLst>
              <a:rect l="0" t="0" r="r" b="b"/>
              <a:pathLst>
                <a:path w="290" h="237">
                  <a:moveTo>
                    <a:pt x="120" y="237"/>
                  </a:moveTo>
                  <a:lnTo>
                    <a:pt x="115" y="236"/>
                  </a:lnTo>
                  <a:lnTo>
                    <a:pt x="112" y="234"/>
                  </a:lnTo>
                  <a:lnTo>
                    <a:pt x="106" y="230"/>
                  </a:lnTo>
                  <a:lnTo>
                    <a:pt x="89" y="229"/>
                  </a:lnTo>
                  <a:lnTo>
                    <a:pt x="82" y="232"/>
                  </a:lnTo>
                  <a:lnTo>
                    <a:pt x="72" y="232"/>
                  </a:lnTo>
                  <a:lnTo>
                    <a:pt x="72" y="221"/>
                  </a:lnTo>
                  <a:lnTo>
                    <a:pt x="77" y="214"/>
                  </a:lnTo>
                  <a:lnTo>
                    <a:pt x="75" y="204"/>
                  </a:lnTo>
                  <a:lnTo>
                    <a:pt x="69" y="202"/>
                  </a:lnTo>
                  <a:lnTo>
                    <a:pt x="64" y="203"/>
                  </a:lnTo>
                  <a:lnTo>
                    <a:pt x="59" y="211"/>
                  </a:lnTo>
                  <a:lnTo>
                    <a:pt x="50" y="214"/>
                  </a:lnTo>
                  <a:lnTo>
                    <a:pt x="41" y="188"/>
                  </a:lnTo>
                  <a:lnTo>
                    <a:pt x="41" y="186"/>
                  </a:lnTo>
                  <a:lnTo>
                    <a:pt x="45" y="189"/>
                  </a:lnTo>
                  <a:lnTo>
                    <a:pt x="45" y="184"/>
                  </a:lnTo>
                  <a:lnTo>
                    <a:pt x="36" y="173"/>
                  </a:lnTo>
                  <a:lnTo>
                    <a:pt x="36" y="172"/>
                  </a:lnTo>
                  <a:lnTo>
                    <a:pt x="37" y="166"/>
                  </a:lnTo>
                  <a:lnTo>
                    <a:pt x="37" y="157"/>
                  </a:lnTo>
                  <a:lnTo>
                    <a:pt x="31" y="143"/>
                  </a:lnTo>
                  <a:lnTo>
                    <a:pt x="25" y="129"/>
                  </a:lnTo>
                  <a:lnTo>
                    <a:pt x="10" y="118"/>
                  </a:lnTo>
                  <a:lnTo>
                    <a:pt x="3" y="96"/>
                  </a:lnTo>
                  <a:lnTo>
                    <a:pt x="0" y="85"/>
                  </a:lnTo>
                  <a:lnTo>
                    <a:pt x="3" y="67"/>
                  </a:lnTo>
                  <a:lnTo>
                    <a:pt x="10" y="63"/>
                  </a:lnTo>
                  <a:lnTo>
                    <a:pt x="15" y="52"/>
                  </a:lnTo>
                  <a:lnTo>
                    <a:pt x="23" y="48"/>
                  </a:lnTo>
                  <a:lnTo>
                    <a:pt x="37" y="28"/>
                  </a:lnTo>
                  <a:lnTo>
                    <a:pt x="43" y="22"/>
                  </a:lnTo>
                  <a:lnTo>
                    <a:pt x="52" y="19"/>
                  </a:lnTo>
                  <a:lnTo>
                    <a:pt x="79" y="21"/>
                  </a:lnTo>
                  <a:lnTo>
                    <a:pt x="95" y="24"/>
                  </a:lnTo>
                  <a:lnTo>
                    <a:pt x="113" y="21"/>
                  </a:lnTo>
                  <a:lnTo>
                    <a:pt x="141" y="20"/>
                  </a:lnTo>
                  <a:lnTo>
                    <a:pt x="150" y="30"/>
                  </a:lnTo>
                  <a:lnTo>
                    <a:pt x="161" y="25"/>
                  </a:lnTo>
                  <a:lnTo>
                    <a:pt x="169" y="33"/>
                  </a:lnTo>
                  <a:lnTo>
                    <a:pt x="187" y="37"/>
                  </a:lnTo>
                  <a:lnTo>
                    <a:pt x="198" y="41"/>
                  </a:lnTo>
                  <a:lnTo>
                    <a:pt x="207" y="38"/>
                  </a:lnTo>
                  <a:lnTo>
                    <a:pt x="207" y="24"/>
                  </a:lnTo>
                  <a:lnTo>
                    <a:pt x="223" y="15"/>
                  </a:lnTo>
                  <a:lnTo>
                    <a:pt x="234" y="11"/>
                  </a:lnTo>
                  <a:lnTo>
                    <a:pt x="242" y="11"/>
                  </a:lnTo>
                  <a:lnTo>
                    <a:pt x="251" y="20"/>
                  </a:lnTo>
                  <a:lnTo>
                    <a:pt x="258" y="20"/>
                  </a:lnTo>
                  <a:lnTo>
                    <a:pt x="268" y="15"/>
                  </a:lnTo>
                  <a:lnTo>
                    <a:pt x="279" y="6"/>
                  </a:lnTo>
                  <a:lnTo>
                    <a:pt x="283" y="0"/>
                  </a:lnTo>
                  <a:lnTo>
                    <a:pt x="281" y="37"/>
                  </a:lnTo>
                  <a:lnTo>
                    <a:pt x="283" y="53"/>
                  </a:lnTo>
                  <a:lnTo>
                    <a:pt x="290" y="68"/>
                  </a:lnTo>
                  <a:lnTo>
                    <a:pt x="289" y="117"/>
                  </a:lnTo>
                  <a:lnTo>
                    <a:pt x="287" y="129"/>
                  </a:lnTo>
                  <a:lnTo>
                    <a:pt x="281" y="138"/>
                  </a:lnTo>
                  <a:lnTo>
                    <a:pt x="272" y="135"/>
                  </a:lnTo>
                  <a:lnTo>
                    <a:pt x="262" y="144"/>
                  </a:lnTo>
                  <a:lnTo>
                    <a:pt x="255" y="148"/>
                  </a:lnTo>
                  <a:lnTo>
                    <a:pt x="247" y="148"/>
                  </a:lnTo>
                  <a:lnTo>
                    <a:pt x="229" y="156"/>
                  </a:lnTo>
                  <a:lnTo>
                    <a:pt x="228" y="166"/>
                  </a:lnTo>
                  <a:lnTo>
                    <a:pt x="209" y="167"/>
                  </a:lnTo>
                  <a:lnTo>
                    <a:pt x="199" y="171"/>
                  </a:lnTo>
                  <a:lnTo>
                    <a:pt x="197" y="184"/>
                  </a:lnTo>
                  <a:lnTo>
                    <a:pt x="198" y="193"/>
                  </a:lnTo>
                  <a:lnTo>
                    <a:pt x="199" y="202"/>
                  </a:lnTo>
                  <a:lnTo>
                    <a:pt x="193" y="204"/>
                  </a:lnTo>
                  <a:lnTo>
                    <a:pt x="185" y="207"/>
                  </a:lnTo>
                  <a:lnTo>
                    <a:pt x="174" y="214"/>
                  </a:lnTo>
                  <a:lnTo>
                    <a:pt x="164" y="218"/>
                  </a:lnTo>
                  <a:lnTo>
                    <a:pt x="156" y="215"/>
                  </a:lnTo>
                  <a:lnTo>
                    <a:pt x="149" y="215"/>
                  </a:lnTo>
                  <a:lnTo>
                    <a:pt x="148" y="225"/>
                  </a:lnTo>
                  <a:lnTo>
                    <a:pt x="143" y="230"/>
                  </a:lnTo>
                  <a:lnTo>
                    <a:pt x="136" y="234"/>
                  </a:lnTo>
                  <a:lnTo>
                    <a:pt x="125" y="236"/>
                  </a:lnTo>
                  <a:lnTo>
                    <a:pt x="120" y="23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41" name="Freeform 96"/>
            <p:cNvSpPr>
              <a:spLocks noChangeAspect="1"/>
            </p:cNvSpPr>
            <p:nvPr/>
          </p:nvSpPr>
          <p:spPr bwMode="gray">
            <a:xfrm>
              <a:off x="7644797" y="3820329"/>
              <a:ext cx="125622" cy="171121"/>
            </a:xfrm>
            <a:custGeom>
              <a:avLst/>
              <a:gdLst/>
              <a:ahLst/>
              <a:cxnLst>
                <a:cxn ang="0">
                  <a:pos x="135" y="39"/>
                </a:cxn>
                <a:cxn ang="0">
                  <a:pos x="147" y="71"/>
                </a:cxn>
                <a:cxn ang="0">
                  <a:pos x="183" y="98"/>
                </a:cxn>
                <a:cxn ang="0">
                  <a:pos x="228" y="105"/>
                </a:cxn>
                <a:cxn ang="0">
                  <a:pos x="243" y="127"/>
                </a:cxn>
                <a:cxn ang="0">
                  <a:pos x="252" y="151"/>
                </a:cxn>
                <a:cxn ang="0">
                  <a:pos x="220" y="164"/>
                </a:cxn>
                <a:cxn ang="0">
                  <a:pos x="205" y="181"/>
                </a:cxn>
                <a:cxn ang="0">
                  <a:pos x="221" y="196"/>
                </a:cxn>
                <a:cxn ang="0">
                  <a:pos x="271" y="239"/>
                </a:cxn>
                <a:cxn ang="0">
                  <a:pos x="314" y="290"/>
                </a:cxn>
                <a:cxn ang="0">
                  <a:pos x="342" y="317"/>
                </a:cxn>
                <a:cxn ang="0">
                  <a:pos x="345" y="331"/>
                </a:cxn>
                <a:cxn ang="0">
                  <a:pos x="371" y="355"/>
                </a:cxn>
                <a:cxn ang="0">
                  <a:pos x="397" y="409"/>
                </a:cxn>
                <a:cxn ang="0">
                  <a:pos x="394" y="455"/>
                </a:cxn>
                <a:cxn ang="0">
                  <a:pos x="366" y="469"/>
                </a:cxn>
                <a:cxn ang="0">
                  <a:pos x="338" y="464"/>
                </a:cxn>
                <a:cxn ang="0">
                  <a:pos x="313" y="490"/>
                </a:cxn>
                <a:cxn ang="0">
                  <a:pos x="276" y="474"/>
                </a:cxn>
                <a:cxn ang="0">
                  <a:pos x="287" y="459"/>
                </a:cxn>
                <a:cxn ang="0">
                  <a:pos x="290" y="398"/>
                </a:cxn>
                <a:cxn ang="0">
                  <a:pos x="276" y="380"/>
                </a:cxn>
                <a:cxn ang="0">
                  <a:pos x="257" y="367"/>
                </a:cxn>
                <a:cxn ang="0">
                  <a:pos x="247" y="321"/>
                </a:cxn>
                <a:cxn ang="0">
                  <a:pos x="237" y="286"/>
                </a:cxn>
                <a:cxn ang="0">
                  <a:pos x="220" y="270"/>
                </a:cxn>
                <a:cxn ang="0">
                  <a:pos x="195" y="240"/>
                </a:cxn>
                <a:cxn ang="0">
                  <a:pos x="161" y="243"/>
                </a:cxn>
                <a:cxn ang="0">
                  <a:pos x="145" y="261"/>
                </a:cxn>
                <a:cxn ang="0">
                  <a:pos x="115" y="261"/>
                </a:cxn>
                <a:cxn ang="0">
                  <a:pos x="93" y="251"/>
                </a:cxn>
                <a:cxn ang="0">
                  <a:pos x="55" y="274"/>
                </a:cxn>
                <a:cxn ang="0">
                  <a:pos x="44" y="282"/>
                </a:cxn>
                <a:cxn ang="0">
                  <a:pos x="48" y="231"/>
                </a:cxn>
                <a:cxn ang="0">
                  <a:pos x="54" y="202"/>
                </a:cxn>
                <a:cxn ang="0">
                  <a:pos x="50" y="165"/>
                </a:cxn>
                <a:cxn ang="0">
                  <a:pos x="21" y="163"/>
                </a:cxn>
                <a:cxn ang="0">
                  <a:pos x="12" y="121"/>
                </a:cxn>
                <a:cxn ang="0">
                  <a:pos x="0" y="113"/>
                </a:cxn>
                <a:cxn ang="0">
                  <a:pos x="5" y="99"/>
                </a:cxn>
                <a:cxn ang="0">
                  <a:pos x="23" y="92"/>
                </a:cxn>
                <a:cxn ang="0">
                  <a:pos x="48" y="61"/>
                </a:cxn>
                <a:cxn ang="0">
                  <a:pos x="59" y="76"/>
                </a:cxn>
                <a:cxn ang="0">
                  <a:pos x="85" y="52"/>
                </a:cxn>
                <a:cxn ang="0">
                  <a:pos x="77" y="7"/>
                </a:cxn>
                <a:cxn ang="0">
                  <a:pos x="106" y="3"/>
                </a:cxn>
              </a:cxnLst>
              <a:rect l="0" t="0" r="r" b="b"/>
              <a:pathLst>
                <a:path w="398" h="490">
                  <a:moveTo>
                    <a:pt x="106" y="3"/>
                  </a:moveTo>
                  <a:lnTo>
                    <a:pt x="118" y="19"/>
                  </a:lnTo>
                  <a:lnTo>
                    <a:pt x="135" y="39"/>
                  </a:lnTo>
                  <a:lnTo>
                    <a:pt x="145" y="49"/>
                  </a:lnTo>
                  <a:lnTo>
                    <a:pt x="150" y="59"/>
                  </a:lnTo>
                  <a:lnTo>
                    <a:pt x="147" y="71"/>
                  </a:lnTo>
                  <a:lnTo>
                    <a:pt x="149" y="79"/>
                  </a:lnTo>
                  <a:lnTo>
                    <a:pt x="163" y="94"/>
                  </a:lnTo>
                  <a:lnTo>
                    <a:pt x="183" y="98"/>
                  </a:lnTo>
                  <a:lnTo>
                    <a:pt x="203" y="93"/>
                  </a:lnTo>
                  <a:lnTo>
                    <a:pt x="219" y="94"/>
                  </a:lnTo>
                  <a:lnTo>
                    <a:pt x="228" y="105"/>
                  </a:lnTo>
                  <a:lnTo>
                    <a:pt x="233" y="114"/>
                  </a:lnTo>
                  <a:lnTo>
                    <a:pt x="235" y="121"/>
                  </a:lnTo>
                  <a:lnTo>
                    <a:pt x="243" y="127"/>
                  </a:lnTo>
                  <a:lnTo>
                    <a:pt x="247" y="136"/>
                  </a:lnTo>
                  <a:lnTo>
                    <a:pt x="253" y="142"/>
                  </a:lnTo>
                  <a:lnTo>
                    <a:pt x="252" y="151"/>
                  </a:lnTo>
                  <a:lnTo>
                    <a:pt x="236" y="167"/>
                  </a:lnTo>
                  <a:lnTo>
                    <a:pt x="231" y="167"/>
                  </a:lnTo>
                  <a:lnTo>
                    <a:pt x="220" y="164"/>
                  </a:lnTo>
                  <a:lnTo>
                    <a:pt x="213" y="167"/>
                  </a:lnTo>
                  <a:lnTo>
                    <a:pt x="209" y="172"/>
                  </a:lnTo>
                  <a:lnTo>
                    <a:pt x="205" y="181"/>
                  </a:lnTo>
                  <a:lnTo>
                    <a:pt x="206" y="188"/>
                  </a:lnTo>
                  <a:lnTo>
                    <a:pt x="213" y="190"/>
                  </a:lnTo>
                  <a:lnTo>
                    <a:pt x="221" y="196"/>
                  </a:lnTo>
                  <a:lnTo>
                    <a:pt x="240" y="206"/>
                  </a:lnTo>
                  <a:lnTo>
                    <a:pt x="267" y="226"/>
                  </a:lnTo>
                  <a:lnTo>
                    <a:pt x="271" y="239"/>
                  </a:lnTo>
                  <a:lnTo>
                    <a:pt x="294" y="260"/>
                  </a:lnTo>
                  <a:lnTo>
                    <a:pt x="297" y="270"/>
                  </a:lnTo>
                  <a:lnTo>
                    <a:pt x="314" y="290"/>
                  </a:lnTo>
                  <a:lnTo>
                    <a:pt x="319" y="291"/>
                  </a:lnTo>
                  <a:lnTo>
                    <a:pt x="337" y="303"/>
                  </a:lnTo>
                  <a:lnTo>
                    <a:pt x="342" y="317"/>
                  </a:lnTo>
                  <a:lnTo>
                    <a:pt x="345" y="329"/>
                  </a:lnTo>
                  <a:lnTo>
                    <a:pt x="344" y="330"/>
                  </a:lnTo>
                  <a:lnTo>
                    <a:pt x="345" y="331"/>
                  </a:lnTo>
                  <a:lnTo>
                    <a:pt x="349" y="345"/>
                  </a:lnTo>
                  <a:lnTo>
                    <a:pt x="357" y="345"/>
                  </a:lnTo>
                  <a:lnTo>
                    <a:pt x="371" y="355"/>
                  </a:lnTo>
                  <a:lnTo>
                    <a:pt x="380" y="363"/>
                  </a:lnTo>
                  <a:lnTo>
                    <a:pt x="384" y="380"/>
                  </a:lnTo>
                  <a:lnTo>
                    <a:pt x="397" y="409"/>
                  </a:lnTo>
                  <a:lnTo>
                    <a:pt x="398" y="416"/>
                  </a:lnTo>
                  <a:lnTo>
                    <a:pt x="398" y="449"/>
                  </a:lnTo>
                  <a:lnTo>
                    <a:pt x="394" y="455"/>
                  </a:lnTo>
                  <a:lnTo>
                    <a:pt x="383" y="464"/>
                  </a:lnTo>
                  <a:lnTo>
                    <a:pt x="373" y="469"/>
                  </a:lnTo>
                  <a:lnTo>
                    <a:pt x="366" y="469"/>
                  </a:lnTo>
                  <a:lnTo>
                    <a:pt x="357" y="460"/>
                  </a:lnTo>
                  <a:lnTo>
                    <a:pt x="349" y="460"/>
                  </a:lnTo>
                  <a:lnTo>
                    <a:pt x="338" y="464"/>
                  </a:lnTo>
                  <a:lnTo>
                    <a:pt x="322" y="473"/>
                  </a:lnTo>
                  <a:lnTo>
                    <a:pt x="322" y="487"/>
                  </a:lnTo>
                  <a:lnTo>
                    <a:pt x="313" y="490"/>
                  </a:lnTo>
                  <a:lnTo>
                    <a:pt x="302" y="486"/>
                  </a:lnTo>
                  <a:lnTo>
                    <a:pt x="284" y="482"/>
                  </a:lnTo>
                  <a:lnTo>
                    <a:pt x="276" y="474"/>
                  </a:lnTo>
                  <a:lnTo>
                    <a:pt x="276" y="470"/>
                  </a:lnTo>
                  <a:lnTo>
                    <a:pt x="280" y="470"/>
                  </a:lnTo>
                  <a:lnTo>
                    <a:pt x="287" y="459"/>
                  </a:lnTo>
                  <a:lnTo>
                    <a:pt x="287" y="417"/>
                  </a:lnTo>
                  <a:lnTo>
                    <a:pt x="291" y="407"/>
                  </a:lnTo>
                  <a:lnTo>
                    <a:pt x="290" y="398"/>
                  </a:lnTo>
                  <a:lnTo>
                    <a:pt x="289" y="391"/>
                  </a:lnTo>
                  <a:lnTo>
                    <a:pt x="284" y="385"/>
                  </a:lnTo>
                  <a:lnTo>
                    <a:pt x="276" y="380"/>
                  </a:lnTo>
                  <a:lnTo>
                    <a:pt x="274" y="373"/>
                  </a:lnTo>
                  <a:lnTo>
                    <a:pt x="264" y="372"/>
                  </a:lnTo>
                  <a:lnTo>
                    <a:pt x="257" y="367"/>
                  </a:lnTo>
                  <a:lnTo>
                    <a:pt x="249" y="357"/>
                  </a:lnTo>
                  <a:lnTo>
                    <a:pt x="246" y="346"/>
                  </a:lnTo>
                  <a:lnTo>
                    <a:pt x="247" y="321"/>
                  </a:lnTo>
                  <a:lnTo>
                    <a:pt x="246" y="308"/>
                  </a:lnTo>
                  <a:lnTo>
                    <a:pt x="242" y="296"/>
                  </a:lnTo>
                  <a:lnTo>
                    <a:pt x="237" y="286"/>
                  </a:lnTo>
                  <a:lnTo>
                    <a:pt x="230" y="281"/>
                  </a:lnTo>
                  <a:lnTo>
                    <a:pt x="228" y="274"/>
                  </a:lnTo>
                  <a:lnTo>
                    <a:pt x="220" y="270"/>
                  </a:lnTo>
                  <a:lnTo>
                    <a:pt x="213" y="263"/>
                  </a:lnTo>
                  <a:lnTo>
                    <a:pt x="208" y="255"/>
                  </a:lnTo>
                  <a:lnTo>
                    <a:pt x="195" y="240"/>
                  </a:lnTo>
                  <a:lnTo>
                    <a:pt x="183" y="239"/>
                  </a:lnTo>
                  <a:lnTo>
                    <a:pt x="172" y="240"/>
                  </a:lnTo>
                  <a:lnTo>
                    <a:pt x="161" y="243"/>
                  </a:lnTo>
                  <a:lnTo>
                    <a:pt x="157" y="254"/>
                  </a:lnTo>
                  <a:lnTo>
                    <a:pt x="152" y="258"/>
                  </a:lnTo>
                  <a:lnTo>
                    <a:pt x="145" y="261"/>
                  </a:lnTo>
                  <a:lnTo>
                    <a:pt x="133" y="267"/>
                  </a:lnTo>
                  <a:lnTo>
                    <a:pt x="124" y="267"/>
                  </a:lnTo>
                  <a:lnTo>
                    <a:pt x="115" y="261"/>
                  </a:lnTo>
                  <a:lnTo>
                    <a:pt x="109" y="251"/>
                  </a:lnTo>
                  <a:lnTo>
                    <a:pt x="102" y="249"/>
                  </a:lnTo>
                  <a:lnTo>
                    <a:pt x="93" y="251"/>
                  </a:lnTo>
                  <a:lnTo>
                    <a:pt x="80" y="256"/>
                  </a:lnTo>
                  <a:lnTo>
                    <a:pt x="68" y="269"/>
                  </a:lnTo>
                  <a:lnTo>
                    <a:pt x="55" y="274"/>
                  </a:lnTo>
                  <a:lnTo>
                    <a:pt x="48" y="283"/>
                  </a:lnTo>
                  <a:lnTo>
                    <a:pt x="43" y="287"/>
                  </a:lnTo>
                  <a:lnTo>
                    <a:pt x="44" y="282"/>
                  </a:lnTo>
                  <a:lnTo>
                    <a:pt x="41" y="269"/>
                  </a:lnTo>
                  <a:lnTo>
                    <a:pt x="45" y="255"/>
                  </a:lnTo>
                  <a:lnTo>
                    <a:pt x="48" y="231"/>
                  </a:lnTo>
                  <a:lnTo>
                    <a:pt x="53" y="220"/>
                  </a:lnTo>
                  <a:lnTo>
                    <a:pt x="53" y="211"/>
                  </a:lnTo>
                  <a:lnTo>
                    <a:pt x="54" y="202"/>
                  </a:lnTo>
                  <a:lnTo>
                    <a:pt x="50" y="186"/>
                  </a:lnTo>
                  <a:lnTo>
                    <a:pt x="54" y="169"/>
                  </a:lnTo>
                  <a:lnTo>
                    <a:pt x="50" y="165"/>
                  </a:lnTo>
                  <a:lnTo>
                    <a:pt x="29" y="165"/>
                  </a:lnTo>
                  <a:lnTo>
                    <a:pt x="23" y="164"/>
                  </a:lnTo>
                  <a:lnTo>
                    <a:pt x="21" y="163"/>
                  </a:lnTo>
                  <a:lnTo>
                    <a:pt x="21" y="145"/>
                  </a:lnTo>
                  <a:lnTo>
                    <a:pt x="18" y="130"/>
                  </a:lnTo>
                  <a:lnTo>
                    <a:pt x="12" y="121"/>
                  </a:lnTo>
                  <a:lnTo>
                    <a:pt x="9" y="116"/>
                  </a:lnTo>
                  <a:lnTo>
                    <a:pt x="2" y="119"/>
                  </a:lnTo>
                  <a:lnTo>
                    <a:pt x="0" y="113"/>
                  </a:lnTo>
                  <a:lnTo>
                    <a:pt x="1" y="105"/>
                  </a:lnTo>
                  <a:lnTo>
                    <a:pt x="4" y="105"/>
                  </a:lnTo>
                  <a:lnTo>
                    <a:pt x="5" y="99"/>
                  </a:lnTo>
                  <a:lnTo>
                    <a:pt x="10" y="95"/>
                  </a:lnTo>
                  <a:lnTo>
                    <a:pt x="17" y="93"/>
                  </a:lnTo>
                  <a:lnTo>
                    <a:pt x="23" y="92"/>
                  </a:lnTo>
                  <a:lnTo>
                    <a:pt x="21" y="84"/>
                  </a:lnTo>
                  <a:lnTo>
                    <a:pt x="21" y="79"/>
                  </a:lnTo>
                  <a:lnTo>
                    <a:pt x="48" y="61"/>
                  </a:lnTo>
                  <a:lnTo>
                    <a:pt x="53" y="54"/>
                  </a:lnTo>
                  <a:lnTo>
                    <a:pt x="54" y="49"/>
                  </a:lnTo>
                  <a:lnTo>
                    <a:pt x="59" y="76"/>
                  </a:lnTo>
                  <a:lnTo>
                    <a:pt x="80" y="71"/>
                  </a:lnTo>
                  <a:lnTo>
                    <a:pt x="84" y="67"/>
                  </a:lnTo>
                  <a:lnTo>
                    <a:pt x="85" y="52"/>
                  </a:lnTo>
                  <a:lnTo>
                    <a:pt x="79" y="36"/>
                  </a:lnTo>
                  <a:lnTo>
                    <a:pt x="76" y="19"/>
                  </a:lnTo>
                  <a:lnTo>
                    <a:pt x="77" y="7"/>
                  </a:lnTo>
                  <a:lnTo>
                    <a:pt x="86" y="0"/>
                  </a:lnTo>
                  <a:lnTo>
                    <a:pt x="106" y="1"/>
                  </a:lnTo>
                  <a:lnTo>
                    <a:pt x="106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grpSp>
          <p:nvGrpSpPr>
            <p:cNvPr id="42" name="Group 97"/>
            <p:cNvGrpSpPr>
              <a:grpSpLocks noChangeAspect="1"/>
            </p:cNvGrpSpPr>
            <p:nvPr/>
          </p:nvGrpSpPr>
          <p:grpSpPr bwMode="gray">
            <a:xfrm>
              <a:off x="6957856" y="3500786"/>
              <a:ext cx="637647" cy="646069"/>
              <a:chOff x="3183" y="2052"/>
              <a:chExt cx="401" cy="370"/>
            </a:xfrm>
            <a:grpFill/>
          </p:grpSpPr>
          <p:sp>
            <p:nvSpPr>
              <p:cNvPr id="346" name="Freeform 98"/>
              <p:cNvSpPr>
                <a:spLocks noChangeAspect="1"/>
              </p:cNvSpPr>
              <p:nvPr/>
            </p:nvSpPr>
            <p:spPr bwMode="gray">
              <a:xfrm>
                <a:off x="3509" y="2232"/>
                <a:ext cx="3" cy="5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26"/>
                  </a:cxn>
                  <a:cxn ang="0">
                    <a:pos x="9" y="27"/>
                  </a:cxn>
                  <a:cxn ang="0">
                    <a:pos x="14" y="21"/>
                  </a:cxn>
                  <a:cxn ang="0">
                    <a:pos x="14" y="12"/>
                  </a:cxn>
                  <a:cxn ang="0">
                    <a:pos x="9" y="3"/>
                  </a:cxn>
                  <a:cxn ang="0">
                    <a:pos x="5" y="0"/>
                  </a:cxn>
                  <a:cxn ang="0">
                    <a:pos x="0" y="4"/>
                  </a:cxn>
                </a:cxnLst>
                <a:rect l="0" t="0" r="r" b="b"/>
                <a:pathLst>
                  <a:path w="14" h="27">
                    <a:moveTo>
                      <a:pt x="0" y="4"/>
                    </a:moveTo>
                    <a:lnTo>
                      <a:pt x="1" y="26"/>
                    </a:lnTo>
                    <a:lnTo>
                      <a:pt x="9" y="27"/>
                    </a:lnTo>
                    <a:lnTo>
                      <a:pt x="14" y="21"/>
                    </a:lnTo>
                    <a:lnTo>
                      <a:pt x="14" y="12"/>
                    </a:lnTo>
                    <a:lnTo>
                      <a:pt x="9" y="3"/>
                    </a:lnTo>
                    <a:lnTo>
                      <a:pt x="5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47" name="Freeform 99"/>
              <p:cNvSpPr>
                <a:spLocks noChangeAspect="1"/>
              </p:cNvSpPr>
              <p:nvPr/>
            </p:nvSpPr>
            <p:spPr bwMode="gray">
              <a:xfrm>
                <a:off x="3262" y="2066"/>
                <a:ext cx="322" cy="332"/>
              </a:xfrm>
              <a:custGeom>
                <a:avLst/>
                <a:gdLst/>
                <a:ahLst/>
                <a:cxnLst>
                  <a:cxn ang="0">
                    <a:pos x="351" y="1334"/>
                  </a:cxn>
                  <a:cxn ang="0">
                    <a:pos x="468" y="1614"/>
                  </a:cxn>
                  <a:cxn ang="0">
                    <a:pos x="594" y="1598"/>
                  </a:cxn>
                  <a:cxn ang="0">
                    <a:pos x="655" y="1431"/>
                  </a:cxn>
                  <a:cxn ang="0">
                    <a:pos x="659" y="1302"/>
                  </a:cxn>
                  <a:cxn ang="0">
                    <a:pos x="733" y="1205"/>
                  </a:cxn>
                  <a:cxn ang="0">
                    <a:pos x="880" y="1087"/>
                  </a:cxn>
                  <a:cxn ang="0">
                    <a:pos x="1036" y="913"/>
                  </a:cxn>
                  <a:cxn ang="0">
                    <a:pos x="1107" y="902"/>
                  </a:cxn>
                  <a:cxn ang="0">
                    <a:pos x="1134" y="854"/>
                  </a:cxn>
                  <a:cxn ang="0">
                    <a:pos x="1120" y="738"/>
                  </a:cxn>
                  <a:cxn ang="0">
                    <a:pos x="1122" y="669"/>
                  </a:cxn>
                  <a:cxn ang="0">
                    <a:pos x="1143" y="613"/>
                  </a:cxn>
                  <a:cxn ang="0">
                    <a:pos x="1264" y="679"/>
                  </a:cxn>
                  <a:cxn ang="0">
                    <a:pos x="1268" y="798"/>
                  </a:cxn>
                  <a:cxn ang="0">
                    <a:pos x="1346" y="881"/>
                  </a:cxn>
                  <a:cxn ang="0">
                    <a:pos x="1387" y="799"/>
                  </a:cxn>
                  <a:cxn ang="0">
                    <a:pos x="1487" y="652"/>
                  </a:cxn>
                  <a:cxn ang="0">
                    <a:pos x="1602" y="525"/>
                  </a:cxn>
                  <a:cxn ang="0">
                    <a:pos x="1532" y="422"/>
                  </a:cxn>
                  <a:cxn ang="0">
                    <a:pos x="1379" y="492"/>
                  </a:cxn>
                  <a:cxn ang="0">
                    <a:pos x="1319" y="570"/>
                  </a:cxn>
                  <a:cxn ang="0">
                    <a:pos x="1160" y="592"/>
                  </a:cxn>
                  <a:cxn ang="0">
                    <a:pos x="1133" y="551"/>
                  </a:cxn>
                  <a:cxn ang="0">
                    <a:pos x="1090" y="541"/>
                  </a:cxn>
                  <a:cxn ang="0">
                    <a:pos x="1046" y="615"/>
                  </a:cxn>
                  <a:cxn ang="0">
                    <a:pos x="873" y="555"/>
                  </a:cxn>
                  <a:cxn ang="0">
                    <a:pos x="772" y="530"/>
                  </a:cxn>
                  <a:cxn ang="0">
                    <a:pos x="676" y="480"/>
                  </a:cxn>
                  <a:cxn ang="0">
                    <a:pos x="675" y="409"/>
                  </a:cxn>
                  <a:cxn ang="0">
                    <a:pos x="690" y="367"/>
                  </a:cxn>
                  <a:cxn ang="0">
                    <a:pos x="631" y="332"/>
                  </a:cxn>
                  <a:cxn ang="0">
                    <a:pos x="589" y="304"/>
                  </a:cxn>
                  <a:cxn ang="0">
                    <a:pos x="581" y="224"/>
                  </a:cxn>
                  <a:cxn ang="0">
                    <a:pos x="617" y="223"/>
                  </a:cxn>
                  <a:cxn ang="0">
                    <a:pos x="597" y="174"/>
                  </a:cxn>
                  <a:cxn ang="0">
                    <a:pos x="628" y="126"/>
                  </a:cxn>
                  <a:cxn ang="0">
                    <a:pos x="666" y="52"/>
                  </a:cxn>
                  <a:cxn ang="0">
                    <a:pos x="642" y="22"/>
                  </a:cxn>
                  <a:cxn ang="0">
                    <a:pos x="599" y="6"/>
                  </a:cxn>
                  <a:cxn ang="0">
                    <a:pos x="489" y="68"/>
                  </a:cxn>
                  <a:cxn ang="0">
                    <a:pos x="427" y="92"/>
                  </a:cxn>
                  <a:cxn ang="0">
                    <a:pos x="333" y="79"/>
                  </a:cxn>
                  <a:cxn ang="0">
                    <a:pos x="320" y="126"/>
                  </a:cxn>
                  <a:cxn ang="0">
                    <a:pos x="321" y="181"/>
                  </a:cxn>
                  <a:cxn ang="0">
                    <a:pos x="384" y="232"/>
                  </a:cxn>
                  <a:cxn ang="0">
                    <a:pos x="362" y="267"/>
                  </a:cxn>
                  <a:cxn ang="0">
                    <a:pos x="371" y="324"/>
                  </a:cxn>
                  <a:cxn ang="0">
                    <a:pos x="314" y="388"/>
                  </a:cxn>
                  <a:cxn ang="0">
                    <a:pos x="212" y="504"/>
                  </a:cxn>
                  <a:cxn ang="0">
                    <a:pos x="132" y="513"/>
                  </a:cxn>
                  <a:cxn ang="0">
                    <a:pos x="111" y="603"/>
                  </a:cxn>
                  <a:cxn ang="0">
                    <a:pos x="142" y="669"/>
                  </a:cxn>
                  <a:cxn ang="0">
                    <a:pos x="166" y="733"/>
                  </a:cxn>
                  <a:cxn ang="0">
                    <a:pos x="127" y="734"/>
                  </a:cxn>
                  <a:cxn ang="0">
                    <a:pos x="47" y="740"/>
                  </a:cxn>
                  <a:cxn ang="0">
                    <a:pos x="0" y="773"/>
                  </a:cxn>
                  <a:cxn ang="0">
                    <a:pos x="124" y="814"/>
                  </a:cxn>
                  <a:cxn ang="0">
                    <a:pos x="131" y="945"/>
                  </a:cxn>
                  <a:cxn ang="0">
                    <a:pos x="229" y="857"/>
                  </a:cxn>
                  <a:cxn ang="0">
                    <a:pos x="246" y="924"/>
                  </a:cxn>
                  <a:cxn ang="0">
                    <a:pos x="261" y="1041"/>
                  </a:cxn>
                  <a:cxn ang="0">
                    <a:pos x="276" y="1157"/>
                  </a:cxn>
                </a:cxnLst>
                <a:rect l="0" t="0" r="r" b="b"/>
                <a:pathLst>
                  <a:path w="1608" h="1661">
                    <a:moveTo>
                      <a:pt x="304" y="1236"/>
                    </a:moveTo>
                    <a:lnTo>
                      <a:pt x="306" y="1238"/>
                    </a:lnTo>
                    <a:lnTo>
                      <a:pt x="310" y="1250"/>
                    </a:lnTo>
                    <a:lnTo>
                      <a:pt x="312" y="1252"/>
                    </a:lnTo>
                    <a:lnTo>
                      <a:pt x="315" y="1249"/>
                    </a:lnTo>
                    <a:lnTo>
                      <a:pt x="320" y="1250"/>
                    </a:lnTo>
                    <a:lnTo>
                      <a:pt x="316" y="1255"/>
                    </a:lnTo>
                    <a:lnTo>
                      <a:pt x="316" y="1260"/>
                    </a:lnTo>
                    <a:lnTo>
                      <a:pt x="322" y="1281"/>
                    </a:lnTo>
                    <a:lnTo>
                      <a:pt x="331" y="1293"/>
                    </a:lnTo>
                    <a:lnTo>
                      <a:pt x="338" y="1297"/>
                    </a:lnTo>
                    <a:lnTo>
                      <a:pt x="348" y="1319"/>
                    </a:lnTo>
                    <a:lnTo>
                      <a:pt x="351" y="1334"/>
                    </a:lnTo>
                    <a:lnTo>
                      <a:pt x="358" y="1343"/>
                    </a:lnTo>
                    <a:lnTo>
                      <a:pt x="364" y="1358"/>
                    </a:lnTo>
                    <a:lnTo>
                      <a:pt x="370" y="1388"/>
                    </a:lnTo>
                    <a:lnTo>
                      <a:pt x="382" y="1426"/>
                    </a:lnTo>
                    <a:lnTo>
                      <a:pt x="382" y="1429"/>
                    </a:lnTo>
                    <a:lnTo>
                      <a:pt x="391" y="1444"/>
                    </a:lnTo>
                    <a:lnTo>
                      <a:pt x="401" y="1453"/>
                    </a:lnTo>
                    <a:lnTo>
                      <a:pt x="418" y="1475"/>
                    </a:lnTo>
                    <a:lnTo>
                      <a:pt x="425" y="1494"/>
                    </a:lnTo>
                    <a:lnTo>
                      <a:pt x="432" y="1519"/>
                    </a:lnTo>
                    <a:lnTo>
                      <a:pt x="454" y="1572"/>
                    </a:lnTo>
                    <a:lnTo>
                      <a:pt x="461" y="1600"/>
                    </a:lnTo>
                    <a:lnTo>
                      <a:pt x="468" y="1614"/>
                    </a:lnTo>
                    <a:lnTo>
                      <a:pt x="481" y="1633"/>
                    </a:lnTo>
                    <a:lnTo>
                      <a:pt x="495" y="1650"/>
                    </a:lnTo>
                    <a:lnTo>
                      <a:pt x="508" y="1661"/>
                    </a:lnTo>
                    <a:lnTo>
                      <a:pt x="525" y="1661"/>
                    </a:lnTo>
                    <a:lnTo>
                      <a:pt x="534" y="1653"/>
                    </a:lnTo>
                    <a:lnTo>
                      <a:pt x="534" y="1650"/>
                    </a:lnTo>
                    <a:lnTo>
                      <a:pt x="540" y="1647"/>
                    </a:lnTo>
                    <a:lnTo>
                      <a:pt x="546" y="1642"/>
                    </a:lnTo>
                    <a:lnTo>
                      <a:pt x="548" y="1636"/>
                    </a:lnTo>
                    <a:lnTo>
                      <a:pt x="547" y="1632"/>
                    </a:lnTo>
                    <a:lnTo>
                      <a:pt x="554" y="1611"/>
                    </a:lnTo>
                    <a:lnTo>
                      <a:pt x="577" y="1600"/>
                    </a:lnTo>
                    <a:lnTo>
                      <a:pt x="594" y="1598"/>
                    </a:lnTo>
                    <a:lnTo>
                      <a:pt x="593" y="1588"/>
                    </a:lnTo>
                    <a:lnTo>
                      <a:pt x="594" y="1578"/>
                    </a:lnTo>
                    <a:lnTo>
                      <a:pt x="607" y="1560"/>
                    </a:lnTo>
                    <a:lnTo>
                      <a:pt x="610" y="1552"/>
                    </a:lnTo>
                    <a:lnTo>
                      <a:pt x="615" y="1541"/>
                    </a:lnTo>
                    <a:lnTo>
                      <a:pt x="628" y="1539"/>
                    </a:lnTo>
                    <a:lnTo>
                      <a:pt x="632" y="1542"/>
                    </a:lnTo>
                    <a:lnTo>
                      <a:pt x="643" y="1542"/>
                    </a:lnTo>
                    <a:lnTo>
                      <a:pt x="643" y="1525"/>
                    </a:lnTo>
                    <a:lnTo>
                      <a:pt x="640" y="1496"/>
                    </a:lnTo>
                    <a:lnTo>
                      <a:pt x="640" y="1467"/>
                    </a:lnTo>
                    <a:lnTo>
                      <a:pt x="643" y="1456"/>
                    </a:lnTo>
                    <a:lnTo>
                      <a:pt x="655" y="1431"/>
                    </a:lnTo>
                    <a:lnTo>
                      <a:pt x="660" y="1417"/>
                    </a:lnTo>
                    <a:lnTo>
                      <a:pt x="667" y="1390"/>
                    </a:lnTo>
                    <a:lnTo>
                      <a:pt x="669" y="1381"/>
                    </a:lnTo>
                    <a:lnTo>
                      <a:pt x="667" y="1368"/>
                    </a:lnTo>
                    <a:lnTo>
                      <a:pt x="661" y="1363"/>
                    </a:lnTo>
                    <a:lnTo>
                      <a:pt x="660" y="1358"/>
                    </a:lnTo>
                    <a:lnTo>
                      <a:pt x="658" y="1356"/>
                    </a:lnTo>
                    <a:lnTo>
                      <a:pt x="660" y="1352"/>
                    </a:lnTo>
                    <a:lnTo>
                      <a:pt x="664" y="1356"/>
                    </a:lnTo>
                    <a:lnTo>
                      <a:pt x="656" y="1324"/>
                    </a:lnTo>
                    <a:lnTo>
                      <a:pt x="659" y="1314"/>
                    </a:lnTo>
                    <a:lnTo>
                      <a:pt x="659" y="1304"/>
                    </a:lnTo>
                    <a:lnTo>
                      <a:pt x="659" y="1302"/>
                    </a:lnTo>
                    <a:lnTo>
                      <a:pt x="655" y="1297"/>
                    </a:lnTo>
                    <a:lnTo>
                      <a:pt x="654" y="1284"/>
                    </a:lnTo>
                    <a:lnTo>
                      <a:pt x="654" y="1262"/>
                    </a:lnTo>
                    <a:lnTo>
                      <a:pt x="661" y="1251"/>
                    </a:lnTo>
                    <a:lnTo>
                      <a:pt x="670" y="1238"/>
                    </a:lnTo>
                    <a:lnTo>
                      <a:pt x="680" y="1233"/>
                    </a:lnTo>
                    <a:lnTo>
                      <a:pt x="688" y="1232"/>
                    </a:lnTo>
                    <a:lnTo>
                      <a:pt x="698" y="1238"/>
                    </a:lnTo>
                    <a:lnTo>
                      <a:pt x="706" y="1234"/>
                    </a:lnTo>
                    <a:lnTo>
                      <a:pt x="713" y="1222"/>
                    </a:lnTo>
                    <a:lnTo>
                      <a:pt x="718" y="1208"/>
                    </a:lnTo>
                    <a:lnTo>
                      <a:pt x="720" y="1208"/>
                    </a:lnTo>
                    <a:lnTo>
                      <a:pt x="733" y="1205"/>
                    </a:lnTo>
                    <a:lnTo>
                      <a:pt x="746" y="1202"/>
                    </a:lnTo>
                    <a:lnTo>
                      <a:pt x="769" y="1193"/>
                    </a:lnTo>
                    <a:lnTo>
                      <a:pt x="776" y="1185"/>
                    </a:lnTo>
                    <a:lnTo>
                      <a:pt x="776" y="1174"/>
                    </a:lnTo>
                    <a:lnTo>
                      <a:pt x="782" y="1164"/>
                    </a:lnTo>
                    <a:lnTo>
                      <a:pt x="795" y="1155"/>
                    </a:lnTo>
                    <a:lnTo>
                      <a:pt x="820" y="1136"/>
                    </a:lnTo>
                    <a:lnTo>
                      <a:pt x="837" y="1123"/>
                    </a:lnTo>
                    <a:lnTo>
                      <a:pt x="849" y="1109"/>
                    </a:lnTo>
                    <a:lnTo>
                      <a:pt x="864" y="1098"/>
                    </a:lnTo>
                    <a:lnTo>
                      <a:pt x="875" y="1092"/>
                    </a:lnTo>
                    <a:lnTo>
                      <a:pt x="878" y="1088"/>
                    </a:lnTo>
                    <a:lnTo>
                      <a:pt x="880" y="1087"/>
                    </a:lnTo>
                    <a:lnTo>
                      <a:pt x="890" y="1077"/>
                    </a:lnTo>
                    <a:lnTo>
                      <a:pt x="925" y="1034"/>
                    </a:lnTo>
                    <a:lnTo>
                      <a:pt x="938" y="1024"/>
                    </a:lnTo>
                    <a:lnTo>
                      <a:pt x="968" y="1007"/>
                    </a:lnTo>
                    <a:lnTo>
                      <a:pt x="986" y="1001"/>
                    </a:lnTo>
                    <a:lnTo>
                      <a:pt x="995" y="996"/>
                    </a:lnTo>
                    <a:lnTo>
                      <a:pt x="998" y="996"/>
                    </a:lnTo>
                    <a:lnTo>
                      <a:pt x="1015" y="981"/>
                    </a:lnTo>
                    <a:lnTo>
                      <a:pt x="1024" y="970"/>
                    </a:lnTo>
                    <a:lnTo>
                      <a:pt x="1026" y="964"/>
                    </a:lnTo>
                    <a:lnTo>
                      <a:pt x="1036" y="953"/>
                    </a:lnTo>
                    <a:lnTo>
                      <a:pt x="1030" y="929"/>
                    </a:lnTo>
                    <a:lnTo>
                      <a:pt x="1036" y="913"/>
                    </a:lnTo>
                    <a:lnTo>
                      <a:pt x="1068" y="897"/>
                    </a:lnTo>
                    <a:lnTo>
                      <a:pt x="1078" y="894"/>
                    </a:lnTo>
                    <a:lnTo>
                      <a:pt x="1084" y="889"/>
                    </a:lnTo>
                    <a:lnTo>
                      <a:pt x="1089" y="880"/>
                    </a:lnTo>
                    <a:lnTo>
                      <a:pt x="1091" y="874"/>
                    </a:lnTo>
                    <a:lnTo>
                      <a:pt x="1096" y="868"/>
                    </a:lnTo>
                    <a:lnTo>
                      <a:pt x="1100" y="868"/>
                    </a:lnTo>
                    <a:lnTo>
                      <a:pt x="1097" y="880"/>
                    </a:lnTo>
                    <a:lnTo>
                      <a:pt x="1097" y="893"/>
                    </a:lnTo>
                    <a:lnTo>
                      <a:pt x="1099" y="894"/>
                    </a:lnTo>
                    <a:lnTo>
                      <a:pt x="1101" y="894"/>
                    </a:lnTo>
                    <a:lnTo>
                      <a:pt x="1104" y="895"/>
                    </a:lnTo>
                    <a:lnTo>
                      <a:pt x="1107" y="902"/>
                    </a:lnTo>
                    <a:lnTo>
                      <a:pt x="1116" y="901"/>
                    </a:lnTo>
                    <a:lnTo>
                      <a:pt x="1121" y="897"/>
                    </a:lnTo>
                    <a:lnTo>
                      <a:pt x="1124" y="899"/>
                    </a:lnTo>
                    <a:lnTo>
                      <a:pt x="1126" y="890"/>
                    </a:lnTo>
                    <a:lnTo>
                      <a:pt x="1128" y="886"/>
                    </a:lnTo>
                    <a:lnTo>
                      <a:pt x="1131" y="896"/>
                    </a:lnTo>
                    <a:lnTo>
                      <a:pt x="1134" y="900"/>
                    </a:lnTo>
                    <a:lnTo>
                      <a:pt x="1142" y="897"/>
                    </a:lnTo>
                    <a:lnTo>
                      <a:pt x="1135" y="884"/>
                    </a:lnTo>
                    <a:lnTo>
                      <a:pt x="1137" y="878"/>
                    </a:lnTo>
                    <a:lnTo>
                      <a:pt x="1135" y="874"/>
                    </a:lnTo>
                    <a:lnTo>
                      <a:pt x="1133" y="863"/>
                    </a:lnTo>
                    <a:lnTo>
                      <a:pt x="1134" y="854"/>
                    </a:lnTo>
                    <a:lnTo>
                      <a:pt x="1132" y="846"/>
                    </a:lnTo>
                    <a:lnTo>
                      <a:pt x="1127" y="841"/>
                    </a:lnTo>
                    <a:lnTo>
                      <a:pt x="1124" y="832"/>
                    </a:lnTo>
                    <a:lnTo>
                      <a:pt x="1124" y="823"/>
                    </a:lnTo>
                    <a:lnTo>
                      <a:pt x="1126" y="820"/>
                    </a:lnTo>
                    <a:lnTo>
                      <a:pt x="1127" y="804"/>
                    </a:lnTo>
                    <a:lnTo>
                      <a:pt x="1126" y="800"/>
                    </a:lnTo>
                    <a:lnTo>
                      <a:pt x="1122" y="799"/>
                    </a:lnTo>
                    <a:lnTo>
                      <a:pt x="1122" y="784"/>
                    </a:lnTo>
                    <a:lnTo>
                      <a:pt x="1116" y="778"/>
                    </a:lnTo>
                    <a:lnTo>
                      <a:pt x="1116" y="770"/>
                    </a:lnTo>
                    <a:lnTo>
                      <a:pt x="1118" y="759"/>
                    </a:lnTo>
                    <a:lnTo>
                      <a:pt x="1120" y="738"/>
                    </a:lnTo>
                    <a:lnTo>
                      <a:pt x="1111" y="728"/>
                    </a:lnTo>
                    <a:lnTo>
                      <a:pt x="1105" y="723"/>
                    </a:lnTo>
                    <a:lnTo>
                      <a:pt x="1094" y="718"/>
                    </a:lnTo>
                    <a:lnTo>
                      <a:pt x="1085" y="714"/>
                    </a:lnTo>
                    <a:lnTo>
                      <a:pt x="1084" y="708"/>
                    </a:lnTo>
                    <a:lnTo>
                      <a:pt x="1085" y="703"/>
                    </a:lnTo>
                    <a:lnTo>
                      <a:pt x="1090" y="695"/>
                    </a:lnTo>
                    <a:lnTo>
                      <a:pt x="1097" y="694"/>
                    </a:lnTo>
                    <a:lnTo>
                      <a:pt x="1104" y="690"/>
                    </a:lnTo>
                    <a:lnTo>
                      <a:pt x="1106" y="683"/>
                    </a:lnTo>
                    <a:lnTo>
                      <a:pt x="1126" y="681"/>
                    </a:lnTo>
                    <a:lnTo>
                      <a:pt x="1126" y="673"/>
                    </a:lnTo>
                    <a:lnTo>
                      <a:pt x="1122" y="669"/>
                    </a:lnTo>
                    <a:lnTo>
                      <a:pt x="1123" y="665"/>
                    </a:lnTo>
                    <a:lnTo>
                      <a:pt x="1108" y="667"/>
                    </a:lnTo>
                    <a:lnTo>
                      <a:pt x="1101" y="662"/>
                    </a:lnTo>
                    <a:lnTo>
                      <a:pt x="1099" y="648"/>
                    </a:lnTo>
                    <a:lnTo>
                      <a:pt x="1095" y="644"/>
                    </a:lnTo>
                    <a:lnTo>
                      <a:pt x="1110" y="620"/>
                    </a:lnTo>
                    <a:lnTo>
                      <a:pt x="1112" y="608"/>
                    </a:lnTo>
                    <a:lnTo>
                      <a:pt x="1117" y="605"/>
                    </a:lnTo>
                    <a:lnTo>
                      <a:pt x="1126" y="622"/>
                    </a:lnTo>
                    <a:lnTo>
                      <a:pt x="1132" y="630"/>
                    </a:lnTo>
                    <a:lnTo>
                      <a:pt x="1133" y="622"/>
                    </a:lnTo>
                    <a:lnTo>
                      <a:pt x="1137" y="610"/>
                    </a:lnTo>
                    <a:lnTo>
                      <a:pt x="1143" y="613"/>
                    </a:lnTo>
                    <a:lnTo>
                      <a:pt x="1145" y="627"/>
                    </a:lnTo>
                    <a:lnTo>
                      <a:pt x="1153" y="636"/>
                    </a:lnTo>
                    <a:lnTo>
                      <a:pt x="1159" y="632"/>
                    </a:lnTo>
                    <a:lnTo>
                      <a:pt x="1166" y="638"/>
                    </a:lnTo>
                    <a:lnTo>
                      <a:pt x="1175" y="624"/>
                    </a:lnTo>
                    <a:lnTo>
                      <a:pt x="1177" y="628"/>
                    </a:lnTo>
                    <a:lnTo>
                      <a:pt x="1180" y="648"/>
                    </a:lnTo>
                    <a:lnTo>
                      <a:pt x="1185" y="667"/>
                    </a:lnTo>
                    <a:lnTo>
                      <a:pt x="1192" y="675"/>
                    </a:lnTo>
                    <a:lnTo>
                      <a:pt x="1203" y="680"/>
                    </a:lnTo>
                    <a:lnTo>
                      <a:pt x="1246" y="684"/>
                    </a:lnTo>
                    <a:lnTo>
                      <a:pt x="1250" y="681"/>
                    </a:lnTo>
                    <a:lnTo>
                      <a:pt x="1264" y="679"/>
                    </a:lnTo>
                    <a:lnTo>
                      <a:pt x="1288" y="681"/>
                    </a:lnTo>
                    <a:lnTo>
                      <a:pt x="1311" y="685"/>
                    </a:lnTo>
                    <a:lnTo>
                      <a:pt x="1326" y="691"/>
                    </a:lnTo>
                    <a:lnTo>
                      <a:pt x="1325" y="696"/>
                    </a:lnTo>
                    <a:lnTo>
                      <a:pt x="1315" y="701"/>
                    </a:lnTo>
                    <a:lnTo>
                      <a:pt x="1310" y="714"/>
                    </a:lnTo>
                    <a:lnTo>
                      <a:pt x="1298" y="729"/>
                    </a:lnTo>
                    <a:lnTo>
                      <a:pt x="1288" y="739"/>
                    </a:lnTo>
                    <a:lnTo>
                      <a:pt x="1276" y="744"/>
                    </a:lnTo>
                    <a:lnTo>
                      <a:pt x="1262" y="754"/>
                    </a:lnTo>
                    <a:lnTo>
                      <a:pt x="1260" y="762"/>
                    </a:lnTo>
                    <a:lnTo>
                      <a:pt x="1261" y="778"/>
                    </a:lnTo>
                    <a:lnTo>
                      <a:pt x="1268" y="798"/>
                    </a:lnTo>
                    <a:lnTo>
                      <a:pt x="1278" y="799"/>
                    </a:lnTo>
                    <a:lnTo>
                      <a:pt x="1284" y="809"/>
                    </a:lnTo>
                    <a:lnTo>
                      <a:pt x="1292" y="814"/>
                    </a:lnTo>
                    <a:lnTo>
                      <a:pt x="1295" y="807"/>
                    </a:lnTo>
                    <a:lnTo>
                      <a:pt x="1301" y="786"/>
                    </a:lnTo>
                    <a:lnTo>
                      <a:pt x="1312" y="771"/>
                    </a:lnTo>
                    <a:lnTo>
                      <a:pt x="1319" y="772"/>
                    </a:lnTo>
                    <a:lnTo>
                      <a:pt x="1326" y="786"/>
                    </a:lnTo>
                    <a:lnTo>
                      <a:pt x="1331" y="803"/>
                    </a:lnTo>
                    <a:lnTo>
                      <a:pt x="1333" y="811"/>
                    </a:lnTo>
                    <a:lnTo>
                      <a:pt x="1336" y="819"/>
                    </a:lnTo>
                    <a:lnTo>
                      <a:pt x="1342" y="847"/>
                    </a:lnTo>
                    <a:lnTo>
                      <a:pt x="1346" y="881"/>
                    </a:lnTo>
                    <a:lnTo>
                      <a:pt x="1349" y="878"/>
                    </a:lnTo>
                    <a:lnTo>
                      <a:pt x="1354" y="873"/>
                    </a:lnTo>
                    <a:lnTo>
                      <a:pt x="1363" y="875"/>
                    </a:lnTo>
                    <a:lnTo>
                      <a:pt x="1368" y="874"/>
                    </a:lnTo>
                    <a:lnTo>
                      <a:pt x="1373" y="868"/>
                    </a:lnTo>
                    <a:lnTo>
                      <a:pt x="1374" y="862"/>
                    </a:lnTo>
                    <a:lnTo>
                      <a:pt x="1371" y="862"/>
                    </a:lnTo>
                    <a:lnTo>
                      <a:pt x="1368" y="852"/>
                    </a:lnTo>
                    <a:lnTo>
                      <a:pt x="1368" y="836"/>
                    </a:lnTo>
                    <a:lnTo>
                      <a:pt x="1369" y="823"/>
                    </a:lnTo>
                    <a:lnTo>
                      <a:pt x="1380" y="824"/>
                    </a:lnTo>
                    <a:lnTo>
                      <a:pt x="1384" y="819"/>
                    </a:lnTo>
                    <a:lnTo>
                      <a:pt x="1387" y="799"/>
                    </a:lnTo>
                    <a:lnTo>
                      <a:pt x="1386" y="773"/>
                    </a:lnTo>
                    <a:lnTo>
                      <a:pt x="1393" y="766"/>
                    </a:lnTo>
                    <a:lnTo>
                      <a:pt x="1407" y="762"/>
                    </a:lnTo>
                    <a:lnTo>
                      <a:pt x="1420" y="765"/>
                    </a:lnTo>
                    <a:lnTo>
                      <a:pt x="1428" y="765"/>
                    </a:lnTo>
                    <a:lnTo>
                      <a:pt x="1433" y="760"/>
                    </a:lnTo>
                    <a:lnTo>
                      <a:pt x="1439" y="740"/>
                    </a:lnTo>
                    <a:lnTo>
                      <a:pt x="1457" y="705"/>
                    </a:lnTo>
                    <a:lnTo>
                      <a:pt x="1461" y="694"/>
                    </a:lnTo>
                    <a:lnTo>
                      <a:pt x="1459" y="684"/>
                    </a:lnTo>
                    <a:lnTo>
                      <a:pt x="1465" y="675"/>
                    </a:lnTo>
                    <a:lnTo>
                      <a:pt x="1481" y="664"/>
                    </a:lnTo>
                    <a:lnTo>
                      <a:pt x="1487" y="652"/>
                    </a:lnTo>
                    <a:lnTo>
                      <a:pt x="1486" y="624"/>
                    </a:lnTo>
                    <a:lnTo>
                      <a:pt x="1493" y="608"/>
                    </a:lnTo>
                    <a:lnTo>
                      <a:pt x="1506" y="597"/>
                    </a:lnTo>
                    <a:lnTo>
                      <a:pt x="1521" y="589"/>
                    </a:lnTo>
                    <a:lnTo>
                      <a:pt x="1531" y="581"/>
                    </a:lnTo>
                    <a:lnTo>
                      <a:pt x="1538" y="567"/>
                    </a:lnTo>
                    <a:lnTo>
                      <a:pt x="1558" y="563"/>
                    </a:lnTo>
                    <a:lnTo>
                      <a:pt x="1569" y="560"/>
                    </a:lnTo>
                    <a:lnTo>
                      <a:pt x="1585" y="565"/>
                    </a:lnTo>
                    <a:lnTo>
                      <a:pt x="1590" y="560"/>
                    </a:lnTo>
                    <a:lnTo>
                      <a:pt x="1586" y="544"/>
                    </a:lnTo>
                    <a:lnTo>
                      <a:pt x="1591" y="530"/>
                    </a:lnTo>
                    <a:lnTo>
                      <a:pt x="1602" y="525"/>
                    </a:lnTo>
                    <a:lnTo>
                      <a:pt x="1608" y="518"/>
                    </a:lnTo>
                    <a:lnTo>
                      <a:pt x="1608" y="506"/>
                    </a:lnTo>
                    <a:lnTo>
                      <a:pt x="1604" y="493"/>
                    </a:lnTo>
                    <a:lnTo>
                      <a:pt x="1594" y="490"/>
                    </a:lnTo>
                    <a:lnTo>
                      <a:pt x="1580" y="490"/>
                    </a:lnTo>
                    <a:lnTo>
                      <a:pt x="1570" y="486"/>
                    </a:lnTo>
                    <a:lnTo>
                      <a:pt x="1552" y="486"/>
                    </a:lnTo>
                    <a:lnTo>
                      <a:pt x="1554" y="470"/>
                    </a:lnTo>
                    <a:lnTo>
                      <a:pt x="1556" y="455"/>
                    </a:lnTo>
                    <a:lnTo>
                      <a:pt x="1543" y="453"/>
                    </a:lnTo>
                    <a:lnTo>
                      <a:pt x="1541" y="442"/>
                    </a:lnTo>
                    <a:lnTo>
                      <a:pt x="1543" y="434"/>
                    </a:lnTo>
                    <a:lnTo>
                      <a:pt x="1532" y="422"/>
                    </a:lnTo>
                    <a:lnTo>
                      <a:pt x="1520" y="426"/>
                    </a:lnTo>
                    <a:lnTo>
                      <a:pt x="1505" y="436"/>
                    </a:lnTo>
                    <a:lnTo>
                      <a:pt x="1492" y="439"/>
                    </a:lnTo>
                    <a:lnTo>
                      <a:pt x="1472" y="441"/>
                    </a:lnTo>
                    <a:lnTo>
                      <a:pt x="1463" y="439"/>
                    </a:lnTo>
                    <a:lnTo>
                      <a:pt x="1457" y="434"/>
                    </a:lnTo>
                    <a:lnTo>
                      <a:pt x="1452" y="433"/>
                    </a:lnTo>
                    <a:lnTo>
                      <a:pt x="1443" y="438"/>
                    </a:lnTo>
                    <a:lnTo>
                      <a:pt x="1434" y="444"/>
                    </a:lnTo>
                    <a:lnTo>
                      <a:pt x="1428" y="455"/>
                    </a:lnTo>
                    <a:lnTo>
                      <a:pt x="1408" y="472"/>
                    </a:lnTo>
                    <a:lnTo>
                      <a:pt x="1393" y="476"/>
                    </a:lnTo>
                    <a:lnTo>
                      <a:pt x="1379" y="492"/>
                    </a:lnTo>
                    <a:lnTo>
                      <a:pt x="1369" y="499"/>
                    </a:lnTo>
                    <a:lnTo>
                      <a:pt x="1354" y="507"/>
                    </a:lnTo>
                    <a:lnTo>
                      <a:pt x="1342" y="515"/>
                    </a:lnTo>
                    <a:lnTo>
                      <a:pt x="1314" y="522"/>
                    </a:lnTo>
                    <a:lnTo>
                      <a:pt x="1296" y="527"/>
                    </a:lnTo>
                    <a:lnTo>
                      <a:pt x="1298" y="529"/>
                    </a:lnTo>
                    <a:lnTo>
                      <a:pt x="1298" y="531"/>
                    </a:lnTo>
                    <a:lnTo>
                      <a:pt x="1295" y="538"/>
                    </a:lnTo>
                    <a:lnTo>
                      <a:pt x="1295" y="540"/>
                    </a:lnTo>
                    <a:lnTo>
                      <a:pt x="1296" y="542"/>
                    </a:lnTo>
                    <a:lnTo>
                      <a:pt x="1315" y="550"/>
                    </a:lnTo>
                    <a:lnTo>
                      <a:pt x="1321" y="556"/>
                    </a:lnTo>
                    <a:lnTo>
                      <a:pt x="1319" y="570"/>
                    </a:lnTo>
                    <a:lnTo>
                      <a:pt x="1320" y="574"/>
                    </a:lnTo>
                    <a:lnTo>
                      <a:pt x="1320" y="577"/>
                    </a:lnTo>
                    <a:lnTo>
                      <a:pt x="1312" y="581"/>
                    </a:lnTo>
                    <a:lnTo>
                      <a:pt x="1292" y="584"/>
                    </a:lnTo>
                    <a:lnTo>
                      <a:pt x="1278" y="585"/>
                    </a:lnTo>
                    <a:lnTo>
                      <a:pt x="1257" y="589"/>
                    </a:lnTo>
                    <a:lnTo>
                      <a:pt x="1249" y="590"/>
                    </a:lnTo>
                    <a:lnTo>
                      <a:pt x="1240" y="590"/>
                    </a:lnTo>
                    <a:lnTo>
                      <a:pt x="1230" y="587"/>
                    </a:lnTo>
                    <a:lnTo>
                      <a:pt x="1225" y="587"/>
                    </a:lnTo>
                    <a:lnTo>
                      <a:pt x="1202" y="595"/>
                    </a:lnTo>
                    <a:lnTo>
                      <a:pt x="1183" y="595"/>
                    </a:lnTo>
                    <a:lnTo>
                      <a:pt x="1160" y="592"/>
                    </a:lnTo>
                    <a:lnTo>
                      <a:pt x="1149" y="588"/>
                    </a:lnTo>
                    <a:lnTo>
                      <a:pt x="1145" y="585"/>
                    </a:lnTo>
                    <a:lnTo>
                      <a:pt x="1142" y="585"/>
                    </a:lnTo>
                    <a:lnTo>
                      <a:pt x="1140" y="584"/>
                    </a:lnTo>
                    <a:lnTo>
                      <a:pt x="1140" y="577"/>
                    </a:lnTo>
                    <a:lnTo>
                      <a:pt x="1139" y="574"/>
                    </a:lnTo>
                    <a:lnTo>
                      <a:pt x="1134" y="573"/>
                    </a:lnTo>
                    <a:lnTo>
                      <a:pt x="1134" y="568"/>
                    </a:lnTo>
                    <a:lnTo>
                      <a:pt x="1143" y="560"/>
                    </a:lnTo>
                    <a:lnTo>
                      <a:pt x="1144" y="556"/>
                    </a:lnTo>
                    <a:lnTo>
                      <a:pt x="1139" y="556"/>
                    </a:lnTo>
                    <a:lnTo>
                      <a:pt x="1135" y="554"/>
                    </a:lnTo>
                    <a:lnTo>
                      <a:pt x="1133" y="551"/>
                    </a:lnTo>
                    <a:lnTo>
                      <a:pt x="1133" y="544"/>
                    </a:lnTo>
                    <a:lnTo>
                      <a:pt x="1137" y="531"/>
                    </a:lnTo>
                    <a:lnTo>
                      <a:pt x="1137" y="525"/>
                    </a:lnTo>
                    <a:lnTo>
                      <a:pt x="1134" y="515"/>
                    </a:lnTo>
                    <a:lnTo>
                      <a:pt x="1133" y="512"/>
                    </a:lnTo>
                    <a:lnTo>
                      <a:pt x="1128" y="509"/>
                    </a:lnTo>
                    <a:lnTo>
                      <a:pt x="1123" y="511"/>
                    </a:lnTo>
                    <a:lnTo>
                      <a:pt x="1115" y="517"/>
                    </a:lnTo>
                    <a:lnTo>
                      <a:pt x="1107" y="517"/>
                    </a:lnTo>
                    <a:lnTo>
                      <a:pt x="1099" y="520"/>
                    </a:lnTo>
                    <a:lnTo>
                      <a:pt x="1097" y="522"/>
                    </a:lnTo>
                    <a:lnTo>
                      <a:pt x="1094" y="529"/>
                    </a:lnTo>
                    <a:lnTo>
                      <a:pt x="1090" y="541"/>
                    </a:lnTo>
                    <a:lnTo>
                      <a:pt x="1091" y="556"/>
                    </a:lnTo>
                    <a:lnTo>
                      <a:pt x="1090" y="570"/>
                    </a:lnTo>
                    <a:lnTo>
                      <a:pt x="1086" y="574"/>
                    </a:lnTo>
                    <a:lnTo>
                      <a:pt x="1086" y="578"/>
                    </a:lnTo>
                    <a:lnTo>
                      <a:pt x="1094" y="582"/>
                    </a:lnTo>
                    <a:lnTo>
                      <a:pt x="1099" y="592"/>
                    </a:lnTo>
                    <a:lnTo>
                      <a:pt x="1099" y="599"/>
                    </a:lnTo>
                    <a:lnTo>
                      <a:pt x="1092" y="610"/>
                    </a:lnTo>
                    <a:lnTo>
                      <a:pt x="1092" y="613"/>
                    </a:lnTo>
                    <a:lnTo>
                      <a:pt x="1080" y="611"/>
                    </a:lnTo>
                    <a:lnTo>
                      <a:pt x="1069" y="614"/>
                    </a:lnTo>
                    <a:lnTo>
                      <a:pt x="1054" y="613"/>
                    </a:lnTo>
                    <a:lnTo>
                      <a:pt x="1046" y="615"/>
                    </a:lnTo>
                    <a:lnTo>
                      <a:pt x="1036" y="610"/>
                    </a:lnTo>
                    <a:lnTo>
                      <a:pt x="1026" y="609"/>
                    </a:lnTo>
                    <a:lnTo>
                      <a:pt x="1020" y="609"/>
                    </a:lnTo>
                    <a:lnTo>
                      <a:pt x="973" y="601"/>
                    </a:lnTo>
                    <a:lnTo>
                      <a:pt x="967" y="595"/>
                    </a:lnTo>
                    <a:lnTo>
                      <a:pt x="959" y="592"/>
                    </a:lnTo>
                    <a:lnTo>
                      <a:pt x="945" y="593"/>
                    </a:lnTo>
                    <a:lnTo>
                      <a:pt x="925" y="589"/>
                    </a:lnTo>
                    <a:lnTo>
                      <a:pt x="913" y="581"/>
                    </a:lnTo>
                    <a:lnTo>
                      <a:pt x="907" y="576"/>
                    </a:lnTo>
                    <a:lnTo>
                      <a:pt x="897" y="562"/>
                    </a:lnTo>
                    <a:lnTo>
                      <a:pt x="891" y="558"/>
                    </a:lnTo>
                    <a:lnTo>
                      <a:pt x="873" y="555"/>
                    </a:lnTo>
                    <a:lnTo>
                      <a:pt x="869" y="555"/>
                    </a:lnTo>
                    <a:lnTo>
                      <a:pt x="866" y="558"/>
                    </a:lnTo>
                    <a:lnTo>
                      <a:pt x="860" y="557"/>
                    </a:lnTo>
                    <a:lnTo>
                      <a:pt x="852" y="554"/>
                    </a:lnTo>
                    <a:lnTo>
                      <a:pt x="841" y="554"/>
                    </a:lnTo>
                    <a:lnTo>
                      <a:pt x="832" y="558"/>
                    </a:lnTo>
                    <a:lnTo>
                      <a:pt x="827" y="558"/>
                    </a:lnTo>
                    <a:lnTo>
                      <a:pt x="806" y="554"/>
                    </a:lnTo>
                    <a:lnTo>
                      <a:pt x="796" y="541"/>
                    </a:lnTo>
                    <a:lnTo>
                      <a:pt x="794" y="539"/>
                    </a:lnTo>
                    <a:lnTo>
                      <a:pt x="785" y="538"/>
                    </a:lnTo>
                    <a:lnTo>
                      <a:pt x="782" y="538"/>
                    </a:lnTo>
                    <a:lnTo>
                      <a:pt x="772" y="530"/>
                    </a:lnTo>
                    <a:lnTo>
                      <a:pt x="761" y="525"/>
                    </a:lnTo>
                    <a:lnTo>
                      <a:pt x="751" y="524"/>
                    </a:lnTo>
                    <a:lnTo>
                      <a:pt x="741" y="519"/>
                    </a:lnTo>
                    <a:lnTo>
                      <a:pt x="736" y="515"/>
                    </a:lnTo>
                    <a:lnTo>
                      <a:pt x="724" y="501"/>
                    </a:lnTo>
                    <a:lnTo>
                      <a:pt x="715" y="495"/>
                    </a:lnTo>
                    <a:lnTo>
                      <a:pt x="707" y="491"/>
                    </a:lnTo>
                    <a:lnTo>
                      <a:pt x="703" y="487"/>
                    </a:lnTo>
                    <a:lnTo>
                      <a:pt x="690" y="480"/>
                    </a:lnTo>
                    <a:lnTo>
                      <a:pt x="687" y="480"/>
                    </a:lnTo>
                    <a:lnTo>
                      <a:pt x="686" y="484"/>
                    </a:lnTo>
                    <a:lnTo>
                      <a:pt x="681" y="484"/>
                    </a:lnTo>
                    <a:lnTo>
                      <a:pt x="676" y="480"/>
                    </a:lnTo>
                    <a:lnTo>
                      <a:pt x="675" y="474"/>
                    </a:lnTo>
                    <a:lnTo>
                      <a:pt x="670" y="469"/>
                    </a:lnTo>
                    <a:lnTo>
                      <a:pt x="659" y="468"/>
                    </a:lnTo>
                    <a:lnTo>
                      <a:pt x="658" y="465"/>
                    </a:lnTo>
                    <a:lnTo>
                      <a:pt x="659" y="458"/>
                    </a:lnTo>
                    <a:lnTo>
                      <a:pt x="664" y="450"/>
                    </a:lnTo>
                    <a:lnTo>
                      <a:pt x="667" y="449"/>
                    </a:lnTo>
                    <a:lnTo>
                      <a:pt x="669" y="442"/>
                    </a:lnTo>
                    <a:lnTo>
                      <a:pt x="672" y="438"/>
                    </a:lnTo>
                    <a:lnTo>
                      <a:pt x="669" y="429"/>
                    </a:lnTo>
                    <a:lnTo>
                      <a:pt x="672" y="422"/>
                    </a:lnTo>
                    <a:lnTo>
                      <a:pt x="677" y="416"/>
                    </a:lnTo>
                    <a:lnTo>
                      <a:pt x="675" y="409"/>
                    </a:lnTo>
                    <a:lnTo>
                      <a:pt x="675" y="405"/>
                    </a:lnTo>
                    <a:lnTo>
                      <a:pt x="679" y="400"/>
                    </a:lnTo>
                    <a:lnTo>
                      <a:pt x="685" y="400"/>
                    </a:lnTo>
                    <a:lnTo>
                      <a:pt x="688" y="393"/>
                    </a:lnTo>
                    <a:lnTo>
                      <a:pt x="696" y="388"/>
                    </a:lnTo>
                    <a:lnTo>
                      <a:pt x="699" y="382"/>
                    </a:lnTo>
                    <a:lnTo>
                      <a:pt x="701" y="377"/>
                    </a:lnTo>
                    <a:lnTo>
                      <a:pt x="703" y="375"/>
                    </a:lnTo>
                    <a:lnTo>
                      <a:pt x="706" y="377"/>
                    </a:lnTo>
                    <a:lnTo>
                      <a:pt x="712" y="375"/>
                    </a:lnTo>
                    <a:lnTo>
                      <a:pt x="709" y="374"/>
                    </a:lnTo>
                    <a:lnTo>
                      <a:pt x="692" y="369"/>
                    </a:lnTo>
                    <a:lnTo>
                      <a:pt x="690" y="367"/>
                    </a:lnTo>
                    <a:lnTo>
                      <a:pt x="686" y="361"/>
                    </a:lnTo>
                    <a:lnTo>
                      <a:pt x="681" y="359"/>
                    </a:lnTo>
                    <a:lnTo>
                      <a:pt x="669" y="350"/>
                    </a:lnTo>
                    <a:lnTo>
                      <a:pt x="663" y="350"/>
                    </a:lnTo>
                    <a:lnTo>
                      <a:pt x="656" y="346"/>
                    </a:lnTo>
                    <a:lnTo>
                      <a:pt x="654" y="342"/>
                    </a:lnTo>
                    <a:lnTo>
                      <a:pt x="654" y="339"/>
                    </a:lnTo>
                    <a:lnTo>
                      <a:pt x="651" y="335"/>
                    </a:lnTo>
                    <a:lnTo>
                      <a:pt x="647" y="335"/>
                    </a:lnTo>
                    <a:lnTo>
                      <a:pt x="645" y="332"/>
                    </a:lnTo>
                    <a:lnTo>
                      <a:pt x="640" y="330"/>
                    </a:lnTo>
                    <a:lnTo>
                      <a:pt x="632" y="334"/>
                    </a:lnTo>
                    <a:lnTo>
                      <a:pt x="631" y="332"/>
                    </a:lnTo>
                    <a:lnTo>
                      <a:pt x="629" y="326"/>
                    </a:lnTo>
                    <a:lnTo>
                      <a:pt x="628" y="325"/>
                    </a:lnTo>
                    <a:lnTo>
                      <a:pt x="624" y="324"/>
                    </a:lnTo>
                    <a:lnTo>
                      <a:pt x="621" y="325"/>
                    </a:lnTo>
                    <a:lnTo>
                      <a:pt x="612" y="324"/>
                    </a:lnTo>
                    <a:lnTo>
                      <a:pt x="608" y="325"/>
                    </a:lnTo>
                    <a:lnTo>
                      <a:pt x="602" y="329"/>
                    </a:lnTo>
                    <a:lnTo>
                      <a:pt x="599" y="329"/>
                    </a:lnTo>
                    <a:lnTo>
                      <a:pt x="596" y="326"/>
                    </a:lnTo>
                    <a:lnTo>
                      <a:pt x="597" y="316"/>
                    </a:lnTo>
                    <a:lnTo>
                      <a:pt x="593" y="313"/>
                    </a:lnTo>
                    <a:lnTo>
                      <a:pt x="589" y="307"/>
                    </a:lnTo>
                    <a:lnTo>
                      <a:pt x="589" y="304"/>
                    </a:lnTo>
                    <a:lnTo>
                      <a:pt x="584" y="299"/>
                    </a:lnTo>
                    <a:lnTo>
                      <a:pt x="584" y="294"/>
                    </a:lnTo>
                    <a:lnTo>
                      <a:pt x="586" y="287"/>
                    </a:lnTo>
                    <a:lnTo>
                      <a:pt x="583" y="281"/>
                    </a:lnTo>
                    <a:lnTo>
                      <a:pt x="583" y="277"/>
                    </a:lnTo>
                    <a:lnTo>
                      <a:pt x="584" y="270"/>
                    </a:lnTo>
                    <a:lnTo>
                      <a:pt x="586" y="264"/>
                    </a:lnTo>
                    <a:lnTo>
                      <a:pt x="579" y="254"/>
                    </a:lnTo>
                    <a:lnTo>
                      <a:pt x="572" y="246"/>
                    </a:lnTo>
                    <a:lnTo>
                      <a:pt x="572" y="237"/>
                    </a:lnTo>
                    <a:lnTo>
                      <a:pt x="569" y="229"/>
                    </a:lnTo>
                    <a:lnTo>
                      <a:pt x="570" y="226"/>
                    </a:lnTo>
                    <a:lnTo>
                      <a:pt x="581" y="224"/>
                    </a:lnTo>
                    <a:lnTo>
                      <a:pt x="584" y="221"/>
                    </a:lnTo>
                    <a:lnTo>
                      <a:pt x="585" y="222"/>
                    </a:lnTo>
                    <a:lnTo>
                      <a:pt x="586" y="229"/>
                    </a:lnTo>
                    <a:lnTo>
                      <a:pt x="589" y="234"/>
                    </a:lnTo>
                    <a:lnTo>
                      <a:pt x="591" y="237"/>
                    </a:lnTo>
                    <a:lnTo>
                      <a:pt x="599" y="239"/>
                    </a:lnTo>
                    <a:lnTo>
                      <a:pt x="601" y="238"/>
                    </a:lnTo>
                    <a:lnTo>
                      <a:pt x="604" y="237"/>
                    </a:lnTo>
                    <a:lnTo>
                      <a:pt x="607" y="238"/>
                    </a:lnTo>
                    <a:lnTo>
                      <a:pt x="608" y="232"/>
                    </a:lnTo>
                    <a:lnTo>
                      <a:pt x="612" y="229"/>
                    </a:lnTo>
                    <a:lnTo>
                      <a:pt x="616" y="223"/>
                    </a:lnTo>
                    <a:lnTo>
                      <a:pt x="617" y="223"/>
                    </a:lnTo>
                    <a:lnTo>
                      <a:pt x="621" y="228"/>
                    </a:lnTo>
                    <a:lnTo>
                      <a:pt x="623" y="228"/>
                    </a:lnTo>
                    <a:lnTo>
                      <a:pt x="632" y="217"/>
                    </a:lnTo>
                    <a:lnTo>
                      <a:pt x="632" y="215"/>
                    </a:lnTo>
                    <a:lnTo>
                      <a:pt x="628" y="208"/>
                    </a:lnTo>
                    <a:lnTo>
                      <a:pt x="622" y="200"/>
                    </a:lnTo>
                    <a:lnTo>
                      <a:pt x="621" y="195"/>
                    </a:lnTo>
                    <a:lnTo>
                      <a:pt x="622" y="192"/>
                    </a:lnTo>
                    <a:lnTo>
                      <a:pt x="622" y="189"/>
                    </a:lnTo>
                    <a:lnTo>
                      <a:pt x="612" y="184"/>
                    </a:lnTo>
                    <a:lnTo>
                      <a:pt x="607" y="185"/>
                    </a:lnTo>
                    <a:lnTo>
                      <a:pt x="606" y="181"/>
                    </a:lnTo>
                    <a:lnTo>
                      <a:pt x="597" y="174"/>
                    </a:lnTo>
                    <a:lnTo>
                      <a:pt x="597" y="159"/>
                    </a:lnTo>
                    <a:lnTo>
                      <a:pt x="602" y="158"/>
                    </a:lnTo>
                    <a:lnTo>
                      <a:pt x="600" y="152"/>
                    </a:lnTo>
                    <a:lnTo>
                      <a:pt x="601" y="149"/>
                    </a:lnTo>
                    <a:lnTo>
                      <a:pt x="602" y="148"/>
                    </a:lnTo>
                    <a:lnTo>
                      <a:pt x="595" y="141"/>
                    </a:lnTo>
                    <a:lnTo>
                      <a:pt x="596" y="135"/>
                    </a:lnTo>
                    <a:lnTo>
                      <a:pt x="596" y="133"/>
                    </a:lnTo>
                    <a:lnTo>
                      <a:pt x="606" y="133"/>
                    </a:lnTo>
                    <a:lnTo>
                      <a:pt x="610" y="130"/>
                    </a:lnTo>
                    <a:lnTo>
                      <a:pt x="621" y="133"/>
                    </a:lnTo>
                    <a:lnTo>
                      <a:pt x="623" y="131"/>
                    </a:lnTo>
                    <a:lnTo>
                      <a:pt x="628" y="126"/>
                    </a:lnTo>
                    <a:lnTo>
                      <a:pt x="633" y="116"/>
                    </a:lnTo>
                    <a:lnTo>
                      <a:pt x="633" y="105"/>
                    </a:lnTo>
                    <a:lnTo>
                      <a:pt x="643" y="104"/>
                    </a:lnTo>
                    <a:lnTo>
                      <a:pt x="644" y="103"/>
                    </a:lnTo>
                    <a:lnTo>
                      <a:pt x="642" y="100"/>
                    </a:lnTo>
                    <a:lnTo>
                      <a:pt x="643" y="97"/>
                    </a:lnTo>
                    <a:lnTo>
                      <a:pt x="647" y="94"/>
                    </a:lnTo>
                    <a:lnTo>
                      <a:pt x="648" y="92"/>
                    </a:lnTo>
                    <a:lnTo>
                      <a:pt x="651" y="88"/>
                    </a:lnTo>
                    <a:lnTo>
                      <a:pt x="658" y="83"/>
                    </a:lnTo>
                    <a:lnTo>
                      <a:pt x="658" y="77"/>
                    </a:lnTo>
                    <a:lnTo>
                      <a:pt x="664" y="71"/>
                    </a:lnTo>
                    <a:lnTo>
                      <a:pt x="666" y="52"/>
                    </a:lnTo>
                    <a:lnTo>
                      <a:pt x="669" y="50"/>
                    </a:lnTo>
                    <a:lnTo>
                      <a:pt x="669" y="43"/>
                    </a:lnTo>
                    <a:lnTo>
                      <a:pt x="675" y="35"/>
                    </a:lnTo>
                    <a:lnTo>
                      <a:pt x="675" y="32"/>
                    </a:lnTo>
                    <a:lnTo>
                      <a:pt x="671" y="29"/>
                    </a:lnTo>
                    <a:lnTo>
                      <a:pt x="667" y="29"/>
                    </a:lnTo>
                    <a:lnTo>
                      <a:pt x="660" y="38"/>
                    </a:lnTo>
                    <a:lnTo>
                      <a:pt x="658" y="38"/>
                    </a:lnTo>
                    <a:lnTo>
                      <a:pt x="655" y="34"/>
                    </a:lnTo>
                    <a:lnTo>
                      <a:pt x="653" y="23"/>
                    </a:lnTo>
                    <a:lnTo>
                      <a:pt x="648" y="27"/>
                    </a:lnTo>
                    <a:lnTo>
                      <a:pt x="644" y="27"/>
                    </a:lnTo>
                    <a:lnTo>
                      <a:pt x="642" y="22"/>
                    </a:lnTo>
                    <a:lnTo>
                      <a:pt x="639" y="22"/>
                    </a:lnTo>
                    <a:lnTo>
                      <a:pt x="637" y="20"/>
                    </a:lnTo>
                    <a:lnTo>
                      <a:pt x="636" y="11"/>
                    </a:lnTo>
                    <a:lnTo>
                      <a:pt x="632" y="9"/>
                    </a:lnTo>
                    <a:lnTo>
                      <a:pt x="631" y="7"/>
                    </a:lnTo>
                    <a:lnTo>
                      <a:pt x="628" y="6"/>
                    </a:lnTo>
                    <a:lnTo>
                      <a:pt x="624" y="6"/>
                    </a:lnTo>
                    <a:lnTo>
                      <a:pt x="621" y="1"/>
                    </a:lnTo>
                    <a:lnTo>
                      <a:pt x="618" y="0"/>
                    </a:lnTo>
                    <a:lnTo>
                      <a:pt x="615" y="0"/>
                    </a:lnTo>
                    <a:lnTo>
                      <a:pt x="610" y="2"/>
                    </a:lnTo>
                    <a:lnTo>
                      <a:pt x="604" y="2"/>
                    </a:lnTo>
                    <a:lnTo>
                      <a:pt x="599" y="6"/>
                    </a:lnTo>
                    <a:lnTo>
                      <a:pt x="585" y="6"/>
                    </a:lnTo>
                    <a:lnTo>
                      <a:pt x="575" y="13"/>
                    </a:lnTo>
                    <a:lnTo>
                      <a:pt x="564" y="19"/>
                    </a:lnTo>
                    <a:lnTo>
                      <a:pt x="557" y="24"/>
                    </a:lnTo>
                    <a:lnTo>
                      <a:pt x="552" y="29"/>
                    </a:lnTo>
                    <a:lnTo>
                      <a:pt x="547" y="30"/>
                    </a:lnTo>
                    <a:lnTo>
                      <a:pt x="543" y="35"/>
                    </a:lnTo>
                    <a:lnTo>
                      <a:pt x="536" y="32"/>
                    </a:lnTo>
                    <a:lnTo>
                      <a:pt x="531" y="35"/>
                    </a:lnTo>
                    <a:lnTo>
                      <a:pt x="526" y="35"/>
                    </a:lnTo>
                    <a:lnTo>
                      <a:pt x="492" y="60"/>
                    </a:lnTo>
                    <a:lnTo>
                      <a:pt x="488" y="66"/>
                    </a:lnTo>
                    <a:lnTo>
                      <a:pt x="489" y="68"/>
                    </a:lnTo>
                    <a:lnTo>
                      <a:pt x="489" y="71"/>
                    </a:lnTo>
                    <a:lnTo>
                      <a:pt x="486" y="79"/>
                    </a:lnTo>
                    <a:lnTo>
                      <a:pt x="482" y="83"/>
                    </a:lnTo>
                    <a:lnTo>
                      <a:pt x="478" y="82"/>
                    </a:lnTo>
                    <a:lnTo>
                      <a:pt x="475" y="78"/>
                    </a:lnTo>
                    <a:lnTo>
                      <a:pt x="456" y="79"/>
                    </a:lnTo>
                    <a:lnTo>
                      <a:pt x="454" y="81"/>
                    </a:lnTo>
                    <a:lnTo>
                      <a:pt x="449" y="87"/>
                    </a:lnTo>
                    <a:lnTo>
                      <a:pt x="446" y="88"/>
                    </a:lnTo>
                    <a:lnTo>
                      <a:pt x="440" y="88"/>
                    </a:lnTo>
                    <a:lnTo>
                      <a:pt x="433" y="86"/>
                    </a:lnTo>
                    <a:lnTo>
                      <a:pt x="429" y="88"/>
                    </a:lnTo>
                    <a:lnTo>
                      <a:pt x="427" y="92"/>
                    </a:lnTo>
                    <a:lnTo>
                      <a:pt x="423" y="94"/>
                    </a:lnTo>
                    <a:lnTo>
                      <a:pt x="421" y="95"/>
                    </a:lnTo>
                    <a:lnTo>
                      <a:pt x="414" y="94"/>
                    </a:lnTo>
                    <a:lnTo>
                      <a:pt x="411" y="95"/>
                    </a:lnTo>
                    <a:lnTo>
                      <a:pt x="407" y="93"/>
                    </a:lnTo>
                    <a:lnTo>
                      <a:pt x="395" y="93"/>
                    </a:lnTo>
                    <a:lnTo>
                      <a:pt x="390" y="92"/>
                    </a:lnTo>
                    <a:lnTo>
                      <a:pt x="385" y="92"/>
                    </a:lnTo>
                    <a:lnTo>
                      <a:pt x="370" y="83"/>
                    </a:lnTo>
                    <a:lnTo>
                      <a:pt x="360" y="81"/>
                    </a:lnTo>
                    <a:lnTo>
                      <a:pt x="342" y="73"/>
                    </a:lnTo>
                    <a:lnTo>
                      <a:pt x="337" y="76"/>
                    </a:lnTo>
                    <a:lnTo>
                      <a:pt x="333" y="79"/>
                    </a:lnTo>
                    <a:lnTo>
                      <a:pt x="326" y="78"/>
                    </a:lnTo>
                    <a:lnTo>
                      <a:pt x="322" y="79"/>
                    </a:lnTo>
                    <a:lnTo>
                      <a:pt x="321" y="82"/>
                    </a:lnTo>
                    <a:lnTo>
                      <a:pt x="320" y="90"/>
                    </a:lnTo>
                    <a:lnTo>
                      <a:pt x="312" y="104"/>
                    </a:lnTo>
                    <a:lnTo>
                      <a:pt x="312" y="106"/>
                    </a:lnTo>
                    <a:lnTo>
                      <a:pt x="321" y="106"/>
                    </a:lnTo>
                    <a:lnTo>
                      <a:pt x="323" y="111"/>
                    </a:lnTo>
                    <a:lnTo>
                      <a:pt x="323" y="115"/>
                    </a:lnTo>
                    <a:lnTo>
                      <a:pt x="319" y="117"/>
                    </a:lnTo>
                    <a:lnTo>
                      <a:pt x="317" y="119"/>
                    </a:lnTo>
                    <a:lnTo>
                      <a:pt x="317" y="122"/>
                    </a:lnTo>
                    <a:lnTo>
                      <a:pt x="320" y="126"/>
                    </a:lnTo>
                    <a:lnTo>
                      <a:pt x="322" y="127"/>
                    </a:lnTo>
                    <a:lnTo>
                      <a:pt x="333" y="126"/>
                    </a:lnTo>
                    <a:lnTo>
                      <a:pt x="336" y="129"/>
                    </a:lnTo>
                    <a:lnTo>
                      <a:pt x="337" y="132"/>
                    </a:lnTo>
                    <a:lnTo>
                      <a:pt x="337" y="133"/>
                    </a:lnTo>
                    <a:lnTo>
                      <a:pt x="332" y="138"/>
                    </a:lnTo>
                    <a:lnTo>
                      <a:pt x="326" y="141"/>
                    </a:lnTo>
                    <a:lnTo>
                      <a:pt x="325" y="147"/>
                    </a:lnTo>
                    <a:lnTo>
                      <a:pt x="337" y="158"/>
                    </a:lnTo>
                    <a:lnTo>
                      <a:pt x="337" y="164"/>
                    </a:lnTo>
                    <a:lnTo>
                      <a:pt x="336" y="169"/>
                    </a:lnTo>
                    <a:lnTo>
                      <a:pt x="322" y="178"/>
                    </a:lnTo>
                    <a:lnTo>
                      <a:pt x="321" y="181"/>
                    </a:lnTo>
                    <a:lnTo>
                      <a:pt x="330" y="185"/>
                    </a:lnTo>
                    <a:lnTo>
                      <a:pt x="333" y="194"/>
                    </a:lnTo>
                    <a:lnTo>
                      <a:pt x="343" y="200"/>
                    </a:lnTo>
                    <a:lnTo>
                      <a:pt x="342" y="207"/>
                    </a:lnTo>
                    <a:lnTo>
                      <a:pt x="349" y="208"/>
                    </a:lnTo>
                    <a:lnTo>
                      <a:pt x="352" y="212"/>
                    </a:lnTo>
                    <a:lnTo>
                      <a:pt x="358" y="210"/>
                    </a:lnTo>
                    <a:lnTo>
                      <a:pt x="363" y="211"/>
                    </a:lnTo>
                    <a:lnTo>
                      <a:pt x="363" y="216"/>
                    </a:lnTo>
                    <a:lnTo>
                      <a:pt x="362" y="222"/>
                    </a:lnTo>
                    <a:lnTo>
                      <a:pt x="365" y="229"/>
                    </a:lnTo>
                    <a:lnTo>
                      <a:pt x="366" y="230"/>
                    </a:lnTo>
                    <a:lnTo>
                      <a:pt x="384" y="232"/>
                    </a:lnTo>
                    <a:lnTo>
                      <a:pt x="389" y="235"/>
                    </a:lnTo>
                    <a:lnTo>
                      <a:pt x="394" y="234"/>
                    </a:lnTo>
                    <a:lnTo>
                      <a:pt x="400" y="242"/>
                    </a:lnTo>
                    <a:lnTo>
                      <a:pt x="398" y="246"/>
                    </a:lnTo>
                    <a:lnTo>
                      <a:pt x="401" y="250"/>
                    </a:lnTo>
                    <a:lnTo>
                      <a:pt x="396" y="255"/>
                    </a:lnTo>
                    <a:lnTo>
                      <a:pt x="394" y="259"/>
                    </a:lnTo>
                    <a:lnTo>
                      <a:pt x="386" y="260"/>
                    </a:lnTo>
                    <a:lnTo>
                      <a:pt x="382" y="260"/>
                    </a:lnTo>
                    <a:lnTo>
                      <a:pt x="380" y="259"/>
                    </a:lnTo>
                    <a:lnTo>
                      <a:pt x="375" y="260"/>
                    </a:lnTo>
                    <a:lnTo>
                      <a:pt x="373" y="262"/>
                    </a:lnTo>
                    <a:lnTo>
                      <a:pt x="362" y="267"/>
                    </a:lnTo>
                    <a:lnTo>
                      <a:pt x="358" y="275"/>
                    </a:lnTo>
                    <a:lnTo>
                      <a:pt x="357" y="286"/>
                    </a:lnTo>
                    <a:lnTo>
                      <a:pt x="362" y="292"/>
                    </a:lnTo>
                    <a:lnTo>
                      <a:pt x="360" y="297"/>
                    </a:lnTo>
                    <a:lnTo>
                      <a:pt x="363" y="298"/>
                    </a:lnTo>
                    <a:lnTo>
                      <a:pt x="364" y="301"/>
                    </a:lnTo>
                    <a:lnTo>
                      <a:pt x="363" y="304"/>
                    </a:lnTo>
                    <a:lnTo>
                      <a:pt x="358" y="308"/>
                    </a:lnTo>
                    <a:lnTo>
                      <a:pt x="357" y="314"/>
                    </a:lnTo>
                    <a:lnTo>
                      <a:pt x="357" y="316"/>
                    </a:lnTo>
                    <a:lnTo>
                      <a:pt x="359" y="318"/>
                    </a:lnTo>
                    <a:lnTo>
                      <a:pt x="369" y="318"/>
                    </a:lnTo>
                    <a:lnTo>
                      <a:pt x="371" y="324"/>
                    </a:lnTo>
                    <a:lnTo>
                      <a:pt x="369" y="326"/>
                    </a:lnTo>
                    <a:lnTo>
                      <a:pt x="365" y="328"/>
                    </a:lnTo>
                    <a:lnTo>
                      <a:pt x="362" y="326"/>
                    </a:lnTo>
                    <a:lnTo>
                      <a:pt x="359" y="324"/>
                    </a:lnTo>
                    <a:lnTo>
                      <a:pt x="357" y="331"/>
                    </a:lnTo>
                    <a:lnTo>
                      <a:pt x="343" y="336"/>
                    </a:lnTo>
                    <a:lnTo>
                      <a:pt x="331" y="352"/>
                    </a:lnTo>
                    <a:lnTo>
                      <a:pt x="326" y="355"/>
                    </a:lnTo>
                    <a:lnTo>
                      <a:pt x="321" y="361"/>
                    </a:lnTo>
                    <a:lnTo>
                      <a:pt x="317" y="366"/>
                    </a:lnTo>
                    <a:lnTo>
                      <a:pt x="316" y="372"/>
                    </a:lnTo>
                    <a:lnTo>
                      <a:pt x="317" y="380"/>
                    </a:lnTo>
                    <a:lnTo>
                      <a:pt x="314" y="388"/>
                    </a:lnTo>
                    <a:lnTo>
                      <a:pt x="305" y="393"/>
                    </a:lnTo>
                    <a:lnTo>
                      <a:pt x="298" y="393"/>
                    </a:lnTo>
                    <a:lnTo>
                      <a:pt x="292" y="398"/>
                    </a:lnTo>
                    <a:lnTo>
                      <a:pt x="287" y="406"/>
                    </a:lnTo>
                    <a:lnTo>
                      <a:pt x="283" y="417"/>
                    </a:lnTo>
                    <a:lnTo>
                      <a:pt x="277" y="428"/>
                    </a:lnTo>
                    <a:lnTo>
                      <a:pt x="262" y="450"/>
                    </a:lnTo>
                    <a:lnTo>
                      <a:pt x="256" y="457"/>
                    </a:lnTo>
                    <a:lnTo>
                      <a:pt x="244" y="464"/>
                    </a:lnTo>
                    <a:lnTo>
                      <a:pt x="233" y="474"/>
                    </a:lnTo>
                    <a:lnTo>
                      <a:pt x="229" y="479"/>
                    </a:lnTo>
                    <a:lnTo>
                      <a:pt x="219" y="495"/>
                    </a:lnTo>
                    <a:lnTo>
                      <a:pt x="212" y="504"/>
                    </a:lnTo>
                    <a:lnTo>
                      <a:pt x="204" y="519"/>
                    </a:lnTo>
                    <a:lnTo>
                      <a:pt x="199" y="522"/>
                    </a:lnTo>
                    <a:lnTo>
                      <a:pt x="195" y="523"/>
                    </a:lnTo>
                    <a:lnTo>
                      <a:pt x="172" y="523"/>
                    </a:lnTo>
                    <a:lnTo>
                      <a:pt x="169" y="524"/>
                    </a:lnTo>
                    <a:lnTo>
                      <a:pt x="161" y="527"/>
                    </a:lnTo>
                    <a:lnTo>
                      <a:pt x="156" y="533"/>
                    </a:lnTo>
                    <a:lnTo>
                      <a:pt x="152" y="534"/>
                    </a:lnTo>
                    <a:lnTo>
                      <a:pt x="149" y="533"/>
                    </a:lnTo>
                    <a:lnTo>
                      <a:pt x="147" y="528"/>
                    </a:lnTo>
                    <a:lnTo>
                      <a:pt x="139" y="514"/>
                    </a:lnTo>
                    <a:lnTo>
                      <a:pt x="136" y="512"/>
                    </a:lnTo>
                    <a:lnTo>
                      <a:pt x="132" y="513"/>
                    </a:lnTo>
                    <a:lnTo>
                      <a:pt x="122" y="522"/>
                    </a:lnTo>
                    <a:lnTo>
                      <a:pt x="118" y="528"/>
                    </a:lnTo>
                    <a:lnTo>
                      <a:pt x="107" y="538"/>
                    </a:lnTo>
                    <a:lnTo>
                      <a:pt x="93" y="556"/>
                    </a:lnTo>
                    <a:lnTo>
                      <a:pt x="85" y="563"/>
                    </a:lnTo>
                    <a:lnTo>
                      <a:pt x="83" y="570"/>
                    </a:lnTo>
                    <a:lnTo>
                      <a:pt x="79" y="588"/>
                    </a:lnTo>
                    <a:lnTo>
                      <a:pt x="79" y="593"/>
                    </a:lnTo>
                    <a:lnTo>
                      <a:pt x="81" y="598"/>
                    </a:lnTo>
                    <a:lnTo>
                      <a:pt x="88" y="601"/>
                    </a:lnTo>
                    <a:lnTo>
                      <a:pt x="94" y="600"/>
                    </a:lnTo>
                    <a:lnTo>
                      <a:pt x="101" y="603"/>
                    </a:lnTo>
                    <a:lnTo>
                      <a:pt x="111" y="603"/>
                    </a:lnTo>
                    <a:lnTo>
                      <a:pt x="113" y="604"/>
                    </a:lnTo>
                    <a:lnTo>
                      <a:pt x="117" y="608"/>
                    </a:lnTo>
                    <a:lnTo>
                      <a:pt x="118" y="611"/>
                    </a:lnTo>
                    <a:lnTo>
                      <a:pt x="118" y="616"/>
                    </a:lnTo>
                    <a:lnTo>
                      <a:pt x="112" y="636"/>
                    </a:lnTo>
                    <a:lnTo>
                      <a:pt x="112" y="641"/>
                    </a:lnTo>
                    <a:lnTo>
                      <a:pt x="113" y="646"/>
                    </a:lnTo>
                    <a:lnTo>
                      <a:pt x="123" y="657"/>
                    </a:lnTo>
                    <a:lnTo>
                      <a:pt x="127" y="658"/>
                    </a:lnTo>
                    <a:lnTo>
                      <a:pt x="137" y="654"/>
                    </a:lnTo>
                    <a:lnTo>
                      <a:pt x="139" y="655"/>
                    </a:lnTo>
                    <a:lnTo>
                      <a:pt x="142" y="658"/>
                    </a:lnTo>
                    <a:lnTo>
                      <a:pt x="142" y="669"/>
                    </a:lnTo>
                    <a:lnTo>
                      <a:pt x="143" y="678"/>
                    </a:lnTo>
                    <a:lnTo>
                      <a:pt x="148" y="685"/>
                    </a:lnTo>
                    <a:lnTo>
                      <a:pt x="150" y="692"/>
                    </a:lnTo>
                    <a:lnTo>
                      <a:pt x="155" y="698"/>
                    </a:lnTo>
                    <a:lnTo>
                      <a:pt x="160" y="703"/>
                    </a:lnTo>
                    <a:lnTo>
                      <a:pt x="160" y="706"/>
                    </a:lnTo>
                    <a:lnTo>
                      <a:pt x="164" y="711"/>
                    </a:lnTo>
                    <a:lnTo>
                      <a:pt x="165" y="714"/>
                    </a:lnTo>
                    <a:lnTo>
                      <a:pt x="160" y="716"/>
                    </a:lnTo>
                    <a:lnTo>
                      <a:pt x="160" y="718"/>
                    </a:lnTo>
                    <a:lnTo>
                      <a:pt x="160" y="728"/>
                    </a:lnTo>
                    <a:lnTo>
                      <a:pt x="159" y="732"/>
                    </a:lnTo>
                    <a:lnTo>
                      <a:pt x="166" y="733"/>
                    </a:lnTo>
                    <a:lnTo>
                      <a:pt x="166" y="735"/>
                    </a:lnTo>
                    <a:lnTo>
                      <a:pt x="159" y="735"/>
                    </a:lnTo>
                    <a:lnTo>
                      <a:pt x="154" y="739"/>
                    </a:lnTo>
                    <a:lnTo>
                      <a:pt x="154" y="741"/>
                    </a:lnTo>
                    <a:lnTo>
                      <a:pt x="150" y="743"/>
                    </a:lnTo>
                    <a:lnTo>
                      <a:pt x="147" y="743"/>
                    </a:lnTo>
                    <a:lnTo>
                      <a:pt x="140" y="743"/>
                    </a:lnTo>
                    <a:lnTo>
                      <a:pt x="139" y="740"/>
                    </a:lnTo>
                    <a:lnTo>
                      <a:pt x="138" y="739"/>
                    </a:lnTo>
                    <a:lnTo>
                      <a:pt x="139" y="733"/>
                    </a:lnTo>
                    <a:lnTo>
                      <a:pt x="139" y="732"/>
                    </a:lnTo>
                    <a:lnTo>
                      <a:pt x="132" y="730"/>
                    </a:lnTo>
                    <a:lnTo>
                      <a:pt x="127" y="734"/>
                    </a:lnTo>
                    <a:lnTo>
                      <a:pt x="115" y="738"/>
                    </a:lnTo>
                    <a:lnTo>
                      <a:pt x="111" y="745"/>
                    </a:lnTo>
                    <a:lnTo>
                      <a:pt x="110" y="746"/>
                    </a:lnTo>
                    <a:lnTo>
                      <a:pt x="107" y="746"/>
                    </a:lnTo>
                    <a:lnTo>
                      <a:pt x="93" y="746"/>
                    </a:lnTo>
                    <a:lnTo>
                      <a:pt x="84" y="739"/>
                    </a:lnTo>
                    <a:lnTo>
                      <a:pt x="78" y="741"/>
                    </a:lnTo>
                    <a:lnTo>
                      <a:pt x="74" y="739"/>
                    </a:lnTo>
                    <a:lnTo>
                      <a:pt x="62" y="740"/>
                    </a:lnTo>
                    <a:lnTo>
                      <a:pt x="58" y="739"/>
                    </a:lnTo>
                    <a:lnTo>
                      <a:pt x="52" y="740"/>
                    </a:lnTo>
                    <a:lnTo>
                      <a:pt x="48" y="739"/>
                    </a:lnTo>
                    <a:lnTo>
                      <a:pt x="47" y="740"/>
                    </a:lnTo>
                    <a:lnTo>
                      <a:pt x="46" y="740"/>
                    </a:lnTo>
                    <a:lnTo>
                      <a:pt x="43" y="735"/>
                    </a:lnTo>
                    <a:lnTo>
                      <a:pt x="41" y="735"/>
                    </a:lnTo>
                    <a:lnTo>
                      <a:pt x="40" y="740"/>
                    </a:lnTo>
                    <a:lnTo>
                      <a:pt x="40" y="757"/>
                    </a:lnTo>
                    <a:lnTo>
                      <a:pt x="20" y="757"/>
                    </a:lnTo>
                    <a:lnTo>
                      <a:pt x="16" y="759"/>
                    </a:lnTo>
                    <a:lnTo>
                      <a:pt x="11" y="757"/>
                    </a:lnTo>
                    <a:lnTo>
                      <a:pt x="9" y="762"/>
                    </a:lnTo>
                    <a:lnTo>
                      <a:pt x="7" y="764"/>
                    </a:lnTo>
                    <a:lnTo>
                      <a:pt x="5" y="767"/>
                    </a:lnTo>
                    <a:lnTo>
                      <a:pt x="0" y="771"/>
                    </a:lnTo>
                    <a:lnTo>
                      <a:pt x="0" y="773"/>
                    </a:lnTo>
                    <a:lnTo>
                      <a:pt x="2" y="782"/>
                    </a:lnTo>
                    <a:lnTo>
                      <a:pt x="9" y="782"/>
                    </a:lnTo>
                    <a:lnTo>
                      <a:pt x="13" y="791"/>
                    </a:lnTo>
                    <a:lnTo>
                      <a:pt x="27" y="809"/>
                    </a:lnTo>
                    <a:lnTo>
                      <a:pt x="37" y="820"/>
                    </a:lnTo>
                    <a:lnTo>
                      <a:pt x="47" y="825"/>
                    </a:lnTo>
                    <a:lnTo>
                      <a:pt x="67" y="827"/>
                    </a:lnTo>
                    <a:lnTo>
                      <a:pt x="89" y="825"/>
                    </a:lnTo>
                    <a:lnTo>
                      <a:pt x="105" y="821"/>
                    </a:lnTo>
                    <a:lnTo>
                      <a:pt x="113" y="818"/>
                    </a:lnTo>
                    <a:lnTo>
                      <a:pt x="117" y="810"/>
                    </a:lnTo>
                    <a:lnTo>
                      <a:pt x="122" y="808"/>
                    </a:lnTo>
                    <a:lnTo>
                      <a:pt x="124" y="814"/>
                    </a:lnTo>
                    <a:lnTo>
                      <a:pt x="117" y="834"/>
                    </a:lnTo>
                    <a:lnTo>
                      <a:pt x="106" y="843"/>
                    </a:lnTo>
                    <a:lnTo>
                      <a:pt x="96" y="850"/>
                    </a:lnTo>
                    <a:lnTo>
                      <a:pt x="84" y="852"/>
                    </a:lnTo>
                    <a:lnTo>
                      <a:pt x="70" y="854"/>
                    </a:lnTo>
                    <a:lnTo>
                      <a:pt x="59" y="857"/>
                    </a:lnTo>
                    <a:lnTo>
                      <a:pt x="51" y="850"/>
                    </a:lnTo>
                    <a:lnTo>
                      <a:pt x="47" y="854"/>
                    </a:lnTo>
                    <a:lnTo>
                      <a:pt x="50" y="870"/>
                    </a:lnTo>
                    <a:lnTo>
                      <a:pt x="90" y="911"/>
                    </a:lnTo>
                    <a:lnTo>
                      <a:pt x="104" y="926"/>
                    </a:lnTo>
                    <a:lnTo>
                      <a:pt x="124" y="944"/>
                    </a:lnTo>
                    <a:lnTo>
                      <a:pt x="131" y="945"/>
                    </a:lnTo>
                    <a:lnTo>
                      <a:pt x="156" y="947"/>
                    </a:lnTo>
                    <a:lnTo>
                      <a:pt x="167" y="944"/>
                    </a:lnTo>
                    <a:lnTo>
                      <a:pt x="174" y="943"/>
                    </a:lnTo>
                    <a:lnTo>
                      <a:pt x="183" y="936"/>
                    </a:lnTo>
                    <a:lnTo>
                      <a:pt x="190" y="936"/>
                    </a:lnTo>
                    <a:lnTo>
                      <a:pt x="207" y="924"/>
                    </a:lnTo>
                    <a:lnTo>
                      <a:pt x="213" y="916"/>
                    </a:lnTo>
                    <a:lnTo>
                      <a:pt x="218" y="906"/>
                    </a:lnTo>
                    <a:lnTo>
                      <a:pt x="219" y="879"/>
                    </a:lnTo>
                    <a:lnTo>
                      <a:pt x="222" y="867"/>
                    </a:lnTo>
                    <a:lnTo>
                      <a:pt x="224" y="852"/>
                    </a:lnTo>
                    <a:lnTo>
                      <a:pt x="226" y="856"/>
                    </a:lnTo>
                    <a:lnTo>
                      <a:pt x="229" y="857"/>
                    </a:lnTo>
                    <a:lnTo>
                      <a:pt x="258" y="858"/>
                    </a:lnTo>
                    <a:lnTo>
                      <a:pt x="260" y="859"/>
                    </a:lnTo>
                    <a:lnTo>
                      <a:pt x="253" y="866"/>
                    </a:lnTo>
                    <a:lnTo>
                      <a:pt x="242" y="866"/>
                    </a:lnTo>
                    <a:lnTo>
                      <a:pt x="239" y="879"/>
                    </a:lnTo>
                    <a:lnTo>
                      <a:pt x="241" y="880"/>
                    </a:lnTo>
                    <a:lnTo>
                      <a:pt x="240" y="891"/>
                    </a:lnTo>
                    <a:lnTo>
                      <a:pt x="242" y="894"/>
                    </a:lnTo>
                    <a:lnTo>
                      <a:pt x="249" y="897"/>
                    </a:lnTo>
                    <a:lnTo>
                      <a:pt x="242" y="911"/>
                    </a:lnTo>
                    <a:lnTo>
                      <a:pt x="242" y="922"/>
                    </a:lnTo>
                    <a:lnTo>
                      <a:pt x="242" y="924"/>
                    </a:lnTo>
                    <a:lnTo>
                      <a:pt x="246" y="924"/>
                    </a:lnTo>
                    <a:lnTo>
                      <a:pt x="249" y="928"/>
                    </a:lnTo>
                    <a:lnTo>
                      <a:pt x="249" y="934"/>
                    </a:lnTo>
                    <a:lnTo>
                      <a:pt x="255" y="952"/>
                    </a:lnTo>
                    <a:lnTo>
                      <a:pt x="256" y="963"/>
                    </a:lnTo>
                    <a:lnTo>
                      <a:pt x="256" y="971"/>
                    </a:lnTo>
                    <a:lnTo>
                      <a:pt x="250" y="987"/>
                    </a:lnTo>
                    <a:lnTo>
                      <a:pt x="247" y="998"/>
                    </a:lnTo>
                    <a:lnTo>
                      <a:pt x="247" y="1009"/>
                    </a:lnTo>
                    <a:lnTo>
                      <a:pt x="251" y="1028"/>
                    </a:lnTo>
                    <a:lnTo>
                      <a:pt x="253" y="1031"/>
                    </a:lnTo>
                    <a:lnTo>
                      <a:pt x="253" y="1047"/>
                    </a:lnTo>
                    <a:lnTo>
                      <a:pt x="257" y="1044"/>
                    </a:lnTo>
                    <a:lnTo>
                      <a:pt x="261" y="1041"/>
                    </a:lnTo>
                    <a:lnTo>
                      <a:pt x="262" y="1045"/>
                    </a:lnTo>
                    <a:lnTo>
                      <a:pt x="263" y="1052"/>
                    </a:lnTo>
                    <a:lnTo>
                      <a:pt x="261" y="1056"/>
                    </a:lnTo>
                    <a:lnTo>
                      <a:pt x="261" y="1060"/>
                    </a:lnTo>
                    <a:lnTo>
                      <a:pt x="260" y="1065"/>
                    </a:lnTo>
                    <a:lnTo>
                      <a:pt x="257" y="1084"/>
                    </a:lnTo>
                    <a:lnTo>
                      <a:pt x="263" y="1093"/>
                    </a:lnTo>
                    <a:lnTo>
                      <a:pt x="262" y="1096"/>
                    </a:lnTo>
                    <a:lnTo>
                      <a:pt x="265" y="1114"/>
                    </a:lnTo>
                    <a:lnTo>
                      <a:pt x="266" y="1114"/>
                    </a:lnTo>
                    <a:lnTo>
                      <a:pt x="273" y="1139"/>
                    </a:lnTo>
                    <a:lnTo>
                      <a:pt x="276" y="1147"/>
                    </a:lnTo>
                    <a:lnTo>
                      <a:pt x="276" y="1157"/>
                    </a:lnTo>
                    <a:lnTo>
                      <a:pt x="278" y="1163"/>
                    </a:lnTo>
                    <a:lnTo>
                      <a:pt x="282" y="1192"/>
                    </a:lnTo>
                    <a:lnTo>
                      <a:pt x="284" y="1201"/>
                    </a:lnTo>
                    <a:lnTo>
                      <a:pt x="289" y="1212"/>
                    </a:lnTo>
                    <a:lnTo>
                      <a:pt x="293" y="1214"/>
                    </a:lnTo>
                    <a:lnTo>
                      <a:pt x="295" y="1225"/>
                    </a:lnTo>
                    <a:lnTo>
                      <a:pt x="304" y="123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48" name="Freeform 100"/>
              <p:cNvSpPr>
                <a:spLocks noChangeAspect="1"/>
              </p:cNvSpPr>
              <p:nvPr/>
            </p:nvSpPr>
            <p:spPr bwMode="gray">
              <a:xfrm>
                <a:off x="3183" y="2052"/>
                <a:ext cx="184" cy="168"/>
              </a:xfrm>
              <a:custGeom>
                <a:avLst/>
                <a:gdLst/>
                <a:ahLst/>
                <a:cxnLst>
                  <a:cxn ang="0">
                    <a:pos x="106" y="668"/>
                  </a:cxn>
                  <a:cxn ang="0">
                    <a:pos x="108" y="599"/>
                  </a:cxn>
                  <a:cxn ang="0">
                    <a:pos x="0" y="475"/>
                  </a:cxn>
                  <a:cxn ang="0">
                    <a:pos x="109" y="492"/>
                  </a:cxn>
                  <a:cxn ang="0">
                    <a:pos x="187" y="487"/>
                  </a:cxn>
                  <a:cxn ang="0">
                    <a:pos x="302" y="458"/>
                  </a:cxn>
                  <a:cxn ang="0">
                    <a:pos x="325" y="378"/>
                  </a:cxn>
                  <a:cxn ang="0">
                    <a:pos x="379" y="373"/>
                  </a:cxn>
                  <a:cxn ang="0">
                    <a:pos x="405" y="346"/>
                  </a:cxn>
                  <a:cxn ang="0">
                    <a:pos x="435" y="356"/>
                  </a:cxn>
                  <a:cxn ang="0">
                    <a:pos x="464" y="297"/>
                  </a:cxn>
                  <a:cxn ang="0">
                    <a:pos x="490" y="258"/>
                  </a:cxn>
                  <a:cxn ang="0">
                    <a:pos x="506" y="218"/>
                  </a:cxn>
                  <a:cxn ang="0">
                    <a:pos x="549" y="202"/>
                  </a:cxn>
                  <a:cxn ang="0">
                    <a:pos x="561" y="163"/>
                  </a:cxn>
                  <a:cxn ang="0">
                    <a:pos x="588" y="114"/>
                  </a:cxn>
                  <a:cxn ang="0">
                    <a:pos x="570" y="60"/>
                  </a:cxn>
                  <a:cxn ang="0">
                    <a:pos x="604" y="34"/>
                  </a:cxn>
                  <a:cxn ang="0">
                    <a:pos x="645" y="12"/>
                  </a:cxn>
                  <a:cxn ang="0">
                    <a:pos x="731" y="11"/>
                  </a:cxn>
                  <a:cxn ang="0">
                    <a:pos x="780" y="2"/>
                  </a:cxn>
                  <a:cxn ang="0">
                    <a:pos x="811" y="16"/>
                  </a:cxn>
                  <a:cxn ang="0">
                    <a:pos x="830" y="59"/>
                  </a:cxn>
                  <a:cxn ang="0">
                    <a:pos x="852" y="78"/>
                  </a:cxn>
                  <a:cxn ang="0">
                    <a:pos x="903" y="99"/>
                  </a:cxn>
                  <a:cxn ang="0">
                    <a:pos x="877" y="153"/>
                  </a:cxn>
                  <a:cxn ang="0">
                    <a:pos x="828" y="156"/>
                  </a:cxn>
                  <a:cxn ang="0">
                    <a:pos x="790" y="163"/>
                  </a:cxn>
                  <a:cxn ang="0">
                    <a:pos x="721" y="148"/>
                  </a:cxn>
                  <a:cxn ang="0">
                    <a:pos x="718" y="185"/>
                  </a:cxn>
                  <a:cxn ang="0">
                    <a:pos x="732" y="202"/>
                  </a:cxn>
                  <a:cxn ang="0">
                    <a:pos x="717" y="248"/>
                  </a:cxn>
                  <a:cxn ang="0">
                    <a:pos x="753" y="280"/>
                  </a:cxn>
                  <a:cxn ang="0">
                    <a:pos x="789" y="304"/>
                  </a:cxn>
                  <a:cxn ang="0">
                    <a:pos x="775" y="329"/>
                  </a:cxn>
                  <a:cxn ang="0">
                    <a:pos x="758" y="368"/>
                  </a:cxn>
                  <a:cxn ang="0">
                    <a:pos x="766" y="394"/>
                  </a:cxn>
                  <a:cxn ang="0">
                    <a:pos x="721" y="425"/>
                  </a:cxn>
                  <a:cxn ang="0">
                    <a:pos x="687" y="468"/>
                  </a:cxn>
                  <a:cxn ang="0">
                    <a:pos x="624" y="549"/>
                  </a:cxn>
                  <a:cxn ang="0">
                    <a:pos x="556" y="597"/>
                  </a:cxn>
                  <a:cxn ang="0">
                    <a:pos x="517" y="592"/>
                  </a:cxn>
                  <a:cxn ang="0">
                    <a:pos x="476" y="668"/>
                  </a:cxn>
                  <a:cxn ang="0">
                    <a:pos x="513" y="686"/>
                  </a:cxn>
                  <a:cxn ang="0">
                    <a:pos x="537" y="728"/>
                  </a:cxn>
                  <a:cxn ang="0">
                    <a:pos x="559" y="781"/>
                  </a:cxn>
                  <a:cxn ang="0">
                    <a:pos x="554" y="805"/>
                  </a:cxn>
                  <a:cxn ang="0">
                    <a:pos x="534" y="803"/>
                  </a:cxn>
                  <a:cxn ang="0">
                    <a:pos x="488" y="816"/>
                  </a:cxn>
                  <a:cxn ang="0">
                    <a:pos x="442" y="810"/>
                  </a:cxn>
                  <a:cxn ang="0">
                    <a:pos x="406" y="827"/>
                  </a:cxn>
                  <a:cxn ang="0">
                    <a:pos x="363" y="834"/>
                  </a:cxn>
                  <a:cxn ang="0">
                    <a:pos x="329" y="781"/>
                  </a:cxn>
                  <a:cxn ang="0">
                    <a:pos x="250" y="744"/>
                  </a:cxn>
                  <a:cxn ang="0">
                    <a:pos x="164" y="746"/>
                  </a:cxn>
                  <a:cxn ang="0">
                    <a:pos x="61" y="761"/>
                  </a:cxn>
                </a:cxnLst>
                <a:rect l="0" t="0" r="r" b="b"/>
                <a:pathLst>
                  <a:path w="921" h="842">
                    <a:moveTo>
                      <a:pt x="42" y="757"/>
                    </a:moveTo>
                    <a:lnTo>
                      <a:pt x="42" y="743"/>
                    </a:lnTo>
                    <a:lnTo>
                      <a:pt x="44" y="730"/>
                    </a:lnTo>
                    <a:lnTo>
                      <a:pt x="55" y="701"/>
                    </a:lnTo>
                    <a:lnTo>
                      <a:pt x="64" y="689"/>
                    </a:lnTo>
                    <a:lnTo>
                      <a:pt x="77" y="679"/>
                    </a:lnTo>
                    <a:lnTo>
                      <a:pt x="91" y="674"/>
                    </a:lnTo>
                    <a:lnTo>
                      <a:pt x="106" y="668"/>
                    </a:lnTo>
                    <a:lnTo>
                      <a:pt x="118" y="665"/>
                    </a:lnTo>
                    <a:lnTo>
                      <a:pt x="131" y="653"/>
                    </a:lnTo>
                    <a:lnTo>
                      <a:pt x="134" y="647"/>
                    </a:lnTo>
                    <a:lnTo>
                      <a:pt x="133" y="637"/>
                    </a:lnTo>
                    <a:lnTo>
                      <a:pt x="128" y="632"/>
                    </a:lnTo>
                    <a:lnTo>
                      <a:pt x="108" y="628"/>
                    </a:lnTo>
                    <a:lnTo>
                      <a:pt x="109" y="614"/>
                    </a:lnTo>
                    <a:lnTo>
                      <a:pt x="108" y="599"/>
                    </a:lnTo>
                    <a:lnTo>
                      <a:pt x="103" y="573"/>
                    </a:lnTo>
                    <a:lnTo>
                      <a:pt x="98" y="567"/>
                    </a:lnTo>
                    <a:lnTo>
                      <a:pt x="71" y="558"/>
                    </a:lnTo>
                    <a:lnTo>
                      <a:pt x="55" y="550"/>
                    </a:lnTo>
                    <a:lnTo>
                      <a:pt x="43" y="540"/>
                    </a:lnTo>
                    <a:lnTo>
                      <a:pt x="22" y="497"/>
                    </a:lnTo>
                    <a:lnTo>
                      <a:pt x="8" y="485"/>
                    </a:lnTo>
                    <a:lnTo>
                      <a:pt x="0" y="475"/>
                    </a:lnTo>
                    <a:lnTo>
                      <a:pt x="4" y="470"/>
                    </a:lnTo>
                    <a:lnTo>
                      <a:pt x="63" y="486"/>
                    </a:lnTo>
                    <a:lnTo>
                      <a:pt x="81" y="496"/>
                    </a:lnTo>
                    <a:lnTo>
                      <a:pt x="88" y="497"/>
                    </a:lnTo>
                    <a:lnTo>
                      <a:pt x="92" y="496"/>
                    </a:lnTo>
                    <a:lnTo>
                      <a:pt x="96" y="493"/>
                    </a:lnTo>
                    <a:lnTo>
                      <a:pt x="99" y="492"/>
                    </a:lnTo>
                    <a:lnTo>
                      <a:pt x="109" y="492"/>
                    </a:lnTo>
                    <a:lnTo>
                      <a:pt x="118" y="491"/>
                    </a:lnTo>
                    <a:lnTo>
                      <a:pt x="130" y="491"/>
                    </a:lnTo>
                    <a:lnTo>
                      <a:pt x="144" y="490"/>
                    </a:lnTo>
                    <a:lnTo>
                      <a:pt x="161" y="490"/>
                    </a:lnTo>
                    <a:lnTo>
                      <a:pt x="177" y="497"/>
                    </a:lnTo>
                    <a:lnTo>
                      <a:pt x="180" y="495"/>
                    </a:lnTo>
                    <a:lnTo>
                      <a:pt x="184" y="490"/>
                    </a:lnTo>
                    <a:lnTo>
                      <a:pt x="187" y="487"/>
                    </a:lnTo>
                    <a:lnTo>
                      <a:pt x="194" y="485"/>
                    </a:lnTo>
                    <a:lnTo>
                      <a:pt x="206" y="485"/>
                    </a:lnTo>
                    <a:lnTo>
                      <a:pt x="232" y="486"/>
                    </a:lnTo>
                    <a:lnTo>
                      <a:pt x="248" y="482"/>
                    </a:lnTo>
                    <a:lnTo>
                      <a:pt x="268" y="475"/>
                    </a:lnTo>
                    <a:lnTo>
                      <a:pt x="293" y="470"/>
                    </a:lnTo>
                    <a:lnTo>
                      <a:pt x="302" y="464"/>
                    </a:lnTo>
                    <a:lnTo>
                      <a:pt x="302" y="458"/>
                    </a:lnTo>
                    <a:lnTo>
                      <a:pt x="298" y="454"/>
                    </a:lnTo>
                    <a:lnTo>
                      <a:pt x="298" y="450"/>
                    </a:lnTo>
                    <a:lnTo>
                      <a:pt x="302" y="431"/>
                    </a:lnTo>
                    <a:lnTo>
                      <a:pt x="301" y="418"/>
                    </a:lnTo>
                    <a:lnTo>
                      <a:pt x="305" y="404"/>
                    </a:lnTo>
                    <a:lnTo>
                      <a:pt x="308" y="398"/>
                    </a:lnTo>
                    <a:lnTo>
                      <a:pt x="319" y="389"/>
                    </a:lnTo>
                    <a:lnTo>
                      <a:pt x="325" y="378"/>
                    </a:lnTo>
                    <a:lnTo>
                      <a:pt x="333" y="374"/>
                    </a:lnTo>
                    <a:lnTo>
                      <a:pt x="336" y="377"/>
                    </a:lnTo>
                    <a:lnTo>
                      <a:pt x="336" y="380"/>
                    </a:lnTo>
                    <a:lnTo>
                      <a:pt x="348" y="382"/>
                    </a:lnTo>
                    <a:lnTo>
                      <a:pt x="359" y="379"/>
                    </a:lnTo>
                    <a:lnTo>
                      <a:pt x="370" y="377"/>
                    </a:lnTo>
                    <a:lnTo>
                      <a:pt x="377" y="375"/>
                    </a:lnTo>
                    <a:lnTo>
                      <a:pt x="379" y="373"/>
                    </a:lnTo>
                    <a:lnTo>
                      <a:pt x="379" y="371"/>
                    </a:lnTo>
                    <a:lnTo>
                      <a:pt x="372" y="368"/>
                    </a:lnTo>
                    <a:lnTo>
                      <a:pt x="371" y="366"/>
                    </a:lnTo>
                    <a:lnTo>
                      <a:pt x="375" y="362"/>
                    </a:lnTo>
                    <a:lnTo>
                      <a:pt x="392" y="353"/>
                    </a:lnTo>
                    <a:lnTo>
                      <a:pt x="394" y="348"/>
                    </a:lnTo>
                    <a:lnTo>
                      <a:pt x="399" y="346"/>
                    </a:lnTo>
                    <a:lnTo>
                      <a:pt x="405" y="346"/>
                    </a:lnTo>
                    <a:lnTo>
                      <a:pt x="421" y="351"/>
                    </a:lnTo>
                    <a:lnTo>
                      <a:pt x="421" y="348"/>
                    </a:lnTo>
                    <a:lnTo>
                      <a:pt x="418" y="347"/>
                    </a:lnTo>
                    <a:lnTo>
                      <a:pt x="420" y="343"/>
                    </a:lnTo>
                    <a:lnTo>
                      <a:pt x="424" y="343"/>
                    </a:lnTo>
                    <a:lnTo>
                      <a:pt x="431" y="348"/>
                    </a:lnTo>
                    <a:lnTo>
                      <a:pt x="432" y="352"/>
                    </a:lnTo>
                    <a:lnTo>
                      <a:pt x="435" y="356"/>
                    </a:lnTo>
                    <a:lnTo>
                      <a:pt x="441" y="358"/>
                    </a:lnTo>
                    <a:lnTo>
                      <a:pt x="443" y="358"/>
                    </a:lnTo>
                    <a:lnTo>
                      <a:pt x="463" y="337"/>
                    </a:lnTo>
                    <a:lnTo>
                      <a:pt x="463" y="334"/>
                    </a:lnTo>
                    <a:lnTo>
                      <a:pt x="461" y="323"/>
                    </a:lnTo>
                    <a:lnTo>
                      <a:pt x="459" y="305"/>
                    </a:lnTo>
                    <a:lnTo>
                      <a:pt x="461" y="302"/>
                    </a:lnTo>
                    <a:lnTo>
                      <a:pt x="464" y="297"/>
                    </a:lnTo>
                    <a:lnTo>
                      <a:pt x="467" y="292"/>
                    </a:lnTo>
                    <a:lnTo>
                      <a:pt x="469" y="292"/>
                    </a:lnTo>
                    <a:lnTo>
                      <a:pt x="470" y="288"/>
                    </a:lnTo>
                    <a:lnTo>
                      <a:pt x="469" y="282"/>
                    </a:lnTo>
                    <a:lnTo>
                      <a:pt x="470" y="277"/>
                    </a:lnTo>
                    <a:lnTo>
                      <a:pt x="476" y="275"/>
                    </a:lnTo>
                    <a:lnTo>
                      <a:pt x="478" y="261"/>
                    </a:lnTo>
                    <a:lnTo>
                      <a:pt x="490" y="258"/>
                    </a:lnTo>
                    <a:lnTo>
                      <a:pt x="497" y="259"/>
                    </a:lnTo>
                    <a:lnTo>
                      <a:pt x="507" y="251"/>
                    </a:lnTo>
                    <a:lnTo>
                      <a:pt x="515" y="249"/>
                    </a:lnTo>
                    <a:lnTo>
                      <a:pt x="519" y="243"/>
                    </a:lnTo>
                    <a:lnTo>
                      <a:pt x="519" y="239"/>
                    </a:lnTo>
                    <a:lnTo>
                      <a:pt x="515" y="234"/>
                    </a:lnTo>
                    <a:lnTo>
                      <a:pt x="510" y="218"/>
                    </a:lnTo>
                    <a:lnTo>
                      <a:pt x="506" y="218"/>
                    </a:lnTo>
                    <a:lnTo>
                      <a:pt x="500" y="208"/>
                    </a:lnTo>
                    <a:lnTo>
                      <a:pt x="499" y="205"/>
                    </a:lnTo>
                    <a:lnTo>
                      <a:pt x="500" y="200"/>
                    </a:lnTo>
                    <a:lnTo>
                      <a:pt x="504" y="197"/>
                    </a:lnTo>
                    <a:lnTo>
                      <a:pt x="508" y="199"/>
                    </a:lnTo>
                    <a:lnTo>
                      <a:pt x="527" y="203"/>
                    </a:lnTo>
                    <a:lnTo>
                      <a:pt x="538" y="205"/>
                    </a:lnTo>
                    <a:lnTo>
                      <a:pt x="549" y="202"/>
                    </a:lnTo>
                    <a:lnTo>
                      <a:pt x="555" y="199"/>
                    </a:lnTo>
                    <a:lnTo>
                      <a:pt x="562" y="189"/>
                    </a:lnTo>
                    <a:lnTo>
                      <a:pt x="562" y="181"/>
                    </a:lnTo>
                    <a:lnTo>
                      <a:pt x="566" y="178"/>
                    </a:lnTo>
                    <a:lnTo>
                      <a:pt x="562" y="175"/>
                    </a:lnTo>
                    <a:lnTo>
                      <a:pt x="558" y="173"/>
                    </a:lnTo>
                    <a:lnTo>
                      <a:pt x="558" y="167"/>
                    </a:lnTo>
                    <a:lnTo>
                      <a:pt x="561" y="163"/>
                    </a:lnTo>
                    <a:lnTo>
                      <a:pt x="565" y="156"/>
                    </a:lnTo>
                    <a:lnTo>
                      <a:pt x="572" y="147"/>
                    </a:lnTo>
                    <a:lnTo>
                      <a:pt x="581" y="141"/>
                    </a:lnTo>
                    <a:lnTo>
                      <a:pt x="587" y="133"/>
                    </a:lnTo>
                    <a:lnTo>
                      <a:pt x="591" y="126"/>
                    </a:lnTo>
                    <a:lnTo>
                      <a:pt x="591" y="120"/>
                    </a:lnTo>
                    <a:lnTo>
                      <a:pt x="588" y="116"/>
                    </a:lnTo>
                    <a:lnTo>
                      <a:pt x="588" y="114"/>
                    </a:lnTo>
                    <a:lnTo>
                      <a:pt x="593" y="105"/>
                    </a:lnTo>
                    <a:lnTo>
                      <a:pt x="593" y="104"/>
                    </a:lnTo>
                    <a:lnTo>
                      <a:pt x="588" y="94"/>
                    </a:lnTo>
                    <a:lnTo>
                      <a:pt x="585" y="81"/>
                    </a:lnTo>
                    <a:lnTo>
                      <a:pt x="578" y="73"/>
                    </a:lnTo>
                    <a:lnTo>
                      <a:pt x="570" y="67"/>
                    </a:lnTo>
                    <a:lnTo>
                      <a:pt x="569" y="66"/>
                    </a:lnTo>
                    <a:lnTo>
                      <a:pt x="570" y="60"/>
                    </a:lnTo>
                    <a:lnTo>
                      <a:pt x="574" y="56"/>
                    </a:lnTo>
                    <a:lnTo>
                      <a:pt x="591" y="43"/>
                    </a:lnTo>
                    <a:lnTo>
                      <a:pt x="591" y="38"/>
                    </a:lnTo>
                    <a:lnTo>
                      <a:pt x="592" y="36"/>
                    </a:lnTo>
                    <a:lnTo>
                      <a:pt x="597" y="36"/>
                    </a:lnTo>
                    <a:lnTo>
                      <a:pt x="602" y="39"/>
                    </a:lnTo>
                    <a:lnTo>
                      <a:pt x="605" y="38"/>
                    </a:lnTo>
                    <a:lnTo>
                      <a:pt x="604" y="34"/>
                    </a:lnTo>
                    <a:lnTo>
                      <a:pt x="605" y="32"/>
                    </a:lnTo>
                    <a:lnTo>
                      <a:pt x="615" y="29"/>
                    </a:lnTo>
                    <a:lnTo>
                      <a:pt x="619" y="25"/>
                    </a:lnTo>
                    <a:lnTo>
                      <a:pt x="619" y="23"/>
                    </a:lnTo>
                    <a:lnTo>
                      <a:pt x="624" y="22"/>
                    </a:lnTo>
                    <a:lnTo>
                      <a:pt x="628" y="19"/>
                    </a:lnTo>
                    <a:lnTo>
                      <a:pt x="636" y="18"/>
                    </a:lnTo>
                    <a:lnTo>
                      <a:pt x="645" y="12"/>
                    </a:lnTo>
                    <a:lnTo>
                      <a:pt x="652" y="12"/>
                    </a:lnTo>
                    <a:lnTo>
                      <a:pt x="662" y="7"/>
                    </a:lnTo>
                    <a:lnTo>
                      <a:pt x="666" y="8"/>
                    </a:lnTo>
                    <a:lnTo>
                      <a:pt x="701" y="6"/>
                    </a:lnTo>
                    <a:lnTo>
                      <a:pt x="705" y="7"/>
                    </a:lnTo>
                    <a:lnTo>
                      <a:pt x="712" y="6"/>
                    </a:lnTo>
                    <a:lnTo>
                      <a:pt x="726" y="11"/>
                    </a:lnTo>
                    <a:lnTo>
                      <a:pt x="731" y="11"/>
                    </a:lnTo>
                    <a:lnTo>
                      <a:pt x="737" y="6"/>
                    </a:lnTo>
                    <a:lnTo>
                      <a:pt x="741" y="6"/>
                    </a:lnTo>
                    <a:lnTo>
                      <a:pt x="746" y="2"/>
                    </a:lnTo>
                    <a:lnTo>
                      <a:pt x="755" y="4"/>
                    </a:lnTo>
                    <a:lnTo>
                      <a:pt x="757" y="0"/>
                    </a:lnTo>
                    <a:lnTo>
                      <a:pt x="755" y="1"/>
                    </a:lnTo>
                    <a:lnTo>
                      <a:pt x="766" y="4"/>
                    </a:lnTo>
                    <a:lnTo>
                      <a:pt x="780" y="2"/>
                    </a:lnTo>
                    <a:lnTo>
                      <a:pt x="784" y="3"/>
                    </a:lnTo>
                    <a:lnTo>
                      <a:pt x="789" y="6"/>
                    </a:lnTo>
                    <a:lnTo>
                      <a:pt x="796" y="4"/>
                    </a:lnTo>
                    <a:lnTo>
                      <a:pt x="798" y="7"/>
                    </a:lnTo>
                    <a:lnTo>
                      <a:pt x="798" y="19"/>
                    </a:lnTo>
                    <a:lnTo>
                      <a:pt x="800" y="20"/>
                    </a:lnTo>
                    <a:lnTo>
                      <a:pt x="806" y="16"/>
                    </a:lnTo>
                    <a:lnTo>
                      <a:pt x="811" y="16"/>
                    </a:lnTo>
                    <a:lnTo>
                      <a:pt x="822" y="23"/>
                    </a:lnTo>
                    <a:lnTo>
                      <a:pt x="828" y="29"/>
                    </a:lnTo>
                    <a:lnTo>
                      <a:pt x="830" y="35"/>
                    </a:lnTo>
                    <a:lnTo>
                      <a:pt x="830" y="41"/>
                    </a:lnTo>
                    <a:lnTo>
                      <a:pt x="828" y="47"/>
                    </a:lnTo>
                    <a:lnTo>
                      <a:pt x="830" y="50"/>
                    </a:lnTo>
                    <a:lnTo>
                      <a:pt x="832" y="55"/>
                    </a:lnTo>
                    <a:lnTo>
                      <a:pt x="830" y="59"/>
                    </a:lnTo>
                    <a:lnTo>
                      <a:pt x="825" y="60"/>
                    </a:lnTo>
                    <a:lnTo>
                      <a:pt x="825" y="62"/>
                    </a:lnTo>
                    <a:lnTo>
                      <a:pt x="827" y="66"/>
                    </a:lnTo>
                    <a:lnTo>
                      <a:pt x="834" y="67"/>
                    </a:lnTo>
                    <a:lnTo>
                      <a:pt x="840" y="78"/>
                    </a:lnTo>
                    <a:lnTo>
                      <a:pt x="844" y="79"/>
                    </a:lnTo>
                    <a:lnTo>
                      <a:pt x="849" y="78"/>
                    </a:lnTo>
                    <a:lnTo>
                      <a:pt x="852" y="78"/>
                    </a:lnTo>
                    <a:lnTo>
                      <a:pt x="857" y="74"/>
                    </a:lnTo>
                    <a:lnTo>
                      <a:pt x="861" y="73"/>
                    </a:lnTo>
                    <a:lnTo>
                      <a:pt x="862" y="77"/>
                    </a:lnTo>
                    <a:lnTo>
                      <a:pt x="862" y="83"/>
                    </a:lnTo>
                    <a:lnTo>
                      <a:pt x="872" y="89"/>
                    </a:lnTo>
                    <a:lnTo>
                      <a:pt x="889" y="95"/>
                    </a:lnTo>
                    <a:lnTo>
                      <a:pt x="897" y="100"/>
                    </a:lnTo>
                    <a:lnTo>
                      <a:pt x="903" y="99"/>
                    </a:lnTo>
                    <a:lnTo>
                      <a:pt x="910" y="104"/>
                    </a:lnTo>
                    <a:lnTo>
                      <a:pt x="921" y="105"/>
                    </a:lnTo>
                    <a:lnTo>
                      <a:pt x="887" y="130"/>
                    </a:lnTo>
                    <a:lnTo>
                      <a:pt x="883" y="136"/>
                    </a:lnTo>
                    <a:lnTo>
                      <a:pt x="884" y="138"/>
                    </a:lnTo>
                    <a:lnTo>
                      <a:pt x="884" y="141"/>
                    </a:lnTo>
                    <a:lnTo>
                      <a:pt x="881" y="149"/>
                    </a:lnTo>
                    <a:lnTo>
                      <a:pt x="877" y="153"/>
                    </a:lnTo>
                    <a:lnTo>
                      <a:pt x="873" y="152"/>
                    </a:lnTo>
                    <a:lnTo>
                      <a:pt x="870" y="148"/>
                    </a:lnTo>
                    <a:lnTo>
                      <a:pt x="851" y="149"/>
                    </a:lnTo>
                    <a:lnTo>
                      <a:pt x="849" y="151"/>
                    </a:lnTo>
                    <a:lnTo>
                      <a:pt x="844" y="157"/>
                    </a:lnTo>
                    <a:lnTo>
                      <a:pt x="841" y="158"/>
                    </a:lnTo>
                    <a:lnTo>
                      <a:pt x="835" y="158"/>
                    </a:lnTo>
                    <a:lnTo>
                      <a:pt x="828" y="156"/>
                    </a:lnTo>
                    <a:lnTo>
                      <a:pt x="824" y="158"/>
                    </a:lnTo>
                    <a:lnTo>
                      <a:pt x="822" y="162"/>
                    </a:lnTo>
                    <a:lnTo>
                      <a:pt x="818" y="164"/>
                    </a:lnTo>
                    <a:lnTo>
                      <a:pt x="816" y="165"/>
                    </a:lnTo>
                    <a:lnTo>
                      <a:pt x="809" y="164"/>
                    </a:lnTo>
                    <a:lnTo>
                      <a:pt x="806" y="165"/>
                    </a:lnTo>
                    <a:lnTo>
                      <a:pt x="802" y="163"/>
                    </a:lnTo>
                    <a:lnTo>
                      <a:pt x="790" y="163"/>
                    </a:lnTo>
                    <a:lnTo>
                      <a:pt x="785" y="162"/>
                    </a:lnTo>
                    <a:lnTo>
                      <a:pt x="780" y="162"/>
                    </a:lnTo>
                    <a:lnTo>
                      <a:pt x="765" y="153"/>
                    </a:lnTo>
                    <a:lnTo>
                      <a:pt x="755" y="151"/>
                    </a:lnTo>
                    <a:lnTo>
                      <a:pt x="737" y="143"/>
                    </a:lnTo>
                    <a:lnTo>
                      <a:pt x="732" y="146"/>
                    </a:lnTo>
                    <a:lnTo>
                      <a:pt x="728" y="149"/>
                    </a:lnTo>
                    <a:lnTo>
                      <a:pt x="721" y="148"/>
                    </a:lnTo>
                    <a:lnTo>
                      <a:pt x="717" y="149"/>
                    </a:lnTo>
                    <a:lnTo>
                      <a:pt x="716" y="152"/>
                    </a:lnTo>
                    <a:lnTo>
                      <a:pt x="715" y="160"/>
                    </a:lnTo>
                    <a:lnTo>
                      <a:pt x="707" y="174"/>
                    </a:lnTo>
                    <a:lnTo>
                      <a:pt x="707" y="176"/>
                    </a:lnTo>
                    <a:lnTo>
                      <a:pt x="716" y="176"/>
                    </a:lnTo>
                    <a:lnTo>
                      <a:pt x="718" y="181"/>
                    </a:lnTo>
                    <a:lnTo>
                      <a:pt x="718" y="185"/>
                    </a:lnTo>
                    <a:lnTo>
                      <a:pt x="714" y="187"/>
                    </a:lnTo>
                    <a:lnTo>
                      <a:pt x="712" y="189"/>
                    </a:lnTo>
                    <a:lnTo>
                      <a:pt x="712" y="192"/>
                    </a:lnTo>
                    <a:lnTo>
                      <a:pt x="715" y="196"/>
                    </a:lnTo>
                    <a:lnTo>
                      <a:pt x="717" y="197"/>
                    </a:lnTo>
                    <a:lnTo>
                      <a:pt x="728" y="196"/>
                    </a:lnTo>
                    <a:lnTo>
                      <a:pt x="731" y="199"/>
                    </a:lnTo>
                    <a:lnTo>
                      <a:pt x="732" y="202"/>
                    </a:lnTo>
                    <a:lnTo>
                      <a:pt x="732" y="203"/>
                    </a:lnTo>
                    <a:lnTo>
                      <a:pt x="727" y="208"/>
                    </a:lnTo>
                    <a:lnTo>
                      <a:pt x="721" y="211"/>
                    </a:lnTo>
                    <a:lnTo>
                      <a:pt x="720" y="217"/>
                    </a:lnTo>
                    <a:lnTo>
                      <a:pt x="732" y="228"/>
                    </a:lnTo>
                    <a:lnTo>
                      <a:pt x="732" y="234"/>
                    </a:lnTo>
                    <a:lnTo>
                      <a:pt x="731" y="239"/>
                    </a:lnTo>
                    <a:lnTo>
                      <a:pt x="717" y="248"/>
                    </a:lnTo>
                    <a:lnTo>
                      <a:pt x="716" y="251"/>
                    </a:lnTo>
                    <a:lnTo>
                      <a:pt x="725" y="255"/>
                    </a:lnTo>
                    <a:lnTo>
                      <a:pt x="728" y="264"/>
                    </a:lnTo>
                    <a:lnTo>
                      <a:pt x="738" y="270"/>
                    </a:lnTo>
                    <a:lnTo>
                      <a:pt x="737" y="277"/>
                    </a:lnTo>
                    <a:lnTo>
                      <a:pt x="744" y="278"/>
                    </a:lnTo>
                    <a:lnTo>
                      <a:pt x="747" y="282"/>
                    </a:lnTo>
                    <a:lnTo>
                      <a:pt x="753" y="280"/>
                    </a:lnTo>
                    <a:lnTo>
                      <a:pt x="758" y="281"/>
                    </a:lnTo>
                    <a:lnTo>
                      <a:pt x="758" y="286"/>
                    </a:lnTo>
                    <a:lnTo>
                      <a:pt x="757" y="292"/>
                    </a:lnTo>
                    <a:lnTo>
                      <a:pt x="760" y="299"/>
                    </a:lnTo>
                    <a:lnTo>
                      <a:pt x="761" y="300"/>
                    </a:lnTo>
                    <a:lnTo>
                      <a:pt x="779" y="302"/>
                    </a:lnTo>
                    <a:lnTo>
                      <a:pt x="784" y="305"/>
                    </a:lnTo>
                    <a:lnTo>
                      <a:pt x="789" y="304"/>
                    </a:lnTo>
                    <a:lnTo>
                      <a:pt x="795" y="312"/>
                    </a:lnTo>
                    <a:lnTo>
                      <a:pt x="793" y="316"/>
                    </a:lnTo>
                    <a:lnTo>
                      <a:pt x="796" y="320"/>
                    </a:lnTo>
                    <a:lnTo>
                      <a:pt x="791" y="325"/>
                    </a:lnTo>
                    <a:lnTo>
                      <a:pt x="789" y="329"/>
                    </a:lnTo>
                    <a:lnTo>
                      <a:pt x="781" y="330"/>
                    </a:lnTo>
                    <a:lnTo>
                      <a:pt x="777" y="330"/>
                    </a:lnTo>
                    <a:lnTo>
                      <a:pt x="775" y="329"/>
                    </a:lnTo>
                    <a:lnTo>
                      <a:pt x="770" y="330"/>
                    </a:lnTo>
                    <a:lnTo>
                      <a:pt x="768" y="332"/>
                    </a:lnTo>
                    <a:lnTo>
                      <a:pt x="757" y="337"/>
                    </a:lnTo>
                    <a:lnTo>
                      <a:pt x="753" y="345"/>
                    </a:lnTo>
                    <a:lnTo>
                      <a:pt x="752" y="356"/>
                    </a:lnTo>
                    <a:lnTo>
                      <a:pt x="757" y="362"/>
                    </a:lnTo>
                    <a:lnTo>
                      <a:pt x="755" y="367"/>
                    </a:lnTo>
                    <a:lnTo>
                      <a:pt x="758" y="368"/>
                    </a:lnTo>
                    <a:lnTo>
                      <a:pt x="759" y="371"/>
                    </a:lnTo>
                    <a:lnTo>
                      <a:pt x="758" y="374"/>
                    </a:lnTo>
                    <a:lnTo>
                      <a:pt x="753" y="378"/>
                    </a:lnTo>
                    <a:lnTo>
                      <a:pt x="752" y="384"/>
                    </a:lnTo>
                    <a:lnTo>
                      <a:pt x="752" y="386"/>
                    </a:lnTo>
                    <a:lnTo>
                      <a:pt x="754" y="388"/>
                    </a:lnTo>
                    <a:lnTo>
                      <a:pt x="764" y="388"/>
                    </a:lnTo>
                    <a:lnTo>
                      <a:pt x="766" y="394"/>
                    </a:lnTo>
                    <a:lnTo>
                      <a:pt x="764" y="396"/>
                    </a:lnTo>
                    <a:lnTo>
                      <a:pt x="760" y="398"/>
                    </a:lnTo>
                    <a:lnTo>
                      <a:pt x="757" y="396"/>
                    </a:lnTo>
                    <a:lnTo>
                      <a:pt x="754" y="394"/>
                    </a:lnTo>
                    <a:lnTo>
                      <a:pt x="752" y="401"/>
                    </a:lnTo>
                    <a:lnTo>
                      <a:pt x="738" y="406"/>
                    </a:lnTo>
                    <a:lnTo>
                      <a:pt x="726" y="422"/>
                    </a:lnTo>
                    <a:lnTo>
                      <a:pt x="721" y="425"/>
                    </a:lnTo>
                    <a:lnTo>
                      <a:pt x="716" y="431"/>
                    </a:lnTo>
                    <a:lnTo>
                      <a:pt x="712" y="436"/>
                    </a:lnTo>
                    <a:lnTo>
                      <a:pt x="711" y="442"/>
                    </a:lnTo>
                    <a:lnTo>
                      <a:pt x="712" y="450"/>
                    </a:lnTo>
                    <a:lnTo>
                      <a:pt x="709" y="458"/>
                    </a:lnTo>
                    <a:lnTo>
                      <a:pt x="700" y="463"/>
                    </a:lnTo>
                    <a:lnTo>
                      <a:pt x="693" y="463"/>
                    </a:lnTo>
                    <a:lnTo>
                      <a:pt x="687" y="468"/>
                    </a:lnTo>
                    <a:lnTo>
                      <a:pt x="682" y="476"/>
                    </a:lnTo>
                    <a:lnTo>
                      <a:pt x="678" y="487"/>
                    </a:lnTo>
                    <a:lnTo>
                      <a:pt x="672" y="498"/>
                    </a:lnTo>
                    <a:lnTo>
                      <a:pt x="657" y="520"/>
                    </a:lnTo>
                    <a:lnTo>
                      <a:pt x="651" y="527"/>
                    </a:lnTo>
                    <a:lnTo>
                      <a:pt x="639" y="534"/>
                    </a:lnTo>
                    <a:lnTo>
                      <a:pt x="628" y="544"/>
                    </a:lnTo>
                    <a:lnTo>
                      <a:pt x="624" y="549"/>
                    </a:lnTo>
                    <a:lnTo>
                      <a:pt x="614" y="565"/>
                    </a:lnTo>
                    <a:lnTo>
                      <a:pt x="607" y="574"/>
                    </a:lnTo>
                    <a:lnTo>
                      <a:pt x="599" y="589"/>
                    </a:lnTo>
                    <a:lnTo>
                      <a:pt x="594" y="592"/>
                    </a:lnTo>
                    <a:lnTo>
                      <a:pt x="590" y="593"/>
                    </a:lnTo>
                    <a:lnTo>
                      <a:pt x="567" y="593"/>
                    </a:lnTo>
                    <a:lnTo>
                      <a:pt x="564" y="594"/>
                    </a:lnTo>
                    <a:lnTo>
                      <a:pt x="556" y="597"/>
                    </a:lnTo>
                    <a:lnTo>
                      <a:pt x="551" y="603"/>
                    </a:lnTo>
                    <a:lnTo>
                      <a:pt x="547" y="604"/>
                    </a:lnTo>
                    <a:lnTo>
                      <a:pt x="544" y="603"/>
                    </a:lnTo>
                    <a:lnTo>
                      <a:pt x="542" y="598"/>
                    </a:lnTo>
                    <a:lnTo>
                      <a:pt x="534" y="584"/>
                    </a:lnTo>
                    <a:lnTo>
                      <a:pt x="531" y="582"/>
                    </a:lnTo>
                    <a:lnTo>
                      <a:pt x="527" y="583"/>
                    </a:lnTo>
                    <a:lnTo>
                      <a:pt x="517" y="592"/>
                    </a:lnTo>
                    <a:lnTo>
                      <a:pt x="513" y="598"/>
                    </a:lnTo>
                    <a:lnTo>
                      <a:pt x="502" y="608"/>
                    </a:lnTo>
                    <a:lnTo>
                      <a:pt x="488" y="626"/>
                    </a:lnTo>
                    <a:lnTo>
                      <a:pt x="480" y="633"/>
                    </a:lnTo>
                    <a:lnTo>
                      <a:pt x="478" y="640"/>
                    </a:lnTo>
                    <a:lnTo>
                      <a:pt x="474" y="658"/>
                    </a:lnTo>
                    <a:lnTo>
                      <a:pt x="474" y="663"/>
                    </a:lnTo>
                    <a:lnTo>
                      <a:pt x="476" y="668"/>
                    </a:lnTo>
                    <a:lnTo>
                      <a:pt x="483" y="671"/>
                    </a:lnTo>
                    <a:lnTo>
                      <a:pt x="489" y="670"/>
                    </a:lnTo>
                    <a:lnTo>
                      <a:pt x="496" y="673"/>
                    </a:lnTo>
                    <a:lnTo>
                      <a:pt x="506" y="673"/>
                    </a:lnTo>
                    <a:lnTo>
                      <a:pt x="508" y="674"/>
                    </a:lnTo>
                    <a:lnTo>
                      <a:pt x="512" y="678"/>
                    </a:lnTo>
                    <a:lnTo>
                      <a:pt x="513" y="681"/>
                    </a:lnTo>
                    <a:lnTo>
                      <a:pt x="513" y="686"/>
                    </a:lnTo>
                    <a:lnTo>
                      <a:pt x="507" y="706"/>
                    </a:lnTo>
                    <a:lnTo>
                      <a:pt x="507" y="711"/>
                    </a:lnTo>
                    <a:lnTo>
                      <a:pt x="508" y="716"/>
                    </a:lnTo>
                    <a:lnTo>
                      <a:pt x="518" y="727"/>
                    </a:lnTo>
                    <a:lnTo>
                      <a:pt x="522" y="728"/>
                    </a:lnTo>
                    <a:lnTo>
                      <a:pt x="532" y="724"/>
                    </a:lnTo>
                    <a:lnTo>
                      <a:pt x="534" y="725"/>
                    </a:lnTo>
                    <a:lnTo>
                      <a:pt x="537" y="728"/>
                    </a:lnTo>
                    <a:lnTo>
                      <a:pt x="537" y="739"/>
                    </a:lnTo>
                    <a:lnTo>
                      <a:pt x="538" y="748"/>
                    </a:lnTo>
                    <a:lnTo>
                      <a:pt x="543" y="755"/>
                    </a:lnTo>
                    <a:lnTo>
                      <a:pt x="545" y="762"/>
                    </a:lnTo>
                    <a:lnTo>
                      <a:pt x="550" y="768"/>
                    </a:lnTo>
                    <a:lnTo>
                      <a:pt x="555" y="773"/>
                    </a:lnTo>
                    <a:lnTo>
                      <a:pt x="555" y="776"/>
                    </a:lnTo>
                    <a:lnTo>
                      <a:pt x="559" y="781"/>
                    </a:lnTo>
                    <a:lnTo>
                      <a:pt x="560" y="784"/>
                    </a:lnTo>
                    <a:lnTo>
                      <a:pt x="555" y="786"/>
                    </a:lnTo>
                    <a:lnTo>
                      <a:pt x="555" y="788"/>
                    </a:lnTo>
                    <a:lnTo>
                      <a:pt x="555" y="798"/>
                    </a:lnTo>
                    <a:lnTo>
                      <a:pt x="554" y="802"/>
                    </a:lnTo>
                    <a:lnTo>
                      <a:pt x="561" y="803"/>
                    </a:lnTo>
                    <a:lnTo>
                      <a:pt x="561" y="805"/>
                    </a:lnTo>
                    <a:lnTo>
                      <a:pt x="554" y="805"/>
                    </a:lnTo>
                    <a:lnTo>
                      <a:pt x="549" y="809"/>
                    </a:lnTo>
                    <a:lnTo>
                      <a:pt x="549" y="811"/>
                    </a:lnTo>
                    <a:lnTo>
                      <a:pt x="545" y="813"/>
                    </a:lnTo>
                    <a:lnTo>
                      <a:pt x="542" y="813"/>
                    </a:lnTo>
                    <a:lnTo>
                      <a:pt x="535" y="813"/>
                    </a:lnTo>
                    <a:lnTo>
                      <a:pt x="534" y="810"/>
                    </a:lnTo>
                    <a:lnTo>
                      <a:pt x="533" y="809"/>
                    </a:lnTo>
                    <a:lnTo>
                      <a:pt x="534" y="803"/>
                    </a:lnTo>
                    <a:lnTo>
                      <a:pt x="534" y="802"/>
                    </a:lnTo>
                    <a:lnTo>
                      <a:pt x="527" y="800"/>
                    </a:lnTo>
                    <a:lnTo>
                      <a:pt x="522" y="804"/>
                    </a:lnTo>
                    <a:lnTo>
                      <a:pt x="510" y="808"/>
                    </a:lnTo>
                    <a:lnTo>
                      <a:pt x="506" y="815"/>
                    </a:lnTo>
                    <a:lnTo>
                      <a:pt x="505" y="816"/>
                    </a:lnTo>
                    <a:lnTo>
                      <a:pt x="502" y="816"/>
                    </a:lnTo>
                    <a:lnTo>
                      <a:pt x="488" y="816"/>
                    </a:lnTo>
                    <a:lnTo>
                      <a:pt x="479" y="809"/>
                    </a:lnTo>
                    <a:lnTo>
                      <a:pt x="473" y="811"/>
                    </a:lnTo>
                    <a:lnTo>
                      <a:pt x="469" y="809"/>
                    </a:lnTo>
                    <a:lnTo>
                      <a:pt x="457" y="810"/>
                    </a:lnTo>
                    <a:lnTo>
                      <a:pt x="453" y="809"/>
                    </a:lnTo>
                    <a:lnTo>
                      <a:pt x="447" y="810"/>
                    </a:lnTo>
                    <a:lnTo>
                      <a:pt x="443" y="809"/>
                    </a:lnTo>
                    <a:lnTo>
                      <a:pt x="442" y="810"/>
                    </a:lnTo>
                    <a:lnTo>
                      <a:pt x="441" y="810"/>
                    </a:lnTo>
                    <a:lnTo>
                      <a:pt x="438" y="805"/>
                    </a:lnTo>
                    <a:lnTo>
                      <a:pt x="436" y="805"/>
                    </a:lnTo>
                    <a:lnTo>
                      <a:pt x="435" y="810"/>
                    </a:lnTo>
                    <a:lnTo>
                      <a:pt x="435" y="827"/>
                    </a:lnTo>
                    <a:lnTo>
                      <a:pt x="415" y="827"/>
                    </a:lnTo>
                    <a:lnTo>
                      <a:pt x="411" y="829"/>
                    </a:lnTo>
                    <a:lnTo>
                      <a:pt x="406" y="827"/>
                    </a:lnTo>
                    <a:lnTo>
                      <a:pt x="404" y="832"/>
                    </a:lnTo>
                    <a:lnTo>
                      <a:pt x="402" y="834"/>
                    </a:lnTo>
                    <a:lnTo>
                      <a:pt x="400" y="837"/>
                    </a:lnTo>
                    <a:lnTo>
                      <a:pt x="395" y="841"/>
                    </a:lnTo>
                    <a:lnTo>
                      <a:pt x="391" y="842"/>
                    </a:lnTo>
                    <a:lnTo>
                      <a:pt x="378" y="837"/>
                    </a:lnTo>
                    <a:lnTo>
                      <a:pt x="367" y="836"/>
                    </a:lnTo>
                    <a:lnTo>
                      <a:pt x="363" y="834"/>
                    </a:lnTo>
                    <a:lnTo>
                      <a:pt x="362" y="827"/>
                    </a:lnTo>
                    <a:lnTo>
                      <a:pt x="360" y="824"/>
                    </a:lnTo>
                    <a:lnTo>
                      <a:pt x="355" y="820"/>
                    </a:lnTo>
                    <a:lnTo>
                      <a:pt x="350" y="808"/>
                    </a:lnTo>
                    <a:lnTo>
                      <a:pt x="344" y="791"/>
                    </a:lnTo>
                    <a:lnTo>
                      <a:pt x="344" y="784"/>
                    </a:lnTo>
                    <a:lnTo>
                      <a:pt x="340" y="784"/>
                    </a:lnTo>
                    <a:lnTo>
                      <a:pt x="329" y="781"/>
                    </a:lnTo>
                    <a:lnTo>
                      <a:pt x="322" y="776"/>
                    </a:lnTo>
                    <a:lnTo>
                      <a:pt x="318" y="756"/>
                    </a:lnTo>
                    <a:lnTo>
                      <a:pt x="316" y="751"/>
                    </a:lnTo>
                    <a:lnTo>
                      <a:pt x="308" y="745"/>
                    </a:lnTo>
                    <a:lnTo>
                      <a:pt x="302" y="741"/>
                    </a:lnTo>
                    <a:lnTo>
                      <a:pt x="292" y="740"/>
                    </a:lnTo>
                    <a:lnTo>
                      <a:pt x="271" y="744"/>
                    </a:lnTo>
                    <a:lnTo>
                      <a:pt x="250" y="744"/>
                    </a:lnTo>
                    <a:lnTo>
                      <a:pt x="236" y="750"/>
                    </a:lnTo>
                    <a:lnTo>
                      <a:pt x="227" y="748"/>
                    </a:lnTo>
                    <a:lnTo>
                      <a:pt x="212" y="746"/>
                    </a:lnTo>
                    <a:lnTo>
                      <a:pt x="205" y="759"/>
                    </a:lnTo>
                    <a:lnTo>
                      <a:pt x="200" y="753"/>
                    </a:lnTo>
                    <a:lnTo>
                      <a:pt x="188" y="753"/>
                    </a:lnTo>
                    <a:lnTo>
                      <a:pt x="178" y="745"/>
                    </a:lnTo>
                    <a:lnTo>
                      <a:pt x="164" y="746"/>
                    </a:lnTo>
                    <a:lnTo>
                      <a:pt x="151" y="745"/>
                    </a:lnTo>
                    <a:lnTo>
                      <a:pt x="144" y="753"/>
                    </a:lnTo>
                    <a:lnTo>
                      <a:pt x="130" y="755"/>
                    </a:lnTo>
                    <a:lnTo>
                      <a:pt x="102" y="751"/>
                    </a:lnTo>
                    <a:lnTo>
                      <a:pt x="91" y="751"/>
                    </a:lnTo>
                    <a:lnTo>
                      <a:pt x="76" y="759"/>
                    </a:lnTo>
                    <a:lnTo>
                      <a:pt x="69" y="755"/>
                    </a:lnTo>
                    <a:lnTo>
                      <a:pt x="61" y="761"/>
                    </a:lnTo>
                    <a:lnTo>
                      <a:pt x="53" y="761"/>
                    </a:lnTo>
                    <a:lnTo>
                      <a:pt x="48" y="765"/>
                    </a:lnTo>
                    <a:lnTo>
                      <a:pt x="45" y="759"/>
                    </a:lnTo>
                    <a:lnTo>
                      <a:pt x="42" y="75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49" name="Freeform 101"/>
              <p:cNvSpPr>
                <a:spLocks noChangeAspect="1"/>
              </p:cNvSpPr>
              <p:nvPr/>
            </p:nvSpPr>
            <p:spPr bwMode="gray">
              <a:xfrm>
                <a:off x="3489" y="2165"/>
                <a:ext cx="37" cy="20"/>
              </a:xfrm>
              <a:custGeom>
                <a:avLst/>
                <a:gdLst/>
                <a:ahLst/>
                <a:cxnLst>
                  <a:cxn ang="0">
                    <a:pos x="164" y="32"/>
                  </a:cxn>
                  <a:cxn ang="0">
                    <a:pos x="164" y="30"/>
                  </a:cxn>
                  <a:cxn ang="0">
                    <a:pos x="150" y="22"/>
                  </a:cxn>
                  <a:cxn ang="0">
                    <a:pos x="148" y="18"/>
                  </a:cxn>
                  <a:cxn ang="0">
                    <a:pos x="145" y="17"/>
                  </a:cxn>
                  <a:cxn ang="0">
                    <a:pos x="130" y="21"/>
                  </a:cxn>
                  <a:cxn ang="0">
                    <a:pos x="126" y="21"/>
                  </a:cxn>
                  <a:cxn ang="0">
                    <a:pos x="112" y="16"/>
                  </a:cxn>
                  <a:cxn ang="0">
                    <a:pos x="96" y="15"/>
                  </a:cxn>
                  <a:cxn ang="0">
                    <a:pos x="89" y="10"/>
                  </a:cxn>
                  <a:cxn ang="0">
                    <a:pos x="89" y="7"/>
                  </a:cxn>
                  <a:cxn ang="0">
                    <a:pos x="85" y="1"/>
                  </a:cxn>
                  <a:cxn ang="0">
                    <a:pos x="79" y="0"/>
                  </a:cxn>
                  <a:cxn ang="0">
                    <a:pos x="65" y="1"/>
                  </a:cxn>
                  <a:cxn ang="0">
                    <a:pos x="53" y="6"/>
                  </a:cxn>
                  <a:cxn ang="0">
                    <a:pos x="42" y="17"/>
                  </a:cxn>
                  <a:cxn ang="0">
                    <a:pos x="32" y="33"/>
                  </a:cxn>
                  <a:cxn ang="0">
                    <a:pos x="11" y="53"/>
                  </a:cxn>
                  <a:cxn ang="0">
                    <a:pos x="10" y="59"/>
                  </a:cxn>
                  <a:cxn ang="0">
                    <a:pos x="9" y="63"/>
                  </a:cxn>
                  <a:cxn ang="0">
                    <a:pos x="0" y="71"/>
                  </a:cxn>
                  <a:cxn ang="0">
                    <a:pos x="0" y="76"/>
                  </a:cxn>
                  <a:cxn ang="0">
                    <a:pos x="5" y="77"/>
                  </a:cxn>
                  <a:cxn ang="0">
                    <a:pos x="6" y="80"/>
                  </a:cxn>
                  <a:cxn ang="0">
                    <a:pos x="6" y="87"/>
                  </a:cxn>
                  <a:cxn ang="0">
                    <a:pos x="8" y="88"/>
                  </a:cxn>
                  <a:cxn ang="0">
                    <a:pos x="11" y="88"/>
                  </a:cxn>
                  <a:cxn ang="0">
                    <a:pos x="15" y="91"/>
                  </a:cxn>
                  <a:cxn ang="0">
                    <a:pos x="26" y="95"/>
                  </a:cxn>
                  <a:cxn ang="0">
                    <a:pos x="49" y="98"/>
                  </a:cxn>
                  <a:cxn ang="0">
                    <a:pos x="68" y="98"/>
                  </a:cxn>
                  <a:cxn ang="0">
                    <a:pos x="91" y="90"/>
                  </a:cxn>
                  <a:cxn ang="0">
                    <a:pos x="96" y="90"/>
                  </a:cxn>
                  <a:cxn ang="0">
                    <a:pos x="106" y="93"/>
                  </a:cxn>
                  <a:cxn ang="0">
                    <a:pos x="115" y="93"/>
                  </a:cxn>
                  <a:cxn ang="0">
                    <a:pos x="123" y="92"/>
                  </a:cxn>
                  <a:cxn ang="0">
                    <a:pos x="144" y="88"/>
                  </a:cxn>
                  <a:cxn ang="0">
                    <a:pos x="158" y="87"/>
                  </a:cxn>
                  <a:cxn ang="0">
                    <a:pos x="178" y="84"/>
                  </a:cxn>
                  <a:cxn ang="0">
                    <a:pos x="186" y="80"/>
                  </a:cxn>
                  <a:cxn ang="0">
                    <a:pos x="186" y="77"/>
                  </a:cxn>
                  <a:cxn ang="0">
                    <a:pos x="185" y="73"/>
                  </a:cxn>
                  <a:cxn ang="0">
                    <a:pos x="187" y="59"/>
                  </a:cxn>
                  <a:cxn ang="0">
                    <a:pos x="181" y="53"/>
                  </a:cxn>
                  <a:cxn ang="0">
                    <a:pos x="162" y="45"/>
                  </a:cxn>
                  <a:cxn ang="0">
                    <a:pos x="161" y="43"/>
                  </a:cxn>
                  <a:cxn ang="0">
                    <a:pos x="161" y="41"/>
                  </a:cxn>
                  <a:cxn ang="0">
                    <a:pos x="164" y="34"/>
                  </a:cxn>
                  <a:cxn ang="0">
                    <a:pos x="164" y="32"/>
                  </a:cxn>
                </a:cxnLst>
                <a:rect l="0" t="0" r="r" b="b"/>
                <a:pathLst>
                  <a:path w="187" h="98">
                    <a:moveTo>
                      <a:pt x="164" y="32"/>
                    </a:moveTo>
                    <a:lnTo>
                      <a:pt x="164" y="30"/>
                    </a:lnTo>
                    <a:lnTo>
                      <a:pt x="150" y="22"/>
                    </a:lnTo>
                    <a:lnTo>
                      <a:pt x="148" y="18"/>
                    </a:lnTo>
                    <a:lnTo>
                      <a:pt x="145" y="17"/>
                    </a:lnTo>
                    <a:lnTo>
                      <a:pt x="130" y="21"/>
                    </a:lnTo>
                    <a:lnTo>
                      <a:pt x="126" y="21"/>
                    </a:lnTo>
                    <a:lnTo>
                      <a:pt x="112" y="16"/>
                    </a:lnTo>
                    <a:lnTo>
                      <a:pt x="96" y="15"/>
                    </a:lnTo>
                    <a:lnTo>
                      <a:pt x="89" y="10"/>
                    </a:lnTo>
                    <a:lnTo>
                      <a:pt x="89" y="7"/>
                    </a:lnTo>
                    <a:lnTo>
                      <a:pt x="85" y="1"/>
                    </a:lnTo>
                    <a:lnTo>
                      <a:pt x="79" y="0"/>
                    </a:lnTo>
                    <a:lnTo>
                      <a:pt x="65" y="1"/>
                    </a:lnTo>
                    <a:lnTo>
                      <a:pt x="53" y="6"/>
                    </a:lnTo>
                    <a:lnTo>
                      <a:pt x="42" y="17"/>
                    </a:lnTo>
                    <a:lnTo>
                      <a:pt x="32" y="33"/>
                    </a:lnTo>
                    <a:lnTo>
                      <a:pt x="11" y="53"/>
                    </a:lnTo>
                    <a:lnTo>
                      <a:pt x="10" y="59"/>
                    </a:lnTo>
                    <a:lnTo>
                      <a:pt x="9" y="63"/>
                    </a:lnTo>
                    <a:lnTo>
                      <a:pt x="0" y="71"/>
                    </a:lnTo>
                    <a:lnTo>
                      <a:pt x="0" y="76"/>
                    </a:lnTo>
                    <a:lnTo>
                      <a:pt x="5" y="77"/>
                    </a:lnTo>
                    <a:lnTo>
                      <a:pt x="6" y="80"/>
                    </a:lnTo>
                    <a:lnTo>
                      <a:pt x="6" y="87"/>
                    </a:lnTo>
                    <a:lnTo>
                      <a:pt x="8" y="88"/>
                    </a:lnTo>
                    <a:lnTo>
                      <a:pt x="11" y="88"/>
                    </a:lnTo>
                    <a:lnTo>
                      <a:pt x="15" y="91"/>
                    </a:lnTo>
                    <a:lnTo>
                      <a:pt x="26" y="95"/>
                    </a:lnTo>
                    <a:lnTo>
                      <a:pt x="49" y="98"/>
                    </a:lnTo>
                    <a:lnTo>
                      <a:pt x="68" y="98"/>
                    </a:lnTo>
                    <a:lnTo>
                      <a:pt x="91" y="90"/>
                    </a:lnTo>
                    <a:lnTo>
                      <a:pt x="96" y="90"/>
                    </a:lnTo>
                    <a:lnTo>
                      <a:pt x="106" y="93"/>
                    </a:lnTo>
                    <a:lnTo>
                      <a:pt x="115" y="93"/>
                    </a:lnTo>
                    <a:lnTo>
                      <a:pt x="123" y="92"/>
                    </a:lnTo>
                    <a:lnTo>
                      <a:pt x="144" y="88"/>
                    </a:lnTo>
                    <a:lnTo>
                      <a:pt x="158" y="87"/>
                    </a:lnTo>
                    <a:lnTo>
                      <a:pt x="178" y="84"/>
                    </a:lnTo>
                    <a:lnTo>
                      <a:pt x="186" y="80"/>
                    </a:lnTo>
                    <a:lnTo>
                      <a:pt x="186" y="77"/>
                    </a:lnTo>
                    <a:lnTo>
                      <a:pt x="185" y="73"/>
                    </a:lnTo>
                    <a:lnTo>
                      <a:pt x="187" y="59"/>
                    </a:lnTo>
                    <a:lnTo>
                      <a:pt x="181" y="53"/>
                    </a:lnTo>
                    <a:lnTo>
                      <a:pt x="162" y="45"/>
                    </a:lnTo>
                    <a:lnTo>
                      <a:pt x="161" y="43"/>
                    </a:lnTo>
                    <a:lnTo>
                      <a:pt x="161" y="41"/>
                    </a:lnTo>
                    <a:lnTo>
                      <a:pt x="164" y="34"/>
                    </a:lnTo>
                    <a:lnTo>
                      <a:pt x="164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50" name="Freeform 102"/>
              <p:cNvSpPr>
                <a:spLocks noChangeAspect="1"/>
              </p:cNvSpPr>
              <p:nvPr/>
            </p:nvSpPr>
            <p:spPr bwMode="gray">
              <a:xfrm>
                <a:off x="3394" y="2140"/>
                <a:ext cx="88" cy="49"/>
              </a:xfrm>
              <a:custGeom>
                <a:avLst/>
                <a:gdLst/>
                <a:ahLst/>
                <a:cxnLst>
                  <a:cxn ang="0">
                    <a:pos x="432" y="170"/>
                  </a:cxn>
                  <a:cxn ang="0">
                    <a:pos x="428" y="203"/>
                  </a:cxn>
                  <a:cxn ang="0">
                    <a:pos x="441" y="221"/>
                  </a:cxn>
                  <a:cxn ang="0">
                    <a:pos x="434" y="242"/>
                  </a:cxn>
                  <a:cxn ang="0">
                    <a:pos x="396" y="242"/>
                  </a:cxn>
                  <a:cxn ang="0">
                    <a:pos x="368" y="238"/>
                  </a:cxn>
                  <a:cxn ang="0">
                    <a:pos x="308" y="224"/>
                  </a:cxn>
                  <a:cxn ang="0">
                    <a:pos x="267" y="218"/>
                  </a:cxn>
                  <a:cxn ang="0">
                    <a:pos x="239" y="191"/>
                  </a:cxn>
                  <a:cxn ang="0">
                    <a:pos x="211" y="184"/>
                  </a:cxn>
                  <a:cxn ang="0">
                    <a:pos x="192" y="184"/>
                  </a:cxn>
                  <a:cxn ang="0">
                    <a:pos x="168" y="187"/>
                  </a:cxn>
                  <a:cxn ang="0">
                    <a:pos x="136" y="168"/>
                  </a:cxn>
                  <a:cxn ang="0">
                    <a:pos x="114" y="159"/>
                  </a:cxn>
                  <a:cxn ang="0">
                    <a:pos x="83" y="148"/>
                  </a:cxn>
                  <a:cxn ang="0">
                    <a:pos x="57" y="124"/>
                  </a:cxn>
                  <a:cxn ang="0">
                    <a:pos x="32" y="109"/>
                  </a:cxn>
                  <a:cxn ang="0">
                    <a:pos x="23" y="113"/>
                  </a:cxn>
                  <a:cxn ang="0">
                    <a:pos x="12" y="98"/>
                  </a:cxn>
                  <a:cxn ang="0">
                    <a:pos x="1" y="87"/>
                  </a:cxn>
                  <a:cxn ang="0">
                    <a:pos x="11" y="71"/>
                  </a:cxn>
                  <a:cxn ang="0">
                    <a:pos x="14" y="51"/>
                  </a:cxn>
                  <a:cxn ang="0">
                    <a:pos x="17" y="34"/>
                  </a:cxn>
                  <a:cxn ang="0">
                    <a:pos x="30" y="22"/>
                  </a:cxn>
                  <a:cxn ang="0">
                    <a:pos x="43" y="6"/>
                  </a:cxn>
                  <a:cxn ang="0">
                    <a:pos x="54" y="4"/>
                  </a:cxn>
                  <a:cxn ang="0">
                    <a:pos x="67" y="18"/>
                  </a:cxn>
                  <a:cxn ang="0">
                    <a:pos x="71" y="8"/>
                  </a:cxn>
                  <a:cxn ang="0">
                    <a:pos x="73" y="0"/>
                  </a:cxn>
                  <a:cxn ang="0">
                    <a:pos x="110" y="7"/>
                  </a:cxn>
                  <a:cxn ang="0">
                    <a:pos x="141" y="24"/>
                  </a:cxn>
                  <a:cxn ang="0">
                    <a:pos x="174" y="46"/>
                  </a:cxn>
                  <a:cxn ang="0">
                    <a:pos x="186" y="77"/>
                  </a:cxn>
                  <a:cxn ang="0">
                    <a:pos x="200" y="74"/>
                  </a:cxn>
                  <a:cxn ang="0">
                    <a:pos x="207" y="67"/>
                  </a:cxn>
                  <a:cxn ang="0">
                    <a:pos x="221" y="63"/>
                  </a:cxn>
                  <a:cxn ang="0">
                    <a:pos x="226" y="73"/>
                  </a:cxn>
                  <a:cxn ang="0">
                    <a:pos x="226" y="95"/>
                  </a:cxn>
                  <a:cxn ang="0">
                    <a:pos x="235" y="101"/>
                  </a:cxn>
                  <a:cxn ang="0">
                    <a:pos x="251" y="104"/>
                  </a:cxn>
                  <a:cxn ang="0">
                    <a:pos x="272" y="106"/>
                  </a:cxn>
                  <a:cxn ang="0">
                    <a:pos x="277" y="117"/>
                  </a:cxn>
                  <a:cxn ang="0">
                    <a:pos x="301" y="131"/>
                  </a:cxn>
                  <a:cxn ang="0">
                    <a:pos x="315" y="142"/>
                  </a:cxn>
                  <a:cxn ang="0">
                    <a:pos x="329" y="149"/>
                  </a:cxn>
                  <a:cxn ang="0">
                    <a:pos x="344" y="149"/>
                  </a:cxn>
                  <a:cxn ang="0">
                    <a:pos x="356" y="144"/>
                  </a:cxn>
                  <a:cxn ang="0">
                    <a:pos x="377" y="151"/>
                  </a:cxn>
                  <a:cxn ang="0">
                    <a:pos x="398" y="158"/>
                  </a:cxn>
                  <a:cxn ang="0">
                    <a:pos x="422" y="159"/>
                  </a:cxn>
                  <a:cxn ang="0">
                    <a:pos x="439" y="151"/>
                  </a:cxn>
                </a:cxnLst>
                <a:rect l="0" t="0" r="r" b="b"/>
                <a:pathLst>
                  <a:path w="441" h="244">
                    <a:moveTo>
                      <a:pt x="439" y="151"/>
                    </a:moveTo>
                    <a:lnTo>
                      <a:pt x="436" y="158"/>
                    </a:lnTo>
                    <a:lnTo>
                      <a:pt x="432" y="170"/>
                    </a:lnTo>
                    <a:lnTo>
                      <a:pt x="433" y="185"/>
                    </a:lnTo>
                    <a:lnTo>
                      <a:pt x="432" y="199"/>
                    </a:lnTo>
                    <a:lnTo>
                      <a:pt x="428" y="203"/>
                    </a:lnTo>
                    <a:lnTo>
                      <a:pt x="428" y="207"/>
                    </a:lnTo>
                    <a:lnTo>
                      <a:pt x="436" y="211"/>
                    </a:lnTo>
                    <a:lnTo>
                      <a:pt x="441" y="221"/>
                    </a:lnTo>
                    <a:lnTo>
                      <a:pt x="441" y="228"/>
                    </a:lnTo>
                    <a:lnTo>
                      <a:pt x="434" y="239"/>
                    </a:lnTo>
                    <a:lnTo>
                      <a:pt x="434" y="242"/>
                    </a:lnTo>
                    <a:lnTo>
                      <a:pt x="422" y="240"/>
                    </a:lnTo>
                    <a:lnTo>
                      <a:pt x="411" y="243"/>
                    </a:lnTo>
                    <a:lnTo>
                      <a:pt x="396" y="242"/>
                    </a:lnTo>
                    <a:lnTo>
                      <a:pt x="388" y="244"/>
                    </a:lnTo>
                    <a:lnTo>
                      <a:pt x="378" y="239"/>
                    </a:lnTo>
                    <a:lnTo>
                      <a:pt x="368" y="238"/>
                    </a:lnTo>
                    <a:lnTo>
                      <a:pt x="362" y="238"/>
                    </a:lnTo>
                    <a:lnTo>
                      <a:pt x="315" y="230"/>
                    </a:lnTo>
                    <a:lnTo>
                      <a:pt x="308" y="224"/>
                    </a:lnTo>
                    <a:lnTo>
                      <a:pt x="299" y="221"/>
                    </a:lnTo>
                    <a:lnTo>
                      <a:pt x="287" y="222"/>
                    </a:lnTo>
                    <a:lnTo>
                      <a:pt x="267" y="218"/>
                    </a:lnTo>
                    <a:lnTo>
                      <a:pt x="255" y="210"/>
                    </a:lnTo>
                    <a:lnTo>
                      <a:pt x="249" y="205"/>
                    </a:lnTo>
                    <a:lnTo>
                      <a:pt x="239" y="191"/>
                    </a:lnTo>
                    <a:lnTo>
                      <a:pt x="232" y="187"/>
                    </a:lnTo>
                    <a:lnTo>
                      <a:pt x="213" y="184"/>
                    </a:lnTo>
                    <a:lnTo>
                      <a:pt x="211" y="184"/>
                    </a:lnTo>
                    <a:lnTo>
                      <a:pt x="208" y="187"/>
                    </a:lnTo>
                    <a:lnTo>
                      <a:pt x="202" y="186"/>
                    </a:lnTo>
                    <a:lnTo>
                      <a:pt x="192" y="184"/>
                    </a:lnTo>
                    <a:lnTo>
                      <a:pt x="183" y="183"/>
                    </a:lnTo>
                    <a:lnTo>
                      <a:pt x="173" y="187"/>
                    </a:lnTo>
                    <a:lnTo>
                      <a:pt x="168" y="187"/>
                    </a:lnTo>
                    <a:lnTo>
                      <a:pt x="148" y="183"/>
                    </a:lnTo>
                    <a:lnTo>
                      <a:pt x="138" y="170"/>
                    </a:lnTo>
                    <a:lnTo>
                      <a:pt x="136" y="168"/>
                    </a:lnTo>
                    <a:lnTo>
                      <a:pt x="127" y="167"/>
                    </a:lnTo>
                    <a:lnTo>
                      <a:pt x="124" y="167"/>
                    </a:lnTo>
                    <a:lnTo>
                      <a:pt x="114" y="159"/>
                    </a:lnTo>
                    <a:lnTo>
                      <a:pt x="103" y="154"/>
                    </a:lnTo>
                    <a:lnTo>
                      <a:pt x="93" y="153"/>
                    </a:lnTo>
                    <a:lnTo>
                      <a:pt x="83" y="148"/>
                    </a:lnTo>
                    <a:lnTo>
                      <a:pt x="78" y="144"/>
                    </a:lnTo>
                    <a:lnTo>
                      <a:pt x="66" y="130"/>
                    </a:lnTo>
                    <a:lnTo>
                      <a:pt x="57" y="124"/>
                    </a:lnTo>
                    <a:lnTo>
                      <a:pt x="49" y="120"/>
                    </a:lnTo>
                    <a:lnTo>
                      <a:pt x="45" y="116"/>
                    </a:lnTo>
                    <a:lnTo>
                      <a:pt x="32" y="109"/>
                    </a:lnTo>
                    <a:lnTo>
                      <a:pt x="28" y="109"/>
                    </a:lnTo>
                    <a:lnTo>
                      <a:pt x="28" y="113"/>
                    </a:lnTo>
                    <a:lnTo>
                      <a:pt x="23" y="113"/>
                    </a:lnTo>
                    <a:lnTo>
                      <a:pt x="18" y="109"/>
                    </a:lnTo>
                    <a:lnTo>
                      <a:pt x="17" y="103"/>
                    </a:lnTo>
                    <a:lnTo>
                      <a:pt x="12" y="98"/>
                    </a:lnTo>
                    <a:lnTo>
                      <a:pt x="1" y="97"/>
                    </a:lnTo>
                    <a:lnTo>
                      <a:pt x="0" y="94"/>
                    </a:lnTo>
                    <a:lnTo>
                      <a:pt x="1" y="87"/>
                    </a:lnTo>
                    <a:lnTo>
                      <a:pt x="6" y="79"/>
                    </a:lnTo>
                    <a:lnTo>
                      <a:pt x="9" y="78"/>
                    </a:lnTo>
                    <a:lnTo>
                      <a:pt x="11" y="71"/>
                    </a:lnTo>
                    <a:lnTo>
                      <a:pt x="14" y="67"/>
                    </a:lnTo>
                    <a:lnTo>
                      <a:pt x="11" y="58"/>
                    </a:lnTo>
                    <a:lnTo>
                      <a:pt x="14" y="51"/>
                    </a:lnTo>
                    <a:lnTo>
                      <a:pt x="19" y="45"/>
                    </a:lnTo>
                    <a:lnTo>
                      <a:pt x="17" y="38"/>
                    </a:lnTo>
                    <a:lnTo>
                      <a:pt x="17" y="34"/>
                    </a:lnTo>
                    <a:lnTo>
                      <a:pt x="21" y="29"/>
                    </a:lnTo>
                    <a:lnTo>
                      <a:pt x="27" y="29"/>
                    </a:lnTo>
                    <a:lnTo>
                      <a:pt x="30" y="22"/>
                    </a:lnTo>
                    <a:lnTo>
                      <a:pt x="38" y="17"/>
                    </a:lnTo>
                    <a:lnTo>
                      <a:pt x="41" y="11"/>
                    </a:lnTo>
                    <a:lnTo>
                      <a:pt x="43" y="6"/>
                    </a:lnTo>
                    <a:lnTo>
                      <a:pt x="45" y="4"/>
                    </a:lnTo>
                    <a:lnTo>
                      <a:pt x="48" y="7"/>
                    </a:lnTo>
                    <a:lnTo>
                      <a:pt x="54" y="4"/>
                    </a:lnTo>
                    <a:lnTo>
                      <a:pt x="56" y="6"/>
                    </a:lnTo>
                    <a:lnTo>
                      <a:pt x="59" y="11"/>
                    </a:lnTo>
                    <a:lnTo>
                      <a:pt x="67" y="18"/>
                    </a:lnTo>
                    <a:lnTo>
                      <a:pt x="68" y="14"/>
                    </a:lnTo>
                    <a:lnTo>
                      <a:pt x="67" y="12"/>
                    </a:lnTo>
                    <a:lnTo>
                      <a:pt x="71" y="8"/>
                    </a:lnTo>
                    <a:lnTo>
                      <a:pt x="71" y="2"/>
                    </a:lnTo>
                    <a:lnTo>
                      <a:pt x="71" y="1"/>
                    </a:lnTo>
                    <a:lnTo>
                      <a:pt x="73" y="0"/>
                    </a:lnTo>
                    <a:lnTo>
                      <a:pt x="89" y="2"/>
                    </a:lnTo>
                    <a:lnTo>
                      <a:pt x="92" y="3"/>
                    </a:lnTo>
                    <a:lnTo>
                      <a:pt x="110" y="7"/>
                    </a:lnTo>
                    <a:lnTo>
                      <a:pt x="130" y="13"/>
                    </a:lnTo>
                    <a:lnTo>
                      <a:pt x="135" y="15"/>
                    </a:lnTo>
                    <a:lnTo>
                      <a:pt x="141" y="24"/>
                    </a:lnTo>
                    <a:lnTo>
                      <a:pt x="151" y="33"/>
                    </a:lnTo>
                    <a:lnTo>
                      <a:pt x="163" y="36"/>
                    </a:lnTo>
                    <a:lnTo>
                      <a:pt x="174" y="46"/>
                    </a:lnTo>
                    <a:lnTo>
                      <a:pt x="181" y="55"/>
                    </a:lnTo>
                    <a:lnTo>
                      <a:pt x="184" y="72"/>
                    </a:lnTo>
                    <a:lnTo>
                      <a:pt x="186" y="77"/>
                    </a:lnTo>
                    <a:lnTo>
                      <a:pt x="192" y="79"/>
                    </a:lnTo>
                    <a:lnTo>
                      <a:pt x="196" y="79"/>
                    </a:lnTo>
                    <a:lnTo>
                      <a:pt x="200" y="74"/>
                    </a:lnTo>
                    <a:lnTo>
                      <a:pt x="204" y="73"/>
                    </a:lnTo>
                    <a:lnTo>
                      <a:pt x="207" y="70"/>
                    </a:lnTo>
                    <a:lnTo>
                      <a:pt x="207" y="67"/>
                    </a:lnTo>
                    <a:lnTo>
                      <a:pt x="211" y="63"/>
                    </a:lnTo>
                    <a:lnTo>
                      <a:pt x="215" y="65"/>
                    </a:lnTo>
                    <a:lnTo>
                      <a:pt x="221" y="63"/>
                    </a:lnTo>
                    <a:lnTo>
                      <a:pt x="227" y="65"/>
                    </a:lnTo>
                    <a:lnTo>
                      <a:pt x="229" y="67"/>
                    </a:lnTo>
                    <a:lnTo>
                      <a:pt x="226" y="73"/>
                    </a:lnTo>
                    <a:lnTo>
                      <a:pt x="227" y="79"/>
                    </a:lnTo>
                    <a:lnTo>
                      <a:pt x="224" y="92"/>
                    </a:lnTo>
                    <a:lnTo>
                      <a:pt x="226" y="95"/>
                    </a:lnTo>
                    <a:lnTo>
                      <a:pt x="231" y="93"/>
                    </a:lnTo>
                    <a:lnTo>
                      <a:pt x="233" y="98"/>
                    </a:lnTo>
                    <a:lnTo>
                      <a:pt x="235" y="101"/>
                    </a:lnTo>
                    <a:lnTo>
                      <a:pt x="240" y="101"/>
                    </a:lnTo>
                    <a:lnTo>
                      <a:pt x="245" y="105"/>
                    </a:lnTo>
                    <a:lnTo>
                      <a:pt x="251" y="104"/>
                    </a:lnTo>
                    <a:lnTo>
                      <a:pt x="259" y="106"/>
                    </a:lnTo>
                    <a:lnTo>
                      <a:pt x="267" y="108"/>
                    </a:lnTo>
                    <a:lnTo>
                      <a:pt x="272" y="106"/>
                    </a:lnTo>
                    <a:lnTo>
                      <a:pt x="277" y="103"/>
                    </a:lnTo>
                    <a:lnTo>
                      <a:pt x="280" y="104"/>
                    </a:lnTo>
                    <a:lnTo>
                      <a:pt x="277" y="117"/>
                    </a:lnTo>
                    <a:lnTo>
                      <a:pt x="278" y="124"/>
                    </a:lnTo>
                    <a:lnTo>
                      <a:pt x="293" y="133"/>
                    </a:lnTo>
                    <a:lnTo>
                      <a:pt x="301" y="131"/>
                    </a:lnTo>
                    <a:lnTo>
                      <a:pt x="308" y="132"/>
                    </a:lnTo>
                    <a:lnTo>
                      <a:pt x="314" y="138"/>
                    </a:lnTo>
                    <a:lnTo>
                      <a:pt x="315" y="142"/>
                    </a:lnTo>
                    <a:lnTo>
                      <a:pt x="319" y="148"/>
                    </a:lnTo>
                    <a:lnTo>
                      <a:pt x="323" y="151"/>
                    </a:lnTo>
                    <a:lnTo>
                      <a:pt x="329" y="149"/>
                    </a:lnTo>
                    <a:lnTo>
                      <a:pt x="333" y="147"/>
                    </a:lnTo>
                    <a:lnTo>
                      <a:pt x="339" y="151"/>
                    </a:lnTo>
                    <a:lnTo>
                      <a:pt x="344" y="149"/>
                    </a:lnTo>
                    <a:lnTo>
                      <a:pt x="350" y="152"/>
                    </a:lnTo>
                    <a:lnTo>
                      <a:pt x="352" y="151"/>
                    </a:lnTo>
                    <a:lnTo>
                      <a:pt x="356" y="144"/>
                    </a:lnTo>
                    <a:lnTo>
                      <a:pt x="361" y="143"/>
                    </a:lnTo>
                    <a:lnTo>
                      <a:pt x="369" y="144"/>
                    </a:lnTo>
                    <a:lnTo>
                      <a:pt x="377" y="151"/>
                    </a:lnTo>
                    <a:lnTo>
                      <a:pt x="387" y="153"/>
                    </a:lnTo>
                    <a:lnTo>
                      <a:pt x="394" y="157"/>
                    </a:lnTo>
                    <a:lnTo>
                      <a:pt x="398" y="158"/>
                    </a:lnTo>
                    <a:lnTo>
                      <a:pt x="405" y="156"/>
                    </a:lnTo>
                    <a:lnTo>
                      <a:pt x="419" y="159"/>
                    </a:lnTo>
                    <a:lnTo>
                      <a:pt x="422" y="159"/>
                    </a:lnTo>
                    <a:lnTo>
                      <a:pt x="428" y="151"/>
                    </a:lnTo>
                    <a:lnTo>
                      <a:pt x="436" y="149"/>
                    </a:lnTo>
                    <a:lnTo>
                      <a:pt x="439" y="15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51" name="Freeform 103"/>
              <p:cNvSpPr>
                <a:spLocks noChangeAspect="1"/>
              </p:cNvSpPr>
              <p:nvPr/>
            </p:nvSpPr>
            <p:spPr bwMode="gray">
              <a:xfrm>
                <a:off x="3479" y="2187"/>
                <a:ext cx="52" cy="67"/>
              </a:xfrm>
              <a:custGeom>
                <a:avLst/>
                <a:gdLst/>
                <a:ahLst/>
                <a:cxnLst>
                  <a:cxn ang="0">
                    <a:pos x="241" y="337"/>
                  </a:cxn>
                  <a:cxn ang="0">
                    <a:pos x="226" y="291"/>
                  </a:cxn>
                  <a:cxn ang="0">
                    <a:pos x="221" y="257"/>
                  </a:cxn>
                  <a:cxn ang="0">
                    <a:pos x="198" y="225"/>
                  </a:cxn>
                  <a:cxn ang="0">
                    <a:pos x="174" y="230"/>
                  </a:cxn>
                  <a:cxn ang="0">
                    <a:pos x="161" y="215"/>
                  </a:cxn>
                  <a:cxn ang="0">
                    <a:pos x="153" y="227"/>
                  </a:cxn>
                  <a:cxn ang="0">
                    <a:pos x="149" y="246"/>
                  </a:cxn>
                  <a:cxn ang="0">
                    <a:pos x="129" y="283"/>
                  </a:cxn>
                  <a:cxn ang="0">
                    <a:pos x="115" y="267"/>
                  </a:cxn>
                  <a:cxn ang="0">
                    <a:pos x="108" y="279"/>
                  </a:cxn>
                  <a:cxn ang="0">
                    <a:pos x="96" y="280"/>
                  </a:cxn>
                  <a:cxn ang="0">
                    <a:pos x="80" y="284"/>
                  </a:cxn>
                  <a:cxn ang="0">
                    <a:pos x="75" y="286"/>
                  </a:cxn>
                  <a:cxn ang="0">
                    <a:pos x="69" y="291"/>
                  </a:cxn>
                  <a:cxn ang="0">
                    <a:pos x="58" y="292"/>
                  </a:cxn>
                  <a:cxn ang="0">
                    <a:pos x="53" y="273"/>
                  </a:cxn>
                  <a:cxn ang="0">
                    <a:pos x="49" y="258"/>
                  </a:cxn>
                  <a:cxn ang="0">
                    <a:pos x="48" y="241"/>
                  </a:cxn>
                  <a:cxn ang="0">
                    <a:pos x="40" y="227"/>
                  </a:cxn>
                  <a:cxn ang="0">
                    <a:pos x="42" y="215"/>
                  </a:cxn>
                  <a:cxn ang="0">
                    <a:pos x="42" y="195"/>
                  </a:cxn>
                  <a:cxn ang="0">
                    <a:pos x="38" y="179"/>
                  </a:cxn>
                  <a:cxn ang="0">
                    <a:pos x="32" y="165"/>
                  </a:cxn>
                  <a:cxn ang="0">
                    <a:pos x="36" y="133"/>
                  </a:cxn>
                  <a:cxn ang="0">
                    <a:pos x="21" y="118"/>
                  </a:cxn>
                  <a:cxn ang="0">
                    <a:pos x="1" y="109"/>
                  </a:cxn>
                  <a:cxn ang="0">
                    <a:pos x="1" y="98"/>
                  </a:cxn>
                  <a:cxn ang="0">
                    <a:pos x="13" y="89"/>
                  </a:cxn>
                  <a:cxn ang="0">
                    <a:pos x="22" y="78"/>
                  </a:cxn>
                  <a:cxn ang="0">
                    <a:pos x="42" y="68"/>
                  </a:cxn>
                  <a:cxn ang="0">
                    <a:pos x="39" y="60"/>
                  </a:cxn>
                  <a:cxn ang="0">
                    <a:pos x="17" y="57"/>
                  </a:cxn>
                  <a:cxn ang="0">
                    <a:pos x="11" y="39"/>
                  </a:cxn>
                  <a:cxn ang="0">
                    <a:pos x="28" y="3"/>
                  </a:cxn>
                  <a:cxn ang="0">
                    <a:pos x="42" y="17"/>
                  </a:cxn>
                  <a:cxn ang="0">
                    <a:pos x="49" y="17"/>
                  </a:cxn>
                  <a:cxn ang="0">
                    <a:pos x="59" y="8"/>
                  </a:cxn>
                  <a:cxn ang="0">
                    <a:pos x="69" y="31"/>
                  </a:cxn>
                  <a:cxn ang="0">
                    <a:pos x="82" y="33"/>
                  </a:cxn>
                  <a:cxn ang="0">
                    <a:pos x="93" y="23"/>
                  </a:cxn>
                  <a:cxn ang="0">
                    <a:pos x="101" y="62"/>
                  </a:cxn>
                  <a:cxn ang="0">
                    <a:pos x="118" y="75"/>
                  </a:cxn>
                  <a:cxn ang="0">
                    <a:pos x="166" y="76"/>
                  </a:cxn>
                  <a:cxn ang="0">
                    <a:pos x="203" y="76"/>
                  </a:cxn>
                  <a:cxn ang="0">
                    <a:pos x="242" y="86"/>
                  </a:cxn>
                  <a:cxn ang="0">
                    <a:pos x="231" y="96"/>
                  </a:cxn>
                  <a:cxn ang="0">
                    <a:pos x="214" y="124"/>
                  </a:cxn>
                  <a:cxn ang="0">
                    <a:pos x="192" y="140"/>
                  </a:cxn>
                  <a:cxn ang="0">
                    <a:pos x="176" y="157"/>
                  </a:cxn>
                  <a:cxn ang="0">
                    <a:pos x="184" y="193"/>
                  </a:cxn>
                  <a:cxn ang="0">
                    <a:pos x="199" y="204"/>
                  </a:cxn>
                  <a:cxn ang="0">
                    <a:pos x="211" y="202"/>
                  </a:cxn>
                  <a:cxn ang="0">
                    <a:pos x="228" y="166"/>
                  </a:cxn>
                  <a:cxn ang="0">
                    <a:pos x="241" y="181"/>
                  </a:cxn>
                  <a:cxn ang="0">
                    <a:pos x="249" y="206"/>
                  </a:cxn>
                  <a:cxn ang="0">
                    <a:pos x="258" y="243"/>
                  </a:cxn>
                  <a:cxn ang="0">
                    <a:pos x="260" y="279"/>
                  </a:cxn>
                  <a:cxn ang="0">
                    <a:pos x="250" y="305"/>
                  </a:cxn>
                  <a:cxn ang="0">
                    <a:pos x="243" y="318"/>
                  </a:cxn>
                </a:cxnLst>
                <a:rect l="0" t="0" r="r" b="b"/>
                <a:pathLst>
                  <a:path w="262" h="337">
                    <a:moveTo>
                      <a:pt x="243" y="335"/>
                    </a:moveTo>
                    <a:lnTo>
                      <a:pt x="241" y="337"/>
                    </a:lnTo>
                    <a:lnTo>
                      <a:pt x="233" y="319"/>
                    </a:lnTo>
                    <a:lnTo>
                      <a:pt x="226" y="291"/>
                    </a:lnTo>
                    <a:lnTo>
                      <a:pt x="225" y="276"/>
                    </a:lnTo>
                    <a:lnTo>
                      <a:pt x="221" y="257"/>
                    </a:lnTo>
                    <a:lnTo>
                      <a:pt x="204" y="230"/>
                    </a:lnTo>
                    <a:lnTo>
                      <a:pt x="198" y="225"/>
                    </a:lnTo>
                    <a:lnTo>
                      <a:pt x="187" y="229"/>
                    </a:lnTo>
                    <a:lnTo>
                      <a:pt x="174" y="230"/>
                    </a:lnTo>
                    <a:lnTo>
                      <a:pt x="166" y="225"/>
                    </a:lnTo>
                    <a:lnTo>
                      <a:pt x="161" y="215"/>
                    </a:lnTo>
                    <a:lnTo>
                      <a:pt x="157" y="218"/>
                    </a:lnTo>
                    <a:lnTo>
                      <a:pt x="153" y="227"/>
                    </a:lnTo>
                    <a:lnTo>
                      <a:pt x="146" y="234"/>
                    </a:lnTo>
                    <a:lnTo>
                      <a:pt x="149" y="246"/>
                    </a:lnTo>
                    <a:lnTo>
                      <a:pt x="149" y="257"/>
                    </a:lnTo>
                    <a:lnTo>
                      <a:pt x="129" y="283"/>
                    </a:lnTo>
                    <a:lnTo>
                      <a:pt x="125" y="280"/>
                    </a:lnTo>
                    <a:lnTo>
                      <a:pt x="115" y="267"/>
                    </a:lnTo>
                    <a:lnTo>
                      <a:pt x="110" y="274"/>
                    </a:lnTo>
                    <a:lnTo>
                      <a:pt x="108" y="279"/>
                    </a:lnTo>
                    <a:lnTo>
                      <a:pt x="99" y="288"/>
                    </a:lnTo>
                    <a:lnTo>
                      <a:pt x="96" y="280"/>
                    </a:lnTo>
                    <a:lnTo>
                      <a:pt x="91" y="285"/>
                    </a:lnTo>
                    <a:lnTo>
                      <a:pt x="80" y="284"/>
                    </a:lnTo>
                    <a:lnTo>
                      <a:pt x="79" y="289"/>
                    </a:lnTo>
                    <a:lnTo>
                      <a:pt x="75" y="286"/>
                    </a:lnTo>
                    <a:lnTo>
                      <a:pt x="71" y="288"/>
                    </a:lnTo>
                    <a:lnTo>
                      <a:pt x="69" y="291"/>
                    </a:lnTo>
                    <a:lnTo>
                      <a:pt x="65" y="294"/>
                    </a:lnTo>
                    <a:lnTo>
                      <a:pt x="58" y="292"/>
                    </a:lnTo>
                    <a:lnTo>
                      <a:pt x="51" y="279"/>
                    </a:lnTo>
                    <a:lnTo>
                      <a:pt x="53" y="273"/>
                    </a:lnTo>
                    <a:lnTo>
                      <a:pt x="51" y="269"/>
                    </a:lnTo>
                    <a:lnTo>
                      <a:pt x="49" y="258"/>
                    </a:lnTo>
                    <a:lnTo>
                      <a:pt x="50" y="251"/>
                    </a:lnTo>
                    <a:lnTo>
                      <a:pt x="48" y="241"/>
                    </a:lnTo>
                    <a:lnTo>
                      <a:pt x="43" y="236"/>
                    </a:lnTo>
                    <a:lnTo>
                      <a:pt x="40" y="227"/>
                    </a:lnTo>
                    <a:lnTo>
                      <a:pt x="40" y="218"/>
                    </a:lnTo>
                    <a:lnTo>
                      <a:pt x="42" y="215"/>
                    </a:lnTo>
                    <a:lnTo>
                      <a:pt x="43" y="199"/>
                    </a:lnTo>
                    <a:lnTo>
                      <a:pt x="42" y="195"/>
                    </a:lnTo>
                    <a:lnTo>
                      <a:pt x="38" y="194"/>
                    </a:lnTo>
                    <a:lnTo>
                      <a:pt x="38" y="179"/>
                    </a:lnTo>
                    <a:lnTo>
                      <a:pt x="32" y="173"/>
                    </a:lnTo>
                    <a:lnTo>
                      <a:pt x="32" y="165"/>
                    </a:lnTo>
                    <a:lnTo>
                      <a:pt x="34" y="154"/>
                    </a:lnTo>
                    <a:lnTo>
                      <a:pt x="36" y="133"/>
                    </a:lnTo>
                    <a:lnTo>
                      <a:pt x="27" y="123"/>
                    </a:lnTo>
                    <a:lnTo>
                      <a:pt x="21" y="118"/>
                    </a:lnTo>
                    <a:lnTo>
                      <a:pt x="10" y="113"/>
                    </a:lnTo>
                    <a:lnTo>
                      <a:pt x="1" y="109"/>
                    </a:lnTo>
                    <a:lnTo>
                      <a:pt x="0" y="103"/>
                    </a:lnTo>
                    <a:lnTo>
                      <a:pt x="1" y="98"/>
                    </a:lnTo>
                    <a:lnTo>
                      <a:pt x="6" y="90"/>
                    </a:lnTo>
                    <a:lnTo>
                      <a:pt x="13" y="89"/>
                    </a:lnTo>
                    <a:lnTo>
                      <a:pt x="20" y="85"/>
                    </a:lnTo>
                    <a:lnTo>
                      <a:pt x="22" y="78"/>
                    </a:lnTo>
                    <a:lnTo>
                      <a:pt x="42" y="76"/>
                    </a:lnTo>
                    <a:lnTo>
                      <a:pt x="42" y="68"/>
                    </a:lnTo>
                    <a:lnTo>
                      <a:pt x="38" y="64"/>
                    </a:lnTo>
                    <a:lnTo>
                      <a:pt x="39" y="60"/>
                    </a:lnTo>
                    <a:lnTo>
                      <a:pt x="24" y="62"/>
                    </a:lnTo>
                    <a:lnTo>
                      <a:pt x="17" y="57"/>
                    </a:lnTo>
                    <a:lnTo>
                      <a:pt x="15" y="43"/>
                    </a:lnTo>
                    <a:lnTo>
                      <a:pt x="11" y="39"/>
                    </a:lnTo>
                    <a:lnTo>
                      <a:pt x="26" y="15"/>
                    </a:lnTo>
                    <a:lnTo>
                      <a:pt x="28" y="3"/>
                    </a:lnTo>
                    <a:lnTo>
                      <a:pt x="32" y="0"/>
                    </a:lnTo>
                    <a:lnTo>
                      <a:pt x="42" y="17"/>
                    </a:lnTo>
                    <a:lnTo>
                      <a:pt x="48" y="25"/>
                    </a:lnTo>
                    <a:lnTo>
                      <a:pt x="49" y="17"/>
                    </a:lnTo>
                    <a:lnTo>
                      <a:pt x="53" y="5"/>
                    </a:lnTo>
                    <a:lnTo>
                      <a:pt x="59" y="8"/>
                    </a:lnTo>
                    <a:lnTo>
                      <a:pt x="61" y="22"/>
                    </a:lnTo>
                    <a:lnTo>
                      <a:pt x="69" y="31"/>
                    </a:lnTo>
                    <a:lnTo>
                      <a:pt x="74" y="27"/>
                    </a:lnTo>
                    <a:lnTo>
                      <a:pt x="82" y="33"/>
                    </a:lnTo>
                    <a:lnTo>
                      <a:pt x="91" y="19"/>
                    </a:lnTo>
                    <a:lnTo>
                      <a:pt x="93" y="23"/>
                    </a:lnTo>
                    <a:lnTo>
                      <a:pt x="96" y="43"/>
                    </a:lnTo>
                    <a:lnTo>
                      <a:pt x="101" y="62"/>
                    </a:lnTo>
                    <a:lnTo>
                      <a:pt x="107" y="70"/>
                    </a:lnTo>
                    <a:lnTo>
                      <a:pt x="118" y="75"/>
                    </a:lnTo>
                    <a:lnTo>
                      <a:pt x="162" y="79"/>
                    </a:lnTo>
                    <a:lnTo>
                      <a:pt x="166" y="76"/>
                    </a:lnTo>
                    <a:lnTo>
                      <a:pt x="180" y="74"/>
                    </a:lnTo>
                    <a:lnTo>
                      <a:pt x="203" y="76"/>
                    </a:lnTo>
                    <a:lnTo>
                      <a:pt x="227" y="80"/>
                    </a:lnTo>
                    <a:lnTo>
                      <a:pt x="242" y="86"/>
                    </a:lnTo>
                    <a:lnTo>
                      <a:pt x="239" y="91"/>
                    </a:lnTo>
                    <a:lnTo>
                      <a:pt x="231" y="96"/>
                    </a:lnTo>
                    <a:lnTo>
                      <a:pt x="226" y="109"/>
                    </a:lnTo>
                    <a:lnTo>
                      <a:pt x="214" y="124"/>
                    </a:lnTo>
                    <a:lnTo>
                      <a:pt x="203" y="134"/>
                    </a:lnTo>
                    <a:lnTo>
                      <a:pt x="192" y="140"/>
                    </a:lnTo>
                    <a:lnTo>
                      <a:pt x="178" y="149"/>
                    </a:lnTo>
                    <a:lnTo>
                      <a:pt x="176" y="157"/>
                    </a:lnTo>
                    <a:lnTo>
                      <a:pt x="177" y="173"/>
                    </a:lnTo>
                    <a:lnTo>
                      <a:pt x="184" y="193"/>
                    </a:lnTo>
                    <a:lnTo>
                      <a:pt x="194" y="194"/>
                    </a:lnTo>
                    <a:lnTo>
                      <a:pt x="199" y="204"/>
                    </a:lnTo>
                    <a:lnTo>
                      <a:pt x="206" y="210"/>
                    </a:lnTo>
                    <a:lnTo>
                      <a:pt x="211" y="202"/>
                    </a:lnTo>
                    <a:lnTo>
                      <a:pt x="217" y="181"/>
                    </a:lnTo>
                    <a:lnTo>
                      <a:pt x="228" y="166"/>
                    </a:lnTo>
                    <a:lnTo>
                      <a:pt x="233" y="167"/>
                    </a:lnTo>
                    <a:lnTo>
                      <a:pt x="241" y="181"/>
                    </a:lnTo>
                    <a:lnTo>
                      <a:pt x="246" y="198"/>
                    </a:lnTo>
                    <a:lnTo>
                      <a:pt x="249" y="206"/>
                    </a:lnTo>
                    <a:lnTo>
                      <a:pt x="252" y="215"/>
                    </a:lnTo>
                    <a:lnTo>
                      <a:pt x="258" y="243"/>
                    </a:lnTo>
                    <a:lnTo>
                      <a:pt x="262" y="276"/>
                    </a:lnTo>
                    <a:lnTo>
                      <a:pt x="260" y="279"/>
                    </a:lnTo>
                    <a:lnTo>
                      <a:pt x="262" y="308"/>
                    </a:lnTo>
                    <a:lnTo>
                      <a:pt x="250" y="305"/>
                    </a:lnTo>
                    <a:lnTo>
                      <a:pt x="244" y="310"/>
                    </a:lnTo>
                    <a:lnTo>
                      <a:pt x="243" y="318"/>
                    </a:lnTo>
                    <a:lnTo>
                      <a:pt x="243" y="33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52" name="Freeform 104"/>
              <p:cNvSpPr>
                <a:spLocks noChangeAspect="1"/>
              </p:cNvSpPr>
              <p:nvPr/>
            </p:nvSpPr>
            <p:spPr bwMode="gray">
              <a:xfrm>
                <a:off x="3390" y="2379"/>
                <a:ext cx="23" cy="43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3" y="4"/>
                  </a:cxn>
                  <a:cxn ang="0">
                    <a:pos x="19" y="9"/>
                  </a:cxn>
                  <a:cxn ang="0">
                    <a:pos x="28" y="12"/>
                  </a:cxn>
                  <a:cxn ang="0">
                    <a:pos x="33" y="19"/>
                  </a:cxn>
                  <a:cxn ang="0">
                    <a:pos x="28" y="19"/>
                  </a:cxn>
                  <a:cxn ang="0">
                    <a:pos x="22" y="25"/>
                  </a:cxn>
                  <a:cxn ang="0">
                    <a:pos x="19" y="38"/>
                  </a:cxn>
                  <a:cxn ang="0">
                    <a:pos x="13" y="47"/>
                  </a:cxn>
                  <a:cxn ang="0">
                    <a:pos x="7" y="95"/>
                  </a:cxn>
                  <a:cxn ang="0">
                    <a:pos x="2" y="91"/>
                  </a:cxn>
                  <a:cxn ang="0">
                    <a:pos x="0" y="95"/>
                  </a:cxn>
                  <a:cxn ang="0">
                    <a:pos x="0" y="111"/>
                  </a:cxn>
                  <a:cxn ang="0">
                    <a:pos x="7" y="166"/>
                  </a:cxn>
                  <a:cxn ang="0">
                    <a:pos x="11" y="182"/>
                  </a:cxn>
                  <a:cxn ang="0">
                    <a:pos x="19" y="198"/>
                  </a:cxn>
                  <a:cxn ang="0">
                    <a:pos x="29" y="209"/>
                  </a:cxn>
                  <a:cxn ang="0">
                    <a:pos x="45" y="211"/>
                  </a:cxn>
                  <a:cxn ang="0">
                    <a:pos x="59" y="211"/>
                  </a:cxn>
                  <a:cxn ang="0">
                    <a:pos x="86" y="197"/>
                  </a:cxn>
                  <a:cxn ang="0">
                    <a:pos x="100" y="187"/>
                  </a:cxn>
                  <a:cxn ang="0">
                    <a:pos x="113" y="170"/>
                  </a:cxn>
                  <a:cxn ang="0">
                    <a:pos x="115" y="145"/>
                  </a:cxn>
                  <a:cxn ang="0">
                    <a:pos x="116" y="125"/>
                  </a:cxn>
                  <a:cxn ang="0">
                    <a:pos x="115" y="117"/>
                  </a:cxn>
                  <a:cxn ang="0">
                    <a:pos x="108" y="114"/>
                  </a:cxn>
                  <a:cxn ang="0">
                    <a:pos x="98" y="87"/>
                  </a:cxn>
                  <a:cxn ang="0">
                    <a:pos x="92" y="75"/>
                  </a:cxn>
                  <a:cxn ang="0">
                    <a:pos x="86" y="69"/>
                  </a:cxn>
                  <a:cxn ang="0">
                    <a:pos x="83" y="62"/>
                  </a:cxn>
                  <a:cxn ang="0">
                    <a:pos x="80" y="55"/>
                  </a:cxn>
                  <a:cxn ang="0">
                    <a:pos x="67" y="44"/>
                  </a:cxn>
                  <a:cxn ang="0">
                    <a:pos x="64" y="33"/>
                  </a:cxn>
                  <a:cxn ang="0">
                    <a:pos x="45" y="12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18" y="0"/>
                  </a:cxn>
                </a:cxnLst>
                <a:rect l="0" t="0" r="r" b="b"/>
                <a:pathLst>
                  <a:path w="116" h="211">
                    <a:moveTo>
                      <a:pt x="18" y="0"/>
                    </a:moveTo>
                    <a:lnTo>
                      <a:pt x="13" y="4"/>
                    </a:lnTo>
                    <a:lnTo>
                      <a:pt x="19" y="9"/>
                    </a:lnTo>
                    <a:lnTo>
                      <a:pt x="28" y="12"/>
                    </a:lnTo>
                    <a:lnTo>
                      <a:pt x="33" y="19"/>
                    </a:lnTo>
                    <a:lnTo>
                      <a:pt x="28" y="19"/>
                    </a:lnTo>
                    <a:lnTo>
                      <a:pt x="22" y="25"/>
                    </a:lnTo>
                    <a:lnTo>
                      <a:pt x="19" y="38"/>
                    </a:lnTo>
                    <a:lnTo>
                      <a:pt x="13" y="47"/>
                    </a:lnTo>
                    <a:lnTo>
                      <a:pt x="7" y="95"/>
                    </a:lnTo>
                    <a:lnTo>
                      <a:pt x="2" y="91"/>
                    </a:lnTo>
                    <a:lnTo>
                      <a:pt x="0" y="95"/>
                    </a:lnTo>
                    <a:lnTo>
                      <a:pt x="0" y="111"/>
                    </a:lnTo>
                    <a:lnTo>
                      <a:pt x="7" y="166"/>
                    </a:lnTo>
                    <a:lnTo>
                      <a:pt x="11" y="182"/>
                    </a:lnTo>
                    <a:lnTo>
                      <a:pt x="19" y="198"/>
                    </a:lnTo>
                    <a:lnTo>
                      <a:pt x="29" y="209"/>
                    </a:lnTo>
                    <a:lnTo>
                      <a:pt x="45" y="211"/>
                    </a:lnTo>
                    <a:lnTo>
                      <a:pt x="59" y="211"/>
                    </a:lnTo>
                    <a:lnTo>
                      <a:pt x="86" y="197"/>
                    </a:lnTo>
                    <a:lnTo>
                      <a:pt x="100" y="187"/>
                    </a:lnTo>
                    <a:lnTo>
                      <a:pt x="113" y="170"/>
                    </a:lnTo>
                    <a:lnTo>
                      <a:pt x="115" y="145"/>
                    </a:lnTo>
                    <a:lnTo>
                      <a:pt x="116" y="125"/>
                    </a:lnTo>
                    <a:lnTo>
                      <a:pt x="115" y="117"/>
                    </a:lnTo>
                    <a:lnTo>
                      <a:pt x="108" y="114"/>
                    </a:lnTo>
                    <a:lnTo>
                      <a:pt x="98" y="87"/>
                    </a:lnTo>
                    <a:lnTo>
                      <a:pt x="92" y="75"/>
                    </a:lnTo>
                    <a:lnTo>
                      <a:pt x="86" y="69"/>
                    </a:lnTo>
                    <a:lnTo>
                      <a:pt x="83" y="62"/>
                    </a:lnTo>
                    <a:lnTo>
                      <a:pt x="80" y="55"/>
                    </a:lnTo>
                    <a:lnTo>
                      <a:pt x="67" y="44"/>
                    </a:lnTo>
                    <a:lnTo>
                      <a:pt x="64" y="33"/>
                    </a:lnTo>
                    <a:lnTo>
                      <a:pt x="45" y="12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</p:grpSp>
        <p:sp>
          <p:nvSpPr>
            <p:cNvPr id="43" name="Freeform 105"/>
            <p:cNvSpPr>
              <a:spLocks noChangeAspect="1"/>
            </p:cNvSpPr>
            <p:nvPr/>
          </p:nvSpPr>
          <p:spPr bwMode="gray">
            <a:xfrm>
              <a:off x="7991447" y="3762706"/>
              <a:ext cx="30213" cy="69845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82" y="4"/>
                </a:cxn>
                <a:cxn ang="0">
                  <a:pos x="87" y="9"/>
                </a:cxn>
                <a:cxn ang="0">
                  <a:pos x="92" y="9"/>
                </a:cxn>
                <a:cxn ang="0">
                  <a:pos x="94" y="10"/>
                </a:cxn>
                <a:cxn ang="0">
                  <a:pos x="97" y="15"/>
                </a:cxn>
                <a:cxn ang="0">
                  <a:pos x="97" y="18"/>
                </a:cxn>
                <a:cxn ang="0">
                  <a:pos x="93" y="26"/>
                </a:cxn>
                <a:cxn ang="0">
                  <a:pos x="93" y="32"/>
                </a:cxn>
                <a:cxn ang="0">
                  <a:pos x="94" y="41"/>
                </a:cxn>
                <a:cxn ang="0">
                  <a:pos x="92" y="50"/>
                </a:cxn>
                <a:cxn ang="0">
                  <a:pos x="83" y="69"/>
                </a:cxn>
                <a:cxn ang="0">
                  <a:pos x="79" y="95"/>
                </a:cxn>
                <a:cxn ang="0">
                  <a:pos x="76" y="114"/>
                </a:cxn>
                <a:cxn ang="0">
                  <a:pos x="68" y="131"/>
                </a:cxn>
                <a:cxn ang="0">
                  <a:pos x="57" y="150"/>
                </a:cxn>
                <a:cxn ang="0">
                  <a:pos x="51" y="159"/>
                </a:cxn>
                <a:cxn ang="0">
                  <a:pos x="48" y="168"/>
                </a:cxn>
                <a:cxn ang="0">
                  <a:pos x="40" y="199"/>
                </a:cxn>
                <a:cxn ang="0">
                  <a:pos x="36" y="195"/>
                </a:cxn>
                <a:cxn ang="0">
                  <a:pos x="33" y="182"/>
                </a:cxn>
                <a:cxn ang="0">
                  <a:pos x="25" y="170"/>
                </a:cxn>
                <a:cxn ang="0">
                  <a:pos x="16" y="163"/>
                </a:cxn>
                <a:cxn ang="0">
                  <a:pos x="6" y="147"/>
                </a:cxn>
                <a:cxn ang="0">
                  <a:pos x="1" y="122"/>
                </a:cxn>
                <a:cxn ang="0">
                  <a:pos x="0" y="102"/>
                </a:cxn>
                <a:cxn ang="0">
                  <a:pos x="2" y="92"/>
                </a:cxn>
                <a:cxn ang="0">
                  <a:pos x="9" y="76"/>
                </a:cxn>
                <a:cxn ang="0">
                  <a:pos x="48" y="17"/>
                </a:cxn>
                <a:cxn ang="0">
                  <a:pos x="65" y="7"/>
                </a:cxn>
                <a:cxn ang="0">
                  <a:pos x="68" y="3"/>
                </a:cxn>
                <a:cxn ang="0">
                  <a:pos x="75" y="0"/>
                </a:cxn>
              </a:cxnLst>
              <a:rect l="0" t="0" r="r" b="b"/>
              <a:pathLst>
                <a:path w="97" h="199">
                  <a:moveTo>
                    <a:pt x="75" y="0"/>
                  </a:moveTo>
                  <a:lnTo>
                    <a:pt x="82" y="4"/>
                  </a:lnTo>
                  <a:lnTo>
                    <a:pt x="87" y="9"/>
                  </a:lnTo>
                  <a:lnTo>
                    <a:pt x="92" y="9"/>
                  </a:lnTo>
                  <a:lnTo>
                    <a:pt x="94" y="10"/>
                  </a:lnTo>
                  <a:lnTo>
                    <a:pt x="97" y="15"/>
                  </a:lnTo>
                  <a:lnTo>
                    <a:pt x="97" y="18"/>
                  </a:lnTo>
                  <a:lnTo>
                    <a:pt x="93" y="26"/>
                  </a:lnTo>
                  <a:lnTo>
                    <a:pt x="93" y="32"/>
                  </a:lnTo>
                  <a:lnTo>
                    <a:pt x="94" y="41"/>
                  </a:lnTo>
                  <a:lnTo>
                    <a:pt x="92" y="50"/>
                  </a:lnTo>
                  <a:lnTo>
                    <a:pt x="83" y="69"/>
                  </a:lnTo>
                  <a:lnTo>
                    <a:pt x="79" y="95"/>
                  </a:lnTo>
                  <a:lnTo>
                    <a:pt x="76" y="114"/>
                  </a:lnTo>
                  <a:lnTo>
                    <a:pt x="68" y="131"/>
                  </a:lnTo>
                  <a:lnTo>
                    <a:pt x="57" y="150"/>
                  </a:lnTo>
                  <a:lnTo>
                    <a:pt x="51" y="159"/>
                  </a:lnTo>
                  <a:lnTo>
                    <a:pt x="48" y="168"/>
                  </a:lnTo>
                  <a:lnTo>
                    <a:pt x="40" y="199"/>
                  </a:lnTo>
                  <a:lnTo>
                    <a:pt x="36" y="195"/>
                  </a:lnTo>
                  <a:lnTo>
                    <a:pt x="33" y="182"/>
                  </a:lnTo>
                  <a:lnTo>
                    <a:pt x="25" y="170"/>
                  </a:lnTo>
                  <a:lnTo>
                    <a:pt x="16" y="163"/>
                  </a:lnTo>
                  <a:lnTo>
                    <a:pt x="6" y="147"/>
                  </a:lnTo>
                  <a:lnTo>
                    <a:pt x="1" y="122"/>
                  </a:lnTo>
                  <a:lnTo>
                    <a:pt x="0" y="102"/>
                  </a:lnTo>
                  <a:lnTo>
                    <a:pt x="2" y="92"/>
                  </a:lnTo>
                  <a:lnTo>
                    <a:pt x="9" y="76"/>
                  </a:lnTo>
                  <a:lnTo>
                    <a:pt x="48" y="17"/>
                  </a:lnTo>
                  <a:lnTo>
                    <a:pt x="65" y="7"/>
                  </a:lnTo>
                  <a:lnTo>
                    <a:pt x="68" y="3"/>
                  </a:lnTo>
                  <a:lnTo>
                    <a:pt x="7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grpSp>
          <p:nvGrpSpPr>
            <p:cNvPr id="44" name="Group 106"/>
            <p:cNvGrpSpPr>
              <a:grpSpLocks noChangeAspect="1"/>
            </p:cNvGrpSpPr>
            <p:nvPr/>
          </p:nvGrpSpPr>
          <p:grpSpPr bwMode="gray">
            <a:xfrm>
              <a:off x="8158411" y="3286012"/>
              <a:ext cx="283045" cy="352719"/>
              <a:chOff x="3938" y="1929"/>
              <a:chExt cx="178" cy="202"/>
            </a:xfrm>
            <a:grpFill/>
          </p:grpSpPr>
          <p:sp>
            <p:nvSpPr>
              <p:cNvPr id="342" name="Freeform 107"/>
              <p:cNvSpPr>
                <a:spLocks noChangeAspect="1"/>
              </p:cNvSpPr>
              <p:nvPr/>
            </p:nvSpPr>
            <p:spPr bwMode="gray">
              <a:xfrm>
                <a:off x="4050" y="1929"/>
                <a:ext cx="66" cy="61"/>
              </a:xfrm>
              <a:custGeom>
                <a:avLst/>
                <a:gdLst/>
                <a:ahLst/>
                <a:cxnLst>
                  <a:cxn ang="0">
                    <a:pos x="301" y="94"/>
                  </a:cxn>
                  <a:cxn ang="0">
                    <a:pos x="299" y="113"/>
                  </a:cxn>
                  <a:cxn ang="0">
                    <a:pos x="294" y="141"/>
                  </a:cxn>
                  <a:cxn ang="0">
                    <a:pos x="304" y="164"/>
                  </a:cxn>
                  <a:cxn ang="0">
                    <a:pos x="330" y="159"/>
                  </a:cxn>
                  <a:cxn ang="0">
                    <a:pos x="308" y="177"/>
                  </a:cxn>
                  <a:cxn ang="0">
                    <a:pos x="283" y="191"/>
                  </a:cxn>
                  <a:cxn ang="0">
                    <a:pos x="271" y="195"/>
                  </a:cxn>
                  <a:cxn ang="0">
                    <a:pos x="238" y="195"/>
                  </a:cxn>
                  <a:cxn ang="0">
                    <a:pos x="208" y="223"/>
                  </a:cxn>
                  <a:cxn ang="0">
                    <a:pos x="195" y="259"/>
                  </a:cxn>
                  <a:cxn ang="0">
                    <a:pos x="162" y="248"/>
                  </a:cxn>
                  <a:cxn ang="0">
                    <a:pos x="114" y="224"/>
                  </a:cxn>
                  <a:cxn ang="0">
                    <a:pos x="84" y="227"/>
                  </a:cxn>
                  <a:cxn ang="0">
                    <a:pos x="63" y="235"/>
                  </a:cxn>
                  <a:cxn ang="0">
                    <a:pos x="36" y="226"/>
                  </a:cxn>
                  <a:cxn ang="0">
                    <a:pos x="34" y="251"/>
                  </a:cxn>
                  <a:cxn ang="0">
                    <a:pos x="74" y="277"/>
                  </a:cxn>
                  <a:cxn ang="0">
                    <a:pos x="59" y="283"/>
                  </a:cxn>
                  <a:cxn ang="0">
                    <a:pos x="40" y="289"/>
                  </a:cxn>
                  <a:cxn ang="0">
                    <a:pos x="22" y="307"/>
                  </a:cxn>
                  <a:cxn ang="0">
                    <a:pos x="11" y="295"/>
                  </a:cxn>
                  <a:cxn ang="0">
                    <a:pos x="0" y="247"/>
                  </a:cxn>
                  <a:cxn ang="0">
                    <a:pos x="11" y="214"/>
                  </a:cxn>
                  <a:cxn ang="0">
                    <a:pos x="34" y="195"/>
                  </a:cxn>
                  <a:cxn ang="0">
                    <a:pos x="31" y="176"/>
                  </a:cxn>
                  <a:cxn ang="0">
                    <a:pos x="47" y="171"/>
                  </a:cxn>
                  <a:cxn ang="0">
                    <a:pos x="81" y="175"/>
                  </a:cxn>
                  <a:cxn ang="0">
                    <a:pos x="87" y="146"/>
                  </a:cxn>
                  <a:cxn ang="0">
                    <a:pos x="94" y="127"/>
                  </a:cxn>
                  <a:cxn ang="0">
                    <a:pos x="102" y="90"/>
                  </a:cxn>
                  <a:cxn ang="0">
                    <a:pos x="99" y="25"/>
                  </a:cxn>
                  <a:cxn ang="0">
                    <a:pos x="110" y="3"/>
                  </a:cxn>
                  <a:cxn ang="0">
                    <a:pos x="122" y="8"/>
                  </a:cxn>
                  <a:cxn ang="0">
                    <a:pos x="135" y="22"/>
                  </a:cxn>
                  <a:cxn ang="0">
                    <a:pos x="179" y="75"/>
                  </a:cxn>
                  <a:cxn ang="0">
                    <a:pos x="222" y="103"/>
                  </a:cxn>
                  <a:cxn ang="0">
                    <a:pos x="250" y="116"/>
                  </a:cxn>
                  <a:cxn ang="0">
                    <a:pos x="272" y="118"/>
                  </a:cxn>
                </a:cxnLst>
                <a:rect l="0" t="0" r="r" b="b"/>
                <a:pathLst>
                  <a:path w="330" h="307">
                    <a:moveTo>
                      <a:pt x="285" y="108"/>
                    </a:moveTo>
                    <a:lnTo>
                      <a:pt x="301" y="94"/>
                    </a:lnTo>
                    <a:lnTo>
                      <a:pt x="305" y="97"/>
                    </a:lnTo>
                    <a:lnTo>
                      <a:pt x="299" y="113"/>
                    </a:lnTo>
                    <a:lnTo>
                      <a:pt x="291" y="129"/>
                    </a:lnTo>
                    <a:lnTo>
                      <a:pt x="294" y="141"/>
                    </a:lnTo>
                    <a:lnTo>
                      <a:pt x="304" y="148"/>
                    </a:lnTo>
                    <a:lnTo>
                      <a:pt x="304" y="164"/>
                    </a:lnTo>
                    <a:lnTo>
                      <a:pt x="315" y="164"/>
                    </a:lnTo>
                    <a:lnTo>
                      <a:pt x="330" y="159"/>
                    </a:lnTo>
                    <a:lnTo>
                      <a:pt x="325" y="170"/>
                    </a:lnTo>
                    <a:lnTo>
                      <a:pt x="308" y="177"/>
                    </a:lnTo>
                    <a:lnTo>
                      <a:pt x="293" y="188"/>
                    </a:lnTo>
                    <a:lnTo>
                      <a:pt x="283" y="191"/>
                    </a:lnTo>
                    <a:lnTo>
                      <a:pt x="277" y="187"/>
                    </a:lnTo>
                    <a:lnTo>
                      <a:pt x="271" y="195"/>
                    </a:lnTo>
                    <a:lnTo>
                      <a:pt x="254" y="193"/>
                    </a:lnTo>
                    <a:lnTo>
                      <a:pt x="238" y="195"/>
                    </a:lnTo>
                    <a:lnTo>
                      <a:pt x="223" y="204"/>
                    </a:lnTo>
                    <a:lnTo>
                      <a:pt x="208" y="223"/>
                    </a:lnTo>
                    <a:lnTo>
                      <a:pt x="199" y="241"/>
                    </a:lnTo>
                    <a:lnTo>
                      <a:pt x="195" y="259"/>
                    </a:lnTo>
                    <a:lnTo>
                      <a:pt x="189" y="268"/>
                    </a:lnTo>
                    <a:lnTo>
                      <a:pt x="162" y="248"/>
                    </a:lnTo>
                    <a:lnTo>
                      <a:pt x="142" y="241"/>
                    </a:lnTo>
                    <a:lnTo>
                      <a:pt x="114" y="224"/>
                    </a:lnTo>
                    <a:lnTo>
                      <a:pt x="97" y="221"/>
                    </a:lnTo>
                    <a:lnTo>
                      <a:pt x="84" y="227"/>
                    </a:lnTo>
                    <a:lnTo>
                      <a:pt x="74" y="236"/>
                    </a:lnTo>
                    <a:lnTo>
                      <a:pt x="63" y="235"/>
                    </a:lnTo>
                    <a:lnTo>
                      <a:pt x="52" y="225"/>
                    </a:lnTo>
                    <a:lnTo>
                      <a:pt x="36" y="226"/>
                    </a:lnTo>
                    <a:lnTo>
                      <a:pt x="28" y="240"/>
                    </a:lnTo>
                    <a:lnTo>
                      <a:pt x="34" y="251"/>
                    </a:lnTo>
                    <a:lnTo>
                      <a:pt x="57" y="262"/>
                    </a:lnTo>
                    <a:lnTo>
                      <a:pt x="74" y="277"/>
                    </a:lnTo>
                    <a:lnTo>
                      <a:pt x="71" y="284"/>
                    </a:lnTo>
                    <a:lnTo>
                      <a:pt x="59" y="283"/>
                    </a:lnTo>
                    <a:lnTo>
                      <a:pt x="50" y="283"/>
                    </a:lnTo>
                    <a:lnTo>
                      <a:pt x="40" y="289"/>
                    </a:lnTo>
                    <a:lnTo>
                      <a:pt x="35" y="297"/>
                    </a:lnTo>
                    <a:lnTo>
                      <a:pt x="22" y="307"/>
                    </a:lnTo>
                    <a:lnTo>
                      <a:pt x="14" y="305"/>
                    </a:lnTo>
                    <a:lnTo>
                      <a:pt x="11" y="295"/>
                    </a:lnTo>
                    <a:lnTo>
                      <a:pt x="18" y="264"/>
                    </a:lnTo>
                    <a:lnTo>
                      <a:pt x="0" y="247"/>
                    </a:lnTo>
                    <a:lnTo>
                      <a:pt x="2" y="224"/>
                    </a:lnTo>
                    <a:lnTo>
                      <a:pt x="11" y="214"/>
                    </a:lnTo>
                    <a:lnTo>
                      <a:pt x="24" y="207"/>
                    </a:lnTo>
                    <a:lnTo>
                      <a:pt x="34" y="195"/>
                    </a:lnTo>
                    <a:lnTo>
                      <a:pt x="38" y="184"/>
                    </a:lnTo>
                    <a:lnTo>
                      <a:pt x="31" y="176"/>
                    </a:lnTo>
                    <a:lnTo>
                      <a:pt x="34" y="167"/>
                    </a:lnTo>
                    <a:lnTo>
                      <a:pt x="47" y="171"/>
                    </a:lnTo>
                    <a:lnTo>
                      <a:pt x="60" y="175"/>
                    </a:lnTo>
                    <a:lnTo>
                      <a:pt x="81" y="175"/>
                    </a:lnTo>
                    <a:lnTo>
                      <a:pt x="88" y="160"/>
                    </a:lnTo>
                    <a:lnTo>
                      <a:pt x="87" y="146"/>
                    </a:lnTo>
                    <a:lnTo>
                      <a:pt x="87" y="135"/>
                    </a:lnTo>
                    <a:lnTo>
                      <a:pt x="94" y="127"/>
                    </a:lnTo>
                    <a:lnTo>
                      <a:pt x="100" y="110"/>
                    </a:lnTo>
                    <a:lnTo>
                      <a:pt x="102" y="90"/>
                    </a:lnTo>
                    <a:lnTo>
                      <a:pt x="109" y="58"/>
                    </a:lnTo>
                    <a:lnTo>
                      <a:pt x="99" y="25"/>
                    </a:lnTo>
                    <a:lnTo>
                      <a:pt x="99" y="15"/>
                    </a:lnTo>
                    <a:lnTo>
                      <a:pt x="110" y="3"/>
                    </a:lnTo>
                    <a:lnTo>
                      <a:pt x="115" y="0"/>
                    </a:lnTo>
                    <a:lnTo>
                      <a:pt x="122" y="8"/>
                    </a:lnTo>
                    <a:lnTo>
                      <a:pt x="126" y="15"/>
                    </a:lnTo>
                    <a:lnTo>
                      <a:pt x="135" y="22"/>
                    </a:lnTo>
                    <a:lnTo>
                      <a:pt x="158" y="54"/>
                    </a:lnTo>
                    <a:lnTo>
                      <a:pt x="179" y="75"/>
                    </a:lnTo>
                    <a:lnTo>
                      <a:pt x="199" y="92"/>
                    </a:lnTo>
                    <a:lnTo>
                      <a:pt x="222" y="103"/>
                    </a:lnTo>
                    <a:lnTo>
                      <a:pt x="244" y="108"/>
                    </a:lnTo>
                    <a:lnTo>
                      <a:pt x="250" y="116"/>
                    </a:lnTo>
                    <a:lnTo>
                      <a:pt x="261" y="121"/>
                    </a:lnTo>
                    <a:lnTo>
                      <a:pt x="272" y="118"/>
                    </a:lnTo>
                    <a:lnTo>
                      <a:pt x="285" y="10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43" name="Freeform 108"/>
              <p:cNvSpPr>
                <a:spLocks noChangeAspect="1"/>
              </p:cNvSpPr>
              <p:nvPr/>
            </p:nvSpPr>
            <p:spPr bwMode="gray">
              <a:xfrm>
                <a:off x="3952" y="1989"/>
                <a:ext cx="123" cy="110"/>
              </a:xfrm>
              <a:custGeom>
                <a:avLst/>
                <a:gdLst/>
                <a:ahLst/>
                <a:cxnLst>
                  <a:cxn ang="0">
                    <a:pos x="578" y="13"/>
                  </a:cxn>
                  <a:cxn ang="0">
                    <a:pos x="582" y="69"/>
                  </a:cxn>
                  <a:cxn ang="0">
                    <a:pos x="607" y="118"/>
                  </a:cxn>
                  <a:cxn ang="0">
                    <a:pos x="608" y="160"/>
                  </a:cxn>
                  <a:cxn ang="0">
                    <a:pos x="593" y="180"/>
                  </a:cxn>
                  <a:cxn ang="0">
                    <a:pos x="571" y="223"/>
                  </a:cxn>
                  <a:cxn ang="0">
                    <a:pos x="554" y="268"/>
                  </a:cxn>
                  <a:cxn ang="0">
                    <a:pos x="558" y="317"/>
                  </a:cxn>
                  <a:cxn ang="0">
                    <a:pos x="535" y="365"/>
                  </a:cxn>
                  <a:cxn ang="0">
                    <a:pos x="545" y="404"/>
                  </a:cxn>
                  <a:cxn ang="0">
                    <a:pos x="521" y="439"/>
                  </a:cxn>
                  <a:cxn ang="0">
                    <a:pos x="495" y="425"/>
                  </a:cxn>
                  <a:cxn ang="0">
                    <a:pos x="491" y="408"/>
                  </a:cxn>
                  <a:cxn ang="0">
                    <a:pos x="483" y="440"/>
                  </a:cxn>
                  <a:cxn ang="0">
                    <a:pos x="456" y="443"/>
                  </a:cxn>
                  <a:cxn ang="0">
                    <a:pos x="437" y="474"/>
                  </a:cxn>
                  <a:cxn ang="0">
                    <a:pos x="427" y="446"/>
                  </a:cxn>
                  <a:cxn ang="0">
                    <a:pos x="404" y="478"/>
                  </a:cxn>
                  <a:cxn ang="0">
                    <a:pos x="356" y="476"/>
                  </a:cxn>
                  <a:cxn ang="0">
                    <a:pos x="351" y="470"/>
                  </a:cxn>
                  <a:cxn ang="0">
                    <a:pos x="333" y="470"/>
                  </a:cxn>
                  <a:cxn ang="0">
                    <a:pos x="320" y="451"/>
                  </a:cxn>
                  <a:cxn ang="0">
                    <a:pos x="328" y="504"/>
                  </a:cxn>
                  <a:cxn ang="0">
                    <a:pos x="307" y="503"/>
                  </a:cxn>
                  <a:cxn ang="0">
                    <a:pos x="295" y="517"/>
                  </a:cxn>
                  <a:cxn ang="0">
                    <a:pos x="252" y="546"/>
                  </a:cxn>
                  <a:cxn ang="0">
                    <a:pos x="233" y="517"/>
                  </a:cxn>
                  <a:cxn ang="0">
                    <a:pos x="248" y="479"/>
                  </a:cxn>
                  <a:cxn ang="0">
                    <a:pos x="228" y="476"/>
                  </a:cxn>
                  <a:cxn ang="0">
                    <a:pos x="190" y="468"/>
                  </a:cxn>
                  <a:cxn ang="0">
                    <a:pos x="156" y="483"/>
                  </a:cxn>
                  <a:cxn ang="0">
                    <a:pos x="133" y="492"/>
                  </a:cxn>
                  <a:cxn ang="0">
                    <a:pos x="92" y="503"/>
                  </a:cxn>
                  <a:cxn ang="0">
                    <a:pos x="69" y="524"/>
                  </a:cxn>
                  <a:cxn ang="0">
                    <a:pos x="43" y="515"/>
                  </a:cxn>
                  <a:cxn ang="0">
                    <a:pos x="20" y="521"/>
                  </a:cxn>
                  <a:cxn ang="0">
                    <a:pos x="0" y="503"/>
                  </a:cxn>
                  <a:cxn ang="0">
                    <a:pos x="35" y="478"/>
                  </a:cxn>
                  <a:cxn ang="0">
                    <a:pos x="74" y="446"/>
                  </a:cxn>
                  <a:cxn ang="0">
                    <a:pos x="106" y="417"/>
                  </a:cxn>
                  <a:cxn ang="0">
                    <a:pos x="155" y="416"/>
                  </a:cxn>
                  <a:cxn ang="0">
                    <a:pos x="219" y="407"/>
                  </a:cxn>
                  <a:cxn ang="0">
                    <a:pos x="237" y="412"/>
                  </a:cxn>
                  <a:cxn ang="0">
                    <a:pos x="270" y="412"/>
                  </a:cxn>
                  <a:cxn ang="0">
                    <a:pos x="300" y="357"/>
                  </a:cxn>
                  <a:cxn ang="0">
                    <a:pos x="322" y="305"/>
                  </a:cxn>
                  <a:cxn ang="0">
                    <a:pos x="351" y="284"/>
                  </a:cxn>
                  <a:cxn ang="0">
                    <a:pos x="333" y="306"/>
                  </a:cxn>
                  <a:cxn ang="0">
                    <a:pos x="336" y="333"/>
                  </a:cxn>
                  <a:cxn ang="0">
                    <a:pos x="363" y="321"/>
                  </a:cxn>
                  <a:cxn ang="0">
                    <a:pos x="410" y="295"/>
                  </a:cxn>
                  <a:cxn ang="0">
                    <a:pos x="440" y="257"/>
                  </a:cxn>
                  <a:cxn ang="0">
                    <a:pos x="467" y="235"/>
                  </a:cxn>
                  <a:cxn ang="0">
                    <a:pos x="486" y="188"/>
                  </a:cxn>
                  <a:cxn ang="0">
                    <a:pos x="499" y="154"/>
                  </a:cxn>
                  <a:cxn ang="0">
                    <a:pos x="495" y="117"/>
                  </a:cxn>
                  <a:cxn ang="0">
                    <a:pos x="499" y="92"/>
                  </a:cxn>
                  <a:cxn ang="0">
                    <a:pos x="512" y="49"/>
                  </a:cxn>
                  <a:cxn ang="0">
                    <a:pos x="524" y="20"/>
                  </a:cxn>
                  <a:cxn ang="0">
                    <a:pos x="539" y="48"/>
                  </a:cxn>
                  <a:cxn ang="0">
                    <a:pos x="560" y="41"/>
                  </a:cxn>
                  <a:cxn ang="0">
                    <a:pos x="559" y="22"/>
                  </a:cxn>
                  <a:cxn ang="0">
                    <a:pos x="547" y="3"/>
                  </a:cxn>
                </a:cxnLst>
                <a:rect l="0" t="0" r="r" b="b"/>
                <a:pathLst>
                  <a:path w="613" h="552">
                    <a:moveTo>
                      <a:pt x="560" y="6"/>
                    </a:moveTo>
                    <a:lnTo>
                      <a:pt x="576" y="6"/>
                    </a:lnTo>
                    <a:lnTo>
                      <a:pt x="578" y="13"/>
                    </a:lnTo>
                    <a:lnTo>
                      <a:pt x="576" y="37"/>
                    </a:lnTo>
                    <a:lnTo>
                      <a:pt x="577" y="53"/>
                    </a:lnTo>
                    <a:lnTo>
                      <a:pt x="582" y="69"/>
                    </a:lnTo>
                    <a:lnTo>
                      <a:pt x="592" y="83"/>
                    </a:lnTo>
                    <a:lnTo>
                      <a:pt x="598" y="96"/>
                    </a:lnTo>
                    <a:lnTo>
                      <a:pt x="607" y="118"/>
                    </a:lnTo>
                    <a:lnTo>
                      <a:pt x="613" y="143"/>
                    </a:lnTo>
                    <a:lnTo>
                      <a:pt x="612" y="153"/>
                    </a:lnTo>
                    <a:lnTo>
                      <a:pt x="608" y="160"/>
                    </a:lnTo>
                    <a:lnTo>
                      <a:pt x="607" y="171"/>
                    </a:lnTo>
                    <a:lnTo>
                      <a:pt x="599" y="180"/>
                    </a:lnTo>
                    <a:lnTo>
                      <a:pt x="593" y="180"/>
                    </a:lnTo>
                    <a:lnTo>
                      <a:pt x="585" y="208"/>
                    </a:lnTo>
                    <a:lnTo>
                      <a:pt x="583" y="224"/>
                    </a:lnTo>
                    <a:lnTo>
                      <a:pt x="571" y="223"/>
                    </a:lnTo>
                    <a:lnTo>
                      <a:pt x="556" y="232"/>
                    </a:lnTo>
                    <a:lnTo>
                      <a:pt x="551" y="251"/>
                    </a:lnTo>
                    <a:lnTo>
                      <a:pt x="554" y="268"/>
                    </a:lnTo>
                    <a:lnTo>
                      <a:pt x="556" y="284"/>
                    </a:lnTo>
                    <a:lnTo>
                      <a:pt x="556" y="305"/>
                    </a:lnTo>
                    <a:lnTo>
                      <a:pt x="558" y="317"/>
                    </a:lnTo>
                    <a:lnTo>
                      <a:pt x="548" y="327"/>
                    </a:lnTo>
                    <a:lnTo>
                      <a:pt x="539" y="347"/>
                    </a:lnTo>
                    <a:lnTo>
                      <a:pt x="535" y="365"/>
                    </a:lnTo>
                    <a:lnTo>
                      <a:pt x="535" y="386"/>
                    </a:lnTo>
                    <a:lnTo>
                      <a:pt x="543" y="397"/>
                    </a:lnTo>
                    <a:lnTo>
                      <a:pt x="545" y="404"/>
                    </a:lnTo>
                    <a:lnTo>
                      <a:pt x="537" y="409"/>
                    </a:lnTo>
                    <a:lnTo>
                      <a:pt x="527" y="425"/>
                    </a:lnTo>
                    <a:lnTo>
                      <a:pt x="521" y="439"/>
                    </a:lnTo>
                    <a:lnTo>
                      <a:pt x="494" y="459"/>
                    </a:lnTo>
                    <a:lnTo>
                      <a:pt x="491" y="449"/>
                    </a:lnTo>
                    <a:lnTo>
                      <a:pt x="495" y="425"/>
                    </a:lnTo>
                    <a:lnTo>
                      <a:pt x="502" y="417"/>
                    </a:lnTo>
                    <a:lnTo>
                      <a:pt x="505" y="408"/>
                    </a:lnTo>
                    <a:lnTo>
                      <a:pt x="491" y="408"/>
                    </a:lnTo>
                    <a:lnTo>
                      <a:pt x="489" y="419"/>
                    </a:lnTo>
                    <a:lnTo>
                      <a:pt x="484" y="429"/>
                    </a:lnTo>
                    <a:lnTo>
                      <a:pt x="483" y="440"/>
                    </a:lnTo>
                    <a:lnTo>
                      <a:pt x="475" y="434"/>
                    </a:lnTo>
                    <a:lnTo>
                      <a:pt x="462" y="433"/>
                    </a:lnTo>
                    <a:lnTo>
                      <a:pt x="456" y="443"/>
                    </a:lnTo>
                    <a:lnTo>
                      <a:pt x="451" y="468"/>
                    </a:lnTo>
                    <a:lnTo>
                      <a:pt x="445" y="476"/>
                    </a:lnTo>
                    <a:lnTo>
                      <a:pt x="437" y="474"/>
                    </a:lnTo>
                    <a:lnTo>
                      <a:pt x="435" y="459"/>
                    </a:lnTo>
                    <a:lnTo>
                      <a:pt x="436" y="447"/>
                    </a:lnTo>
                    <a:lnTo>
                      <a:pt x="427" y="446"/>
                    </a:lnTo>
                    <a:lnTo>
                      <a:pt x="419" y="455"/>
                    </a:lnTo>
                    <a:lnTo>
                      <a:pt x="410" y="466"/>
                    </a:lnTo>
                    <a:lnTo>
                      <a:pt x="404" y="478"/>
                    </a:lnTo>
                    <a:lnTo>
                      <a:pt x="402" y="479"/>
                    </a:lnTo>
                    <a:lnTo>
                      <a:pt x="384" y="476"/>
                    </a:lnTo>
                    <a:lnTo>
                      <a:pt x="356" y="476"/>
                    </a:lnTo>
                    <a:lnTo>
                      <a:pt x="341" y="479"/>
                    </a:lnTo>
                    <a:lnTo>
                      <a:pt x="345" y="474"/>
                    </a:lnTo>
                    <a:lnTo>
                      <a:pt x="351" y="470"/>
                    </a:lnTo>
                    <a:lnTo>
                      <a:pt x="339" y="467"/>
                    </a:lnTo>
                    <a:lnTo>
                      <a:pt x="336" y="463"/>
                    </a:lnTo>
                    <a:lnTo>
                      <a:pt x="333" y="470"/>
                    </a:lnTo>
                    <a:lnTo>
                      <a:pt x="327" y="462"/>
                    </a:lnTo>
                    <a:lnTo>
                      <a:pt x="325" y="449"/>
                    </a:lnTo>
                    <a:lnTo>
                      <a:pt x="320" y="451"/>
                    </a:lnTo>
                    <a:lnTo>
                      <a:pt x="309" y="476"/>
                    </a:lnTo>
                    <a:lnTo>
                      <a:pt x="328" y="488"/>
                    </a:lnTo>
                    <a:lnTo>
                      <a:pt x="328" y="504"/>
                    </a:lnTo>
                    <a:lnTo>
                      <a:pt x="320" y="498"/>
                    </a:lnTo>
                    <a:lnTo>
                      <a:pt x="314" y="501"/>
                    </a:lnTo>
                    <a:lnTo>
                      <a:pt x="307" y="503"/>
                    </a:lnTo>
                    <a:lnTo>
                      <a:pt x="300" y="508"/>
                    </a:lnTo>
                    <a:lnTo>
                      <a:pt x="296" y="514"/>
                    </a:lnTo>
                    <a:lnTo>
                      <a:pt x="295" y="517"/>
                    </a:lnTo>
                    <a:lnTo>
                      <a:pt x="279" y="546"/>
                    </a:lnTo>
                    <a:lnTo>
                      <a:pt x="268" y="552"/>
                    </a:lnTo>
                    <a:lnTo>
                      <a:pt x="252" y="546"/>
                    </a:lnTo>
                    <a:lnTo>
                      <a:pt x="247" y="536"/>
                    </a:lnTo>
                    <a:lnTo>
                      <a:pt x="236" y="529"/>
                    </a:lnTo>
                    <a:lnTo>
                      <a:pt x="233" y="517"/>
                    </a:lnTo>
                    <a:lnTo>
                      <a:pt x="233" y="499"/>
                    </a:lnTo>
                    <a:lnTo>
                      <a:pt x="238" y="494"/>
                    </a:lnTo>
                    <a:lnTo>
                      <a:pt x="248" y="479"/>
                    </a:lnTo>
                    <a:lnTo>
                      <a:pt x="249" y="474"/>
                    </a:lnTo>
                    <a:lnTo>
                      <a:pt x="247" y="472"/>
                    </a:lnTo>
                    <a:lnTo>
                      <a:pt x="228" y="476"/>
                    </a:lnTo>
                    <a:lnTo>
                      <a:pt x="216" y="471"/>
                    </a:lnTo>
                    <a:lnTo>
                      <a:pt x="203" y="468"/>
                    </a:lnTo>
                    <a:lnTo>
                      <a:pt x="190" y="468"/>
                    </a:lnTo>
                    <a:lnTo>
                      <a:pt x="179" y="478"/>
                    </a:lnTo>
                    <a:lnTo>
                      <a:pt x="163" y="488"/>
                    </a:lnTo>
                    <a:lnTo>
                      <a:pt x="156" y="483"/>
                    </a:lnTo>
                    <a:lnTo>
                      <a:pt x="147" y="487"/>
                    </a:lnTo>
                    <a:lnTo>
                      <a:pt x="142" y="487"/>
                    </a:lnTo>
                    <a:lnTo>
                      <a:pt x="133" y="492"/>
                    </a:lnTo>
                    <a:lnTo>
                      <a:pt x="126" y="492"/>
                    </a:lnTo>
                    <a:lnTo>
                      <a:pt x="119" y="495"/>
                    </a:lnTo>
                    <a:lnTo>
                      <a:pt x="92" y="503"/>
                    </a:lnTo>
                    <a:lnTo>
                      <a:pt x="85" y="497"/>
                    </a:lnTo>
                    <a:lnTo>
                      <a:pt x="78" y="498"/>
                    </a:lnTo>
                    <a:lnTo>
                      <a:pt x="69" y="524"/>
                    </a:lnTo>
                    <a:lnTo>
                      <a:pt x="64" y="525"/>
                    </a:lnTo>
                    <a:lnTo>
                      <a:pt x="51" y="520"/>
                    </a:lnTo>
                    <a:lnTo>
                      <a:pt x="43" y="515"/>
                    </a:lnTo>
                    <a:lnTo>
                      <a:pt x="32" y="519"/>
                    </a:lnTo>
                    <a:lnTo>
                      <a:pt x="24" y="519"/>
                    </a:lnTo>
                    <a:lnTo>
                      <a:pt x="20" y="521"/>
                    </a:lnTo>
                    <a:lnTo>
                      <a:pt x="10" y="517"/>
                    </a:lnTo>
                    <a:lnTo>
                      <a:pt x="0" y="516"/>
                    </a:lnTo>
                    <a:lnTo>
                      <a:pt x="0" y="503"/>
                    </a:lnTo>
                    <a:lnTo>
                      <a:pt x="1" y="495"/>
                    </a:lnTo>
                    <a:lnTo>
                      <a:pt x="26" y="488"/>
                    </a:lnTo>
                    <a:lnTo>
                      <a:pt x="35" y="478"/>
                    </a:lnTo>
                    <a:lnTo>
                      <a:pt x="45" y="471"/>
                    </a:lnTo>
                    <a:lnTo>
                      <a:pt x="63" y="461"/>
                    </a:lnTo>
                    <a:lnTo>
                      <a:pt x="74" y="446"/>
                    </a:lnTo>
                    <a:lnTo>
                      <a:pt x="87" y="438"/>
                    </a:lnTo>
                    <a:lnTo>
                      <a:pt x="94" y="424"/>
                    </a:lnTo>
                    <a:lnTo>
                      <a:pt x="106" y="417"/>
                    </a:lnTo>
                    <a:lnTo>
                      <a:pt x="118" y="413"/>
                    </a:lnTo>
                    <a:lnTo>
                      <a:pt x="136" y="418"/>
                    </a:lnTo>
                    <a:lnTo>
                      <a:pt x="155" y="416"/>
                    </a:lnTo>
                    <a:lnTo>
                      <a:pt x="169" y="417"/>
                    </a:lnTo>
                    <a:lnTo>
                      <a:pt x="209" y="408"/>
                    </a:lnTo>
                    <a:lnTo>
                      <a:pt x="219" y="407"/>
                    </a:lnTo>
                    <a:lnTo>
                      <a:pt x="228" y="403"/>
                    </a:lnTo>
                    <a:lnTo>
                      <a:pt x="238" y="403"/>
                    </a:lnTo>
                    <a:lnTo>
                      <a:pt x="237" y="412"/>
                    </a:lnTo>
                    <a:lnTo>
                      <a:pt x="260" y="418"/>
                    </a:lnTo>
                    <a:lnTo>
                      <a:pt x="265" y="417"/>
                    </a:lnTo>
                    <a:lnTo>
                      <a:pt x="270" y="412"/>
                    </a:lnTo>
                    <a:lnTo>
                      <a:pt x="282" y="403"/>
                    </a:lnTo>
                    <a:lnTo>
                      <a:pt x="284" y="371"/>
                    </a:lnTo>
                    <a:lnTo>
                      <a:pt x="300" y="357"/>
                    </a:lnTo>
                    <a:lnTo>
                      <a:pt x="312" y="339"/>
                    </a:lnTo>
                    <a:lnTo>
                      <a:pt x="320" y="320"/>
                    </a:lnTo>
                    <a:lnTo>
                      <a:pt x="322" y="305"/>
                    </a:lnTo>
                    <a:lnTo>
                      <a:pt x="324" y="294"/>
                    </a:lnTo>
                    <a:lnTo>
                      <a:pt x="343" y="283"/>
                    </a:lnTo>
                    <a:lnTo>
                      <a:pt x="351" y="284"/>
                    </a:lnTo>
                    <a:lnTo>
                      <a:pt x="350" y="294"/>
                    </a:lnTo>
                    <a:lnTo>
                      <a:pt x="341" y="298"/>
                    </a:lnTo>
                    <a:lnTo>
                      <a:pt x="333" y="306"/>
                    </a:lnTo>
                    <a:lnTo>
                      <a:pt x="332" y="309"/>
                    </a:lnTo>
                    <a:lnTo>
                      <a:pt x="336" y="321"/>
                    </a:lnTo>
                    <a:lnTo>
                      <a:pt x="336" y="333"/>
                    </a:lnTo>
                    <a:lnTo>
                      <a:pt x="341" y="333"/>
                    </a:lnTo>
                    <a:lnTo>
                      <a:pt x="354" y="332"/>
                    </a:lnTo>
                    <a:lnTo>
                      <a:pt x="363" y="321"/>
                    </a:lnTo>
                    <a:lnTo>
                      <a:pt x="377" y="314"/>
                    </a:lnTo>
                    <a:lnTo>
                      <a:pt x="393" y="309"/>
                    </a:lnTo>
                    <a:lnTo>
                      <a:pt x="410" y="295"/>
                    </a:lnTo>
                    <a:lnTo>
                      <a:pt x="422" y="284"/>
                    </a:lnTo>
                    <a:lnTo>
                      <a:pt x="430" y="269"/>
                    </a:lnTo>
                    <a:lnTo>
                      <a:pt x="440" y="257"/>
                    </a:lnTo>
                    <a:lnTo>
                      <a:pt x="453" y="247"/>
                    </a:lnTo>
                    <a:lnTo>
                      <a:pt x="459" y="247"/>
                    </a:lnTo>
                    <a:lnTo>
                      <a:pt x="467" y="235"/>
                    </a:lnTo>
                    <a:lnTo>
                      <a:pt x="468" y="225"/>
                    </a:lnTo>
                    <a:lnTo>
                      <a:pt x="470" y="215"/>
                    </a:lnTo>
                    <a:lnTo>
                      <a:pt x="486" y="188"/>
                    </a:lnTo>
                    <a:lnTo>
                      <a:pt x="490" y="176"/>
                    </a:lnTo>
                    <a:lnTo>
                      <a:pt x="492" y="165"/>
                    </a:lnTo>
                    <a:lnTo>
                      <a:pt x="499" y="154"/>
                    </a:lnTo>
                    <a:lnTo>
                      <a:pt x="502" y="139"/>
                    </a:lnTo>
                    <a:lnTo>
                      <a:pt x="502" y="123"/>
                    </a:lnTo>
                    <a:lnTo>
                      <a:pt x="495" y="117"/>
                    </a:lnTo>
                    <a:lnTo>
                      <a:pt x="484" y="112"/>
                    </a:lnTo>
                    <a:lnTo>
                      <a:pt x="489" y="107"/>
                    </a:lnTo>
                    <a:lnTo>
                      <a:pt x="499" y="92"/>
                    </a:lnTo>
                    <a:lnTo>
                      <a:pt x="497" y="62"/>
                    </a:lnTo>
                    <a:lnTo>
                      <a:pt x="502" y="53"/>
                    </a:lnTo>
                    <a:lnTo>
                      <a:pt x="512" y="49"/>
                    </a:lnTo>
                    <a:lnTo>
                      <a:pt x="513" y="32"/>
                    </a:lnTo>
                    <a:lnTo>
                      <a:pt x="517" y="24"/>
                    </a:lnTo>
                    <a:lnTo>
                      <a:pt x="524" y="20"/>
                    </a:lnTo>
                    <a:lnTo>
                      <a:pt x="531" y="29"/>
                    </a:lnTo>
                    <a:lnTo>
                      <a:pt x="535" y="42"/>
                    </a:lnTo>
                    <a:lnTo>
                      <a:pt x="539" y="48"/>
                    </a:lnTo>
                    <a:lnTo>
                      <a:pt x="547" y="38"/>
                    </a:lnTo>
                    <a:lnTo>
                      <a:pt x="553" y="42"/>
                    </a:lnTo>
                    <a:lnTo>
                      <a:pt x="560" y="41"/>
                    </a:lnTo>
                    <a:lnTo>
                      <a:pt x="566" y="27"/>
                    </a:lnTo>
                    <a:lnTo>
                      <a:pt x="567" y="15"/>
                    </a:lnTo>
                    <a:lnTo>
                      <a:pt x="559" y="22"/>
                    </a:lnTo>
                    <a:lnTo>
                      <a:pt x="547" y="26"/>
                    </a:lnTo>
                    <a:lnTo>
                      <a:pt x="543" y="14"/>
                    </a:lnTo>
                    <a:lnTo>
                      <a:pt x="547" y="3"/>
                    </a:lnTo>
                    <a:lnTo>
                      <a:pt x="551" y="0"/>
                    </a:lnTo>
                    <a:lnTo>
                      <a:pt x="560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44" name="Freeform 109"/>
              <p:cNvSpPr>
                <a:spLocks noChangeAspect="1"/>
              </p:cNvSpPr>
              <p:nvPr/>
            </p:nvSpPr>
            <p:spPr bwMode="gray">
              <a:xfrm>
                <a:off x="3966" y="2088"/>
                <a:ext cx="28" cy="21"/>
              </a:xfrm>
              <a:custGeom>
                <a:avLst/>
                <a:gdLst/>
                <a:ahLst/>
                <a:cxnLst>
                  <a:cxn ang="0">
                    <a:pos x="113" y="70"/>
                  </a:cxn>
                  <a:cxn ang="0">
                    <a:pos x="102" y="63"/>
                  </a:cxn>
                  <a:cxn ang="0">
                    <a:pos x="88" y="58"/>
                  </a:cxn>
                  <a:cxn ang="0">
                    <a:pos x="74" y="62"/>
                  </a:cxn>
                  <a:cxn ang="0">
                    <a:pos x="66" y="68"/>
                  </a:cxn>
                  <a:cxn ang="0">
                    <a:pos x="59" y="80"/>
                  </a:cxn>
                  <a:cxn ang="0">
                    <a:pos x="50" y="95"/>
                  </a:cxn>
                  <a:cxn ang="0">
                    <a:pos x="48" y="106"/>
                  </a:cxn>
                  <a:cxn ang="0">
                    <a:pos x="39" y="107"/>
                  </a:cxn>
                  <a:cxn ang="0">
                    <a:pos x="30" y="100"/>
                  </a:cxn>
                  <a:cxn ang="0">
                    <a:pos x="26" y="95"/>
                  </a:cxn>
                  <a:cxn ang="0">
                    <a:pos x="19" y="82"/>
                  </a:cxn>
                  <a:cxn ang="0">
                    <a:pos x="20" y="76"/>
                  </a:cxn>
                  <a:cxn ang="0">
                    <a:pos x="16" y="69"/>
                  </a:cxn>
                  <a:cxn ang="0">
                    <a:pos x="10" y="64"/>
                  </a:cxn>
                  <a:cxn ang="0">
                    <a:pos x="0" y="64"/>
                  </a:cxn>
                  <a:cxn ang="0">
                    <a:pos x="15" y="53"/>
                  </a:cxn>
                  <a:cxn ang="0">
                    <a:pos x="37" y="23"/>
                  </a:cxn>
                  <a:cxn ang="0">
                    <a:pos x="50" y="25"/>
                  </a:cxn>
                  <a:cxn ang="0">
                    <a:pos x="57" y="28"/>
                  </a:cxn>
                  <a:cxn ang="0">
                    <a:pos x="68" y="26"/>
                  </a:cxn>
                  <a:cxn ang="0">
                    <a:pos x="78" y="21"/>
                  </a:cxn>
                  <a:cxn ang="0">
                    <a:pos x="82" y="14"/>
                  </a:cxn>
                  <a:cxn ang="0">
                    <a:pos x="95" y="1"/>
                  </a:cxn>
                  <a:cxn ang="0">
                    <a:pos x="102" y="0"/>
                  </a:cxn>
                  <a:cxn ang="0">
                    <a:pos x="112" y="3"/>
                  </a:cxn>
                  <a:cxn ang="0">
                    <a:pos x="123" y="9"/>
                  </a:cxn>
                  <a:cxn ang="0">
                    <a:pos x="132" y="10"/>
                  </a:cxn>
                  <a:cxn ang="0">
                    <a:pos x="138" y="33"/>
                  </a:cxn>
                  <a:cxn ang="0">
                    <a:pos x="140" y="36"/>
                  </a:cxn>
                  <a:cxn ang="0">
                    <a:pos x="134" y="44"/>
                  </a:cxn>
                  <a:cxn ang="0">
                    <a:pos x="128" y="47"/>
                  </a:cxn>
                  <a:cxn ang="0">
                    <a:pos x="123" y="54"/>
                  </a:cxn>
                  <a:cxn ang="0">
                    <a:pos x="118" y="63"/>
                  </a:cxn>
                  <a:cxn ang="0">
                    <a:pos x="113" y="70"/>
                  </a:cxn>
                </a:cxnLst>
                <a:rect l="0" t="0" r="r" b="b"/>
                <a:pathLst>
                  <a:path w="140" h="107">
                    <a:moveTo>
                      <a:pt x="113" y="70"/>
                    </a:moveTo>
                    <a:lnTo>
                      <a:pt x="102" y="63"/>
                    </a:lnTo>
                    <a:lnTo>
                      <a:pt x="88" y="58"/>
                    </a:lnTo>
                    <a:lnTo>
                      <a:pt x="74" y="62"/>
                    </a:lnTo>
                    <a:lnTo>
                      <a:pt x="66" y="68"/>
                    </a:lnTo>
                    <a:lnTo>
                      <a:pt x="59" y="80"/>
                    </a:lnTo>
                    <a:lnTo>
                      <a:pt x="50" y="95"/>
                    </a:lnTo>
                    <a:lnTo>
                      <a:pt x="48" y="106"/>
                    </a:lnTo>
                    <a:lnTo>
                      <a:pt x="39" y="107"/>
                    </a:lnTo>
                    <a:lnTo>
                      <a:pt x="30" y="100"/>
                    </a:lnTo>
                    <a:lnTo>
                      <a:pt x="26" y="95"/>
                    </a:lnTo>
                    <a:lnTo>
                      <a:pt x="19" y="82"/>
                    </a:lnTo>
                    <a:lnTo>
                      <a:pt x="20" y="76"/>
                    </a:lnTo>
                    <a:lnTo>
                      <a:pt x="16" y="69"/>
                    </a:lnTo>
                    <a:lnTo>
                      <a:pt x="10" y="64"/>
                    </a:lnTo>
                    <a:lnTo>
                      <a:pt x="0" y="64"/>
                    </a:lnTo>
                    <a:lnTo>
                      <a:pt x="15" y="53"/>
                    </a:lnTo>
                    <a:lnTo>
                      <a:pt x="37" y="23"/>
                    </a:lnTo>
                    <a:lnTo>
                      <a:pt x="50" y="25"/>
                    </a:lnTo>
                    <a:lnTo>
                      <a:pt x="57" y="28"/>
                    </a:lnTo>
                    <a:lnTo>
                      <a:pt x="68" y="26"/>
                    </a:lnTo>
                    <a:lnTo>
                      <a:pt x="78" y="21"/>
                    </a:lnTo>
                    <a:lnTo>
                      <a:pt x="82" y="14"/>
                    </a:lnTo>
                    <a:lnTo>
                      <a:pt x="95" y="1"/>
                    </a:lnTo>
                    <a:lnTo>
                      <a:pt x="102" y="0"/>
                    </a:lnTo>
                    <a:lnTo>
                      <a:pt x="112" y="3"/>
                    </a:lnTo>
                    <a:lnTo>
                      <a:pt x="123" y="9"/>
                    </a:lnTo>
                    <a:lnTo>
                      <a:pt x="132" y="10"/>
                    </a:lnTo>
                    <a:lnTo>
                      <a:pt x="138" y="33"/>
                    </a:lnTo>
                    <a:lnTo>
                      <a:pt x="140" y="36"/>
                    </a:lnTo>
                    <a:lnTo>
                      <a:pt x="134" y="44"/>
                    </a:lnTo>
                    <a:lnTo>
                      <a:pt x="128" y="47"/>
                    </a:lnTo>
                    <a:lnTo>
                      <a:pt x="123" y="54"/>
                    </a:lnTo>
                    <a:lnTo>
                      <a:pt x="118" y="63"/>
                    </a:lnTo>
                    <a:lnTo>
                      <a:pt x="113" y="7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45" name="Freeform 110"/>
              <p:cNvSpPr>
                <a:spLocks noChangeAspect="1"/>
              </p:cNvSpPr>
              <p:nvPr/>
            </p:nvSpPr>
            <p:spPr bwMode="gray">
              <a:xfrm>
                <a:off x="3938" y="2093"/>
                <a:ext cx="26" cy="38"/>
              </a:xfrm>
              <a:custGeom>
                <a:avLst/>
                <a:gdLst/>
                <a:ahLst/>
                <a:cxnLst>
                  <a:cxn ang="0">
                    <a:pos x="69" y="2"/>
                  </a:cxn>
                  <a:cxn ang="0">
                    <a:pos x="56" y="4"/>
                  </a:cxn>
                  <a:cxn ang="0">
                    <a:pos x="42" y="22"/>
                  </a:cxn>
                  <a:cxn ang="0">
                    <a:pos x="29" y="29"/>
                  </a:cxn>
                  <a:cxn ang="0">
                    <a:pos x="18" y="29"/>
                  </a:cxn>
                  <a:cxn ang="0">
                    <a:pos x="0" y="48"/>
                  </a:cxn>
                  <a:cxn ang="0">
                    <a:pos x="16" y="64"/>
                  </a:cxn>
                  <a:cxn ang="0">
                    <a:pos x="11" y="62"/>
                  </a:cxn>
                  <a:cxn ang="0">
                    <a:pos x="9" y="88"/>
                  </a:cxn>
                  <a:cxn ang="0">
                    <a:pos x="27" y="78"/>
                  </a:cxn>
                  <a:cxn ang="0">
                    <a:pos x="41" y="75"/>
                  </a:cxn>
                  <a:cxn ang="0">
                    <a:pos x="32" y="65"/>
                  </a:cxn>
                  <a:cxn ang="0">
                    <a:pos x="37" y="50"/>
                  </a:cxn>
                  <a:cxn ang="0">
                    <a:pos x="51" y="74"/>
                  </a:cxn>
                  <a:cxn ang="0">
                    <a:pos x="53" y="86"/>
                  </a:cxn>
                  <a:cxn ang="0">
                    <a:pos x="47" y="112"/>
                  </a:cxn>
                  <a:cxn ang="0">
                    <a:pos x="36" y="128"/>
                  </a:cxn>
                  <a:cxn ang="0">
                    <a:pos x="38" y="159"/>
                  </a:cxn>
                  <a:cxn ang="0">
                    <a:pos x="41" y="174"/>
                  </a:cxn>
                  <a:cxn ang="0">
                    <a:pos x="58" y="166"/>
                  </a:cxn>
                  <a:cxn ang="0">
                    <a:pos x="57" y="145"/>
                  </a:cxn>
                  <a:cxn ang="0">
                    <a:pos x="62" y="151"/>
                  </a:cxn>
                  <a:cxn ang="0">
                    <a:pos x="63" y="172"/>
                  </a:cxn>
                  <a:cxn ang="0">
                    <a:pos x="70" y="185"/>
                  </a:cxn>
                  <a:cxn ang="0">
                    <a:pos x="79" y="169"/>
                  </a:cxn>
                  <a:cxn ang="0">
                    <a:pos x="94" y="164"/>
                  </a:cxn>
                  <a:cxn ang="0">
                    <a:pos x="107" y="117"/>
                  </a:cxn>
                  <a:cxn ang="0">
                    <a:pos x="120" y="89"/>
                  </a:cxn>
                  <a:cxn ang="0">
                    <a:pos x="131" y="69"/>
                  </a:cxn>
                  <a:cxn ang="0">
                    <a:pos x="124" y="48"/>
                  </a:cxn>
                  <a:cxn ang="0">
                    <a:pos x="110" y="40"/>
                  </a:cxn>
                  <a:cxn ang="0">
                    <a:pos x="112" y="19"/>
                  </a:cxn>
                  <a:cxn ang="0">
                    <a:pos x="86" y="22"/>
                  </a:cxn>
                  <a:cxn ang="0">
                    <a:pos x="77" y="3"/>
                  </a:cxn>
                </a:cxnLst>
                <a:rect l="0" t="0" r="r" b="b"/>
                <a:pathLst>
                  <a:path w="131" h="187">
                    <a:moveTo>
                      <a:pt x="67" y="2"/>
                    </a:moveTo>
                    <a:lnTo>
                      <a:pt x="69" y="2"/>
                    </a:lnTo>
                    <a:lnTo>
                      <a:pt x="64" y="0"/>
                    </a:lnTo>
                    <a:lnTo>
                      <a:pt x="56" y="4"/>
                    </a:lnTo>
                    <a:lnTo>
                      <a:pt x="47" y="13"/>
                    </a:lnTo>
                    <a:lnTo>
                      <a:pt x="42" y="22"/>
                    </a:lnTo>
                    <a:lnTo>
                      <a:pt x="35" y="22"/>
                    </a:lnTo>
                    <a:lnTo>
                      <a:pt x="29" y="29"/>
                    </a:lnTo>
                    <a:lnTo>
                      <a:pt x="21" y="32"/>
                    </a:lnTo>
                    <a:lnTo>
                      <a:pt x="18" y="29"/>
                    </a:lnTo>
                    <a:lnTo>
                      <a:pt x="11" y="34"/>
                    </a:lnTo>
                    <a:lnTo>
                      <a:pt x="0" y="48"/>
                    </a:lnTo>
                    <a:lnTo>
                      <a:pt x="10" y="56"/>
                    </a:lnTo>
                    <a:lnTo>
                      <a:pt x="16" y="64"/>
                    </a:lnTo>
                    <a:lnTo>
                      <a:pt x="16" y="72"/>
                    </a:lnTo>
                    <a:lnTo>
                      <a:pt x="11" y="62"/>
                    </a:lnTo>
                    <a:lnTo>
                      <a:pt x="5" y="62"/>
                    </a:lnTo>
                    <a:lnTo>
                      <a:pt x="9" y="88"/>
                    </a:lnTo>
                    <a:lnTo>
                      <a:pt x="14" y="81"/>
                    </a:lnTo>
                    <a:lnTo>
                      <a:pt x="27" y="78"/>
                    </a:lnTo>
                    <a:lnTo>
                      <a:pt x="37" y="84"/>
                    </a:lnTo>
                    <a:lnTo>
                      <a:pt x="41" y="75"/>
                    </a:lnTo>
                    <a:lnTo>
                      <a:pt x="35" y="72"/>
                    </a:lnTo>
                    <a:lnTo>
                      <a:pt x="32" y="65"/>
                    </a:lnTo>
                    <a:lnTo>
                      <a:pt x="32" y="54"/>
                    </a:lnTo>
                    <a:lnTo>
                      <a:pt x="37" y="50"/>
                    </a:lnTo>
                    <a:lnTo>
                      <a:pt x="43" y="63"/>
                    </a:lnTo>
                    <a:lnTo>
                      <a:pt x="51" y="74"/>
                    </a:lnTo>
                    <a:lnTo>
                      <a:pt x="51" y="85"/>
                    </a:lnTo>
                    <a:lnTo>
                      <a:pt x="53" y="86"/>
                    </a:lnTo>
                    <a:lnTo>
                      <a:pt x="53" y="100"/>
                    </a:lnTo>
                    <a:lnTo>
                      <a:pt x="47" y="112"/>
                    </a:lnTo>
                    <a:lnTo>
                      <a:pt x="41" y="118"/>
                    </a:lnTo>
                    <a:lnTo>
                      <a:pt x="36" y="128"/>
                    </a:lnTo>
                    <a:lnTo>
                      <a:pt x="35" y="143"/>
                    </a:lnTo>
                    <a:lnTo>
                      <a:pt x="38" y="159"/>
                    </a:lnTo>
                    <a:lnTo>
                      <a:pt x="35" y="167"/>
                    </a:lnTo>
                    <a:lnTo>
                      <a:pt x="41" y="174"/>
                    </a:lnTo>
                    <a:lnTo>
                      <a:pt x="54" y="180"/>
                    </a:lnTo>
                    <a:lnTo>
                      <a:pt x="58" y="166"/>
                    </a:lnTo>
                    <a:lnTo>
                      <a:pt x="53" y="155"/>
                    </a:lnTo>
                    <a:lnTo>
                      <a:pt x="57" y="145"/>
                    </a:lnTo>
                    <a:lnTo>
                      <a:pt x="65" y="148"/>
                    </a:lnTo>
                    <a:lnTo>
                      <a:pt x="62" y="151"/>
                    </a:lnTo>
                    <a:lnTo>
                      <a:pt x="61" y="160"/>
                    </a:lnTo>
                    <a:lnTo>
                      <a:pt x="63" y="172"/>
                    </a:lnTo>
                    <a:lnTo>
                      <a:pt x="63" y="187"/>
                    </a:lnTo>
                    <a:lnTo>
                      <a:pt x="70" y="185"/>
                    </a:lnTo>
                    <a:lnTo>
                      <a:pt x="79" y="177"/>
                    </a:lnTo>
                    <a:lnTo>
                      <a:pt x="79" y="169"/>
                    </a:lnTo>
                    <a:lnTo>
                      <a:pt x="88" y="160"/>
                    </a:lnTo>
                    <a:lnTo>
                      <a:pt x="94" y="164"/>
                    </a:lnTo>
                    <a:lnTo>
                      <a:pt x="100" y="148"/>
                    </a:lnTo>
                    <a:lnTo>
                      <a:pt x="107" y="117"/>
                    </a:lnTo>
                    <a:lnTo>
                      <a:pt x="113" y="100"/>
                    </a:lnTo>
                    <a:lnTo>
                      <a:pt x="120" y="89"/>
                    </a:lnTo>
                    <a:lnTo>
                      <a:pt x="127" y="78"/>
                    </a:lnTo>
                    <a:lnTo>
                      <a:pt x="131" y="69"/>
                    </a:lnTo>
                    <a:lnTo>
                      <a:pt x="129" y="59"/>
                    </a:lnTo>
                    <a:lnTo>
                      <a:pt x="124" y="48"/>
                    </a:lnTo>
                    <a:lnTo>
                      <a:pt x="111" y="45"/>
                    </a:lnTo>
                    <a:lnTo>
                      <a:pt x="110" y="40"/>
                    </a:lnTo>
                    <a:lnTo>
                      <a:pt x="115" y="26"/>
                    </a:lnTo>
                    <a:lnTo>
                      <a:pt x="112" y="19"/>
                    </a:lnTo>
                    <a:lnTo>
                      <a:pt x="104" y="21"/>
                    </a:lnTo>
                    <a:lnTo>
                      <a:pt x="86" y="22"/>
                    </a:lnTo>
                    <a:lnTo>
                      <a:pt x="77" y="9"/>
                    </a:lnTo>
                    <a:lnTo>
                      <a:pt x="77" y="3"/>
                    </a:lnTo>
                    <a:lnTo>
                      <a:pt x="67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</p:grpSp>
        <p:sp>
          <p:nvSpPr>
            <p:cNvPr id="45" name="Freeform 111"/>
            <p:cNvSpPr>
              <a:spLocks noChangeAspect="1"/>
            </p:cNvSpPr>
            <p:nvPr/>
          </p:nvSpPr>
          <p:spPr bwMode="gray">
            <a:xfrm>
              <a:off x="8096396" y="3464118"/>
              <a:ext cx="60425" cy="99530"/>
            </a:xfrm>
            <a:custGeom>
              <a:avLst/>
              <a:gdLst/>
              <a:ahLst/>
              <a:cxnLst>
                <a:cxn ang="0">
                  <a:pos x="130" y="5"/>
                </a:cxn>
                <a:cxn ang="0">
                  <a:pos x="156" y="46"/>
                </a:cxn>
                <a:cxn ang="0">
                  <a:pos x="173" y="73"/>
                </a:cxn>
                <a:cxn ang="0">
                  <a:pos x="184" y="113"/>
                </a:cxn>
                <a:cxn ang="0">
                  <a:pos x="184" y="170"/>
                </a:cxn>
                <a:cxn ang="0">
                  <a:pos x="181" y="201"/>
                </a:cxn>
                <a:cxn ang="0">
                  <a:pos x="163" y="228"/>
                </a:cxn>
                <a:cxn ang="0">
                  <a:pos x="142" y="233"/>
                </a:cxn>
                <a:cxn ang="0">
                  <a:pos x="131" y="235"/>
                </a:cxn>
                <a:cxn ang="0">
                  <a:pos x="120" y="252"/>
                </a:cxn>
                <a:cxn ang="0">
                  <a:pos x="111" y="245"/>
                </a:cxn>
                <a:cxn ang="0">
                  <a:pos x="95" y="241"/>
                </a:cxn>
                <a:cxn ang="0">
                  <a:pos x="88" y="252"/>
                </a:cxn>
                <a:cxn ang="0">
                  <a:pos x="79" y="263"/>
                </a:cxn>
                <a:cxn ang="0">
                  <a:pos x="72" y="252"/>
                </a:cxn>
                <a:cxn ang="0">
                  <a:pos x="66" y="272"/>
                </a:cxn>
                <a:cxn ang="0">
                  <a:pos x="57" y="269"/>
                </a:cxn>
                <a:cxn ang="0">
                  <a:pos x="66" y="257"/>
                </a:cxn>
                <a:cxn ang="0">
                  <a:pos x="51" y="264"/>
                </a:cxn>
                <a:cxn ang="0">
                  <a:pos x="38" y="276"/>
                </a:cxn>
                <a:cxn ang="0">
                  <a:pos x="31" y="274"/>
                </a:cxn>
                <a:cxn ang="0">
                  <a:pos x="20" y="274"/>
                </a:cxn>
                <a:cxn ang="0">
                  <a:pos x="8" y="285"/>
                </a:cxn>
                <a:cxn ang="0">
                  <a:pos x="9" y="273"/>
                </a:cxn>
                <a:cxn ang="0">
                  <a:pos x="22" y="267"/>
                </a:cxn>
                <a:cxn ang="0">
                  <a:pos x="24" y="253"/>
                </a:cxn>
                <a:cxn ang="0">
                  <a:pos x="13" y="256"/>
                </a:cxn>
                <a:cxn ang="0">
                  <a:pos x="15" y="235"/>
                </a:cxn>
                <a:cxn ang="0">
                  <a:pos x="20" y="212"/>
                </a:cxn>
                <a:cxn ang="0">
                  <a:pos x="23" y="199"/>
                </a:cxn>
                <a:cxn ang="0">
                  <a:pos x="34" y="186"/>
                </a:cxn>
                <a:cxn ang="0">
                  <a:pos x="30" y="174"/>
                </a:cxn>
                <a:cxn ang="0">
                  <a:pos x="23" y="155"/>
                </a:cxn>
                <a:cxn ang="0">
                  <a:pos x="19" y="129"/>
                </a:cxn>
                <a:cxn ang="0">
                  <a:pos x="15" y="139"/>
                </a:cxn>
                <a:cxn ang="0">
                  <a:pos x="4" y="132"/>
                </a:cxn>
                <a:cxn ang="0">
                  <a:pos x="1" y="123"/>
                </a:cxn>
                <a:cxn ang="0">
                  <a:pos x="17" y="115"/>
                </a:cxn>
                <a:cxn ang="0">
                  <a:pos x="39" y="117"/>
                </a:cxn>
                <a:cxn ang="0">
                  <a:pos x="38" y="108"/>
                </a:cxn>
                <a:cxn ang="0">
                  <a:pos x="34" y="95"/>
                </a:cxn>
                <a:cxn ang="0">
                  <a:pos x="38" y="86"/>
                </a:cxn>
                <a:cxn ang="0">
                  <a:pos x="29" y="83"/>
                </a:cxn>
                <a:cxn ang="0">
                  <a:pos x="24" y="72"/>
                </a:cxn>
                <a:cxn ang="0">
                  <a:pos x="22" y="64"/>
                </a:cxn>
                <a:cxn ang="0">
                  <a:pos x="19" y="53"/>
                </a:cxn>
                <a:cxn ang="0">
                  <a:pos x="36" y="45"/>
                </a:cxn>
                <a:cxn ang="0">
                  <a:pos x="76" y="21"/>
                </a:cxn>
                <a:cxn ang="0">
                  <a:pos x="108" y="16"/>
                </a:cxn>
              </a:cxnLst>
              <a:rect l="0" t="0" r="r" b="b"/>
              <a:pathLst>
                <a:path w="190" h="285">
                  <a:moveTo>
                    <a:pt x="125" y="0"/>
                  </a:moveTo>
                  <a:lnTo>
                    <a:pt x="130" y="5"/>
                  </a:lnTo>
                  <a:lnTo>
                    <a:pt x="146" y="36"/>
                  </a:lnTo>
                  <a:lnTo>
                    <a:pt x="156" y="46"/>
                  </a:lnTo>
                  <a:lnTo>
                    <a:pt x="165" y="58"/>
                  </a:lnTo>
                  <a:lnTo>
                    <a:pt x="173" y="73"/>
                  </a:lnTo>
                  <a:lnTo>
                    <a:pt x="180" y="91"/>
                  </a:lnTo>
                  <a:lnTo>
                    <a:pt x="184" y="113"/>
                  </a:lnTo>
                  <a:lnTo>
                    <a:pt x="183" y="150"/>
                  </a:lnTo>
                  <a:lnTo>
                    <a:pt x="184" y="170"/>
                  </a:lnTo>
                  <a:lnTo>
                    <a:pt x="190" y="171"/>
                  </a:lnTo>
                  <a:lnTo>
                    <a:pt x="181" y="201"/>
                  </a:lnTo>
                  <a:lnTo>
                    <a:pt x="174" y="217"/>
                  </a:lnTo>
                  <a:lnTo>
                    <a:pt x="163" y="228"/>
                  </a:lnTo>
                  <a:lnTo>
                    <a:pt x="154" y="230"/>
                  </a:lnTo>
                  <a:lnTo>
                    <a:pt x="142" y="233"/>
                  </a:lnTo>
                  <a:lnTo>
                    <a:pt x="135" y="230"/>
                  </a:lnTo>
                  <a:lnTo>
                    <a:pt x="131" y="235"/>
                  </a:lnTo>
                  <a:lnTo>
                    <a:pt x="127" y="242"/>
                  </a:lnTo>
                  <a:lnTo>
                    <a:pt x="120" y="252"/>
                  </a:lnTo>
                  <a:lnTo>
                    <a:pt x="116" y="245"/>
                  </a:lnTo>
                  <a:lnTo>
                    <a:pt x="111" y="245"/>
                  </a:lnTo>
                  <a:lnTo>
                    <a:pt x="101" y="240"/>
                  </a:lnTo>
                  <a:lnTo>
                    <a:pt x="95" y="241"/>
                  </a:lnTo>
                  <a:lnTo>
                    <a:pt x="83" y="246"/>
                  </a:lnTo>
                  <a:lnTo>
                    <a:pt x="88" y="252"/>
                  </a:lnTo>
                  <a:lnTo>
                    <a:pt x="86" y="260"/>
                  </a:lnTo>
                  <a:lnTo>
                    <a:pt x="79" y="263"/>
                  </a:lnTo>
                  <a:lnTo>
                    <a:pt x="76" y="256"/>
                  </a:lnTo>
                  <a:lnTo>
                    <a:pt x="72" y="252"/>
                  </a:lnTo>
                  <a:lnTo>
                    <a:pt x="71" y="268"/>
                  </a:lnTo>
                  <a:lnTo>
                    <a:pt x="66" y="272"/>
                  </a:lnTo>
                  <a:lnTo>
                    <a:pt x="61" y="273"/>
                  </a:lnTo>
                  <a:lnTo>
                    <a:pt x="57" y="269"/>
                  </a:lnTo>
                  <a:lnTo>
                    <a:pt x="65" y="263"/>
                  </a:lnTo>
                  <a:lnTo>
                    <a:pt x="66" y="257"/>
                  </a:lnTo>
                  <a:lnTo>
                    <a:pt x="60" y="260"/>
                  </a:lnTo>
                  <a:lnTo>
                    <a:pt x="51" y="264"/>
                  </a:lnTo>
                  <a:lnTo>
                    <a:pt x="41" y="276"/>
                  </a:lnTo>
                  <a:lnTo>
                    <a:pt x="38" y="276"/>
                  </a:lnTo>
                  <a:lnTo>
                    <a:pt x="35" y="269"/>
                  </a:lnTo>
                  <a:lnTo>
                    <a:pt x="31" y="274"/>
                  </a:lnTo>
                  <a:lnTo>
                    <a:pt x="22" y="283"/>
                  </a:lnTo>
                  <a:lnTo>
                    <a:pt x="20" y="274"/>
                  </a:lnTo>
                  <a:lnTo>
                    <a:pt x="12" y="277"/>
                  </a:lnTo>
                  <a:lnTo>
                    <a:pt x="8" y="285"/>
                  </a:lnTo>
                  <a:lnTo>
                    <a:pt x="4" y="282"/>
                  </a:lnTo>
                  <a:lnTo>
                    <a:pt x="9" y="273"/>
                  </a:lnTo>
                  <a:lnTo>
                    <a:pt x="11" y="263"/>
                  </a:lnTo>
                  <a:lnTo>
                    <a:pt x="22" y="267"/>
                  </a:lnTo>
                  <a:lnTo>
                    <a:pt x="20" y="261"/>
                  </a:lnTo>
                  <a:lnTo>
                    <a:pt x="24" y="253"/>
                  </a:lnTo>
                  <a:lnTo>
                    <a:pt x="19" y="250"/>
                  </a:lnTo>
                  <a:lnTo>
                    <a:pt x="13" y="256"/>
                  </a:lnTo>
                  <a:lnTo>
                    <a:pt x="11" y="247"/>
                  </a:lnTo>
                  <a:lnTo>
                    <a:pt x="15" y="235"/>
                  </a:lnTo>
                  <a:lnTo>
                    <a:pt x="15" y="225"/>
                  </a:lnTo>
                  <a:lnTo>
                    <a:pt x="20" y="212"/>
                  </a:lnTo>
                  <a:lnTo>
                    <a:pt x="27" y="203"/>
                  </a:lnTo>
                  <a:lnTo>
                    <a:pt x="23" y="199"/>
                  </a:lnTo>
                  <a:lnTo>
                    <a:pt x="31" y="193"/>
                  </a:lnTo>
                  <a:lnTo>
                    <a:pt x="34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67"/>
                  </a:lnTo>
                  <a:lnTo>
                    <a:pt x="23" y="155"/>
                  </a:lnTo>
                  <a:lnTo>
                    <a:pt x="20" y="143"/>
                  </a:lnTo>
                  <a:lnTo>
                    <a:pt x="19" y="129"/>
                  </a:lnTo>
                  <a:lnTo>
                    <a:pt x="13" y="127"/>
                  </a:lnTo>
                  <a:lnTo>
                    <a:pt x="15" y="139"/>
                  </a:lnTo>
                  <a:lnTo>
                    <a:pt x="11" y="14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1" y="123"/>
                  </a:lnTo>
                  <a:lnTo>
                    <a:pt x="8" y="115"/>
                  </a:lnTo>
                  <a:lnTo>
                    <a:pt x="17" y="115"/>
                  </a:lnTo>
                  <a:lnTo>
                    <a:pt x="29" y="110"/>
                  </a:lnTo>
                  <a:lnTo>
                    <a:pt x="39" y="117"/>
                  </a:lnTo>
                  <a:lnTo>
                    <a:pt x="43" y="118"/>
                  </a:lnTo>
                  <a:lnTo>
                    <a:pt x="38" y="108"/>
                  </a:lnTo>
                  <a:lnTo>
                    <a:pt x="38" y="100"/>
                  </a:lnTo>
                  <a:lnTo>
                    <a:pt x="34" y="95"/>
                  </a:lnTo>
                  <a:lnTo>
                    <a:pt x="35" y="89"/>
                  </a:lnTo>
                  <a:lnTo>
                    <a:pt x="38" y="86"/>
                  </a:lnTo>
                  <a:lnTo>
                    <a:pt x="31" y="81"/>
                  </a:lnTo>
                  <a:lnTo>
                    <a:pt x="29" y="83"/>
                  </a:lnTo>
                  <a:lnTo>
                    <a:pt x="25" y="77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2" y="64"/>
                  </a:lnTo>
                  <a:lnTo>
                    <a:pt x="19" y="58"/>
                  </a:lnTo>
                  <a:lnTo>
                    <a:pt x="19" y="53"/>
                  </a:lnTo>
                  <a:lnTo>
                    <a:pt x="23" y="56"/>
                  </a:lnTo>
                  <a:lnTo>
                    <a:pt x="36" y="45"/>
                  </a:lnTo>
                  <a:lnTo>
                    <a:pt x="58" y="22"/>
                  </a:lnTo>
                  <a:lnTo>
                    <a:pt x="76" y="21"/>
                  </a:lnTo>
                  <a:lnTo>
                    <a:pt x="93" y="22"/>
                  </a:lnTo>
                  <a:lnTo>
                    <a:pt x="108" y="16"/>
                  </a:lnTo>
                  <a:lnTo>
                    <a:pt x="12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46" name="Freeform 112"/>
            <p:cNvSpPr>
              <a:spLocks noChangeAspect="1"/>
            </p:cNvSpPr>
            <p:nvPr/>
          </p:nvSpPr>
          <p:spPr bwMode="gray">
            <a:xfrm>
              <a:off x="7428538" y="3090445"/>
              <a:ext cx="551779" cy="296843"/>
            </a:xfrm>
            <a:custGeom>
              <a:avLst/>
              <a:gdLst/>
              <a:ahLst/>
              <a:cxnLst>
                <a:cxn ang="0">
                  <a:pos x="46" y="227"/>
                </a:cxn>
                <a:cxn ang="0">
                  <a:pos x="129" y="180"/>
                </a:cxn>
                <a:cxn ang="0">
                  <a:pos x="243" y="132"/>
                </a:cxn>
                <a:cxn ang="0">
                  <a:pos x="313" y="149"/>
                </a:cxn>
                <a:cxn ang="0">
                  <a:pos x="387" y="187"/>
                </a:cxn>
                <a:cxn ang="0">
                  <a:pos x="508" y="190"/>
                </a:cxn>
                <a:cxn ang="0">
                  <a:pos x="552" y="160"/>
                </a:cxn>
                <a:cxn ang="0">
                  <a:pos x="554" y="99"/>
                </a:cxn>
                <a:cxn ang="0">
                  <a:pos x="582" y="33"/>
                </a:cxn>
                <a:cxn ang="0">
                  <a:pos x="645" y="6"/>
                </a:cxn>
                <a:cxn ang="0">
                  <a:pos x="731" y="47"/>
                </a:cxn>
                <a:cxn ang="0">
                  <a:pos x="787" y="103"/>
                </a:cxn>
                <a:cxn ang="0">
                  <a:pos x="830" y="154"/>
                </a:cxn>
                <a:cxn ang="0">
                  <a:pos x="944" y="132"/>
                </a:cxn>
                <a:cxn ang="0">
                  <a:pos x="1034" y="169"/>
                </a:cxn>
                <a:cxn ang="0">
                  <a:pos x="1104" y="201"/>
                </a:cxn>
                <a:cxn ang="0">
                  <a:pos x="1200" y="249"/>
                </a:cxn>
                <a:cxn ang="0">
                  <a:pos x="1317" y="237"/>
                </a:cxn>
                <a:cxn ang="0">
                  <a:pos x="1439" y="179"/>
                </a:cxn>
                <a:cxn ang="0">
                  <a:pos x="1528" y="199"/>
                </a:cxn>
                <a:cxn ang="0">
                  <a:pos x="1565" y="195"/>
                </a:cxn>
                <a:cxn ang="0">
                  <a:pos x="1525" y="255"/>
                </a:cxn>
                <a:cxn ang="0">
                  <a:pos x="1517" y="325"/>
                </a:cxn>
                <a:cxn ang="0">
                  <a:pos x="1570" y="391"/>
                </a:cxn>
                <a:cxn ang="0">
                  <a:pos x="1667" y="348"/>
                </a:cxn>
                <a:cxn ang="0">
                  <a:pos x="1721" y="415"/>
                </a:cxn>
                <a:cxn ang="0">
                  <a:pos x="1734" y="458"/>
                </a:cxn>
                <a:cxn ang="0">
                  <a:pos x="1663" y="461"/>
                </a:cxn>
                <a:cxn ang="0">
                  <a:pos x="1576" y="482"/>
                </a:cxn>
                <a:cxn ang="0">
                  <a:pos x="1489" y="551"/>
                </a:cxn>
                <a:cxn ang="0">
                  <a:pos x="1411" y="611"/>
                </a:cxn>
                <a:cxn ang="0">
                  <a:pos x="1344" y="588"/>
                </a:cxn>
                <a:cxn ang="0">
                  <a:pos x="1298" y="646"/>
                </a:cxn>
                <a:cxn ang="0">
                  <a:pos x="1255" y="752"/>
                </a:cxn>
                <a:cxn ang="0">
                  <a:pos x="1163" y="789"/>
                </a:cxn>
                <a:cxn ang="0">
                  <a:pos x="1088" y="788"/>
                </a:cxn>
                <a:cxn ang="0">
                  <a:pos x="1014" y="815"/>
                </a:cxn>
                <a:cxn ang="0">
                  <a:pos x="942" y="847"/>
                </a:cxn>
                <a:cxn ang="0">
                  <a:pos x="903" y="834"/>
                </a:cxn>
                <a:cxn ang="0">
                  <a:pos x="801" y="805"/>
                </a:cxn>
                <a:cxn ang="0">
                  <a:pos x="744" y="767"/>
                </a:cxn>
                <a:cxn ang="0">
                  <a:pos x="527" y="766"/>
                </a:cxn>
                <a:cxn ang="0">
                  <a:pos x="463" y="730"/>
                </a:cxn>
                <a:cxn ang="0">
                  <a:pos x="421" y="659"/>
                </a:cxn>
                <a:cxn ang="0">
                  <a:pos x="353" y="625"/>
                </a:cxn>
                <a:cxn ang="0">
                  <a:pos x="280" y="590"/>
                </a:cxn>
                <a:cxn ang="0">
                  <a:pos x="211" y="584"/>
                </a:cxn>
                <a:cxn ang="0">
                  <a:pos x="158" y="552"/>
                </a:cxn>
                <a:cxn ang="0">
                  <a:pos x="163" y="470"/>
                </a:cxn>
                <a:cxn ang="0">
                  <a:pos x="124" y="372"/>
                </a:cxn>
                <a:cxn ang="0">
                  <a:pos x="70" y="369"/>
                </a:cxn>
                <a:cxn ang="0">
                  <a:pos x="3" y="288"/>
                </a:cxn>
              </a:cxnLst>
              <a:rect l="0" t="0" r="r" b="b"/>
              <a:pathLst>
                <a:path w="1734" h="848">
                  <a:moveTo>
                    <a:pt x="0" y="273"/>
                  </a:moveTo>
                  <a:lnTo>
                    <a:pt x="12" y="251"/>
                  </a:lnTo>
                  <a:lnTo>
                    <a:pt x="28" y="234"/>
                  </a:lnTo>
                  <a:lnTo>
                    <a:pt x="46" y="227"/>
                  </a:lnTo>
                  <a:lnTo>
                    <a:pt x="65" y="221"/>
                  </a:lnTo>
                  <a:lnTo>
                    <a:pt x="84" y="208"/>
                  </a:lnTo>
                  <a:lnTo>
                    <a:pt x="104" y="192"/>
                  </a:lnTo>
                  <a:lnTo>
                    <a:pt x="129" y="180"/>
                  </a:lnTo>
                  <a:lnTo>
                    <a:pt x="154" y="158"/>
                  </a:lnTo>
                  <a:lnTo>
                    <a:pt x="195" y="146"/>
                  </a:lnTo>
                  <a:lnTo>
                    <a:pt x="220" y="135"/>
                  </a:lnTo>
                  <a:lnTo>
                    <a:pt x="243" y="132"/>
                  </a:lnTo>
                  <a:lnTo>
                    <a:pt x="265" y="136"/>
                  </a:lnTo>
                  <a:lnTo>
                    <a:pt x="281" y="142"/>
                  </a:lnTo>
                  <a:lnTo>
                    <a:pt x="294" y="153"/>
                  </a:lnTo>
                  <a:lnTo>
                    <a:pt x="313" y="149"/>
                  </a:lnTo>
                  <a:lnTo>
                    <a:pt x="334" y="148"/>
                  </a:lnTo>
                  <a:lnTo>
                    <a:pt x="351" y="151"/>
                  </a:lnTo>
                  <a:lnTo>
                    <a:pt x="382" y="180"/>
                  </a:lnTo>
                  <a:lnTo>
                    <a:pt x="387" y="187"/>
                  </a:lnTo>
                  <a:lnTo>
                    <a:pt x="404" y="190"/>
                  </a:lnTo>
                  <a:lnTo>
                    <a:pt x="451" y="183"/>
                  </a:lnTo>
                  <a:lnTo>
                    <a:pt x="464" y="189"/>
                  </a:lnTo>
                  <a:lnTo>
                    <a:pt x="508" y="190"/>
                  </a:lnTo>
                  <a:lnTo>
                    <a:pt x="546" y="185"/>
                  </a:lnTo>
                  <a:lnTo>
                    <a:pt x="556" y="180"/>
                  </a:lnTo>
                  <a:lnTo>
                    <a:pt x="556" y="172"/>
                  </a:lnTo>
                  <a:lnTo>
                    <a:pt x="552" y="160"/>
                  </a:lnTo>
                  <a:lnTo>
                    <a:pt x="555" y="146"/>
                  </a:lnTo>
                  <a:lnTo>
                    <a:pt x="565" y="130"/>
                  </a:lnTo>
                  <a:lnTo>
                    <a:pt x="565" y="114"/>
                  </a:lnTo>
                  <a:lnTo>
                    <a:pt x="554" y="99"/>
                  </a:lnTo>
                  <a:lnTo>
                    <a:pt x="550" y="81"/>
                  </a:lnTo>
                  <a:lnTo>
                    <a:pt x="552" y="63"/>
                  </a:lnTo>
                  <a:lnTo>
                    <a:pt x="568" y="49"/>
                  </a:lnTo>
                  <a:lnTo>
                    <a:pt x="582" y="33"/>
                  </a:lnTo>
                  <a:lnTo>
                    <a:pt x="600" y="18"/>
                  </a:lnTo>
                  <a:lnTo>
                    <a:pt x="611" y="1"/>
                  </a:lnTo>
                  <a:lnTo>
                    <a:pt x="625" y="0"/>
                  </a:lnTo>
                  <a:lnTo>
                    <a:pt x="645" y="6"/>
                  </a:lnTo>
                  <a:lnTo>
                    <a:pt x="659" y="17"/>
                  </a:lnTo>
                  <a:lnTo>
                    <a:pt x="696" y="27"/>
                  </a:lnTo>
                  <a:lnTo>
                    <a:pt x="707" y="41"/>
                  </a:lnTo>
                  <a:lnTo>
                    <a:pt x="731" y="47"/>
                  </a:lnTo>
                  <a:lnTo>
                    <a:pt x="755" y="50"/>
                  </a:lnTo>
                  <a:lnTo>
                    <a:pt x="772" y="57"/>
                  </a:lnTo>
                  <a:lnTo>
                    <a:pt x="782" y="73"/>
                  </a:lnTo>
                  <a:lnTo>
                    <a:pt x="787" y="103"/>
                  </a:lnTo>
                  <a:lnTo>
                    <a:pt x="787" y="124"/>
                  </a:lnTo>
                  <a:lnTo>
                    <a:pt x="792" y="124"/>
                  </a:lnTo>
                  <a:lnTo>
                    <a:pt x="807" y="138"/>
                  </a:lnTo>
                  <a:lnTo>
                    <a:pt x="830" y="154"/>
                  </a:lnTo>
                  <a:lnTo>
                    <a:pt x="864" y="165"/>
                  </a:lnTo>
                  <a:lnTo>
                    <a:pt x="892" y="159"/>
                  </a:lnTo>
                  <a:lnTo>
                    <a:pt x="919" y="144"/>
                  </a:lnTo>
                  <a:lnTo>
                    <a:pt x="944" y="132"/>
                  </a:lnTo>
                  <a:lnTo>
                    <a:pt x="975" y="140"/>
                  </a:lnTo>
                  <a:lnTo>
                    <a:pt x="1023" y="157"/>
                  </a:lnTo>
                  <a:lnTo>
                    <a:pt x="1033" y="169"/>
                  </a:lnTo>
                  <a:lnTo>
                    <a:pt x="1034" y="169"/>
                  </a:lnTo>
                  <a:lnTo>
                    <a:pt x="1040" y="174"/>
                  </a:lnTo>
                  <a:lnTo>
                    <a:pt x="1062" y="186"/>
                  </a:lnTo>
                  <a:lnTo>
                    <a:pt x="1083" y="192"/>
                  </a:lnTo>
                  <a:lnTo>
                    <a:pt x="1104" y="201"/>
                  </a:lnTo>
                  <a:lnTo>
                    <a:pt x="1118" y="221"/>
                  </a:lnTo>
                  <a:lnTo>
                    <a:pt x="1145" y="237"/>
                  </a:lnTo>
                  <a:lnTo>
                    <a:pt x="1177" y="242"/>
                  </a:lnTo>
                  <a:lnTo>
                    <a:pt x="1200" y="249"/>
                  </a:lnTo>
                  <a:lnTo>
                    <a:pt x="1218" y="250"/>
                  </a:lnTo>
                  <a:lnTo>
                    <a:pt x="1243" y="248"/>
                  </a:lnTo>
                  <a:lnTo>
                    <a:pt x="1261" y="256"/>
                  </a:lnTo>
                  <a:lnTo>
                    <a:pt x="1317" y="237"/>
                  </a:lnTo>
                  <a:lnTo>
                    <a:pt x="1351" y="229"/>
                  </a:lnTo>
                  <a:lnTo>
                    <a:pt x="1378" y="224"/>
                  </a:lnTo>
                  <a:lnTo>
                    <a:pt x="1415" y="195"/>
                  </a:lnTo>
                  <a:lnTo>
                    <a:pt x="1439" y="179"/>
                  </a:lnTo>
                  <a:lnTo>
                    <a:pt x="1464" y="170"/>
                  </a:lnTo>
                  <a:lnTo>
                    <a:pt x="1489" y="180"/>
                  </a:lnTo>
                  <a:lnTo>
                    <a:pt x="1507" y="195"/>
                  </a:lnTo>
                  <a:lnTo>
                    <a:pt x="1528" y="199"/>
                  </a:lnTo>
                  <a:lnTo>
                    <a:pt x="1545" y="195"/>
                  </a:lnTo>
                  <a:lnTo>
                    <a:pt x="1559" y="187"/>
                  </a:lnTo>
                  <a:lnTo>
                    <a:pt x="1565" y="190"/>
                  </a:lnTo>
                  <a:lnTo>
                    <a:pt x="1565" y="195"/>
                  </a:lnTo>
                  <a:lnTo>
                    <a:pt x="1556" y="203"/>
                  </a:lnTo>
                  <a:lnTo>
                    <a:pt x="1540" y="232"/>
                  </a:lnTo>
                  <a:lnTo>
                    <a:pt x="1529" y="246"/>
                  </a:lnTo>
                  <a:lnTo>
                    <a:pt x="1525" y="255"/>
                  </a:lnTo>
                  <a:lnTo>
                    <a:pt x="1525" y="271"/>
                  </a:lnTo>
                  <a:lnTo>
                    <a:pt x="1528" y="288"/>
                  </a:lnTo>
                  <a:lnTo>
                    <a:pt x="1525" y="308"/>
                  </a:lnTo>
                  <a:lnTo>
                    <a:pt x="1517" y="325"/>
                  </a:lnTo>
                  <a:lnTo>
                    <a:pt x="1517" y="347"/>
                  </a:lnTo>
                  <a:lnTo>
                    <a:pt x="1520" y="367"/>
                  </a:lnTo>
                  <a:lnTo>
                    <a:pt x="1529" y="382"/>
                  </a:lnTo>
                  <a:lnTo>
                    <a:pt x="1570" y="391"/>
                  </a:lnTo>
                  <a:lnTo>
                    <a:pt x="1595" y="389"/>
                  </a:lnTo>
                  <a:lnTo>
                    <a:pt x="1620" y="382"/>
                  </a:lnTo>
                  <a:lnTo>
                    <a:pt x="1638" y="369"/>
                  </a:lnTo>
                  <a:lnTo>
                    <a:pt x="1667" y="348"/>
                  </a:lnTo>
                  <a:lnTo>
                    <a:pt x="1673" y="362"/>
                  </a:lnTo>
                  <a:lnTo>
                    <a:pt x="1686" y="377"/>
                  </a:lnTo>
                  <a:lnTo>
                    <a:pt x="1715" y="401"/>
                  </a:lnTo>
                  <a:lnTo>
                    <a:pt x="1721" y="415"/>
                  </a:lnTo>
                  <a:lnTo>
                    <a:pt x="1719" y="428"/>
                  </a:lnTo>
                  <a:lnTo>
                    <a:pt x="1719" y="437"/>
                  </a:lnTo>
                  <a:lnTo>
                    <a:pt x="1733" y="445"/>
                  </a:lnTo>
                  <a:lnTo>
                    <a:pt x="1734" y="458"/>
                  </a:lnTo>
                  <a:lnTo>
                    <a:pt x="1724" y="464"/>
                  </a:lnTo>
                  <a:lnTo>
                    <a:pt x="1707" y="461"/>
                  </a:lnTo>
                  <a:lnTo>
                    <a:pt x="1688" y="456"/>
                  </a:lnTo>
                  <a:lnTo>
                    <a:pt x="1663" y="461"/>
                  </a:lnTo>
                  <a:lnTo>
                    <a:pt x="1638" y="465"/>
                  </a:lnTo>
                  <a:lnTo>
                    <a:pt x="1613" y="464"/>
                  </a:lnTo>
                  <a:lnTo>
                    <a:pt x="1592" y="468"/>
                  </a:lnTo>
                  <a:lnTo>
                    <a:pt x="1576" y="482"/>
                  </a:lnTo>
                  <a:lnTo>
                    <a:pt x="1525" y="538"/>
                  </a:lnTo>
                  <a:lnTo>
                    <a:pt x="1507" y="550"/>
                  </a:lnTo>
                  <a:lnTo>
                    <a:pt x="1500" y="552"/>
                  </a:lnTo>
                  <a:lnTo>
                    <a:pt x="1489" y="551"/>
                  </a:lnTo>
                  <a:lnTo>
                    <a:pt x="1477" y="551"/>
                  </a:lnTo>
                  <a:lnTo>
                    <a:pt x="1457" y="573"/>
                  </a:lnTo>
                  <a:lnTo>
                    <a:pt x="1438" y="594"/>
                  </a:lnTo>
                  <a:lnTo>
                    <a:pt x="1411" y="611"/>
                  </a:lnTo>
                  <a:lnTo>
                    <a:pt x="1393" y="611"/>
                  </a:lnTo>
                  <a:lnTo>
                    <a:pt x="1372" y="606"/>
                  </a:lnTo>
                  <a:lnTo>
                    <a:pt x="1360" y="593"/>
                  </a:lnTo>
                  <a:lnTo>
                    <a:pt x="1344" y="588"/>
                  </a:lnTo>
                  <a:lnTo>
                    <a:pt x="1323" y="594"/>
                  </a:lnTo>
                  <a:lnTo>
                    <a:pt x="1314" y="611"/>
                  </a:lnTo>
                  <a:lnTo>
                    <a:pt x="1301" y="631"/>
                  </a:lnTo>
                  <a:lnTo>
                    <a:pt x="1298" y="646"/>
                  </a:lnTo>
                  <a:lnTo>
                    <a:pt x="1320" y="675"/>
                  </a:lnTo>
                  <a:lnTo>
                    <a:pt x="1323" y="689"/>
                  </a:lnTo>
                  <a:lnTo>
                    <a:pt x="1265" y="738"/>
                  </a:lnTo>
                  <a:lnTo>
                    <a:pt x="1255" y="752"/>
                  </a:lnTo>
                  <a:lnTo>
                    <a:pt x="1235" y="767"/>
                  </a:lnTo>
                  <a:lnTo>
                    <a:pt x="1221" y="776"/>
                  </a:lnTo>
                  <a:lnTo>
                    <a:pt x="1191" y="787"/>
                  </a:lnTo>
                  <a:lnTo>
                    <a:pt x="1163" y="789"/>
                  </a:lnTo>
                  <a:lnTo>
                    <a:pt x="1158" y="792"/>
                  </a:lnTo>
                  <a:lnTo>
                    <a:pt x="1130" y="783"/>
                  </a:lnTo>
                  <a:lnTo>
                    <a:pt x="1114" y="789"/>
                  </a:lnTo>
                  <a:lnTo>
                    <a:pt x="1088" y="788"/>
                  </a:lnTo>
                  <a:lnTo>
                    <a:pt x="1070" y="795"/>
                  </a:lnTo>
                  <a:lnTo>
                    <a:pt x="1033" y="802"/>
                  </a:lnTo>
                  <a:lnTo>
                    <a:pt x="1022" y="805"/>
                  </a:lnTo>
                  <a:lnTo>
                    <a:pt x="1014" y="815"/>
                  </a:lnTo>
                  <a:lnTo>
                    <a:pt x="1003" y="819"/>
                  </a:lnTo>
                  <a:lnTo>
                    <a:pt x="990" y="821"/>
                  </a:lnTo>
                  <a:lnTo>
                    <a:pt x="960" y="832"/>
                  </a:lnTo>
                  <a:lnTo>
                    <a:pt x="942" y="847"/>
                  </a:lnTo>
                  <a:lnTo>
                    <a:pt x="932" y="848"/>
                  </a:lnTo>
                  <a:lnTo>
                    <a:pt x="920" y="845"/>
                  </a:lnTo>
                  <a:lnTo>
                    <a:pt x="909" y="836"/>
                  </a:lnTo>
                  <a:lnTo>
                    <a:pt x="903" y="834"/>
                  </a:lnTo>
                  <a:lnTo>
                    <a:pt x="874" y="832"/>
                  </a:lnTo>
                  <a:lnTo>
                    <a:pt x="852" y="825"/>
                  </a:lnTo>
                  <a:lnTo>
                    <a:pt x="834" y="815"/>
                  </a:lnTo>
                  <a:lnTo>
                    <a:pt x="801" y="805"/>
                  </a:lnTo>
                  <a:lnTo>
                    <a:pt x="778" y="795"/>
                  </a:lnTo>
                  <a:lnTo>
                    <a:pt x="763" y="782"/>
                  </a:lnTo>
                  <a:lnTo>
                    <a:pt x="754" y="771"/>
                  </a:lnTo>
                  <a:lnTo>
                    <a:pt x="744" y="767"/>
                  </a:lnTo>
                  <a:lnTo>
                    <a:pt x="710" y="756"/>
                  </a:lnTo>
                  <a:lnTo>
                    <a:pt x="693" y="754"/>
                  </a:lnTo>
                  <a:lnTo>
                    <a:pt x="675" y="756"/>
                  </a:lnTo>
                  <a:lnTo>
                    <a:pt x="527" y="766"/>
                  </a:lnTo>
                  <a:lnTo>
                    <a:pt x="506" y="766"/>
                  </a:lnTo>
                  <a:lnTo>
                    <a:pt x="492" y="760"/>
                  </a:lnTo>
                  <a:lnTo>
                    <a:pt x="476" y="746"/>
                  </a:lnTo>
                  <a:lnTo>
                    <a:pt x="463" y="730"/>
                  </a:lnTo>
                  <a:lnTo>
                    <a:pt x="451" y="716"/>
                  </a:lnTo>
                  <a:lnTo>
                    <a:pt x="439" y="696"/>
                  </a:lnTo>
                  <a:lnTo>
                    <a:pt x="432" y="676"/>
                  </a:lnTo>
                  <a:lnTo>
                    <a:pt x="421" y="659"/>
                  </a:lnTo>
                  <a:lnTo>
                    <a:pt x="410" y="644"/>
                  </a:lnTo>
                  <a:lnTo>
                    <a:pt x="398" y="643"/>
                  </a:lnTo>
                  <a:lnTo>
                    <a:pt x="385" y="633"/>
                  </a:lnTo>
                  <a:lnTo>
                    <a:pt x="353" y="625"/>
                  </a:lnTo>
                  <a:lnTo>
                    <a:pt x="337" y="616"/>
                  </a:lnTo>
                  <a:lnTo>
                    <a:pt x="322" y="606"/>
                  </a:lnTo>
                  <a:lnTo>
                    <a:pt x="292" y="596"/>
                  </a:lnTo>
                  <a:lnTo>
                    <a:pt x="280" y="590"/>
                  </a:lnTo>
                  <a:lnTo>
                    <a:pt x="267" y="590"/>
                  </a:lnTo>
                  <a:lnTo>
                    <a:pt x="254" y="595"/>
                  </a:lnTo>
                  <a:lnTo>
                    <a:pt x="245" y="595"/>
                  </a:lnTo>
                  <a:lnTo>
                    <a:pt x="211" y="584"/>
                  </a:lnTo>
                  <a:lnTo>
                    <a:pt x="180" y="581"/>
                  </a:lnTo>
                  <a:lnTo>
                    <a:pt x="164" y="574"/>
                  </a:lnTo>
                  <a:lnTo>
                    <a:pt x="157" y="567"/>
                  </a:lnTo>
                  <a:lnTo>
                    <a:pt x="158" y="552"/>
                  </a:lnTo>
                  <a:lnTo>
                    <a:pt x="166" y="536"/>
                  </a:lnTo>
                  <a:lnTo>
                    <a:pt x="167" y="517"/>
                  </a:lnTo>
                  <a:lnTo>
                    <a:pt x="163" y="498"/>
                  </a:lnTo>
                  <a:lnTo>
                    <a:pt x="163" y="470"/>
                  </a:lnTo>
                  <a:lnTo>
                    <a:pt x="151" y="427"/>
                  </a:lnTo>
                  <a:lnTo>
                    <a:pt x="141" y="410"/>
                  </a:lnTo>
                  <a:lnTo>
                    <a:pt x="134" y="388"/>
                  </a:lnTo>
                  <a:lnTo>
                    <a:pt x="124" y="372"/>
                  </a:lnTo>
                  <a:lnTo>
                    <a:pt x="108" y="369"/>
                  </a:lnTo>
                  <a:lnTo>
                    <a:pt x="93" y="361"/>
                  </a:lnTo>
                  <a:lnTo>
                    <a:pt x="77" y="358"/>
                  </a:lnTo>
                  <a:lnTo>
                    <a:pt x="70" y="369"/>
                  </a:lnTo>
                  <a:lnTo>
                    <a:pt x="55" y="358"/>
                  </a:lnTo>
                  <a:lnTo>
                    <a:pt x="44" y="337"/>
                  </a:lnTo>
                  <a:lnTo>
                    <a:pt x="14" y="314"/>
                  </a:lnTo>
                  <a:lnTo>
                    <a:pt x="3" y="288"/>
                  </a:lnTo>
                  <a:lnTo>
                    <a:pt x="0" y="277"/>
                  </a:lnTo>
                  <a:lnTo>
                    <a:pt x="0" y="2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47" name="Freeform 113"/>
            <p:cNvSpPr>
              <a:spLocks noChangeAspect="1"/>
            </p:cNvSpPr>
            <p:nvPr/>
          </p:nvSpPr>
          <p:spPr bwMode="gray">
            <a:xfrm>
              <a:off x="7791090" y="3867474"/>
              <a:ext cx="41344" cy="40162"/>
            </a:xfrm>
            <a:custGeom>
              <a:avLst/>
              <a:gdLst/>
              <a:ahLst/>
              <a:cxnLst>
                <a:cxn ang="0">
                  <a:pos x="102" y="5"/>
                </a:cxn>
                <a:cxn ang="0">
                  <a:pos x="100" y="5"/>
                </a:cxn>
                <a:cxn ang="0">
                  <a:pos x="105" y="0"/>
                </a:cxn>
                <a:cxn ang="0">
                  <a:pos x="112" y="5"/>
                </a:cxn>
                <a:cxn ang="0">
                  <a:pos x="123" y="8"/>
                </a:cxn>
                <a:cxn ang="0">
                  <a:pos x="127" y="20"/>
                </a:cxn>
                <a:cxn ang="0">
                  <a:pos x="127" y="27"/>
                </a:cxn>
                <a:cxn ang="0">
                  <a:pos x="117" y="37"/>
                </a:cxn>
                <a:cxn ang="0">
                  <a:pos x="105" y="61"/>
                </a:cxn>
                <a:cxn ang="0">
                  <a:pos x="100" y="79"/>
                </a:cxn>
                <a:cxn ang="0">
                  <a:pos x="91" y="85"/>
                </a:cxn>
                <a:cxn ang="0">
                  <a:pos x="78" y="99"/>
                </a:cxn>
                <a:cxn ang="0">
                  <a:pos x="66" y="101"/>
                </a:cxn>
                <a:cxn ang="0">
                  <a:pos x="59" y="113"/>
                </a:cxn>
                <a:cxn ang="0">
                  <a:pos x="53" y="112"/>
                </a:cxn>
                <a:cxn ang="0">
                  <a:pos x="48" y="109"/>
                </a:cxn>
                <a:cxn ang="0">
                  <a:pos x="11" y="97"/>
                </a:cxn>
                <a:cxn ang="0">
                  <a:pos x="3" y="86"/>
                </a:cxn>
                <a:cxn ang="0">
                  <a:pos x="0" y="50"/>
                </a:cxn>
                <a:cxn ang="0">
                  <a:pos x="6" y="45"/>
                </a:cxn>
                <a:cxn ang="0">
                  <a:pos x="19" y="31"/>
                </a:cxn>
                <a:cxn ang="0">
                  <a:pos x="28" y="24"/>
                </a:cxn>
                <a:cxn ang="0">
                  <a:pos x="30" y="20"/>
                </a:cxn>
                <a:cxn ang="0">
                  <a:pos x="37" y="15"/>
                </a:cxn>
                <a:cxn ang="0">
                  <a:pos x="49" y="10"/>
                </a:cxn>
                <a:cxn ang="0">
                  <a:pos x="78" y="9"/>
                </a:cxn>
                <a:cxn ang="0">
                  <a:pos x="85" y="4"/>
                </a:cxn>
                <a:cxn ang="0">
                  <a:pos x="92" y="5"/>
                </a:cxn>
                <a:cxn ang="0">
                  <a:pos x="97" y="4"/>
                </a:cxn>
                <a:cxn ang="0">
                  <a:pos x="102" y="5"/>
                </a:cxn>
              </a:cxnLst>
              <a:rect l="0" t="0" r="r" b="b"/>
              <a:pathLst>
                <a:path w="127" h="113">
                  <a:moveTo>
                    <a:pt x="102" y="5"/>
                  </a:moveTo>
                  <a:lnTo>
                    <a:pt x="100" y="5"/>
                  </a:lnTo>
                  <a:lnTo>
                    <a:pt x="105" y="0"/>
                  </a:lnTo>
                  <a:lnTo>
                    <a:pt x="112" y="5"/>
                  </a:lnTo>
                  <a:lnTo>
                    <a:pt x="123" y="8"/>
                  </a:lnTo>
                  <a:lnTo>
                    <a:pt x="127" y="20"/>
                  </a:lnTo>
                  <a:lnTo>
                    <a:pt x="127" y="27"/>
                  </a:lnTo>
                  <a:lnTo>
                    <a:pt x="117" y="37"/>
                  </a:lnTo>
                  <a:lnTo>
                    <a:pt x="105" y="61"/>
                  </a:lnTo>
                  <a:lnTo>
                    <a:pt x="100" y="79"/>
                  </a:lnTo>
                  <a:lnTo>
                    <a:pt x="91" y="85"/>
                  </a:lnTo>
                  <a:lnTo>
                    <a:pt x="78" y="99"/>
                  </a:lnTo>
                  <a:lnTo>
                    <a:pt x="66" y="101"/>
                  </a:lnTo>
                  <a:lnTo>
                    <a:pt x="59" y="113"/>
                  </a:lnTo>
                  <a:lnTo>
                    <a:pt x="53" y="112"/>
                  </a:lnTo>
                  <a:lnTo>
                    <a:pt x="48" y="109"/>
                  </a:lnTo>
                  <a:lnTo>
                    <a:pt x="11" y="97"/>
                  </a:lnTo>
                  <a:lnTo>
                    <a:pt x="3" y="86"/>
                  </a:lnTo>
                  <a:lnTo>
                    <a:pt x="0" y="50"/>
                  </a:lnTo>
                  <a:lnTo>
                    <a:pt x="6" y="45"/>
                  </a:lnTo>
                  <a:lnTo>
                    <a:pt x="19" y="31"/>
                  </a:lnTo>
                  <a:lnTo>
                    <a:pt x="28" y="24"/>
                  </a:lnTo>
                  <a:lnTo>
                    <a:pt x="30" y="20"/>
                  </a:lnTo>
                  <a:lnTo>
                    <a:pt x="37" y="15"/>
                  </a:lnTo>
                  <a:lnTo>
                    <a:pt x="49" y="10"/>
                  </a:lnTo>
                  <a:lnTo>
                    <a:pt x="78" y="9"/>
                  </a:lnTo>
                  <a:lnTo>
                    <a:pt x="85" y="4"/>
                  </a:lnTo>
                  <a:lnTo>
                    <a:pt x="92" y="5"/>
                  </a:lnTo>
                  <a:lnTo>
                    <a:pt x="97" y="4"/>
                  </a:lnTo>
                  <a:lnTo>
                    <a:pt x="102" y="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48" name="Freeform 114"/>
            <p:cNvSpPr>
              <a:spLocks noChangeAspect="1"/>
            </p:cNvSpPr>
            <p:nvPr/>
          </p:nvSpPr>
          <p:spPr bwMode="gray">
            <a:xfrm>
              <a:off x="7180476" y="3050284"/>
              <a:ext cx="1068574" cy="815445"/>
            </a:xfrm>
            <a:custGeom>
              <a:avLst/>
              <a:gdLst/>
              <a:ahLst/>
              <a:cxnLst>
                <a:cxn ang="0">
                  <a:pos x="2191" y="2191"/>
                </a:cxn>
                <a:cxn ang="0">
                  <a:pos x="2134" y="2244"/>
                </a:cxn>
                <a:cxn ang="0">
                  <a:pos x="2015" y="2329"/>
                </a:cxn>
                <a:cxn ang="0">
                  <a:pos x="1898" y="2261"/>
                </a:cxn>
                <a:cxn ang="0">
                  <a:pos x="1746" y="2168"/>
                </a:cxn>
                <a:cxn ang="0">
                  <a:pos x="1585" y="2194"/>
                </a:cxn>
                <a:cxn ang="0">
                  <a:pos x="1509" y="2247"/>
                </a:cxn>
                <a:cxn ang="0">
                  <a:pos x="1333" y="2120"/>
                </a:cxn>
                <a:cxn ang="0">
                  <a:pos x="1352" y="1901"/>
                </a:cxn>
                <a:cxn ang="0">
                  <a:pos x="1237" y="1793"/>
                </a:cxn>
                <a:cxn ang="0">
                  <a:pos x="1036" y="1874"/>
                </a:cxn>
                <a:cxn ang="0">
                  <a:pos x="881" y="1862"/>
                </a:cxn>
                <a:cxn ang="0">
                  <a:pos x="793" y="1879"/>
                </a:cxn>
                <a:cxn ang="0">
                  <a:pos x="691" y="1881"/>
                </a:cxn>
                <a:cxn ang="0">
                  <a:pos x="603" y="1834"/>
                </a:cxn>
                <a:cxn ang="0">
                  <a:pos x="556" y="1803"/>
                </a:cxn>
                <a:cxn ang="0">
                  <a:pos x="423" y="1731"/>
                </a:cxn>
                <a:cxn ang="0">
                  <a:pos x="348" y="1701"/>
                </a:cxn>
                <a:cxn ang="0">
                  <a:pos x="291" y="1675"/>
                </a:cxn>
                <a:cxn ang="0">
                  <a:pos x="278" y="1580"/>
                </a:cxn>
                <a:cxn ang="0">
                  <a:pos x="322" y="1567"/>
                </a:cxn>
                <a:cxn ang="0">
                  <a:pos x="300" y="1492"/>
                </a:cxn>
                <a:cxn ang="0">
                  <a:pos x="360" y="1411"/>
                </a:cxn>
                <a:cxn ang="0">
                  <a:pos x="326" y="1368"/>
                </a:cxn>
                <a:cxn ang="0">
                  <a:pos x="230" y="1391"/>
                </a:cxn>
                <a:cxn ang="0">
                  <a:pos x="126" y="1355"/>
                </a:cxn>
                <a:cxn ang="0">
                  <a:pos x="88" y="1295"/>
                </a:cxn>
                <a:cxn ang="0">
                  <a:pos x="63" y="1212"/>
                </a:cxn>
                <a:cxn ang="0">
                  <a:pos x="105" y="1043"/>
                </a:cxn>
                <a:cxn ang="0">
                  <a:pos x="364" y="920"/>
                </a:cxn>
                <a:cxn ang="0">
                  <a:pos x="471" y="693"/>
                </a:cxn>
                <a:cxn ang="0">
                  <a:pos x="656" y="507"/>
                </a:cxn>
                <a:cxn ang="0">
                  <a:pos x="854" y="474"/>
                </a:cxn>
                <a:cxn ang="0">
                  <a:pos x="1031" y="711"/>
                </a:cxn>
                <a:cxn ang="0">
                  <a:pos x="1283" y="882"/>
                </a:cxn>
                <a:cxn ang="0">
                  <a:pos x="1719" y="963"/>
                </a:cxn>
                <a:cxn ang="0">
                  <a:pos x="2042" y="854"/>
                </a:cxn>
                <a:cxn ang="0">
                  <a:pos x="2284" y="666"/>
                </a:cxn>
                <a:cxn ang="0">
                  <a:pos x="2450" y="478"/>
                </a:cxn>
                <a:cxn ang="0">
                  <a:pos x="2342" y="311"/>
                </a:cxn>
                <a:cxn ang="0">
                  <a:pos x="2557" y="161"/>
                </a:cxn>
                <a:cxn ang="0">
                  <a:pos x="2738" y="0"/>
                </a:cxn>
                <a:cxn ang="0">
                  <a:pos x="2901" y="155"/>
                </a:cxn>
                <a:cxn ang="0">
                  <a:pos x="3109" y="394"/>
                </a:cxn>
                <a:cxn ang="0">
                  <a:pos x="3323" y="441"/>
                </a:cxn>
                <a:cxn ang="0">
                  <a:pos x="3195" y="693"/>
                </a:cxn>
                <a:cxn ang="0">
                  <a:pos x="2994" y="941"/>
                </a:cxn>
                <a:cxn ang="0">
                  <a:pos x="2729" y="1097"/>
                </a:cxn>
                <a:cxn ang="0">
                  <a:pos x="2616" y="1118"/>
                </a:cxn>
                <a:cxn ang="0">
                  <a:pos x="2542" y="1082"/>
                </a:cxn>
                <a:cxn ang="0">
                  <a:pos x="2444" y="1221"/>
                </a:cxn>
                <a:cxn ang="0">
                  <a:pos x="2611" y="1254"/>
                </a:cxn>
                <a:cxn ang="0">
                  <a:pos x="2643" y="1301"/>
                </a:cxn>
                <a:cxn ang="0">
                  <a:pos x="2521" y="1404"/>
                </a:cxn>
                <a:cxn ang="0">
                  <a:pos x="2646" y="1642"/>
                </a:cxn>
                <a:cxn ang="0">
                  <a:pos x="2640" y="1677"/>
                </a:cxn>
                <a:cxn ang="0">
                  <a:pos x="2624" y="1743"/>
                </a:cxn>
                <a:cxn ang="0">
                  <a:pos x="2628" y="1814"/>
                </a:cxn>
                <a:cxn ang="0">
                  <a:pos x="2555" y="1933"/>
                </a:cxn>
                <a:cxn ang="0">
                  <a:pos x="2512" y="2028"/>
                </a:cxn>
                <a:cxn ang="0">
                  <a:pos x="2435" y="2097"/>
                </a:cxn>
                <a:cxn ang="0">
                  <a:pos x="2344" y="2177"/>
                </a:cxn>
                <a:cxn ang="0">
                  <a:pos x="2245" y="2202"/>
                </a:cxn>
              </a:cxnLst>
              <a:rect l="0" t="0" r="r" b="b"/>
              <a:pathLst>
                <a:path w="3356" h="2335">
                  <a:moveTo>
                    <a:pt x="2243" y="2202"/>
                  </a:moveTo>
                  <a:lnTo>
                    <a:pt x="2240" y="2209"/>
                  </a:lnTo>
                  <a:lnTo>
                    <a:pt x="2239" y="2206"/>
                  </a:lnTo>
                  <a:lnTo>
                    <a:pt x="2239" y="2202"/>
                  </a:lnTo>
                  <a:lnTo>
                    <a:pt x="2235" y="2199"/>
                  </a:lnTo>
                  <a:lnTo>
                    <a:pt x="2226" y="2201"/>
                  </a:lnTo>
                  <a:lnTo>
                    <a:pt x="2225" y="2202"/>
                  </a:lnTo>
                  <a:lnTo>
                    <a:pt x="2224" y="2202"/>
                  </a:lnTo>
                  <a:lnTo>
                    <a:pt x="2224" y="2205"/>
                  </a:lnTo>
                  <a:lnTo>
                    <a:pt x="2229" y="2211"/>
                  </a:lnTo>
                  <a:lnTo>
                    <a:pt x="2224" y="2212"/>
                  </a:lnTo>
                  <a:lnTo>
                    <a:pt x="2211" y="2213"/>
                  </a:lnTo>
                  <a:lnTo>
                    <a:pt x="2210" y="2209"/>
                  </a:lnTo>
                  <a:lnTo>
                    <a:pt x="2211" y="2206"/>
                  </a:lnTo>
                  <a:lnTo>
                    <a:pt x="2209" y="2202"/>
                  </a:lnTo>
                  <a:lnTo>
                    <a:pt x="2199" y="2194"/>
                  </a:lnTo>
                  <a:lnTo>
                    <a:pt x="2191" y="2191"/>
                  </a:lnTo>
                  <a:lnTo>
                    <a:pt x="2188" y="2185"/>
                  </a:lnTo>
                  <a:lnTo>
                    <a:pt x="2186" y="2198"/>
                  </a:lnTo>
                  <a:lnTo>
                    <a:pt x="2186" y="2209"/>
                  </a:lnTo>
                  <a:lnTo>
                    <a:pt x="2187" y="2216"/>
                  </a:lnTo>
                  <a:lnTo>
                    <a:pt x="2187" y="2218"/>
                  </a:lnTo>
                  <a:lnTo>
                    <a:pt x="2183" y="2220"/>
                  </a:lnTo>
                  <a:lnTo>
                    <a:pt x="2180" y="2220"/>
                  </a:lnTo>
                  <a:lnTo>
                    <a:pt x="2171" y="2209"/>
                  </a:lnTo>
                  <a:lnTo>
                    <a:pt x="2164" y="2204"/>
                  </a:lnTo>
                  <a:lnTo>
                    <a:pt x="2161" y="2198"/>
                  </a:lnTo>
                  <a:lnTo>
                    <a:pt x="2155" y="2215"/>
                  </a:lnTo>
                  <a:lnTo>
                    <a:pt x="2155" y="2222"/>
                  </a:lnTo>
                  <a:lnTo>
                    <a:pt x="2156" y="2227"/>
                  </a:lnTo>
                  <a:lnTo>
                    <a:pt x="2156" y="2236"/>
                  </a:lnTo>
                  <a:lnTo>
                    <a:pt x="2153" y="2239"/>
                  </a:lnTo>
                  <a:lnTo>
                    <a:pt x="2149" y="2237"/>
                  </a:lnTo>
                  <a:lnTo>
                    <a:pt x="2134" y="2244"/>
                  </a:lnTo>
                  <a:lnTo>
                    <a:pt x="2123" y="2245"/>
                  </a:lnTo>
                  <a:lnTo>
                    <a:pt x="2116" y="2249"/>
                  </a:lnTo>
                  <a:lnTo>
                    <a:pt x="2107" y="2249"/>
                  </a:lnTo>
                  <a:lnTo>
                    <a:pt x="2105" y="2247"/>
                  </a:lnTo>
                  <a:lnTo>
                    <a:pt x="2094" y="2249"/>
                  </a:lnTo>
                  <a:lnTo>
                    <a:pt x="2084" y="2258"/>
                  </a:lnTo>
                  <a:lnTo>
                    <a:pt x="2073" y="2261"/>
                  </a:lnTo>
                  <a:lnTo>
                    <a:pt x="2059" y="2263"/>
                  </a:lnTo>
                  <a:lnTo>
                    <a:pt x="2051" y="2261"/>
                  </a:lnTo>
                  <a:lnTo>
                    <a:pt x="2048" y="2265"/>
                  </a:lnTo>
                  <a:lnTo>
                    <a:pt x="2038" y="2270"/>
                  </a:lnTo>
                  <a:lnTo>
                    <a:pt x="2024" y="2274"/>
                  </a:lnTo>
                  <a:lnTo>
                    <a:pt x="2015" y="2271"/>
                  </a:lnTo>
                  <a:lnTo>
                    <a:pt x="2004" y="2297"/>
                  </a:lnTo>
                  <a:lnTo>
                    <a:pt x="2011" y="2309"/>
                  </a:lnTo>
                  <a:lnTo>
                    <a:pt x="2015" y="2317"/>
                  </a:lnTo>
                  <a:lnTo>
                    <a:pt x="2015" y="2329"/>
                  </a:lnTo>
                  <a:lnTo>
                    <a:pt x="1999" y="2335"/>
                  </a:lnTo>
                  <a:lnTo>
                    <a:pt x="1988" y="2329"/>
                  </a:lnTo>
                  <a:lnTo>
                    <a:pt x="1973" y="2298"/>
                  </a:lnTo>
                  <a:lnTo>
                    <a:pt x="1971" y="2291"/>
                  </a:lnTo>
                  <a:lnTo>
                    <a:pt x="1972" y="2288"/>
                  </a:lnTo>
                  <a:lnTo>
                    <a:pt x="1978" y="2266"/>
                  </a:lnTo>
                  <a:lnTo>
                    <a:pt x="1974" y="2259"/>
                  </a:lnTo>
                  <a:lnTo>
                    <a:pt x="1968" y="2261"/>
                  </a:lnTo>
                  <a:lnTo>
                    <a:pt x="1958" y="2269"/>
                  </a:lnTo>
                  <a:lnTo>
                    <a:pt x="1947" y="2269"/>
                  </a:lnTo>
                  <a:lnTo>
                    <a:pt x="1942" y="2264"/>
                  </a:lnTo>
                  <a:lnTo>
                    <a:pt x="1941" y="2259"/>
                  </a:lnTo>
                  <a:lnTo>
                    <a:pt x="1923" y="2254"/>
                  </a:lnTo>
                  <a:lnTo>
                    <a:pt x="1915" y="2252"/>
                  </a:lnTo>
                  <a:lnTo>
                    <a:pt x="1911" y="2252"/>
                  </a:lnTo>
                  <a:lnTo>
                    <a:pt x="1907" y="2260"/>
                  </a:lnTo>
                  <a:lnTo>
                    <a:pt x="1898" y="2261"/>
                  </a:lnTo>
                  <a:lnTo>
                    <a:pt x="1898" y="2269"/>
                  </a:lnTo>
                  <a:lnTo>
                    <a:pt x="1895" y="2258"/>
                  </a:lnTo>
                  <a:lnTo>
                    <a:pt x="1890" y="2261"/>
                  </a:lnTo>
                  <a:lnTo>
                    <a:pt x="1881" y="2265"/>
                  </a:lnTo>
                  <a:lnTo>
                    <a:pt x="1874" y="2260"/>
                  </a:lnTo>
                  <a:lnTo>
                    <a:pt x="1855" y="2261"/>
                  </a:lnTo>
                  <a:lnTo>
                    <a:pt x="1845" y="2259"/>
                  </a:lnTo>
                  <a:lnTo>
                    <a:pt x="1840" y="2254"/>
                  </a:lnTo>
                  <a:lnTo>
                    <a:pt x="1817" y="2240"/>
                  </a:lnTo>
                  <a:lnTo>
                    <a:pt x="1810" y="2228"/>
                  </a:lnTo>
                  <a:lnTo>
                    <a:pt x="1805" y="2213"/>
                  </a:lnTo>
                  <a:lnTo>
                    <a:pt x="1810" y="2198"/>
                  </a:lnTo>
                  <a:lnTo>
                    <a:pt x="1806" y="2189"/>
                  </a:lnTo>
                  <a:lnTo>
                    <a:pt x="1786" y="2188"/>
                  </a:lnTo>
                  <a:lnTo>
                    <a:pt x="1773" y="2184"/>
                  </a:lnTo>
                  <a:lnTo>
                    <a:pt x="1758" y="2178"/>
                  </a:lnTo>
                  <a:lnTo>
                    <a:pt x="1746" y="2168"/>
                  </a:lnTo>
                  <a:lnTo>
                    <a:pt x="1731" y="2163"/>
                  </a:lnTo>
                  <a:lnTo>
                    <a:pt x="1724" y="2164"/>
                  </a:lnTo>
                  <a:lnTo>
                    <a:pt x="1714" y="2175"/>
                  </a:lnTo>
                  <a:lnTo>
                    <a:pt x="1704" y="2182"/>
                  </a:lnTo>
                  <a:lnTo>
                    <a:pt x="1689" y="2190"/>
                  </a:lnTo>
                  <a:lnTo>
                    <a:pt x="1683" y="2191"/>
                  </a:lnTo>
                  <a:lnTo>
                    <a:pt x="1675" y="2189"/>
                  </a:lnTo>
                  <a:lnTo>
                    <a:pt x="1666" y="2196"/>
                  </a:lnTo>
                  <a:lnTo>
                    <a:pt x="1656" y="2201"/>
                  </a:lnTo>
                  <a:lnTo>
                    <a:pt x="1653" y="2195"/>
                  </a:lnTo>
                  <a:lnTo>
                    <a:pt x="1639" y="2199"/>
                  </a:lnTo>
                  <a:lnTo>
                    <a:pt x="1633" y="2194"/>
                  </a:lnTo>
                  <a:lnTo>
                    <a:pt x="1627" y="2195"/>
                  </a:lnTo>
                  <a:lnTo>
                    <a:pt x="1612" y="2205"/>
                  </a:lnTo>
                  <a:lnTo>
                    <a:pt x="1606" y="2204"/>
                  </a:lnTo>
                  <a:lnTo>
                    <a:pt x="1598" y="2196"/>
                  </a:lnTo>
                  <a:lnTo>
                    <a:pt x="1585" y="2194"/>
                  </a:lnTo>
                  <a:lnTo>
                    <a:pt x="1583" y="2191"/>
                  </a:lnTo>
                  <a:lnTo>
                    <a:pt x="1579" y="2194"/>
                  </a:lnTo>
                  <a:lnTo>
                    <a:pt x="1575" y="2200"/>
                  </a:lnTo>
                  <a:lnTo>
                    <a:pt x="1569" y="2207"/>
                  </a:lnTo>
                  <a:lnTo>
                    <a:pt x="1569" y="2211"/>
                  </a:lnTo>
                  <a:lnTo>
                    <a:pt x="1562" y="2207"/>
                  </a:lnTo>
                  <a:lnTo>
                    <a:pt x="1562" y="2205"/>
                  </a:lnTo>
                  <a:lnTo>
                    <a:pt x="1542" y="2204"/>
                  </a:lnTo>
                  <a:lnTo>
                    <a:pt x="1533" y="2211"/>
                  </a:lnTo>
                  <a:lnTo>
                    <a:pt x="1532" y="2223"/>
                  </a:lnTo>
                  <a:lnTo>
                    <a:pt x="1535" y="2240"/>
                  </a:lnTo>
                  <a:lnTo>
                    <a:pt x="1541" y="2256"/>
                  </a:lnTo>
                  <a:lnTo>
                    <a:pt x="1540" y="2271"/>
                  </a:lnTo>
                  <a:lnTo>
                    <a:pt x="1536" y="2275"/>
                  </a:lnTo>
                  <a:lnTo>
                    <a:pt x="1515" y="2280"/>
                  </a:lnTo>
                  <a:lnTo>
                    <a:pt x="1510" y="2253"/>
                  </a:lnTo>
                  <a:lnTo>
                    <a:pt x="1509" y="2247"/>
                  </a:lnTo>
                  <a:lnTo>
                    <a:pt x="1497" y="2245"/>
                  </a:lnTo>
                  <a:lnTo>
                    <a:pt x="1482" y="2258"/>
                  </a:lnTo>
                  <a:lnTo>
                    <a:pt x="1462" y="2260"/>
                  </a:lnTo>
                  <a:lnTo>
                    <a:pt x="1444" y="2243"/>
                  </a:lnTo>
                  <a:lnTo>
                    <a:pt x="1441" y="2231"/>
                  </a:lnTo>
                  <a:lnTo>
                    <a:pt x="1423" y="2225"/>
                  </a:lnTo>
                  <a:lnTo>
                    <a:pt x="1408" y="2222"/>
                  </a:lnTo>
                  <a:lnTo>
                    <a:pt x="1412" y="2202"/>
                  </a:lnTo>
                  <a:lnTo>
                    <a:pt x="1418" y="2175"/>
                  </a:lnTo>
                  <a:lnTo>
                    <a:pt x="1402" y="2167"/>
                  </a:lnTo>
                  <a:lnTo>
                    <a:pt x="1388" y="2157"/>
                  </a:lnTo>
                  <a:lnTo>
                    <a:pt x="1387" y="2137"/>
                  </a:lnTo>
                  <a:lnTo>
                    <a:pt x="1382" y="2123"/>
                  </a:lnTo>
                  <a:lnTo>
                    <a:pt x="1382" y="2112"/>
                  </a:lnTo>
                  <a:lnTo>
                    <a:pt x="1363" y="2113"/>
                  </a:lnTo>
                  <a:lnTo>
                    <a:pt x="1344" y="2114"/>
                  </a:lnTo>
                  <a:lnTo>
                    <a:pt x="1333" y="2120"/>
                  </a:lnTo>
                  <a:lnTo>
                    <a:pt x="1320" y="2134"/>
                  </a:lnTo>
                  <a:lnTo>
                    <a:pt x="1315" y="2129"/>
                  </a:lnTo>
                  <a:lnTo>
                    <a:pt x="1325" y="2112"/>
                  </a:lnTo>
                  <a:lnTo>
                    <a:pt x="1326" y="2103"/>
                  </a:lnTo>
                  <a:lnTo>
                    <a:pt x="1322" y="2087"/>
                  </a:lnTo>
                  <a:lnTo>
                    <a:pt x="1328" y="2073"/>
                  </a:lnTo>
                  <a:lnTo>
                    <a:pt x="1332" y="2054"/>
                  </a:lnTo>
                  <a:lnTo>
                    <a:pt x="1343" y="2043"/>
                  </a:lnTo>
                  <a:lnTo>
                    <a:pt x="1347" y="2033"/>
                  </a:lnTo>
                  <a:lnTo>
                    <a:pt x="1354" y="2030"/>
                  </a:lnTo>
                  <a:lnTo>
                    <a:pt x="1363" y="2019"/>
                  </a:lnTo>
                  <a:lnTo>
                    <a:pt x="1372" y="1992"/>
                  </a:lnTo>
                  <a:lnTo>
                    <a:pt x="1372" y="1984"/>
                  </a:lnTo>
                  <a:lnTo>
                    <a:pt x="1376" y="1956"/>
                  </a:lnTo>
                  <a:lnTo>
                    <a:pt x="1375" y="1935"/>
                  </a:lnTo>
                  <a:lnTo>
                    <a:pt x="1368" y="1903"/>
                  </a:lnTo>
                  <a:lnTo>
                    <a:pt x="1352" y="1901"/>
                  </a:lnTo>
                  <a:lnTo>
                    <a:pt x="1347" y="1893"/>
                  </a:lnTo>
                  <a:lnTo>
                    <a:pt x="1343" y="1876"/>
                  </a:lnTo>
                  <a:lnTo>
                    <a:pt x="1331" y="1862"/>
                  </a:lnTo>
                  <a:lnTo>
                    <a:pt x="1318" y="1856"/>
                  </a:lnTo>
                  <a:lnTo>
                    <a:pt x="1315" y="1856"/>
                  </a:lnTo>
                  <a:lnTo>
                    <a:pt x="1311" y="1861"/>
                  </a:lnTo>
                  <a:lnTo>
                    <a:pt x="1302" y="1865"/>
                  </a:lnTo>
                  <a:lnTo>
                    <a:pt x="1298" y="1852"/>
                  </a:lnTo>
                  <a:lnTo>
                    <a:pt x="1288" y="1849"/>
                  </a:lnTo>
                  <a:lnTo>
                    <a:pt x="1274" y="1849"/>
                  </a:lnTo>
                  <a:lnTo>
                    <a:pt x="1264" y="1845"/>
                  </a:lnTo>
                  <a:lnTo>
                    <a:pt x="1246" y="1845"/>
                  </a:lnTo>
                  <a:lnTo>
                    <a:pt x="1248" y="1829"/>
                  </a:lnTo>
                  <a:lnTo>
                    <a:pt x="1250" y="1814"/>
                  </a:lnTo>
                  <a:lnTo>
                    <a:pt x="1237" y="1812"/>
                  </a:lnTo>
                  <a:lnTo>
                    <a:pt x="1235" y="1801"/>
                  </a:lnTo>
                  <a:lnTo>
                    <a:pt x="1237" y="1793"/>
                  </a:lnTo>
                  <a:lnTo>
                    <a:pt x="1226" y="1781"/>
                  </a:lnTo>
                  <a:lnTo>
                    <a:pt x="1214" y="1785"/>
                  </a:lnTo>
                  <a:lnTo>
                    <a:pt x="1199" y="1795"/>
                  </a:lnTo>
                  <a:lnTo>
                    <a:pt x="1186" y="1798"/>
                  </a:lnTo>
                  <a:lnTo>
                    <a:pt x="1166" y="1800"/>
                  </a:lnTo>
                  <a:lnTo>
                    <a:pt x="1157" y="1798"/>
                  </a:lnTo>
                  <a:lnTo>
                    <a:pt x="1151" y="1793"/>
                  </a:lnTo>
                  <a:lnTo>
                    <a:pt x="1146" y="1792"/>
                  </a:lnTo>
                  <a:lnTo>
                    <a:pt x="1137" y="1797"/>
                  </a:lnTo>
                  <a:lnTo>
                    <a:pt x="1128" y="1803"/>
                  </a:lnTo>
                  <a:lnTo>
                    <a:pt x="1122" y="1814"/>
                  </a:lnTo>
                  <a:lnTo>
                    <a:pt x="1102" y="1831"/>
                  </a:lnTo>
                  <a:lnTo>
                    <a:pt x="1087" y="1835"/>
                  </a:lnTo>
                  <a:lnTo>
                    <a:pt x="1073" y="1851"/>
                  </a:lnTo>
                  <a:lnTo>
                    <a:pt x="1063" y="1858"/>
                  </a:lnTo>
                  <a:lnTo>
                    <a:pt x="1048" y="1866"/>
                  </a:lnTo>
                  <a:lnTo>
                    <a:pt x="1036" y="1874"/>
                  </a:lnTo>
                  <a:lnTo>
                    <a:pt x="1008" y="1881"/>
                  </a:lnTo>
                  <a:lnTo>
                    <a:pt x="990" y="1886"/>
                  </a:lnTo>
                  <a:lnTo>
                    <a:pt x="992" y="1888"/>
                  </a:lnTo>
                  <a:lnTo>
                    <a:pt x="992" y="1886"/>
                  </a:lnTo>
                  <a:lnTo>
                    <a:pt x="978" y="1878"/>
                  </a:lnTo>
                  <a:lnTo>
                    <a:pt x="976" y="1874"/>
                  </a:lnTo>
                  <a:lnTo>
                    <a:pt x="973" y="1873"/>
                  </a:lnTo>
                  <a:lnTo>
                    <a:pt x="958" y="1877"/>
                  </a:lnTo>
                  <a:lnTo>
                    <a:pt x="954" y="1877"/>
                  </a:lnTo>
                  <a:lnTo>
                    <a:pt x="940" y="1872"/>
                  </a:lnTo>
                  <a:lnTo>
                    <a:pt x="924" y="1871"/>
                  </a:lnTo>
                  <a:lnTo>
                    <a:pt x="917" y="1866"/>
                  </a:lnTo>
                  <a:lnTo>
                    <a:pt x="917" y="1863"/>
                  </a:lnTo>
                  <a:lnTo>
                    <a:pt x="913" y="1857"/>
                  </a:lnTo>
                  <a:lnTo>
                    <a:pt x="907" y="1856"/>
                  </a:lnTo>
                  <a:lnTo>
                    <a:pt x="893" y="1857"/>
                  </a:lnTo>
                  <a:lnTo>
                    <a:pt x="881" y="1862"/>
                  </a:lnTo>
                  <a:lnTo>
                    <a:pt x="870" y="1873"/>
                  </a:lnTo>
                  <a:lnTo>
                    <a:pt x="860" y="1889"/>
                  </a:lnTo>
                  <a:lnTo>
                    <a:pt x="839" y="1909"/>
                  </a:lnTo>
                  <a:lnTo>
                    <a:pt x="838" y="1915"/>
                  </a:lnTo>
                  <a:lnTo>
                    <a:pt x="833" y="1915"/>
                  </a:lnTo>
                  <a:lnTo>
                    <a:pt x="829" y="1913"/>
                  </a:lnTo>
                  <a:lnTo>
                    <a:pt x="827" y="1910"/>
                  </a:lnTo>
                  <a:lnTo>
                    <a:pt x="827" y="1903"/>
                  </a:lnTo>
                  <a:lnTo>
                    <a:pt x="831" y="1890"/>
                  </a:lnTo>
                  <a:lnTo>
                    <a:pt x="831" y="1884"/>
                  </a:lnTo>
                  <a:lnTo>
                    <a:pt x="828" y="1874"/>
                  </a:lnTo>
                  <a:lnTo>
                    <a:pt x="827" y="1871"/>
                  </a:lnTo>
                  <a:lnTo>
                    <a:pt x="822" y="1868"/>
                  </a:lnTo>
                  <a:lnTo>
                    <a:pt x="817" y="1870"/>
                  </a:lnTo>
                  <a:lnTo>
                    <a:pt x="809" y="1876"/>
                  </a:lnTo>
                  <a:lnTo>
                    <a:pt x="801" y="1876"/>
                  </a:lnTo>
                  <a:lnTo>
                    <a:pt x="793" y="1879"/>
                  </a:lnTo>
                  <a:lnTo>
                    <a:pt x="791" y="1881"/>
                  </a:lnTo>
                  <a:lnTo>
                    <a:pt x="788" y="1879"/>
                  </a:lnTo>
                  <a:lnTo>
                    <a:pt x="780" y="1881"/>
                  </a:lnTo>
                  <a:lnTo>
                    <a:pt x="774" y="1889"/>
                  </a:lnTo>
                  <a:lnTo>
                    <a:pt x="771" y="1889"/>
                  </a:lnTo>
                  <a:lnTo>
                    <a:pt x="757" y="1886"/>
                  </a:lnTo>
                  <a:lnTo>
                    <a:pt x="750" y="1888"/>
                  </a:lnTo>
                  <a:lnTo>
                    <a:pt x="746" y="1887"/>
                  </a:lnTo>
                  <a:lnTo>
                    <a:pt x="739" y="1883"/>
                  </a:lnTo>
                  <a:lnTo>
                    <a:pt x="729" y="1881"/>
                  </a:lnTo>
                  <a:lnTo>
                    <a:pt x="723" y="1873"/>
                  </a:lnTo>
                  <a:lnTo>
                    <a:pt x="713" y="1873"/>
                  </a:lnTo>
                  <a:lnTo>
                    <a:pt x="708" y="1874"/>
                  </a:lnTo>
                  <a:lnTo>
                    <a:pt x="704" y="1881"/>
                  </a:lnTo>
                  <a:lnTo>
                    <a:pt x="702" y="1882"/>
                  </a:lnTo>
                  <a:lnTo>
                    <a:pt x="696" y="1879"/>
                  </a:lnTo>
                  <a:lnTo>
                    <a:pt x="691" y="1881"/>
                  </a:lnTo>
                  <a:lnTo>
                    <a:pt x="685" y="1877"/>
                  </a:lnTo>
                  <a:lnTo>
                    <a:pt x="681" y="1879"/>
                  </a:lnTo>
                  <a:lnTo>
                    <a:pt x="675" y="1881"/>
                  </a:lnTo>
                  <a:lnTo>
                    <a:pt x="671" y="1878"/>
                  </a:lnTo>
                  <a:lnTo>
                    <a:pt x="667" y="1872"/>
                  </a:lnTo>
                  <a:lnTo>
                    <a:pt x="666" y="1868"/>
                  </a:lnTo>
                  <a:lnTo>
                    <a:pt x="661" y="1862"/>
                  </a:lnTo>
                  <a:lnTo>
                    <a:pt x="653" y="1861"/>
                  </a:lnTo>
                  <a:lnTo>
                    <a:pt x="645" y="1863"/>
                  </a:lnTo>
                  <a:lnTo>
                    <a:pt x="630" y="1854"/>
                  </a:lnTo>
                  <a:lnTo>
                    <a:pt x="629" y="1847"/>
                  </a:lnTo>
                  <a:lnTo>
                    <a:pt x="632" y="1834"/>
                  </a:lnTo>
                  <a:lnTo>
                    <a:pt x="629" y="1833"/>
                  </a:lnTo>
                  <a:lnTo>
                    <a:pt x="624" y="1836"/>
                  </a:lnTo>
                  <a:lnTo>
                    <a:pt x="619" y="1838"/>
                  </a:lnTo>
                  <a:lnTo>
                    <a:pt x="611" y="1836"/>
                  </a:lnTo>
                  <a:lnTo>
                    <a:pt x="603" y="1834"/>
                  </a:lnTo>
                  <a:lnTo>
                    <a:pt x="599" y="1835"/>
                  </a:lnTo>
                  <a:lnTo>
                    <a:pt x="592" y="1831"/>
                  </a:lnTo>
                  <a:lnTo>
                    <a:pt x="589" y="1831"/>
                  </a:lnTo>
                  <a:lnTo>
                    <a:pt x="585" y="1828"/>
                  </a:lnTo>
                  <a:lnTo>
                    <a:pt x="583" y="1823"/>
                  </a:lnTo>
                  <a:lnTo>
                    <a:pt x="578" y="1825"/>
                  </a:lnTo>
                  <a:lnTo>
                    <a:pt x="576" y="1822"/>
                  </a:lnTo>
                  <a:lnTo>
                    <a:pt x="579" y="1809"/>
                  </a:lnTo>
                  <a:lnTo>
                    <a:pt x="578" y="1803"/>
                  </a:lnTo>
                  <a:lnTo>
                    <a:pt x="581" y="1797"/>
                  </a:lnTo>
                  <a:lnTo>
                    <a:pt x="579" y="1795"/>
                  </a:lnTo>
                  <a:lnTo>
                    <a:pt x="573" y="1793"/>
                  </a:lnTo>
                  <a:lnTo>
                    <a:pt x="567" y="1795"/>
                  </a:lnTo>
                  <a:lnTo>
                    <a:pt x="563" y="1793"/>
                  </a:lnTo>
                  <a:lnTo>
                    <a:pt x="560" y="1797"/>
                  </a:lnTo>
                  <a:lnTo>
                    <a:pt x="559" y="1800"/>
                  </a:lnTo>
                  <a:lnTo>
                    <a:pt x="556" y="1803"/>
                  </a:lnTo>
                  <a:lnTo>
                    <a:pt x="553" y="1804"/>
                  </a:lnTo>
                  <a:lnTo>
                    <a:pt x="548" y="1809"/>
                  </a:lnTo>
                  <a:lnTo>
                    <a:pt x="544" y="1808"/>
                  </a:lnTo>
                  <a:lnTo>
                    <a:pt x="538" y="1807"/>
                  </a:lnTo>
                  <a:lnTo>
                    <a:pt x="536" y="1802"/>
                  </a:lnTo>
                  <a:lnTo>
                    <a:pt x="533" y="1785"/>
                  </a:lnTo>
                  <a:lnTo>
                    <a:pt x="527" y="1776"/>
                  </a:lnTo>
                  <a:lnTo>
                    <a:pt x="515" y="1766"/>
                  </a:lnTo>
                  <a:lnTo>
                    <a:pt x="503" y="1763"/>
                  </a:lnTo>
                  <a:lnTo>
                    <a:pt x="493" y="1754"/>
                  </a:lnTo>
                  <a:lnTo>
                    <a:pt x="487" y="1745"/>
                  </a:lnTo>
                  <a:lnTo>
                    <a:pt x="482" y="1743"/>
                  </a:lnTo>
                  <a:lnTo>
                    <a:pt x="462" y="1737"/>
                  </a:lnTo>
                  <a:lnTo>
                    <a:pt x="444" y="1733"/>
                  </a:lnTo>
                  <a:lnTo>
                    <a:pt x="441" y="1732"/>
                  </a:lnTo>
                  <a:lnTo>
                    <a:pt x="425" y="1730"/>
                  </a:lnTo>
                  <a:lnTo>
                    <a:pt x="423" y="1731"/>
                  </a:lnTo>
                  <a:lnTo>
                    <a:pt x="423" y="1732"/>
                  </a:lnTo>
                  <a:lnTo>
                    <a:pt x="423" y="1737"/>
                  </a:lnTo>
                  <a:lnTo>
                    <a:pt x="419" y="1742"/>
                  </a:lnTo>
                  <a:lnTo>
                    <a:pt x="420" y="1744"/>
                  </a:lnTo>
                  <a:lnTo>
                    <a:pt x="419" y="1748"/>
                  </a:lnTo>
                  <a:lnTo>
                    <a:pt x="411" y="1741"/>
                  </a:lnTo>
                  <a:lnTo>
                    <a:pt x="408" y="1736"/>
                  </a:lnTo>
                  <a:lnTo>
                    <a:pt x="406" y="1734"/>
                  </a:lnTo>
                  <a:lnTo>
                    <a:pt x="403" y="1733"/>
                  </a:lnTo>
                  <a:lnTo>
                    <a:pt x="386" y="1728"/>
                  </a:lnTo>
                  <a:lnTo>
                    <a:pt x="384" y="1726"/>
                  </a:lnTo>
                  <a:lnTo>
                    <a:pt x="380" y="1720"/>
                  </a:lnTo>
                  <a:lnTo>
                    <a:pt x="375" y="1718"/>
                  </a:lnTo>
                  <a:lnTo>
                    <a:pt x="363" y="1709"/>
                  </a:lnTo>
                  <a:lnTo>
                    <a:pt x="357" y="1709"/>
                  </a:lnTo>
                  <a:lnTo>
                    <a:pt x="350" y="1705"/>
                  </a:lnTo>
                  <a:lnTo>
                    <a:pt x="348" y="1701"/>
                  </a:lnTo>
                  <a:lnTo>
                    <a:pt x="348" y="1698"/>
                  </a:lnTo>
                  <a:lnTo>
                    <a:pt x="345" y="1694"/>
                  </a:lnTo>
                  <a:lnTo>
                    <a:pt x="341" y="1694"/>
                  </a:lnTo>
                  <a:lnTo>
                    <a:pt x="339" y="1691"/>
                  </a:lnTo>
                  <a:lnTo>
                    <a:pt x="334" y="1689"/>
                  </a:lnTo>
                  <a:lnTo>
                    <a:pt x="326" y="1693"/>
                  </a:lnTo>
                  <a:lnTo>
                    <a:pt x="325" y="1691"/>
                  </a:lnTo>
                  <a:lnTo>
                    <a:pt x="323" y="1685"/>
                  </a:lnTo>
                  <a:lnTo>
                    <a:pt x="322" y="1684"/>
                  </a:lnTo>
                  <a:lnTo>
                    <a:pt x="318" y="1683"/>
                  </a:lnTo>
                  <a:lnTo>
                    <a:pt x="315" y="1684"/>
                  </a:lnTo>
                  <a:lnTo>
                    <a:pt x="306" y="1683"/>
                  </a:lnTo>
                  <a:lnTo>
                    <a:pt x="302" y="1684"/>
                  </a:lnTo>
                  <a:lnTo>
                    <a:pt x="296" y="1688"/>
                  </a:lnTo>
                  <a:lnTo>
                    <a:pt x="293" y="1688"/>
                  </a:lnTo>
                  <a:lnTo>
                    <a:pt x="290" y="1685"/>
                  </a:lnTo>
                  <a:lnTo>
                    <a:pt x="291" y="1675"/>
                  </a:lnTo>
                  <a:lnTo>
                    <a:pt x="287" y="1672"/>
                  </a:lnTo>
                  <a:lnTo>
                    <a:pt x="283" y="1666"/>
                  </a:lnTo>
                  <a:lnTo>
                    <a:pt x="283" y="1663"/>
                  </a:lnTo>
                  <a:lnTo>
                    <a:pt x="278" y="1658"/>
                  </a:lnTo>
                  <a:lnTo>
                    <a:pt x="278" y="1653"/>
                  </a:lnTo>
                  <a:lnTo>
                    <a:pt x="280" y="1646"/>
                  </a:lnTo>
                  <a:lnTo>
                    <a:pt x="277" y="1640"/>
                  </a:lnTo>
                  <a:lnTo>
                    <a:pt x="277" y="1636"/>
                  </a:lnTo>
                  <a:lnTo>
                    <a:pt x="278" y="1629"/>
                  </a:lnTo>
                  <a:lnTo>
                    <a:pt x="280" y="1623"/>
                  </a:lnTo>
                  <a:lnTo>
                    <a:pt x="273" y="1613"/>
                  </a:lnTo>
                  <a:lnTo>
                    <a:pt x="266" y="1605"/>
                  </a:lnTo>
                  <a:lnTo>
                    <a:pt x="266" y="1596"/>
                  </a:lnTo>
                  <a:lnTo>
                    <a:pt x="263" y="1588"/>
                  </a:lnTo>
                  <a:lnTo>
                    <a:pt x="264" y="1585"/>
                  </a:lnTo>
                  <a:lnTo>
                    <a:pt x="275" y="1583"/>
                  </a:lnTo>
                  <a:lnTo>
                    <a:pt x="278" y="1580"/>
                  </a:lnTo>
                  <a:lnTo>
                    <a:pt x="279" y="1581"/>
                  </a:lnTo>
                  <a:lnTo>
                    <a:pt x="280" y="1588"/>
                  </a:lnTo>
                  <a:lnTo>
                    <a:pt x="283" y="1593"/>
                  </a:lnTo>
                  <a:lnTo>
                    <a:pt x="285" y="1596"/>
                  </a:lnTo>
                  <a:lnTo>
                    <a:pt x="293" y="1598"/>
                  </a:lnTo>
                  <a:lnTo>
                    <a:pt x="295" y="1597"/>
                  </a:lnTo>
                  <a:lnTo>
                    <a:pt x="298" y="1596"/>
                  </a:lnTo>
                  <a:lnTo>
                    <a:pt x="301" y="1597"/>
                  </a:lnTo>
                  <a:lnTo>
                    <a:pt x="302" y="1591"/>
                  </a:lnTo>
                  <a:lnTo>
                    <a:pt x="306" y="1588"/>
                  </a:lnTo>
                  <a:lnTo>
                    <a:pt x="310" y="1582"/>
                  </a:lnTo>
                  <a:lnTo>
                    <a:pt x="311" y="1582"/>
                  </a:lnTo>
                  <a:lnTo>
                    <a:pt x="315" y="1587"/>
                  </a:lnTo>
                  <a:lnTo>
                    <a:pt x="317" y="1587"/>
                  </a:lnTo>
                  <a:lnTo>
                    <a:pt x="326" y="1576"/>
                  </a:lnTo>
                  <a:lnTo>
                    <a:pt x="326" y="1574"/>
                  </a:lnTo>
                  <a:lnTo>
                    <a:pt x="322" y="1567"/>
                  </a:lnTo>
                  <a:lnTo>
                    <a:pt x="316" y="1559"/>
                  </a:lnTo>
                  <a:lnTo>
                    <a:pt x="315" y="1554"/>
                  </a:lnTo>
                  <a:lnTo>
                    <a:pt x="316" y="1551"/>
                  </a:lnTo>
                  <a:lnTo>
                    <a:pt x="316" y="1548"/>
                  </a:lnTo>
                  <a:lnTo>
                    <a:pt x="306" y="1543"/>
                  </a:lnTo>
                  <a:lnTo>
                    <a:pt x="301" y="1544"/>
                  </a:lnTo>
                  <a:lnTo>
                    <a:pt x="300" y="1540"/>
                  </a:lnTo>
                  <a:lnTo>
                    <a:pt x="291" y="1533"/>
                  </a:lnTo>
                  <a:lnTo>
                    <a:pt x="291" y="1518"/>
                  </a:lnTo>
                  <a:lnTo>
                    <a:pt x="296" y="1517"/>
                  </a:lnTo>
                  <a:lnTo>
                    <a:pt x="294" y="1511"/>
                  </a:lnTo>
                  <a:lnTo>
                    <a:pt x="295" y="1508"/>
                  </a:lnTo>
                  <a:lnTo>
                    <a:pt x="296" y="1507"/>
                  </a:lnTo>
                  <a:lnTo>
                    <a:pt x="289" y="1500"/>
                  </a:lnTo>
                  <a:lnTo>
                    <a:pt x="290" y="1494"/>
                  </a:lnTo>
                  <a:lnTo>
                    <a:pt x="290" y="1492"/>
                  </a:lnTo>
                  <a:lnTo>
                    <a:pt x="300" y="1492"/>
                  </a:lnTo>
                  <a:lnTo>
                    <a:pt x="304" y="1489"/>
                  </a:lnTo>
                  <a:lnTo>
                    <a:pt x="315" y="1492"/>
                  </a:lnTo>
                  <a:lnTo>
                    <a:pt x="317" y="1490"/>
                  </a:lnTo>
                  <a:lnTo>
                    <a:pt x="322" y="1485"/>
                  </a:lnTo>
                  <a:lnTo>
                    <a:pt x="327" y="1475"/>
                  </a:lnTo>
                  <a:lnTo>
                    <a:pt x="327" y="1464"/>
                  </a:lnTo>
                  <a:lnTo>
                    <a:pt x="337" y="1463"/>
                  </a:lnTo>
                  <a:lnTo>
                    <a:pt x="338" y="1462"/>
                  </a:lnTo>
                  <a:lnTo>
                    <a:pt x="336" y="1459"/>
                  </a:lnTo>
                  <a:lnTo>
                    <a:pt x="337" y="1456"/>
                  </a:lnTo>
                  <a:lnTo>
                    <a:pt x="341" y="1453"/>
                  </a:lnTo>
                  <a:lnTo>
                    <a:pt x="342" y="1451"/>
                  </a:lnTo>
                  <a:lnTo>
                    <a:pt x="345" y="1447"/>
                  </a:lnTo>
                  <a:lnTo>
                    <a:pt x="352" y="1442"/>
                  </a:lnTo>
                  <a:lnTo>
                    <a:pt x="352" y="1436"/>
                  </a:lnTo>
                  <a:lnTo>
                    <a:pt x="358" y="1430"/>
                  </a:lnTo>
                  <a:lnTo>
                    <a:pt x="360" y="1411"/>
                  </a:lnTo>
                  <a:lnTo>
                    <a:pt x="363" y="1409"/>
                  </a:lnTo>
                  <a:lnTo>
                    <a:pt x="363" y="1402"/>
                  </a:lnTo>
                  <a:lnTo>
                    <a:pt x="369" y="1394"/>
                  </a:lnTo>
                  <a:lnTo>
                    <a:pt x="369" y="1391"/>
                  </a:lnTo>
                  <a:lnTo>
                    <a:pt x="365" y="1388"/>
                  </a:lnTo>
                  <a:lnTo>
                    <a:pt x="361" y="1388"/>
                  </a:lnTo>
                  <a:lnTo>
                    <a:pt x="354" y="1397"/>
                  </a:lnTo>
                  <a:lnTo>
                    <a:pt x="352" y="1397"/>
                  </a:lnTo>
                  <a:lnTo>
                    <a:pt x="349" y="1393"/>
                  </a:lnTo>
                  <a:lnTo>
                    <a:pt x="347" y="1382"/>
                  </a:lnTo>
                  <a:lnTo>
                    <a:pt x="342" y="1386"/>
                  </a:lnTo>
                  <a:lnTo>
                    <a:pt x="338" y="1386"/>
                  </a:lnTo>
                  <a:lnTo>
                    <a:pt x="336" y="1381"/>
                  </a:lnTo>
                  <a:lnTo>
                    <a:pt x="333" y="1381"/>
                  </a:lnTo>
                  <a:lnTo>
                    <a:pt x="331" y="1379"/>
                  </a:lnTo>
                  <a:lnTo>
                    <a:pt x="330" y="1370"/>
                  </a:lnTo>
                  <a:lnTo>
                    <a:pt x="326" y="1368"/>
                  </a:lnTo>
                  <a:lnTo>
                    <a:pt x="325" y="1366"/>
                  </a:lnTo>
                  <a:lnTo>
                    <a:pt x="322" y="1365"/>
                  </a:lnTo>
                  <a:lnTo>
                    <a:pt x="318" y="1365"/>
                  </a:lnTo>
                  <a:lnTo>
                    <a:pt x="315" y="1360"/>
                  </a:lnTo>
                  <a:lnTo>
                    <a:pt x="312" y="1359"/>
                  </a:lnTo>
                  <a:lnTo>
                    <a:pt x="309" y="1359"/>
                  </a:lnTo>
                  <a:lnTo>
                    <a:pt x="304" y="1361"/>
                  </a:lnTo>
                  <a:lnTo>
                    <a:pt x="298" y="1361"/>
                  </a:lnTo>
                  <a:lnTo>
                    <a:pt x="293" y="1365"/>
                  </a:lnTo>
                  <a:lnTo>
                    <a:pt x="279" y="1365"/>
                  </a:lnTo>
                  <a:lnTo>
                    <a:pt x="269" y="1372"/>
                  </a:lnTo>
                  <a:lnTo>
                    <a:pt x="258" y="1378"/>
                  </a:lnTo>
                  <a:lnTo>
                    <a:pt x="251" y="1383"/>
                  </a:lnTo>
                  <a:lnTo>
                    <a:pt x="246" y="1388"/>
                  </a:lnTo>
                  <a:lnTo>
                    <a:pt x="241" y="1389"/>
                  </a:lnTo>
                  <a:lnTo>
                    <a:pt x="237" y="1394"/>
                  </a:lnTo>
                  <a:lnTo>
                    <a:pt x="230" y="1391"/>
                  </a:lnTo>
                  <a:lnTo>
                    <a:pt x="225" y="1394"/>
                  </a:lnTo>
                  <a:lnTo>
                    <a:pt x="220" y="1394"/>
                  </a:lnTo>
                  <a:lnTo>
                    <a:pt x="209" y="1393"/>
                  </a:lnTo>
                  <a:lnTo>
                    <a:pt x="202" y="1388"/>
                  </a:lnTo>
                  <a:lnTo>
                    <a:pt x="196" y="1389"/>
                  </a:lnTo>
                  <a:lnTo>
                    <a:pt x="188" y="1384"/>
                  </a:lnTo>
                  <a:lnTo>
                    <a:pt x="171" y="1378"/>
                  </a:lnTo>
                  <a:lnTo>
                    <a:pt x="161" y="1372"/>
                  </a:lnTo>
                  <a:lnTo>
                    <a:pt x="161" y="1366"/>
                  </a:lnTo>
                  <a:lnTo>
                    <a:pt x="160" y="1362"/>
                  </a:lnTo>
                  <a:lnTo>
                    <a:pt x="156" y="1363"/>
                  </a:lnTo>
                  <a:lnTo>
                    <a:pt x="151" y="1367"/>
                  </a:lnTo>
                  <a:lnTo>
                    <a:pt x="148" y="1367"/>
                  </a:lnTo>
                  <a:lnTo>
                    <a:pt x="143" y="1368"/>
                  </a:lnTo>
                  <a:lnTo>
                    <a:pt x="139" y="1367"/>
                  </a:lnTo>
                  <a:lnTo>
                    <a:pt x="133" y="1356"/>
                  </a:lnTo>
                  <a:lnTo>
                    <a:pt x="126" y="1355"/>
                  </a:lnTo>
                  <a:lnTo>
                    <a:pt x="124" y="1351"/>
                  </a:lnTo>
                  <a:lnTo>
                    <a:pt x="124" y="1349"/>
                  </a:lnTo>
                  <a:lnTo>
                    <a:pt x="129" y="1348"/>
                  </a:lnTo>
                  <a:lnTo>
                    <a:pt x="131" y="1344"/>
                  </a:lnTo>
                  <a:lnTo>
                    <a:pt x="129" y="1339"/>
                  </a:lnTo>
                  <a:lnTo>
                    <a:pt x="127" y="1336"/>
                  </a:lnTo>
                  <a:lnTo>
                    <a:pt x="129" y="1330"/>
                  </a:lnTo>
                  <a:lnTo>
                    <a:pt x="129" y="1324"/>
                  </a:lnTo>
                  <a:lnTo>
                    <a:pt x="127" y="1318"/>
                  </a:lnTo>
                  <a:lnTo>
                    <a:pt x="121" y="1312"/>
                  </a:lnTo>
                  <a:lnTo>
                    <a:pt x="110" y="1305"/>
                  </a:lnTo>
                  <a:lnTo>
                    <a:pt x="105" y="1305"/>
                  </a:lnTo>
                  <a:lnTo>
                    <a:pt x="99" y="1309"/>
                  </a:lnTo>
                  <a:lnTo>
                    <a:pt x="97" y="1308"/>
                  </a:lnTo>
                  <a:lnTo>
                    <a:pt x="97" y="1296"/>
                  </a:lnTo>
                  <a:lnTo>
                    <a:pt x="95" y="1293"/>
                  </a:lnTo>
                  <a:lnTo>
                    <a:pt x="88" y="1295"/>
                  </a:lnTo>
                  <a:lnTo>
                    <a:pt x="83" y="1292"/>
                  </a:lnTo>
                  <a:lnTo>
                    <a:pt x="79" y="1291"/>
                  </a:lnTo>
                  <a:lnTo>
                    <a:pt x="65" y="1293"/>
                  </a:lnTo>
                  <a:lnTo>
                    <a:pt x="54" y="1290"/>
                  </a:lnTo>
                  <a:lnTo>
                    <a:pt x="56" y="1289"/>
                  </a:lnTo>
                  <a:lnTo>
                    <a:pt x="53" y="1284"/>
                  </a:lnTo>
                  <a:lnTo>
                    <a:pt x="47" y="1281"/>
                  </a:lnTo>
                  <a:lnTo>
                    <a:pt x="46" y="1278"/>
                  </a:lnTo>
                  <a:lnTo>
                    <a:pt x="53" y="1270"/>
                  </a:lnTo>
                  <a:lnTo>
                    <a:pt x="57" y="1269"/>
                  </a:lnTo>
                  <a:lnTo>
                    <a:pt x="62" y="1271"/>
                  </a:lnTo>
                  <a:lnTo>
                    <a:pt x="65" y="1271"/>
                  </a:lnTo>
                  <a:lnTo>
                    <a:pt x="62" y="1271"/>
                  </a:lnTo>
                  <a:lnTo>
                    <a:pt x="70" y="1274"/>
                  </a:lnTo>
                  <a:lnTo>
                    <a:pt x="73" y="1273"/>
                  </a:lnTo>
                  <a:lnTo>
                    <a:pt x="73" y="1237"/>
                  </a:lnTo>
                  <a:lnTo>
                    <a:pt x="63" y="1212"/>
                  </a:lnTo>
                  <a:lnTo>
                    <a:pt x="63" y="1193"/>
                  </a:lnTo>
                  <a:lnTo>
                    <a:pt x="56" y="1182"/>
                  </a:lnTo>
                  <a:lnTo>
                    <a:pt x="37" y="1180"/>
                  </a:lnTo>
                  <a:lnTo>
                    <a:pt x="17" y="1187"/>
                  </a:lnTo>
                  <a:lnTo>
                    <a:pt x="6" y="1179"/>
                  </a:lnTo>
                  <a:lnTo>
                    <a:pt x="2" y="1162"/>
                  </a:lnTo>
                  <a:lnTo>
                    <a:pt x="0" y="1142"/>
                  </a:lnTo>
                  <a:lnTo>
                    <a:pt x="11" y="1108"/>
                  </a:lnTo>
                  <a:lnTo>
                    <a:pt x="10" y="1097"/>
                  </a:lnTo>
                  <a:lnTo>
                    <a:pt x="19" y="1079"/>
                  </a:lnTo>
                  <a:lnTo>
                    <a:pt x="51" y="1064"/>
                  </a:lnTo>
                  <a:lnTo>
                    <a:pt x="56" y="1059"/>
                  </a:lnTo>
                  <a:lnTo>
                    <a:pt x="63" y="1059"/>
                  </a:lnTo>
                  <a:lnTo>
                    <a:pt x="69" y="1044"/>
                  </a:lnTo>
                  <a:lnTo>
                    <a:pt x="79" y="1048"/>
                  </a:lnTo>
                  <a:lnTo>
                    <a:pt x="94" y="1042"/>
                  </a:lnTo>
                  <a:lnTo>
                    <a:pt x="105" y="1043"/>
                  </a:lnTo>
                  <a:lnTo>
                    <a:pt x="111" y="1056"/>
                  </a:lnTo>
                  <a:lnTo>
                    <a:pt x="122" y="1058"/>
                  </a:lnTo>
                  <a:lnTo>
                    <a:pt x="138" y="1054"/>
                  </a:lnTo>
                  <a:lnTo>
                    <a:pt x="148" y="1055"/>
                  </a:lnTo>
                  <a:lnTo>
                    <a:pt x="161" y="1045"/>
                  </a:lnTo>
                  <a:lnTo>
                    <a:pt x="167" y="1027"/>
                  </a:lnTo>
                  <a:lnTo>
                    <a:pt x="176" y="1016"/>
                  </a:lnTo>
                  <a:lnTo>
                    <a:pt x="193" y="1011"/>
                  </a:lnTo>
                  <a:lnTo>
                    <a:pt x="212" y="1010"/>
                  </a:lnTo>
                  <a:lnTo>
                    <a:pt x="239" y="1005"/>
                  </a:lnTo>
                  <a:lnTo>
                    <a:pt x="251" y="1000"/>
                  </a:lnTo>
                  <a:lnTo>
                    <a:pt x="259" y="986"/>
                  </a:lnTo>
                  <a:lnTo>
                    <a:pt x="274" y="973"/>
                  </a:lnTo>
                  <a:lnTo>
                    <a:pt x="310" y="953"/>
                  </a:lnTo>
                  <a:lnTo>
                    <a:pt x="348" y="941"/>
                  </a:lnTo>
                  <a:lnTo>
                    <a:pt x="358" y="934"/>
                  </a:lnTo>
                  <a:lnTo>
                    <a:pt x="364" y="920"/>
                  </a:lnTo>
                  <a:lnTo>
                    <a:pt x="364" y="892"/>
                  </a:lnTo>
                  <a:lnTo>
                    <a:pt x="366" y="881"/>
                  </a:lnTo>
                  <a:lnTo>
                    <a:pt x="374" y="871"/>
                  </a:lnTo>
                  <a:lnTo>
                    <a:pt x="373" y="859"/>
                  </a:lnTo>
                  <a:lnTo>
                    <a:pt x="386" y="849"/>
                  </a:lnTo>
                  <a:lnTo>
                    <a:pt x="386" y="834"/>
                  </a:lnTo>
                  <a:lnTo>
                    <a:pt x="377" y="807"/>
                  </a:lnTo>
                  <a:lnTo>
                    <a:pt x="370" y="795"/>
                  </a:lnTo>
                  <a:lnTo>
                    <a:pt x="366" y="780"/>
                  </a:lnTo>
                  <a:lnTo>
                    <a:pt x="361" y="742"/>
                  </a:lnTo>
                  <a:lnTo>
                    <a:pt x="354" y="727"/>
                  </a:lnTo>
                  <a:lnTo>
                    <a:pt x="347" y="720"/>
                  </a:lnTo>
                  <a:lnTo>
                    <a:pt x="355" y="712"/>
                  </a:lnTo>
                  <a:lnTo>
                    <a:pt x="375" y="705"/>
                  </a:lnTo>
                  <a:lnTo>
                    <a:pt x="393" y="703"/>
                  </a:lnTo>
                  <a:lnTo>
                    <a:pt x="416" y="695"/>
                  </a:lnTo>
                  <a:lnTo>
                    <a:pt x="471" y="693"/>
                  </a:lnTo>
                  <a:lnTo>
                    <a:pt x="478" y="688"/>
                  </a:lnTo>
                  <a:lnTo>
                    <a:pt x="472" y="670"/>
                  </a:lnTo>
                  <a:lnTo>
                    <a:pt x="470" y="655"/>
                  </a:lnTo>
                  <a:lnTo>
                    <a:pt x="473" y="635"/>
                  </a:lnTo>
                  <a:lnTo>
                    <a:pt x="479" y="611"/>
                  </a:lnTo>
                  <a:lnTo>
                    <a:pt x="492" y="584"/>
                  </a:lnTo>
                  <a:lnTo>
                    <a:pt x="500" y="558"/>
                  </a:lnTo>
                  <a:lnTo>
                    <a:pt x="511" y="537"/>
                  </a:lnTo>
                  <a:lnTo>
                    <a:pt x="535" y="537"/>
                  </a:lnTo>
                  <a:lnTo>
                    <a:pt x="544" y="544"/>
                  </a:lnTo>
                  <a:lnTo>
                    <a:pt x="563" y="550"/>
                  </a:lnTo>
                  <a:lnTo>
                    <a:pt x="597" y="547"/>
                  </a:lnTo>
                  <a:lnTo>
                    <a:pt x="606" y="556"/>
                  </a:lnTo>
                  <a:lnTo>
                    <a:pt x="616" y="563"/>
                  </a:lnTo>
                  <a:lnTo>
                    <a:pt x="630" y="552"/>
                  </a:lnTo>
                  <a:lnTo>
                    <a:pt x="653" y="544"/>
                  </a:lnTo>
                  <a:lnTo>
                    <a:pt x="656" y="507"/>
                  </a:lnTo>
                  <a:lnTo>
                    <a:pt x="654" y="484"/>
                  </a:lnTo>
                  <a:lnTo>
                    <a:pt x="659" y="459"/>
                  </a:lnTo>
                  <a:lnTo>
                    <a:pt x="670" y="439"/>
                  </a:lnTo>
                  <a:lnTo>
                    <a:pt x="686" y="440"/>
                  </a:lnTo>
                  <a:lnTo>
                    <a:pt x="705" y="434"/>
                  </a:lnTo>
                  <a:lnTo>
                    <a:pt x="721" y="418"/>
                  </a:lnTo>
                  <a:lnTo>
                    <a:pt x="731" y="398"/>
                  </a:lnTo>
                  <a:lnTo>
                    <a:pt x="756" y="405"/>
                  </a:lnTo>
                  <a:lnTo>
                    <a:pt x="772" y="389"/>
                  </a:lnTo>
                  <a:lnTo>
                    <a:pt x="777" y="389"/>
                  </a:lnTo>
                  <a:lnTo>
                    <a:pt x="777" y="393"/>
                  </a:lnTo>
                  <a:lnTo>
                    <a:pt x="780" y="404"/>
                  </a:lnTo>
                  <a:lnTo>
                    <a:pt x="791" y="430"/>
                  </a:lnTo>
                  <a:lnTo>
                    <a:pt x="821" y="453"/>
                  </a:lnTo>
                  <a:lnTo>
                    <a:pt x="832" y="474"/>
                  </a:lnTo>
                  <a:lnTo>
                    <a:pt x="847" y="485"/>
                  </a:lnTo>
                  <a:lnTo>
                    <a:pt x="854" y="474"/>
                  </a:lnTo>
                  <a:lnTo>
                    <a:pt x="870" y="477"/>
                  </a:lnTo>
                  <a:lnTo>
                    <a:pt x="885" y="485"/>
                  </a:lnTo>
                  <a:lnTo>
                    <a:pt x="901" y="488"/>
                  </a:lnTo>
                  <a:lnTo>
                    <a:pt x="911" y="504"/>
                  </a:lnTo>
                  <a:lnTo>
                    <a:pt x="918" y="526"/>
                  </a:lnTo>
                  <a:lnTo>
                    <a:pt x="928" y="543"/>
                  </a:lnTo>
                  <a:lnTo>
                    <a:pt x="940" y="586"/>
                  </a:lnTo>
                  <a:lnTo>
                    <a:pt x="940" y="614"/>
                  </a:lnTo>
                  <a:lnTo>
                    <a:pt x="944" y="633"/>
                  </a:lnTo>
                  <a:lnTo>
                    <a:pt x="943" y="652"/>
                  </a:lnTo>
                  <a:lnTo>
                    <a:pt x="935" y="668"/>
                  </a:lnTo>
                  <a:lnTo>
                    <a:pt x="934" y="683"/>
                  </a:lnTo>
                  <a:lnTo>
                    <a:pt x="941" y="690"/>
                  </a:lnTo>
                  <a:lnTo>
                    <a:pt x="957" y="697"/>
                  </a:lnTo>
                  <a:lnTo>
                    <a:pt x="988" y="700"/>
                  </a:lnTo>
                  <a:lnTo>
                    <a:pt x="1022" y="711"/>
                  </a:lnTo>
                  <a:lnTo>
                    <a:pt x="1031" y="711"/>
                  </a:lnTo>
                  <a:lnTo>
                    <a:pt x="1044" y="706"/>
                  </a:lnTo>
                  <a:lnTo>
                    <a:pt x="1057" y="706"/>
                  </a:lnTo>
                  <a:lnTo>
                    <a:pt x="1069" y="712"/>
                  </a:lnTo>
                  <a:lnTo>
                    <a:pt x="1099" y="722"/>
                  </a:lnTo>
                  <a:lnTo>
                    <a:pt x="1114" y="732"/>
                  </a:lnTo>
                  <a:lnTo>
                    <a:pt x="1130" y="741"/>
                  </a:lnTo>
                  <a:lnTo>
                    <a:pt x="1162" y="749"/>
                  </a:lnTo>
                  <a:lnTo>
                    <a:pt x="1175" y="759"/>
                  </a:lnTo>
                  <a:lnTo>
                    <a:pt x="1187" y="760"/>
                  </a:lnTo>
                  <a:lnTo>
                    <a:pt x="1198" y="775"/>
                  </a:lnTo>
                  <a:lnTo>
                    <a:pt x="1209" y="792"/>
                  </a:lnTo>
                  <a:lnTo>
                    <a:pt x="1216" y="812"/>
                  </a:lnTo>
                  <a:lnTo>
                    <a:pt x="1228" y="832"/>
                  </a:lnTo>
                  <a:lnTo>
                    <a:pt x="1240" y="846"/>
                  </a:lnTo>
                  <a:lnTo>
                    <a:pt x="1253" y="862"/>
                  </a:lnTo>
                  <a:lnTo>
                    <a:pt x="1269" y="876"/>
                  </a:lnTo>
                  <a:lnTo>
                    <a:pt x="1283" y="882"/>
                  </a:lnTo>
                  <a:lnTo>
                    <a:pt x="1304" y="882"/>
                  </a:lnTo>
                  <a:lnTo>
                    <a:pt x="1452" y="872"/>
                  </a:lnTo>
                  <a:lnTo>
                    <a:pt x="1470" y="870"/>
                  </a:lnTo>
                  <a:lnTo>
                    <a:pt x="1487" y="872"/>
                  </a:lnTo>
                  <a:lnTo>
                    <a:pt x="1521" y="883"/>
                  </a:lnTo>
                  <a:lnTo>
                    <a:pt x="1531" y="887"/>
                  </a:lnTo>
                  <a:lnTo>
                    <a:pt x="1540" y="898"/>
                  </a:lnTo>
                  <a:lnTo>
                    <a:pt x="1555" y="911"/>
                  </a:lnTo>
                  <a:lnTo>
                    <a:pt x="1578" y="921"/>
                  </a:lnTo>
                  <a:lnTo>
                    <a:pt x="1611" y="931"/>
                  </a:lnTo>
                  <a:lnTo>
                    <a:pt x="1629" y="941"/>
                  </a:lnTo>
                  <a:lnTo>
                    <a:pt x="1651" y="948"/>
                  </a:lnTo>
                  <a:lnTo>
                    <a:pt x="1680" y="950"/>
                  </a:lnTo>
                  <a:lnTo>
                    <a:pt x="1686" y="952"/>
                  </a:lnTo>
                  <a:lnTo>
                    <a:pt x="1697" y="961"/>
                  </a:lnTo>
                  <a:lnTo>
                    <a:pt x="1709" y="964"/>
                  </a:lnTo>
                  <a:lnTo>
                    <a:pt x="1719" y="963"/>
                  </a:lnTo>
                  <a:lnTo>
                    <a:pt x="1737" y="948"/>
                  </a:lnTo>
                  <a:lnTo>
                    <a:pt x="1767" y="937"/>
                  </a:lnTo>
                  <a:lnTo>
                    <a:pt x="1780" y="935"/>
                  </a:lnTo>
                  <a:lnTo>
                    <a:pt x="1791" y="931"/>
                  </a:lnTo>
                  <a:lnTo>
                    <a:pt x="1799" y="921"/>
                  </a:lnTo>
                  <a:lnTo>
                    <a:pt x="1810" y="918"/>
                  </a:lnTo>
                  <a:lnTo>
                    <a:pt x="1847" y="911"/>
                  </a:lnTo>
                  <a:lnTo>
                    <a:pt x="1865" y="904"/>
                  </a:lnTo>
                  <a:lnTo>
                    <a:pt x="1891" y="905"/>
                  </a:lnTo>
                  <a:lnTo>
                    <a:pt x="1907" y="899"/>
                  </a:lnTo>
                  <a:lnTo>
                    <a:pt x="1935" y="908"/>
                  </a:lnTo>
                  <a:lnTo>
                    <a:pt x="1940" y="905"/>
                  </a:lnTo>
                  <a:lnTo>
                    <a:pt x="1968" y="903"/>
                  </a:lnTo>
                  <a:lnTo>
                    <a:pt x="1998" y="892"/>
                  </a:lnTo>
                  <a:lnTo>
                    <a:pt x="2012" y="883"/>
                  </a:lnTo>
                  <a:lnTo>
                    <a:pt x="2032" y="868"/>
                  </a:lnTo>
                  <a:lnTo>
                    <a:pt x="2042" y="854"/>
                  </a:lnTo>
                  <a:lnTo>
                    <a:pt x="2100" y="805"/>
                  </a:lnTo>
                  <a:lnTo>
                    <a:pt x="2097" y="791"/>
                  </a:lnTo>
                  <a:lnTo>
                    <a:pt x="2075" y="762"/>
                  </a:lnTo>
                  <a:lnTo>
                    <a:pt x="2078" y="747"/>
                  </a:lnTo>
                  <a:lnTo>
                    <a:pt x="2091" y="727"/>
                  </a:lnTo>
                  <a:lnTo>
                    <a:pt x="2100" y="710"/>
                  </a:lnTo>
                  <a:lnTo>
                    <a:pt x="2121" y="704"/>
                  </a:lnTo>
                  <a:lnTo>
                    <a:pt x="2137" y="709"/>
                  </a:lnTo>
                  <a:lnTo>
                    <a:pt x="2149" y="722"/>
                  </a:lnTo>
                  <a:lnTo>
                    <a:pt x="2170" y="727"/>
                  </a:lnTo>
                  <a:lnTo>
                    <a:pt x="2188" y="727"/>
                  </a:lnTo>
                  <a:lnTo>
                    <a:pt x="2215" y="710"/>
                  </a:lnTo>
                  <a:lnTo>
                    <a:pt x="2234" y="689"/>
                  </a:lnTo>
                  <a:lnTo>
                    <a:pt x="2254" y="667"/>
                  </a:lnTo>
                  <a:lnTo>
                    <a:pt x="2266" y="667"/>
                  </a:lnTo>
                  <a:lnTo>
                    <a:pt x="2277" y="668"/>
                  </a:lnTo>
                  <a:lnTo>
                    <a:pt x="2284" y="666"/>
                  </a:lnTo>
                  <a:lnTo>
                    <a:pt x="2302" y="654"/>
                  </a:lnTo>
                  <a:lnTo>
                    <a:pt x="2353" y="598"/>
                  </a:lnTo>
                  <a:lnTo>
                    <a:pt x="2369" y="584"/>
                  </a:lnTo>
                  <a:lnTo>
                    <a:pt x="2390" y="580"/>
                  </a:lnTo>
                  <a:lnTo>
                    <a:pt x="2415" y="581"/>
                  </a:lnTo>
                  <a:lnTo>
                    <a:pt x="2440" y="577"/>
                  </a:lnTo>
                  <a:lnTo>
                    <a:pt x="2465" y="572"/>
                  </a:lnTo>
                  <a:lnTo>
                    <a:pt x="2484" y="577"/>
                  </a:lnTo>
                  <a:lnTo>
                    <a:pt x="2501" y="580"/>
                  </a:lnTo>
                  <a:lnTo>
                    <a:pt x="2511" y="574"/>
                  </a:lnTo>
                  <a:lnTo>
                    <a:pt x="2510" y="561"/>
                  </a:lnTo>
                  <a:lnTo>
                    <a:pt x="2496" y="553"/>
                  </a:lnTo>
                  <a:lnTo>
                    <a:pt x="2496" y="544"/>
                  </a:lnTo>
                  <a:lnTo>
                    <a:pt x="2498" y="531"/>
                  </a:lnTo>
                  <a:lnTo>
                    <a:pt x="2492" y="517"/>
                  </a:lnTo>
                  <a:lnTo>
                    <a:pt x="2463" y="493"/>
                  </a:lnTo>
                  <a:lnTo>
                    <a:pt x="2450" y="478"/>
                  </a:lnTo>
                  <a:lnTo>
                    <a:pt x="2444" y="464"/>
                  </a:lnTo>
                  <a:lnTo>
                    <a:pt x="2415" y="485"/>
                  </a:lnTo>
                  <a:lnTo>
                    <a:pt x="2397" y="498"/>
                  </a:lnTo>
                  <a:lnTo>
                    <a:pt x="2372" y="505"/>
                  </a:lnTo>
                  <a:lnTo>
                    <a:pt x="2347" y="507"/>
                  </a:lnTo>
                  <a:lnTo>
                    <a:pt x="2306" y="498"/>
                  </a:lnTo>
                  <a:lnTo>
                    <a:pt x="2297" y="483"/>
                  </a:lnTo>
                  <a:lnTo>
                    <a:pt x="2294" y="463"/>
                  </a:lnTo>
                  <a:lnTo>
                    <a:pt x="2294" y="441"/>
                  </a:lnTo>
                  <a:lnTo>
                    <a:pt x="2302" y="424"/>
                  </a:lnTo>
                  <a:lnTo>
                    <a:pt x="2305" y="404"/>
                  </a:lnTo>
                  <a:lnTo>
                    <a:pt x="2302" y="387"/>
                  </a:lnTo>
                  <a:lnTo>
                    <a:pt x="2302" y="371"/>
                  </a:lnTo>
                  <a:lnTo>
                    <a:pt x="2306" y="362"/>
                  </a:lnTo>
                  <a:lnTo>
                    <a:pt x="2317" y="348"/>
                  </a:lnTo>
                  <a:lnTo>
                    <a:pt x="2333" y="319"/>
                  </a:lnTo>
                  <a:lnTo>
                    <a:pt x="2342" y="311"/>
                  </a:lnTo>
                  <a:lnTo>
                    <a:pt x="2342" y="306"/>
                  </a:lnTo>
                  <a:lnTo>
                    <a:pt x="2353" y="308"/>
                  </a:lnTo>
                  <a:lnTo>
                    <a:pt x="2366" y="318"/>
                  </a:lnTo>
                  <a:lnTo>
                    <a:pt x="2398" y="328"/>
                  </a:lnTo>
                  <a:lnTo>
                    <a:pt x="2423" y="340"/>
                  </a:lnTo>
                  <a:lnTo>
                    <a:pt x="2434" y="338"/>
                  </a:lnTo>
                  <a:lnTo>
                    <a:pt x="2449" y="327"/>
                  </a:lnTo>
                  <a:lnTo>
                    <a:pt x="2499" y="296"/>
                  </a:lnTo>
                  <a:lnTo>
                    <a:pt x="2500" y="289"/>
                  </a:lnTo>
                  <a:lnTo>
                    <a:pt x="2498" y="276"/>
                  </a:lnTo>
                  <a:lnTo>
                    <a:pt x="2501" y="264"/>
                  </a:lnTo>
                  <a:lnTo>
                    <a:pt x="2512" y="251"/>
                  </a:lnTo>
                  <a:lnTo>
                    <a:pt x="2519" y="240"/>
                  </a:lnTo>
                  <a:lnTo>
                    <a:pt x="2526" y="210"/>
                  </a:lnTo>
                  <a:lnTo>
                    <a:pt x="2531" y="188"/>
                  </a:lnTo>
                  <a:lnTo>
                    <a:pt x="2538" y="171"/>
                  </a:lnTo>
                  <a:lnTo>
                    <a:pt x="2557" y="161"/>
                  </a:lnTo>
                  <a:lnTo>
                    <a:pt x="2581" y="134"/>
                  </a:lnTo>
                  <a:lnTo>
                    <a:pt x="2581" y="129"/>
                  </a:lnTo>
                  <a:lnTo>
                    <a:pt x="2576" y="118"/>
                  </a:lnTo>
                  <a:lnTo>
                    <a:pt x="2578" y="91"/>
                  </a:lnTo>
                  <a:lnTo>
                    <a:pt x="2571" y="87"/>
                  </a:lnTo>
                  <a:lnTo>
                    <a:pt x="2560" y="87"/>
                  </a:lnTo>
                  <a:lnTo>
                    <a:pt x="2542" y="92"/>
                  </a:lnTo>
                  <a:lnTo>
                    <a:pt x="2538" y="87"/>
                  </a:lnTo>
                  <a:lnTo>
                    <a:pt x="2543" y="74"/>
                  </a:lnTo>
                  <a:lnTo>
                    <a:pt x="2567" y="50"/>
                  </a:lnTo>
                  <a:lnTo>
                    <a:pt x="2575" y="38"/>
                  </a:lnTo>
                  <a:lnTo>
                    <a:pt x="2591" y="26"/>
                  </a:lnTo>
                  <a:lnTo>
                    <a:pt x="2625" y="20"/>
                  </a:lnTo>
                  <a:lnTo>
                    <a:pt x="2666" y="5"/>
                  </a:lnTo>
                  <a:lnTo>
                    <a:pt x="2691" y="6"/>
                  </a:lnTo>
                  <a:lnTo>
                    <a:pt x="2726" y="0"/>
                  </a:lnTo>
                  <a:lnTo>
                    <a:pt x="2738" y="0"/>
                  </a:lnTo>
                  <a:lnTo>
                    <a:pt x="2757" y="9"/>
                  </a:lnTo>
                  <a:lnTo>
                    <a:pt x="2774" y="21"/>
                  </a:lnTo>
                  <a:lnTo>
                    <a:pt x="2785" y="33"/>
                  </a:lnTo>
                  <a:lnTo>
                    <a:pt x="2801" y="37"/>
                  </a:lnTo>
                  <a:lnTo>
                    <a:pt x="2820" y="34"/>
                  </a:lnTo>
                  <a:lnTo>
                    <a:pt x="2836" y="38"/>
                  </a:lnTo>
                  <a:lnTo>
                    <a:pt x="2850" y="44"/>
                  </a:lnTo>
                  <a:lnTo>
                    <a:pt x="2858" y="58"/>
                  </a:lnTo>
                  <a:lnTo>
                    <a:pt x="2870" y="76"/>
                  </a:lnTo>
                  <a:lnTo>
                    <a:pt x="2871" y="89"/>
                  </a:lnTo>
                  <a:lnTo>
                    <a:pt x="2879" y="96"/>
                  </a:lnTo>
                  <a:lnTo>
                    <a:pt x="2888" y="102"/>
                  </a:lnTo>
                  <a:lnTo>
                    <a:pt x="2890" y="111"/>
                  </a:lnTo>
                  <a:lnTo>
                    <a:pt x="2891" y="106"/>
                  </a:lnTo>
                  <a:lnTo>
                    <a:pt x="2893" y="119"/>
                  </a:lnTo>
                  <a:lnTo>
                    <a:pt x="2898" y="134"/>
                  </a:lnTo>
                  <a:lnTo>
                    <a:pt x="2901" y="155"/>
                  </a:lnTo>
                  <a:lnTo>
                    <a:pt x="2909" y="172"/>
                  </a:lnTo>
                  <a:lnTo>
                    <a:pt x="2914" y="189"/>
                  </a:lnTo>
                  <a:lnTo>
                    <a:pt x="2935" y="229"/>
                  </a:lnTo>
                  <a:lnTo>
                    <a:pt x="2941" y="270"/>
                  </a:lnTo>
                  <a:lnTo>
                    <a:pt x="2950" y="289"/>
                  </a:lnTo>
                  <a:lnTo>
                    <a:pt x="2949" y="294"/>
                  </a:lnTo>
                  <a:lnTo>
                    <a:pt x="2950" y="295"/>
                  </a:lnTo>
                  <a:lnTo>
                    <a:pt x="2952" y="313"/>
                  </a:lnTo>
                  <a:lnTo>
                    <a:pt x="2952" y="334"/>
                  </a:lnTo>
                  <a:lnTo>
                    <a:pt x="2965" y="345"/>
                  </a:lnTo>
                  <a:lnTo>
                    <a:pt x="2988" y="348"/>
                  </a:lnTo>
                  <a:lnTo>
                    <a:pt x="3009" y="340"/>
                  </a:lnTo>
                  <a:lnTo>
                    <a:pt x="3025" y="348"/>
                  </a:lnTo>
                  <a:lnTo>
                    <a:pt x="3044" y="350"/>
                  </a:lnTo>
                  <a:lnTo>
                    <a:pt x="3062" y="359"/>
                  </a:lnTo>
                  <a:lnTo>
                    <a:pt x="3094" y="387"/>
                  </a:lnTo>
                  <a:lnTo>
                    <a:pt x="3109" y="394"/>
                  </a:lnTo>
                  <a:lnTo>
                    <a:pt x="3121" y="396"/>
                  </a:lnTo>
                  <a:lnTo>
                    <a:pt x="3125" y="403"/>
                  </a:lnTo>
                  <a:lnTo>
                    <a:pt x="3125" y="408"/>
                  </a:lnTo>
                  <a:lnTo>
                    <a:pt x="3127" y="407"/>
                  </a:lnTo>
                  <a:lnTo>
                    <a:pt x="3128" y="423"/>
                  </a:lnTo>
                  <a:lnTo>
                    <a:pt x="3135" y="432"/>
                  </a:lnTo>
                  <a:lnTo>
                    <a:pt x="3134" y="448"/>
                  </a:lnTo>
                  <a:lnTo>
                    <a:pt x="3135" y="466"/>
                  </a:lnTo>
                  <a:lnTo>
                    <a:pt x="3145" y="482"/>
                  </a:lnTo>
                  <a:lnTo>
                    <a:pt x="3151" y="495"/>
                  </a:lnTo>
                  <a:lnTo>
                    <a:pt x="3170" y="494"/>
                  </a:lnTo>
                  <a:lnTo>
                    <a:pt x="3189" y="500"/>
                  </a:lnTo>
                  <a:lnTo>
                    <a:pt x="3207" y="498"/>
                  </a:lnTo>
                  <a:lnTo>
                    <a:pt x="3238" y="483"/>
                  </a:lnTo>
                  <a:lnTo>
                    <a:pt x="3272" y="461"/>
                  </a:lnTo>
                  <a:lnTo>
                    <a:pt x="3290" y="459"/>
                  </a:lnTo>
                  <a:lnTo>
                    <a:pt x="3323" y="441"/>
                  </a:lnTo>
                  <a:lnTo>
                    <a:pt x="3355" y="432"/>
                  </a:lnTo>
                  <a:lnTo>
                    <a:pt x="3356" y="435"/>
                  </a:lnTo>
                  <a:lnTo>
                    <a:pt x="3348" y="448"/>
                  </a:lnTo>
                  <a:lnTo>
                    <a:pt x="3348" y="468"/>
                  </a:lnTo>
                  <a:lnTo>
                    <a:pt x="3353" y="484"/>
                  </a:lnTo>
                  <a:lnTo>
                    <a:pt x="3350" y="504"/>
                  </a:lnTo>
                  <a:lnTo>
                    <a:pt x="3338" y="514"/>
                  </a:lnTo>
                  <a:lnTo>
                    <a:pt x="3324" y="527"/>
                  </a:lnTo>
                  <a:lnTo>
                    <a:pt x="3322" y="548"/>
                  </a:lnTo>
                  <a:lnTo>
                    <a:pt x="3308" y="581"/>
                  </a:lnTo>
                  <a:lnTo>
                    <a:pt x="3300" y="623"/>
                  </a:lnTo>
                  <a:lnTo>
                    <a:pt x="3281" y="661"/>
                  </a:lnTo>
                  <a:lnTo>
                    <a:pt x="3268" y="679"/>
                  </a:lnTo>
                  <a:lnTo>
                    <a:pt x="3263" y="699"/>
                  </a:lnTo>
                  <a:lnTo>
                    <a:pt x="3251" y="709"/>
                  </a:lnTo>
                  <a:lnTo>
                    <a:pt x="3246" y="705"/>
                  </a:lnTo>
                  <a:lnTo>
                    <a:pt x="3195" y="693"/>
                  </a:lnTo>
                  <a:lnTo>
                    <a:pt x="3182" y="700"/>
                  </a:lnTo>
                  <a:lnTo>
                    <a:pt x="3146" y="735"/>
                  </a:lnTo>
                  <a:lnTo>
                    <a:pt x="3154" y="748"/>
                  </a:lnTo>
                  <a:lnTo>
                    <a:pt x="3160" y="775"/>
                  </a:lnTo>
                  <a:lnTo>
                    <a:pt x="3160" y="834"/>
                  </a:lnTo>
                  <a:lnTo>
                    <a:pt x="3144" y="859"/>
                  </a:lnTo>
                  <a:lnTo>
                    <a:pt x="3124" y="876"/>
                  </a:lnTo>
                  <a:lnTo>
                    <a:pt x="3124" y="894"/>
                  </a:lnTo>
                  <a:lnTo>
                    <a:pt x="3116" y="893"/>
                  </a:lnTo>
                  <a:lnTo>
                    <a:pt x="3108" y="878"/>
                  </a:lnTo>
                  <a:lnTo>
                    <a:pt x="3097" y="867"/>
                  </a:lnTo>
                  <a:lnTo>
                    <a:pt x="3086" y="876"/>
                  </a:lnTo>
                  <a:lnTo>
                    <a:pt x="3079" y="896"/>
                  </a:lnTo>
                  <a:lnTo>
                    <a:pt x="3069" y="911"/>
                  </a:lnTo>
                  <a:lnTo>
                    <a:pt x="3038" y="935"/>
                  </a:lnTo>
                  <a:lnTo>
                    <a:pt x="3014" y="941"/>
                  </a:lnTo>
                  <a:lnTo>
                    <a:pt x="2994" y="941"/>
                  </a:lnTo>
                  <a:lnTo>
                    <a:pt x="2989" y="950"/>
                  </a:lnTo>
                  <a:lnTo>
                    <a:pt x="2995" y="981"/>
                  </a:lnTo>
                  <a:lnTo>
                    <a:pt x="2953" y="985"/>
                  </a:lnTo>
                  <a:lnTo>
                    <a:pt x="2939" y="975"/>
                  </a:lnTo>
                  <a:lnTo>
                    <a:pt x="2920" y="970"/>
                  </a:lnTo>
                  <a:lnTo>
                    <a:pt x="2908" y="980"/>
                  </a:lnTo>
                  <a:lnTo>
                    <a:pt x="2883" y="1009"/>
                  </a:lnTo>
                  <a:lnTo>
                    <a:pt x="2865" y="1024"/>
                  </a:lnTo>
                  <a:lnTo>
                    <a:pt x="2826" y="1045"/>
                  </a:lnTo>
                  <a:lnTo>
                    <a:pt x="2811" y="1052"/>
                  </a:lnTo>
                  <a:lnTo>
                    <a:pt x="2783" y="1087"/>
                  </a:lnTo>
                  <a:lnTo>
                    <a:pt x="2781" y="1091"/>
                  </a:lnTo>
                  <a:lnTo>
                    <a:pt x="2774" y="1094"/>
                  </a:lnTo>
                  <a:lnTo>
                    <a:pt x="2767" y="1097"/>
                  </a:lnTo>
                  <a:lnTo>
                    <a:pt x="2756" y="1097"/>
                  </a:lnTo>
                  <a:lnTo>
                    <a:pt x="2734" y="1104"/>
                  </a:lnTo>
                  <a:lnTo>
                    <a:pt x="2729" y="1097"/>
                  </a:lnTo>
                  <a:lnTo>
                    <a:pt x="2724" y="1102"/>
                  </a:lnTo>
                  <a:lnTo>
                    <a:pt x="2709" y="1113"/>
                  </a:lnTo>
                  <a:lnTo>
                    <a:pt x="2673" y="1128"/>
                  </a:lnTo>
                  <a:lnTo>
                    <a:pt x="2665" y="1136"/>
                  </a:lnTo>
                  <a:lnTo>
                    <a:pt x="2657" y="1149"/>
                  </a:lnTo>
                  <a:lnTo>
                    <a:pt x="2646" y="1157"/>
                  </a:lnTo>
                  <a:lnTo>
                    <a:pt x="2638" y="1157"/>
                  </a:lnTo>
                  <a:lnTo>
                    <a:pt x="2632" y="1163"/>
                  </a:lnTo>
                  <a:lnTo>
                    <a:pt x="2613" y="1172"/>
                  </a:lnTo>
                  <a:lnTo>
                    <a:pt x="2607" y="1168"/>
                  </a:lnTo>
                  <a:lnTo>
                    <a:pt x="2616" y="1156"/>
                  </a:lnTo>
                  <a:lnTo>
                    <a:pt x="2630" y="1151"/>
                  </a:lnTo>
                  <a:lnTo>
                    <a:pt x="2635" y="1140"/>
                  </a:lnTo>
                  <a:lnTo>
                    <a:pt x="2638" y="1129"/>
                  </a:lnTo>
                  <a:lnTo>
                    <a:pt x="2630" y="1126"/>
                  </a:lnTo>
                  <a:lnTo>
                    <a:pt x="2622" y="1119"/>
                  </a:lnTo>
                  <a:lnTo>
                    <a:pt x="2616" y="1118"/>
                  </a:lnTo>
                  <a:lnTo>
                    <a:pt x="2625" y="1112"/>
                  </a:lnTo>
                  <a:lnTo>
                    <a:pt x="2627" y="1101"/>
                  </a:lnTo>
                  <a:lnTo>
                    <a:pt x="2638" y="1093"/>
                  </a:lnTo>
                  <a:lnTo>
                    <a:pt x="2660" y="1063"/>
                  </a:lnTo>
                  <a:lnTo>
                    <a:pt x="2667" y="1050"/>
                  </a:lnTo>
                  <a:lnTo>
                    <a:pt x="2665" y="1042"/>
                  </a:lnTo>
                  <a:lnTo>
                    <a:pt x="2652" y="1028"/>
                  </a:lnTo>
                  <a:lnTo>
                    <a:pt x="2649" y="1016"/>
                  </a:lnTo>
                  <a:lnTo>
                    <a:pt x="2644" y="1010"/>
                  </a:lnTo>
                  <a:lnTo>
                    <a:pt x="2639" y="1016"/>
                  </a:lnTo>
                  <a:lnTo>
                    <a:pt x="2616" y="1017"/>
                  </a:lnTo>
                  <a:lnTo>
                    <a:pt x="2606" y="1021"/>
                  </a:lnTo>
                  <a:lnTo>
                    <a:pt x="2590" y="1038"/>
                  </a:lnTo>
                  <a:lnTo>
                    <a:pt x="2578" y="1053"/>
                  </a:lnTo>
                  <a:lnTo>
                    <a:pt x="2571" y="1065"/>
                  </a:lnTo>
                  <a:lnTo>
                    <a:pt x="2568" y="1070"/>
                  </a:lnTo>
                  <a:lnTo>
                    <a:pt x="2542" y="1082"/>
                  </a:lnTo>
                  <a:lnTo>
                    <a:pt x="2524" y="1096"/>
                  </a:lnTo>
                  <a:lnTo>
                    <a:pt x="2516" y="1098"/>
                  </a:lnTo>
                  <a:lnTo>
                    <a:pt x="2509" y="1112"/>
                  </a:lnTo>
                  <a:lnTo>
                    <a:pt x="2506" y="1126"/>
                  </a:lnTo>
                  <a:lnTo>
                    <a:pt x="2498" y="1135"/>
                  </a:lnTo>
                  <a:lnTo>
                    <a:pt x="2488" y="1141"/>
                  </a:lnTo>
                  <a:lnTo>
                    <a:pt x="2473" y="1144"/>
                  </a:lnTo>
                  <a:lnTo>
                    <a:pt x="2462" y="1147"/>
                  </a:lnTo>
                  <a:lnTo>
                    <a:pt x="2451" y="1147"/>
                  </a:lnTo>
                  <a:lnTo>
                    <a:pt x="2445" y="1144"/>
                  </a:lnTo>
                  <a:lnTo>
                    <a:pt x="2433" y="1142"/>
                  </a:lnTo>
                  <a:lnTo>
                    <a:pt x="2423" y="1152"/>
                  </a:lnTo>
                  <a:lnTo>
                    <a:pt x="2417" y="1172"/>
                  </a:lnTo>
                  <a:lnTo>
                    <a:pt x="2414" y="1189"/>
                  </a:lnTo>
                  <a:lnTo>
                    <a:pt x="2431" y="1207"/>
                  </a:lnTo>
                  <a:lnTo>
                    <a:pt x="2435" y="1216"/>
                  </a:lnTo>
                  <a:lnTo>
                    <a:pt x="2444" y="1221"/>
                  </a:lnTo>
                  <a:lnTo>
                    <a:pt x="2451" y="1221"/>
                  </a:lnTo>
                  <a:lnTo>
                    <a:pt x="2456" y="1228"/>
                  </a:lnTo>
                  <a:lnTo>
                    <a:pt x="2465" y="1228"/>
                  </a:lnTo>
                  <a:lnTo>
                    <a:pt x="2469" y="1239"/>
                  </a:lnTo>
                  <a:lnTo>
                    <a:pt x="2479" y="1247"/>
                  </a:lnTo>
                  <a:lnTo>
                    <a:pt x="2482" y="1255"/>
                  </a:lnTo>
                  <a:lnTo>
                    <a:pt x="2482" y="1265"/>
                  </a:lnTo>
                  <a:lnTo>
                    <a:pt x="2490" y="1276"/>
                  </a:lnTo>
                  <a:lnTo>
                    <a:pt x="2517" y="1286"/>
                  </a:lnTo>
                  <a:lnTo>
                    <a:pt x="2531" y="1285"/>
                  </a:lnTo>
                  <a:lnTo>
                    <a:pt x="2543" y="1269"/>
                  </a:lnTo>
                  <a:lnTo>
                    <a:pt x="2554" y="1260"/>
                  </a:lnTo>
                  <a:lnTo>
                    <a:pt x="2562" y="1249"/>
                  </a:lnTo>
                  <a:lnTo>
                    <a:pt x="2584" y="1239"/>
                  </a:lnTo>
                  <a:lnTo>
                    <a:pt x="2591" y="1238"/>
                  </a:lnTo>
                  <a:lnTo>
                    <a:pt x="2602" y="1249"/>
                  </a:lnTo>
                  <a:lnTo>
                    <a:pt x="2611" y="1254"/>
                  </a:lnTo>
                  <a:lnTo>
                    <a:pt x="2622" y="1255"/>
                  </a:lnTo>
                  <a:lnTo>
                    <a:pt x="2629" y="1264"/>
                  </a:lnTo>
                  <a:lnTo>
                    <a:pt x="2637" y="1265"/>
                  </a:lnTo>
                  <a:lnTo>
                    <a:pt x="2649" y="1263"/>
                  </a:lnTo>
                  <a:lnTo>
                    <a:pt x="2657" y="1258"/>
                  </a:lnTo>
                  <a:lnTo>
                    <a:pt x="2671" y="1264"/>
                  </a:lnTo>
                  <a:lnTo>
                    <a:pt x="2683" y="1266"/>
                  </a:lnTo>
                  <a:lnTo>
                    <a:pt x="2687" y="1268"/>
                  </a:lnTo>
                  <a:lnTo>
                    <a:pt x="2684" y="1281"/>
                  </a:lnTo>
                  <a:lnTo>
                    <a:pt x="2680" y="1290"/>
                  </a:lnTo>
                  <a:lnTo>
                    <a:pt x="2680" y="1295"/>
                  </a:lnTo>
                  <a:lnTo>
                    <a:pt x="2670" y="1307"/>
                  </a:lnTo>
                  <a:lnTo>
                    <a:pt x="2666" y="1303"/>
                  </a:lnTo>
                  <a:lnTo>
                    <a:pt x="2662" y="1293"/>
                  </a:lnTo>
                  <a:lnTo>
                    <a:pt x="2656" y="1297"/>
                  </a:lnTo>
                  <a:lnTo>
                    <a:pt x="2650" y="1295"/>
                  </a:lnTo>
                  <a:lnTo>
                    <a:pt x="2643" y="1301"/>
                  </a:lnTo>
                  <a:lnTo>
                    <a:pt x="2637" y="1311"/>
                  </a:lnTo>
                  <a:lnTo>
                    <a:pt x="2614" y="1313"/>
                  </a:lnTo>
                  <a:lnTo>
                    <a:pt x="2602" y="1319"/>
                  </a:lnTo>
                  <a:lnTo>
                    <a:pt x="2591" y="1319"/>
                  </a:lnTo>
                  <a:lnTo>
                    <a:pt x="2594" y="1333"/>
                  </a:lnTo>
                  <a:lnTo>
                    <a:pt x="2590" y="1333"/>
                  </a:lnTo>
                  <a:lnTo>
                    <a:pt x="2585" y="1338"/>
                  </a:lnTo>
                  <a:lnTo>
                    <a:pt x="2578" y="1355"/>
                  </a:lnTo>
                  <a:lnTo>
                    <a:pt x="2568" y="1356"/>
                  </a:lnTo>
                  <a:lnTo>
                    <a:pt x="2564" y="1345"/>
                  </a:lnTo>
                  <a:lnTo>
                    <a:pt x="2555" y="1345"/>
                  </a:lnTo>
                  <a:lnTo>
                    <a:pt x="2548" y="1354"/>
                  </a:lnTo>
                  <a:lnTo>
                    <a:pt x="2555" y="1362"/>
                  </a:lnTo>
                  <a:lnTo>
                    <a:pt x="2552" y="1371"/>
                  </a:lnTo>
                  <a:lnTo>
                    <a:pt x="2544" y="1381"/>
                  </a:lnTo>
                  <a:lnTo>
                    <a:pt x="2526" y="1391"/>
                  </a:lnTo>
                  <a:lnTo>
                    <a:pt x="2521" y="1404"/>
                  </a:lnTo>
                  <a:lnTo>
                    <a:pt x="2509" y="1421"/>
                  </a:lnTo>
                  <a:lnTo>
                    <a:pt x="2500" y="1437"/>
                  </a:lnTo>
                  <a:lnTo>
                    <a:pt x="2503" y="1446"/>
                  </a:lnTo>
                  <a:lnTo>
                    <a:pt x="2514" y="1448"/>
                  </a:lnTo>
                  <a:lnTo>
                    <a:pt x="2522" y="1456"/>
                  </a:lnTo>
                  <a:lnTo>
                    <a:pt x="2555" y="1473"/>
                  </a:lnTo>
                  <a:lnTo>
                    <a:pt x="2562" y="1483"/>
                  </a:lnTo>
                  <a:lnTo>
                    <a:pt x="2567" y="1499"/>
                  </a:lnTo>
                  <a:lnTo>
                    <a:pt x="2574" y="1508"/>
                  </a:lnTo>
                  <a:lnTo>
                    <a:pt x="2584" y="1548"/>
                  </a:lnTo>
                  <a:lnTo>
                    <a:pt x="2590" y="1561"/>
                  </a:lnTo>
                  <a:lnTo>
                    <a:pt x="2594" y="1578"/>
                  </a:lnTo>
                  <a:lnTo>
                    <a:pt x="2603" y="1592"/>
                  </a:lnTo>
                  <a:lnTo>
                    <a:pt x="2617" y="1598"/>
                  </a:lnTo>
                  <a:lnTo>
                    <a:pt x="2618" y="1608"/>
                  </a:lnTo>
                  <a:lnTo>
                    <a:pt x="2635" y="1625"/>
                  </a:lnTo>
                  <a:lnTo>
                    <a:pt x="2646" y="1642"/>
                  </a:lnTo>
                  <a:lnTo>
                    <a:pt x="2646" y="1646"/>
                  </a:lnTo>
                  <a:lnTo>
                    <a:pt x="2628" y="1637"/>
                  </a:lnTo>
                  <a:lnTo>
                    <a:pt x="2613" y="1632"/>
                  </a:lnTo>
                  <a:lnTo>
                    <a:pt x="2602" y="1632"/>
                  </a:lnTo>
                  <a:lnTo>
                    <a:pt x="2590" y="1624"/>
                  </a:lnTo>
                  <a:lnTo>
                    <a:pt x="2576" y="1620"/>
                  </a:lnTo>
                  <a:lnTo>
                    <a:pt x="2551" y="1625"/>
                  </a:lnTo>
                  <a:lnTo>
                    <a:pt x="2551" y="1631"/>
                  </a:lnTo>
                  <a:lnTo>
                    <a:pt x="2576" y="1626"/>
                  </a:lnTo>
                  <a:lnTo>
                    <a:pt x="2581" y="1630"/>
                  </a:lnTo>
                  <a:lnTo>
                    <a:pt x="2584" y="1637"/>
                  </a:lnTo>
                  <a:lnTo>
                    <a:pt x="2595" y="1639"/>
                  </a:lnTo>
                  <a:lnTo>
                    <a:pt x="2607" y="1647"/>
                  </a:lnTo>
                  <a:lnTo>
                    <a:pt x="2618" y="1660"/>
                  </a:lnTo>
                  <a:lnTo>
                    <a:pt x="2627" y="1664"/>
                  </a:lnTo>
                  <a:lnTo>
                    <a:pt x="2632" y="1667"/>
                  </a:lnTo>
                  <a:lnTo>
                    <a:pt x="2640" y="1677"/>
                  </a:lnTo>
                  <a:lnTo>
                    <a:pt x="2648" y="1690"/>
                  </a:lnTo>
                  <a:lnTo>
                    <a:pt x="2646" y="1695"/>
                  </a:lnTo>
                  <a:lnTo>
                    <a:pt x="2633" y="1696"/>
                  </a:lnTo>
                  <a:lnTo>
                    <a:pt x="2622" y="1706"/>
                  </a:lnTo>
                  <a:lnTo>
                    <a:pt x="2611" y="1710"/>
                  </a:lnTo>
                  <a:lnTo>
                    <a:pt x="2603" y="1715"/>
                  </a:lnTo>
                  <a:lnTo>
                    <a:pt x="2600" y="1720"/>
                  </a:lnTo>
                  <a:lnTo>
                    <a:pt x="2589" y="1727"/>
                  </a:lnTo>
                  <a:lnTo>
                    <a:pt x="2573" y="1727"/>
                  </a:lnTo>
                  <a:lnTo>
                    <a:pt x="2562" y="1730"/>
                  </a:lnTo>
                  <a:lnTo>
                    <a:pt x="2551" y="1734"/>
                  </a:lnTo>
                  <a:lnTo>
                    <a:pt x="2563" y="1733"/>
                  </a:lnTo>
                  <a:lnTo>
                    <a:pt x="2575" y="1737"/>
                  </a:lnTo>
                  <a:lnTo>
                    <a:pt x="2586" y="1742"/>
                  </a:lnTo>
                  <a:lnTo>
                    <a:pt x="2607" y="1733"/>
                  </a:lnTo>
                  <a:lnTo>
                    <a:pt x="2616" y="1736"/>
                  </a:lnTo>
                  <a:lnTo>
                    <a:pt x="2624" y="1743"/>
                  </a:lnTo>
                  <a:lnTo>
                    <a:pt x="2628" y="1749"/>
                  </a:lnTo>
                  <a:lnTo>
                    <a:pt x="2633" y="1753"/>
                  </a:lnTo>
                  <a:lnTo>
                    <a:pt x="2640" y="1755"/>
                  </a:lnTo>
                  <a:lnTo>
                    <a:pt x="2648" y="1755"/>
                  </a:lnTo>
                  <a:lnTo>
                    <a:pt x="2652" y="1758"/>
                  </a:lnTo>
                  <a:lnTo>
                    <a:pt x="2646" y="1761"/>
                  </a:lnTo>
                  <a:lnTo>
                    <a:pt x="2633" y="1776"/>
                  </a:lnTo>
                  <a:lnTo>
                    <a:pt x="2623" y="1781"/>
                  </a:lnTo>
                  <a:lnTo>
                    <a:pt x="2627" y="1782"/>
                  </a:lnTo>
                  <a:lnTo>
                    <a:pt x="2643" y="1775"/>
                  </a:lnTo>
                  <a:lnTo>
                    <a:pt x="2643" y="1788"/>
                  </a:lnTo>
                  <a:lnTo>
                    <a:pt x="2641" y="1798"/>
                  </a:lnTo>
                  <a:lnTo>
                    <a:pt x="2640" y="1795"/>
                  </a:lnTo>
                  <a:lnTo>
                    <a:pt x="2635" y="1798"/>
                  </a:lnTo>
                  <a:lnTo>
                    <a:pt x="2623" y="1802"/>
                  </a:lnTo>
                  <a:lnTo>
                    <a:pt x="2623" y="1804"/>
                  </a:lnTo>
                  <a:lnTo>
                    <a:pt x="2628" y="1814"/>
                  </a:lnTo>
                  <a:lnTo>
                    <a:pt x="2625" y="1829"/>
                  </a:lnTo>
                  <a:lnTo>
                    <a:pt x="2622" y="1833"/>
                  </a:lnTo>
                  <a:lnTo>
                    <a:pt x="2622" y="1850"/>
                  </a:lnTo>
                  <a:lnTo>
                    <a:pt x="2616" y="1865"/>
                  </a:lnTo>
                  <a:lnTo>
                    <a:pt x="2611" y="1862"/>
                  </a:lnTo>
                  <a:lnTo>
                    <a:pt x="2606" y="1856"/>
                  </a:lnTo>
                  <a:lnTo>
                    <a:pt x="2601" y="1860"/>
                  </a:lnTo>
                  <a:lnTo>
                    <a:pt x="2594" y="1871"/>
                  </a:lnTo>
                  <a:lnTo>
                    <a:pt x="2587" y="1879"/>
                  </a:lnTo>
                  <a:lnTo>
                    <a:pt x="2582" y="1887"/>
                  </a:lnTo>
                  <a:lnTo>
                    <a:pt x="2578" y="1890"/>
                  </a:lnTo>
                  <a:lnTo>
                    <a:pt x="2574" y="1897"/>
                  </a:lnTo>
                  <a:lnTo>
                    <a:pt x="2571" y="1904"/>
                  </a:lnTo>
                  <a:lnTo>
                    <a:pt x="2571" y="1911"/>
                  </a:lnTo>
                  <a:lnTo>
                    <a:pt x="2567" y="1921"/>
                  </a:lnTo>
                  <a:lnTo>
                    <a:pt x="2560" y="1930"/>
                  </a:lnTo>
                  <a:lnTo>
                    <a:pt x="2555" y="1933"/>
                  </a:lnTo>
                  <a:lnTo>
                    <a:pt x="2546" y="1943"/>
                  </a:lnTo>
                  <a:lnTo>
                    <a:pt x="2543" y="1957"/>
                  </a:lnTo>
                  <a:lnTo>
                    <a:pt x="2537" y="1964"/>
                  </a:lnTo>
                  <a:lnTo>
                    <a:pt x="2535" y="1962"/>
                  </a:lnTo>
                  <a:lnTo>
                    <a:pt x="2533" y="1948"/>
                  </a:lnTo>
                  <a:lnTo>
                    <a:pt x="2525" y="1949"/>
                  </a:lnTo>
                  <a:lnTo>
                    <a:pt x="2517" y="1956"/>
                  </a:lnTo>
                  <a:lnTo>
                    <a:pt x="2526" y="1973"/>
                  </a:lnTo>
                  <a:lnTo>
                    <a:pt x="2526" y="1976"/>
                  </a:lnTo>
                  <a:lnTo>
                    <a:pt x="2521" y="1992"/>
                  </a:lnTo>
                  <a:lnTo>
                    <a:pt x="2521" y="1997"/>
                  </a:lnTo>
                  <a:lnTo>
                    <a:pt x="2520" y="2003"/>
                  </a:lnTo>
                  <a:lnTo>
                    <a:pt x="2517" y="2010"/>
                  </a:lnTo>
                  <a:lnTo>
                    <a:pt x="2515" y="2013"/>
                  </a:lnTo>
                  <a:lnTo>
                    <a:pt x="2511" y="2014"/>
                  </a:lnTo>
                  <a:lnTo>
                    <a:pt x="2511" y="2021"/>
                  </a:lnTo>
                  <a:lnTo>
                    <a:pt x="2512" y="2028"/>
                  </a:lnTo>
                  <a:lnTo>
                    <a:pt x="2511" y="2030"/>
                  </a:lnTo>
                  <a:lnTo>
                    <a:pt x="2506" y="2028"/>
                  </a:lnTo>
                  <a:lnTo>
                    <a:pt x="2500" y="2028"/>
                  </a:lnTo>
                  <a:lnTo>
                    <a:pt x="2495" y="2033"/>
                  </a:lnTo>
                  <a:lnTo>
                    <a:pt x="2498" y="2040"/>
                  </a:lnTo>
                  <a:lnTo>
                    <a:pt x="2494" y="2046"/>
                  </a:lnTo>
                  <a:lnTo>
                    <a:pt x="2490" y="2044"/>
                  </a:lnTo>
                  <a:lnTo>
                    <a:pt x="2484" y="2045"/>
                  </a:lnTo>
                  <a:lnTo>
                    <a:pt x="2478" y="2060"/>
                  </a:lnTo>
                  <a:lnTo>
                    <a:pt x="2471" y="2065"/>
                  </a:lnTo>
                  <a:lnTo>
                    <a:pt x="2469" y="2075"/>
                  </a:lnTo>
                  <a:lnTo>
                    <a:pt x="2465" y="2081"/>
                  </a:lnTo>
                  <a:lnTo>
                    <a:pt x="2447" y="2083"/>
                  </a:lnTo>
                  <a:lnTo>
                    <a:pt x="2440" y="2081"/>
                  </a:lnTo>
                  <a:lnTo>
                    <a:pt x="2431" y="2088"/>
                  </a:lnTo>
                  <a:lnTo>
                    <a:pt x="2433" y="2091"/>
                  </a:lnTo>
                  <a:lnTo>
                    <a:pt x="2435" y="2097"/>
                  </a:lnTo>
                  <a:lnTo>
                    <a:pt x="2433" y="2105"/>
                  </a:lnTo>
                  <a:lnTo>
                    <a:pt x="2418" y="2119"/>
                  </a:lnTo>
                  <a:lnTo>
                    <a:pt x="2413" y="2119"/>
                  </a:lnTo>
                  <a:lnTo>
                    <a:pt x="2410" y="2131"/>
                  </a:lnTo>
                  <a:lnTo>
                    <a:pt x="2408" y="2123"/>
                  </a:lnTo>
                  <a:lnTo>
                    <a:pt x="2402" y="2127"/>
                  </a:lnTo>
                  <a:lnTo>
                    <a:pt x="2401" y="2135"/>
                  </a:lnTo>
                  <a:lnTo>
                    <a:pt x="2398" y="2134"/>
                  </a:lnTo>
                  <a:lnTo>
                    <a:pt x="2395" y="2134"/>
                  </a:lnTo>
                  <a:lnTo>
                    <a:pt x="2385" y="2141"/>
                  </a:lnTo>
                  <a:lnTo>
                    <a:pt x="2380" y="2140"/>
                  </a:lnTo>
                  <a:lnTo>
                    <a:pt x="2372" y="2141"/>
                  </a:lnTo>
                  <a:lnTo>
                    <a:pt x="2365" y="2152"/>
                  </a:lnTo>
                  <a:lnTo>
                    <a:pt x="2361" y="2159"/>
                  </a:lnTo>
                  <a:lnTo>
                    <a:pt x="2356" y="2164"/>
                  </a:lnTo>
                  <a:lnTo>
                    <a:pt x="2354" y="2170"/>
                  </a:lnTo>
                  <a:lnTo>
                    <a:pt x="2344" y="2177"/>
                  </a:lnTo>
                  <a:lnTo>
                    <a:pt x="2328" y="2183"/>
                  </a:lnTo>
                  <a:lnTo>
                    <a:pt x="2316" y="2189"/>
                  </a:lnTo>
                  <a:lnTo>
                    <a:pt x="2309" y="2186"/>
                  </a:lnTo>
                  <a:lnTo>
                    <a:pt x="2302" y="2184"/>
                  </a:lnTo>
                  <a:lnTo>
                    <a:pt x="2299" y="2189"/>
                  </a:lnTo>
                  <a:lnTo>
                    <a:pt x="2297" y="2193"/>
                  </a:lnTo>
                  <a:lnTo>
                    <a:pt x="2291" y="2195"/>
                  </a:lnTo>
                  <a:lnTo>
                    <a:pt x="2285" y="2193"/>
                  </a:lnTo>
                  <a:lnTo>
                    <a:pt x="2285" y="2188"/>
                  </a:lnTo>
                  <a:lnTo>
                    <a:pt x="2277" y="2184"/>
                  </a:lnTo>
                  <a:lnTo>
                    <a:pt x="2268" y="2190"/>
                  </a:lnTo>
                  <a:lnTo>
                    <a:pt x="2263" y="2199"/>
                  </a:lnTo>
                  <a:lnTo>
                    <a:pt x="2256" y="2199"/>
                  </a:lnTo>
                  <a:lnTo>
                    <a:pt x="2253" y="2193"/>
                  </a:lnTo>
                  <a:lnTo>
                    <a:pt x="2253" y="2189"/>
                  </a:lnTo>
                  <a:lnTo>
                    <a:pt x="2245" y="2191"/>
                  </a:lnTo>
                  <a:lnTo>
                    <a:pt x="2245" y="2202"/>
                  </a:lnTo>
                  <a:lnTo>
                    <a:pt x="2243" y="220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49" name="Freeform 115"/>
            <p:cNvSpPr>
              <a:spLocks noChangeAspect="1"/>
            </p:cNvSpPr>
            <p:nvPr/>
          </p:nvSpPr>
          <p:spPr bwMode="gray">
            <a:xfrm>
              <a:off x="8066183" y="3352365"/>
              <a:ext cx="109720" cy="132706"/>
            </a:xfrm>
            <a:custGeom>
              <a:avLst/>
              <a:gdLst/>
              <a:ahLst/>
              <a:cxnLst>
                <a:cxn ang="0">
                  <a:pos x="220" y="310"/>
                </a:cxn>
                <a:cxn ang="0">
                  <a:pos x="185" y="277"/>
                </a:cxn>
                <a:cxn ang="0">
                  <a:pos x="169" y="266"/>
                </a:cxn>
                <a:cxn ang="0">
                  <a:pos x="174" y="262"/>
                </a:cxn>
                <a:cxn ang="0">
                  <a:pos x="174" y="236"/>
                </a:cxn>
                <a:cxn ang="0">
                  <a:pos x="186" y="226"/>
                </a:cxn>
                <a:cxn ang="0">
                  <a:pos x="199" y="212"/>
                </a:cxn>
                <a:cxn ang="0">
                  <a:pos x="235" y="200"/>
                </a:cxn>
                <a:cxn ang="0">
                  <a:pos x="257" y="181"/>
                </a:cxn>
                <a:cxn ang="0">
                  <a:pos x="289" y="155"/>
                </a:cxn>
                <a:cxn ang="0">
                  <a:pos x="297" y="121"/>
                </a:cxn>
                <a:cxn ang="0">
                  <a:pos x="295" y="101"/>
                </a:cxn>
                <a:cxn ang="0">
                  <a:pos x="308" y="80"/>
                </a:cxn>
                <a:cxn ang="0">
                  <a:pos x="342" y="46"/>
                </a:cxn>
                <a:cxn ang="0">
                  <a:pos x="347" y="41"/>
                </a:cxn>
                <a:cxn ang="0">
                  <a:pos x="343" y="27"/>
                </a:cxn>
                <a:cxn ang="0">
                  <a:pos x="327" y="11"/>
                </a:cxn>
                <a:cxn ang="0">
                  <a:pos x="305" y="9"/>
                </a:cxn>
                <a:cxn ang="0">
                  <a:pos x="288" y="44"/>
                </a:cxn>
                <a:cxn ang="0">
                  <a:pos x="233" y="74"/>
                </a:cxn>
                <a:cxn ang="0">
                  <a:pos x="208" y="83"/>
                </a:cxn>
                <a:cxn ang="0">
                  <a:pos x="172" y="118"/>
                </a:cxn>
                <a:cxn ang="0">
                  <a:pos x="139" y="103"/>
                </a:cxn>
                <a:cxn ang="0">
                  <a:pos x="102" y="142"/>
                </a:cxn>
                <a:cxn ang="0">
                  <a:pos x="45" y="178"/>
                </a:cxn>
                <a:cxn ang="0">
                  <a:pos x="2" y="220"/>
                </a:cxn>
                <a:cxn ang="0">
                  <a:pos x="13" y="235"/>
                </a:cxn>
                <a:cxn ang="0">
                  <a:pos x="30" y="239"/>
                </a:cxn>
                <a:cxn ang="0">
                  <a:pos x="57" y="245"/>
                </a:cxn>
                <a:cxn ang="0">
                  <a:pos x="59" y="258"/>
                </a:cxn>
                <a:cxn ang="0">
                  <a:pos x="50" y="301"/>
                </a:cxn>
                <a:cxn ang="0">
                  <a:pos x="59" y="307"/>
                </a:cxn>
                <a:cxn ang="0">
                  <a:pos x="43" y="320"/>
                </a:cxn>
                <a:cxn ang="0">
                  <a:pos x="32" y="339"/>
                </a:cxn>
                <a:cxn ang="0">
                  <a:pos x="40" y="353"/>
                </a:cxn>
                <a:cxn ang="0">
                  <a:pos x="48" y="355"/>
                </a:cxn>
                <a:cxn ang="0">
                  <a:pos x="40" y="361"/>
                </a:cxn>
                <a:cxn ang="0">
                  <a:pos x="47" y="366"/>
                </a:cxn>
                <a:cxn ang="0">
                  <a:pos x="53" y="377"/>
                </a:cxn>
                <a:cxn ang="0">
                  <a:pos x="64" y="372"/>
                </a:cxn>
                <a:cxn ang="0">
                  <a:pos x="74" y="360"/>
                </a:cxn>
                <a:cxn ang="0">
                  <a:pos x="78" y="356"/>
                </a:cxn>
                <a:cxn ang="0">
                  <a:pos x="91" y="368"/>
                </a:cxn>
                <a:cxn ang="0">
                  <a:pos x="102" y="369"/>
                </a:cxn>
                <a:cxn ang="0">
                  <a:pos x="121" y="374"/>
                </a:cxn>
                <a:cxn ang="0">
                  <a:pos x="156" y="340"/>
                </a:cxn>
                <a:cxn ang="0">
                  <a:pos x="191" y="340"/>
                </a:cxn>
                <a:cxn ang="0">
                  <a:pos x="223" y="318"/>
                </a:cxn>
              </a:cxnLst>
              <a:rect l="0" t="0" r="r" b="b"/>
              <a:pathLst>
                <a:path w="349" h="377">
                  <a:moveTo>
                    <a:pt x="223" y="318"/>
                  </a:moveTo>
                  <a:lnTo>
                    <a:pt x="220" y="310"/>
                  </a:lnTo>
                  <a:lnTo>
                    <a:pt x="196" y="290"/>
                  </a:lnTo>
                  <a:lnTo>
                    <a:pt x="185" y="277"/>
                  </a:lnTo>
                  <a:lnTo>
                    <a:pt x="171" y="272"/>
                  </a:lnTo>
                  <a:lnTo>
                    <a:pt x="169" y="266"/>
                  </a:lnTo>
                  <a:lnTo>
                    <a:pt x="174" y="253"/>
                  </a:lnTo>
                  <a:lnTo>
                    <a:pt x="174" y="262"/>
                  </a:lnTo>
                  <a:lnTo>
                    <a:pt x="175" y="255"/>
                  </a:lnTo>
                  <a:lnTo>
                    <a:pt x="174" y="236"/>
                  </a:lnTo>
                  <a:lnTo>
                    <a:pt x="175" y="229"/>
                  </a:lnTo>
                  <a:lnTo>
                    <a:pt x="186" y="226"/>
                  </a:lnTo>
                  <a:lnTo>
                    <a:pt x="196" y="220"/>
                  </a:lnTo>
                  <a:lnTo>
                    <a:pt x="199" y="212"/>
                  </a:lnTo>
                  <a:lnTo>
                    <a:pt x="223" y="209"/>
                  </a:lnTo>
                  <a:lnTo>
                    <a:pt x="235" y="200"/>
                  </a:lnTo>
                  <a:lnTo>
                    <a:pt x="239" y="194"/>
                  </a:lnTo>
                  <a:lnTo>
                    <a:pt x="257" y="181"/>
                  </a:lnTo>
                  <a:lnTo>
                    <a:pt x="274" y="162"/>
                  </a:lnTo>
                  <a:lnTo>
                    <a:pt x="289" y="155"/>
                  </a:lnTo>
                  <a:lnTo>
                    <a:pt x="295" y="150"/>
                  </a:lnTo>
                  <a:lnTo>
                    <a:pt x="297" y="121"/>
                  </a:lnTo>
                  <a:lnTo>
                    <a:pt x="293" y="112"/>
                  </a:lnTo>
                  <a:lnTo>
                    <a:pt x="295" y="101"/>
                  </a:lnTo>
                  <a:lnTo>
                    <a:pt x="304" y="87"/>
                  </a:lnTo>
                  <a:lnTo>
                    <a:pt x="308" y="80"/>
                  </a:lnTo>
                  <a:lnTo>
                    <a:pt x="335" y="49"/>
                  </a:lnTo>
                  <a:lnTo>
                    <a:pt x="342" y="46"/>
                  </a:lnTo>
                  <a:lnTo>
                    <a:pt x="349" y="48"/>
                  </a:lnTo>
                  <a:lnTo>
                    <a:pt x="347" y="41"/>
                  </a:lnTo>
                  <a:lnTo>
                    <a:pt x="343" y="33"/>
                  </a:lnTo>
                  <a:lnTo>
                    <a:pt x="343" y="27"/>
                  </a:lnTo>
                  <a:lnTo>
                    <a:pt x="335" y="26"/>
                  </a:lnTo>
                  <a:lnTo>
                    <a:pt x="327" y="11"/>
                  </a:lnTo>
                  <a:lnTo>
                    <a:pt x="316" y="0"/>
                  </a:lnTo>
                  <a:lnTo>
                    <a:pt x="305" y="9"/>
                  </a:lnTo>
                  <a:lnTo>
                    <a:pt x="298" y="29"/>
                  </a:lnTo>
                  <a:lnTo>
                    <a:pt x="288" y="44"/>
                  </a:lnTo>
                  <a:lnTo>
                    <a:pt x="257" y="68"/>
                  </a:lnTo>
                  <a:lnTo>
                    <a:pt x="233" y="74"/>
                  </a:lnTo>
                  <a:lnTo>
                    <a:pt x="213" y="74"/>
                  </a:lnTo>
                  <a:lnTo>
                    <a:pt x="208" y="83"/>
                  </a:lnTo>
                  <a:lnTo>
                    <a:pt x="214" y="114"/>
                  </a:lnTo>
                  <a:lnTo>
                    <a:pt x="172" y="118"/>
                  </a:lnTo>
                  <a:lnTo>
                    <a:pt x="158" y="108"/>
                  </a:lnTo>
                  <a:lnTo>
                    <a:pt x="139" y="103"/>
                  </a:lnTo>
                  <a:lnTo>
                    <a:pt x="127" y="113"/>
                  </a:lnTo>
                  <a:lnTo>
                    <a:pt x="102" y="142"/>
                  </a:lnTo>
                  <a:lnTo>
                    <a:pt x="84" y="157"/>
                  </a:lnTo>
                  <a:lnTo>
                    <a:pt x="45" y="178"/>
                  </a:lnTo>
                  <a:lnTo>
                    <a:pt x="30" y="185"/>
                  </a:lnTo>
                  <a:lnTo>
                    <a:pt x="2" y="220"/>
                  </a:lnTo>
                  <a:lnTo>
                    <a:pt x="0" y="224"/>
                  </a:lnTo>
                  <a:lnTo>
                    <a:pt x="13" y="235"/>
                  </a:lnTo>
                  <a:lnTo>
                    <a:pt x="16" y="246"/>
                  </a:lnTo>
                  <a:lnTo>
                    <a:pt x="30" y="239"/>
                  </a:lnTo>
                  <a:lnTo>
                    <a:pt x="42" y="243"/>
                  </a:lnTo>
                  <a:lnTo>
                    <a:pt x="57" y="245"/>
                  </a:lnTo>
                  <a:lnTo>
                    <a:pt x="63" y="248"/>
                  </a:lnTo>
                  <a:lnTo>
                    <a:pt x="59" y="258"/>
                  </a:lnTo>
                  <a:lnTo>
                    <a:pt x="56" y="278"/>
                  </a:lnTo>
                  <a:lnTo>
                    <a:pt x="50" y="301"/>
                  </a:lnTo>
                  <a:lnTo>
                    <a:pt x="52" y="307"/>
                  </a:lnTo>
                  <a:lnTo>
                    <a:pt x="59" y="307"/>
                  </a:lnTo>
                  <a:lnTo>
                    <a:pt x="45" y="315"/>
                  </a:lnTo>
                  <a:lnTo>
                    <a:pt x="43" y="320"/>
                  </a:lnTo>
                  <a:lnTo>
                    <a:pt x="37" y="323"/>
                  </a:lnTo>
                  <a:lnTo>
                    <a:pt x="32" y="339"/>
                  </a:lnTo>
                  <a:lnTo>
                    <a:pt x="24" y="352"/>
                  </a:lnTo>
                  <a:lnTo>
                    <a:pt x="40" y="353"/>
                  </a:lnTo>
                  <a:lnTo>
                    <a:pt x="50" y="350"/>
                  </a:lnTo>
                  <a:lnTo>
                    <a:pt x="48" y="355"/>
                  </a:lnTo>
                  <a:lnTo>
                    <a:pt x="45" y="361"/>
                  </a:lnTo>
                  <a:lnTo>
                    <a:pt x="40" y="361"/>
                  </a:lnTo>
                  <a:lnTo>
                    <a:pt x="41" y="368"/>
                  </a:lnTo>
                  <a:lnTo>
                    <a:pt x="47" y="366"/>
                  </a:lnTo>
                  <a:lnTo>
                    <a:pt x="51" y="376"/>
                  </a:lnTo>
                  <a:lnTo>
                    <a:pt x="53" y="377"/>
                  </a:lnTo>
                  <a:lnTo>
                    <a:pt x="61" y="377"/>
                  </a:lnTo>
                  <a:lnTo>
                    <a:pt x="64" y="372"/>
                  </a:lnTo>
                  <a:lnTo>
                    <a:pt x="71" y="370"/>
                  </a:lnTo>
                  <a:lnTo>
                    <a:pt x="74" y="360"/>
                  </a:lnTo>
                  <a:lnTo>
                    <a:pt x="72" y="355"/>
                  </a:lnTo>
                  <a:lnTo>
                    <a:pt x="78" y="356"/>
                  </a:lnTo>
                  <a:lnTo>
                    <a:pt x="84" y="365"/>
                  </a:lnTo>
                  <a:lnTo>
                    <a:pt x="91" y="368"/>
                  </a:lnTo>
                  <a:lnTo>
                    <a:pt x="99" y="374"/>
                  </a:lnTo>
                  <a:lnTo>
                    <a:pt x="102" y="369"/>
                  </a:lnTo>
                  <a:lnTo>
                    <a:pt x="113" y="365"/>
                  </a:lnTo>
                  <a:lnTo>
                    <a:pt x="121" y="374"/>
                  </a:lnTo>
                  <a:lnTo>
                    <a:pt x="134" y="363"/>
                  </a:lnTo>
                  <a:lnTo>
                    <a:pt x="156" y="340"/>
                  </a:lnTo>
                  <a:lnTo>
                    <a:pt x="174" y="339"/>
                  </a:lnTo>
                  <a:lnTo>
                    <a:pt x="191" y="340"/>
                  </a:lnTo>
                  <a:lnTo>
                    <a:pt x="206" y="334"/>
                  </a:lnTo>
                  <a:lnTo>
                    <a:pt x="223" y="3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grpSp>
          <p:nvGrpSpPr>
            <p:cNvPr id="50" name="Group 116"/>
            <p:cNvGrpSpPr>
              <a:grpSpLocks noChangeAspect="1"/>
            </p:cNvGrpSpPr>
            <p:nvPr/>
          </p:nvGrpSpPr>
          <p:grpSpPr bwMode="gray">
            <a:xfrm>
              <a:off x="6237522" y="1594009"/>
              <a:ext cx="2978333" cy="1802010"/>
              <a:chOff x="2730" y="960"/>
              <a:chExt cx="1873" cy="1032"/>
            </a:xfrm>
            <a:grpFill/>
          </p:grpSpPr>
          <p:grpSp>
            <p:nvGrpSpPr>
              <p:cNvPr id="325" name="Group 117"/>
              <p:cNvGrpSpPr>
                <a:grpSpLocks noChangeAspect="1"/>
              </p:cNvGrpSpPr>
              <p:nvPr/>
            </p:nvGrpSpPr>
            <p:grpSpPr bwMode="gray">
              <a:xfrm>
                <a:off x="3044" y="960"/>
                <a:ext cx="1473" cy="481"/>
                <a:chOff x="3044" y="960"/>
                <a:chExt cx="1473" cy="481"/>
              </a:xfrm>
              <a:grpFill/>
            </p:grpSpPr>
            <p:sp>
              <p:nvSpPr>
                <p:cNvPr id="329" name="Freeform 118"/>
                <p:cNvSpPr>
                  <a:spLocks noChangeAspect="1"/>
                </p:cNvSpPr>
                <p:nvPr/>
              </p:nvSpPr>
              <p:spPr bwMode="gray">
                <a:xfrm>
                  <a:off x="3044" y="1416"/>
                  <a:ext cx="23" cy="25"/>
                </a:xfrm>
                <a:custGeom>
                  <a:avLst/>
                  <a:gdLst/>
                  <a:ahLst/>
                  <a:cxnLst>
                    <a:cxn ang="0">
                      <a:pos x="27" y="8"/>
                    </a:cxn>
                    <a:cxn ang="0">
                      <a:pos x="29" y="5"/>
                    </a:cxn>
                    <a:cxn ang="0">
                      <a:pos x="34" y="3"/>
                    </a:cxn>
                    <a:cxn ang="0">
                      <a:pos x="38" y="7"/>
                    </a:cxn>
                    <a:cxn ang="0">
                      <a:pos x="49" y="0"/>
                    </a:cxn>
                    <a:cxn ang="0">
                      <a:pos x="54" y="0"/>
                    </a:cxn>
                    <a:cxn ang="0">
                      <a:pos x="94" y="37"/>
                    </a:cxn>
                    <a:cxn ang="0">
                      <a:pos x="100" y="51"/>
                    </a:cxn>
                    <a:cxn ang="0">
                      <a:pos x="105" y="53"/>
                    </a:cxn>
                    <a:cxn ang="0">
                      <a:pos x="105" y="34"/>
                    </a:cxn>
                    <a:cxn ang="0">
                      <a:pos x="109" y="49"/>
                    </a:cxn>
                    <a:cxn ang="0">
                      <a:pos x="116" y="65"/>
                    </a:cxn>
                    <a:cxn ang="0">
                      <a:pos x="115" y="78"/>
                    </a:cxn>
                    <a:cxn ang="0">
                      <a:pos x="109" y="64"/>
                    </a:cxn>
                    <a:cxn ang="0">
                      <a:pos x="97" y="76"/>
                    </a:cxn>
                    <a:cxn ang="0">
                      <a:pos x="77" y="105"/>
                    </a:cxn>
                    <a:cxn ang="0">
                      <a:pos x="63" y="113"/>
                    </a:cxn>
                    <a:cxn ang="0">
                      <a:pos x="55" y="113"/>
                    </a:cxn>
                    <a:cxn ang="0">
                      <a:pos x="45" y="124"/>
                    </a:cxn>
                    <a:cxn ang="0">
                      <a:pos x="35" y="125"/>
                    </a:cxn>
                    <a:cxn ang="0">
                      <a:pos x="30" y="118"/>
                    </a:cxn>
                    <a:cxn ang="0">
                      <a:pos x="28" y="126"/>
                    </a:cxn>
                    <a:cxn ang="0">
                      <a:pos x="19" y="118"/>
                    </a:cxn>
                    <a:cxn ang="0">
                      <a:pos x="12" y="105"/>
                    </a:cxn>
                    <a:cxn ang="0">
                      <a:pos x="6" y="105"/>
                    </a:cxn>
                    <a:cxn ang="0">
                      <a:pos x="4" y="118"/>
                    </a:cxn>
                    <a:cxn ang="0">
                      <a:pos x="8" y="125"/>
                    </a:cxn>
                    <a:cxn ang="0">
                      <a:pos x="2" y="115"/>
                    </a:cxn>
                    <a:cxn ang="0">
                      <a:pos x="0" y="104"/>
                    </a:cxn>
                    <a:cxn ang="0">
                      <a:pos x="2" y="91"/>
                    </a:cxn>
                    <a:cxn ang="0">
                      <a:pos x="3" y="56"/>
                    </a:cxn>
                    <a:cxn ang="0">
                      <a:pos x="7" y="41"/>
                    </a:cxn>
                    <a:cxn ang="0">
                      <a:pos x="19" y="17"/>
                    </a:cxn>
                    <a:cxn ang="0">
                      <a:pos x="27" y="8"/>
                    </a:cxn>
                  </a:cxnLst>
                  <a:rect l="0" t="0" r="r" b="b"/>
                  <a:pathLst>
                    <a:path w="116" h="126">
                      <a:moveTo>
                        <a:pt x="27" y="8"/>
                      </a:moveTo>
                      <a:lnTo>
                        <a:pt x="29" y="5"/>
                      </a:lnTo>
                      <a:lnTo>
                        <a:pt x="34" y="3"/>
                      </a:lnTo>
                      <a:lnTo>
                        <a:pt x="38" y="7"/>
                      </a:lnTo>
                      <a:lnTo>
                        <a:pt x="49" y="0"/>
                      </a:lnTo>
                      <a:lnTo>
                        <a:pt x="54" y="0"/>
                      </a:lnTo>
                      <a:lnTo>
                        <a:pt x="94" y="37"/>
                      </a:lnTo>
                      <a:lnTo>
                        <a:pt x="100" y="51"/>
                      </a:lnTo>
                      <a:lnTo>
                        <a:pt x="105" y="53"/>
                      </a:lnTo>
                      <a:lnTo>
                        <a:pt x="105" y="34"/>
                      </a:lnTo>
                      <a:lnTo>
                        <a:pt x="109" y="49"/>
                      </a:lnTo>
                      <a:lnTo>
                        <a:pt x="116" y="65"/>
                      </a:lnTo>
                      <a:lnTo>
                        <a:pt x="115" y="78"/>
                      </a:lnTo>
                      <a:lnTo>
                        <a:pt x="109" y="64"/>
                      </a:lnTo>
                      <a:lnTo>
                        <a:pt x="97" y="76"/>
                      </a:lnTo>
                      <a:lnTo>
                        <a:pt x="77" y="105"/>
                      </a:lnTo>
                      <a:lnTo>
                        <a:pt x="63" y="113"/>
                      </a:lnTo>
                      <a:lnTo>
                        <a:pt x="55" y="113"/>
                      </a:lnTo>
                      <a:lnTo>
                        <a:pt x="45" y="124"/>
                      </a:lnTo>
                      <a:lnTo>
                        <a:pt x="35" y="125"/>
                      </a:lnTo>
                      <a:lnTo>
                        <a:pt x="30" y="118"/>
                      </a:lnTo>
                      <a:lnTo>
                        <a:pt x="28" y="126"/>
                      </a:lnTo>
                      <a:lnTo>
                        <a:pt x="19" y="118"/>
                      </a:lnTo>
                      <a:lnTo>
                        <a:pt x="12" y="105"/>
                      </a:lnTo>
                      <a:lnTo>
                        <a:pt x="6" y="105"/>
                      </a:lnTo>
                      <a:lnTo>
                        <a:pt x="4" y="118"/>
                      </a:lnTo>
                      <a:lnTo>
                        <a:pt x="8" y="125"/>
                      </a:lnTo>
                      <a:lnTo>
                        <a:pt x="2" y="115"/>
                      </a:lnTo>
                      <a:lnTo>
                        <a:pt x="0" y="104"/>
                      </a:lnTo>
                      <a:lnTo>
                        <a:pt x="2" y="91"/>
                      </a:lnTo>
                      <a:lnTo>
                        <a:pt x="3" y="56"/>
                      </a:lnTo>
                      <a:lnTo>
                        <a:pt x="7" y="41"/>
                      </a:lnTo>
                      <a:lnTo>
                        <a:pt x="19" y="17"/>
                      </a:lnTo>
                      <a:lnTo>
                        <a:pt x="27" y="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30" name="Freeform 119"/>
                <p:cNvSpPr>
                  <a:spLocks noChangeAspect="1"/>
                </p:cNvSpPr>
                <p:nvPr/>
              </p:nvSpPr>
              <p:spPr bwMode="gray">
                <a:xfrm>
                  <a:off x="3605" y="995"/>
                  <a:ext cx="67" cy="84"/>
                </a:xfrm>
                <a:custGeom>
                  <a:avLst/>
                  <a:gdLst/>
                  <a:ahLst/>
                  <a:cxnLst>
                    <a:cxn ang="0">
                      <a:pos x="42" y="277"/>
                    </a:cxn>
                    <a:cxn ang="0">
                      <a:pos x="52" y="238"/>
                    </a:cxn>
                    <a:cxn ang="0">
                      <a:pos x="66" y="185"/>
                    </a:cxn>
                    <a:cxn ang="0">
                      <a:pos x="96" y="201"/>
                    </a:cxn>
                    <a:cxn ang="0">
                      <a:pos x="80" y="149"/>
                    </a:cxn>
                    <a:cxn ang="0">
                      <a:pos x="92" y="119"/>
                    </a:cxn>
                    <a:cxn ang="0">
                      <a:pos x="93" y="115"/>
                    </a:cxn>
                    <a:cxn ang="0">
                      <a:pos x="100" y="94"/>
                    </a:cxn>
                    <a:cxn ang="0">
                      <a:pos x="105" y="88"/>
                    </a:cxn>
                    <a:cxn ang="0">
                      <a:pos x="124" y="52"/>
                    </a:cxn>
                    <a:cxn ang="0">
                      <a:pos x="124" y="29"/>
                    </a:cxn>
                    <a:cxn ang="0">
                      <a:pos x="136" y="39"/>
                    </a:cxn>
                    <a:cxn ang="0">
                      <a:pos x="155" y="62"/>
                    </a:cxn>
                    <a:cxn ang="0">
                      <a:pos x="155" y="16"/>
                    </a:cxn>
                    <a:cxn ang="0">
                      <a:pos x="194" y="12"/>
                    </a:cxn>
                    <a:cxn ang="0">
                      <a:pos x="195" y="29"/>
                    </a:cxn>
                    <a:cxn ang="0">
                      <a:pos x="208" y="30"/>
                    </a:cxn>
                    <a:cxn ang="0">
                      <a:pos x="195" y="73"/>
                    </a:cxn>
                    <a:cxn ang="0">
                      <a:pos x="194" y="108"/>
                    </a:cxn>
                    <a:cxn ang="0">
                      <a:pos x="209" y="103"/>
                    </a:cxn>
                    <a:cxn ang="0">
                      <a:pos x="219" y="66"/>
                    </a:cxn>
                    <a:cxn ang="0">
                      <a:pos x="233" y="79"/>
                    </a:cxn>
                    <a:cxn ang="0">
                      <a:pos x="238" y="99"/>
                    </a:cxn>
                    <a:cxn ang="0">
                      <a:pos x="249" y="72"/>
                    </a:cxn>
                    <a:cxn ang="0">
                      <a:pos x="262" y="95"/>
                    </a:cxn>
                    <a:cxn ang="0">
                      <a:pos x="261" y="119"/>
                    </a:cxn>
                    <a:cxn ang="0">
                      <a:pos x="273" y="131"/>
                    </a:cxn>
                    <a:cxn ang="0">
                      <a:pos x="279" y="110"/>
                    </a:cxn>
                    <a:cxn ang="0">
                      <a:pos x="292" y="163"/>
                    </a:cxn>
                    <a:cxn ang="0">
                      <a:pos x="334" y="195"/>
                    </a:cxn>
                    <a:cxn ang="0">
                      <a:pos x="337" y="234"/>
                    </a:cxn>
                    <a:cxn ang="0">
                      <a:pos x="337" y="259"/>
                    </a:cxn>
                    <a:cxn ang="0">
                      <a:pos x="318" y="312"/>
                    </a:cxn>
                    <a:cxn ang="0">
                      <a:pos x="301" y="317"/>
                    </a:cxn>
                    <a:cxn ang="0">
                      <a:pos x="242" y="344"/>
                    </a:cxn>
                    <a:cxn ang="0">
                      <a:pos x="216" y="347"/>
                    </a:cxn>
                    <a:cxn ang="0">
                      <a:pos x="200" y="346"/>
                    </a:cxn>
                    <a:cxn ang="0">
                      <a:pos x="190" y="360"/>
                    </a:cxn>
                    <a:cxn ang="0">
                      <a:pos x="149" y="352"/>
                    </a:cxn>
                    <a:cxn ang="0">
                      <a:pos x="133" y="352"/>
                    </a:cxn>
                    <a:cxn ang="0">
                      <a:pos x="92" y="368"/>
                    </a:cxn>
                    <a:cxn ang="0">
                      <a:pos x="77" y="385"/>
                    </a:cxn>
                    <a:cxn ang="0">
                      <a:pos x="41" y="409"/>
                    </a:cxn>
                    <a:cxn ang="0">
                      <a:pos x="6" y="416"/>
                    </a:cxn>
                    <a:cxn ang="0">
                      <a:pos x="12" y="398"/>
                    </a:cxn>
                    <a:cxn ang="0">
                      <a:pos x="0" y="393"/>
                    </a:cxn>
                    <a:cxn ang="0">
                      <a:pos x="9" y="355"/>
                    </a:cxn>
                    <a:cxn ang="0">
                      <a:pos x="33" y="297"/>
                    </a:cxn>
                  </a:cxnLst>
                  <a:rect l="0" t="0" r="r" b="b"/>
                  <a:pathLst>
                    <a:path w="337" h="418">
                      <a:moveTo>
                        <a:pt x="33" y="286"/>
                      </a:moveTo>
                      <a:lnTo>
                        <a:pt x="42" y="277"/>
                      </a:lnTo>
                      <a:lnTo>
                        <a:pt x="42" y="269"/>
                      </a:lnTo>
                      <a:lnTo>
                        <a:pt x="52" y="238"/>
                      </a:lnTo>
                      <a:lnTo>
                        <a:pt x="49" y="228"/>
                      </a:lnTo>
                      <a:lnTo>
                        <a:pt x="66" y="185"/>
                      </a:lnTo>
                      <a:lnTo>
                        <a:pt x="85" y="202"/>
                      </a:lnTo>
                      <a:lnTo>
                        <a:pt x="96" y="201"/>
                      </a:lnTo>
                      <a:lnTo>
                        <a:pt x="80" y="183"/>
                      </a:lnTo>
                      <a:lnTo>
                        <a:pt x="80" y="149"/>
                      </a:lnTo>
                      <a:lnTo>
                        <a:pt x="81" y="131"/>
                      </a:lnTo>
                      <a:lnTo>
                        <a:pt x="92" y="119"/>
                      </a:lnTo>
                      <a:lnTo>
                        <a:pt x="100" y="118"/>
                      </a:lnTo>
                      <a:lnTo>
                        <a:pt x="93" y="115"/>
                      </a:lnTo>
                      <a:lnTo>
                        <a:pt x="93" y="103"/>
                      </a:lnTo>
                      <a:lnTo>
                        <a:pt x="100" y="94"/>
                      </a:lnTo>
                      <a:lnTo>
                        <a:pt x="109" y="92"/>
                      </a:lnTo>
                      <a:lnTo>
                        <a:pt x="105" y="88"/>
                      </a:lnTo>
                      <a:lnTo>
                        <a:pt x="105" y="73"/>
                      </a:lnTo>
                      <a:lnTo>
                        <a:pt x="124" y="52"/>
                      </a:lnTo>
                      <a:lnTo>
                        <a:pt x="125" y="44"/>
                      </a:lnTo>
                      <a:lnTo>
                        <a:pt x="124" y="29"/>
                      </a:lnTo>
                      <a:lnTo>
                        <a:pt x="130" y="24"/>
                      </a:lnTo>
                      <a:lnTo>
                        <a:pt x="136" y="39"/>
                      </a:lnTo>
                      <a:lnTo>
                        <a:pt x="139" y="56"/>
                      </a:lnTo>
                      <a:lnTo>
                        <a:pt x="155" y="62"/>
                      </a:lnTo>
                      <a:lnTo>
                        <a:pt x="157" y="48"/>
                      </a:lnTo>
                      <a:lnTo>
                        <a:pt x="155" y="16"/>
                      </a:lnTo>
                      <a:lnTo>
                        <a:pt x="166" y="0"/>
                      </a:lnTo>
                      <a:lnTo>
                        <a:pt x="194" y="12"/>
                      </a:lnTo>
                      <a:lnTo>
                        <a:pt x="194" y="36"/>
                      </a:lnTo>
                      <a:lnTo>
                        <a:pt x="195" y="29"/>
                      </a:lnTo>
                      <a:lnTo>
                        <a:pt x="200" y="23"/>
                      </a:lnTo>
                      <a:lnTo>
                        <a:pt x="208" y="30"/>
                      </a:lnTo>
                      <a:lnTo>
                        <a:pt x="208" y="43"/>
                      </a:lnTo>
                      <a:lnTo>
                        <a:pt x="195" y="73"/>
                      </a:lnTo>
                      <a:lnTo>
                        <a:pt x="197" y="94"/>
                      </a:lnTo>
                      <a:lnTo>
                        <a:pt x="194" y="108"/>
                      </a:lnTo>
                      <a:lnTo>
                        <a:pt x="194" y="122"/>
                      </a:lnTo>
                      <a:lnTo>
                        <a:pt x="209" y="103"/>
                      </a:lnTo>
                      <a:lnTo>
                        <a:pt x="219" y="84"/>
                      </a:lnTo>
                      <a:lnTo>
                        <a:pt x="219" y="66"/>
                      </a:lnTo>
                      <a:lnTo>
                        <a:pt x="224" y="65"/>
                      </a:lnTo>
                      <a:lnTo>
                        <a:pt x="233" y="79"/>
                      </a:lnTo>
                      <a:lnTo>
                        <a:pt x="236" y="94"/>
                      </a:lnTo>
                      <a:lnTo>
                        <a:pt x="238" y="99"/>
                      </a:lnTo>
                      <a:lnTo>
                        <a:pt x="245" y="88"/>
                      </a:lnTo>
                      <a:lnTo>
                        <a:pt x="249" y="72"/>
                      </a:lnTo>
                      <a:lnTo>
                        <a:pt x="258" y="77"/>
                      </a:lnTo>
                      <a:lnTo>
                        <a:pt x="262" y="95"/>
                      </a:lnTo>
                      <a:lnTo>
                        <a:pt x="259" y="110"/>
                      </a:lnTo>
                      <a:lnTo>
                        <a:pt x="261" y="119"/>
                      </a:lnTo>
                      <a:lnTo>
                        <a:pt x="267" y="131"/>
                      </a:lnTo>
                      <a:lnTo>
                        <a:pt x="273" y="131"/>
                      </a:lnTo>
                      <a:lnTo>
                        <a:pt x="272" y="118"/>
                      </a:lnTo>
                      <a:lnTo>
                        <a:pt x="279" y="110"/>
                      </a:lnTo>
                      <a:lnTo>
                        <a:pt x="284" y="137"/>
                      </a:lnTo>
                      <a:lnTo>
                        <a:pt x="292" y="163"/>
                      </a:lnTo>
                      <a:lnTo>
                        <a:pt x="326" y="184"/>
                      </a:lnTo>
                      <a:lnTo>
                        <a:pt x="334" y="195"/>
                      </a:lnTo>
                      <a:lnTo>
                        <a:pt x="337" y="217"/>
                      </a:lnTo>
                      <a:lnTo>
                        <a:pt x="337" y="234"/>
                      </a:lnTo>
                      <a:lnTo>
                        <a:pt x="333" y="245"/>
                      </a:lnTo>
                      <a:lnTo>
                        <a:pt x="337" y="259"/>
                      </a:lnTo>
                      <a:lnTo>
                        <a:pt x="337" y="276"/>
                      </a:lnTo>
                      <a:lnTo>
                        <a:pt x="318" y="312"/>
                      </a:lnTo>
                      <a:lnTo>
                        <a:pt x="307" y="323"/>
                      </a:lnTo>
                      <a:lnTo>
                        <a:pt x="301" y="317"/>
                      </a:lnTo>
                      <a:lnTo>
                        <a:pt x="280" y="321"/>
                      </a:lnTo>
                      <a:lnTo>
                        <a:pt x="242" y="344"/>
                      </a:lnTo>
                      <a:lnTo>
                        <a:pt x="226" y="341"/>
                      </a:lnTo>
                      <a:lnTo>
                        <a:pt x="216" y="347"/>
                      </a:lnTo>
                      <a:lnTo>
                        <a:pt x="205" y="344"/>
                      </a:lnTo>
                      <a:lnTo>
                        <a:pt x="200" y="346"/>
                      </a:lnTo>
                      <a:lnTo>
                        <a:pt x="199" y="355"/>
                      </a:lnTo>
                      <a:lnTo>
                        <a:pt x="190" y="360"/>
                      </a:lnTo>
                      <a:lnTo>
                        <a:pt x="176" y="342"/>
                      </a:lnTo>
                      <a:lnTo>
                        <a:pt x="149" y="352"/>
                      </a:lnTo>
                      <a:lnTo>
                        <a:pt x="143" y="346"/>
                      </a:lnTo>
                      <a:lnTo>
                        <a:pt x="133" y="352"/>
                      </a:lnTo>
                      <a:lnTo>
                        <a:pt x="98" y="350"/>
                      </a:lnTo>
                      <a:lnTo>
                        <a:pt x="92" y="368"/>
                      </a:lnTo>
                      <a:lnTo>
                        <a:pt x="86" y="371"/>
                      </a:lnTo>
                      <a:lnTo>
                        <a:pt x="77" y="385"/>
                      </a:lnTo>
                      <a:lnTo>
                        <a:pt x="53" y="396"/>
                      </a:lnTo>
                      <a:lnTo>
                        <a:pt x="41" y="409"/>
                      </a:lnTo>
                      <a:lnTo>
                        <a:pt x="33" y="418"/>
                      </a:lnTo>
                      <a:lnTo>
                        <a:pt x="6" y="416"/>
                      </a:lnTo>
                      <a:lnTo>
                        <a:pt x="7" y="409"/>
                      </a:lnTo>
                      <a:lnTo>
                        <a:pt x="12" y="398"/>
                      </a:lnTo>
                      <a:lnTo>
                        <a:pt x="11" y="387"/>
                      </a:lnTo>
                      <a:lnTo>
                        <a:pt x="0" y="393"/>
                      </a:lnTo>
                      <a:lnTo>
                        <a:pt x="4" y="366"/>
                      </a:lnTo>
                      <a:lnTo>
                        <a:pt x="9" y="355"/>
                      </a:lnTo>
                      <a:lnTo>
                        <a:pt x="38" y="302"/>
                      </a:lnTo>
                      <a:lnTo>
                        <a:pt x="33" y="297"/>
                      </a:lnTo>
                      <a:lnTo>
                        <a:pt x="33" y="28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31" name="Freeform 120"/>
                <p:cNvSpPr>
                  <a:spLocks noChangeAspect="1"/>
                </p:cNvSpPr>
                <p:nvPr/>
              </p:nvSpPr>
              <p:spPr bwMode="gray">
                <a:xfrm>
                  <a:off x="4015" y="1163"/>
                  <a:ext cx="73" cy="67"/>
                </a:xfrm>
                <a:custGeom>
                  <a:avLst/>
                  <a:gdLst/>
                  <a:ahLst/>
                  <a:cxnLst>
                    <a:cxn ang="0">
                      <a:pos x="179" y="89"/>
                    </a:cxn>
                    <a:cxn ang="0">
                      <a:pos x="185" y="89"/>
                    </a:cxn>
                    <a:cxn ang="0">
                      <a:pos x="200" y="103"/>
                    </a:cxn>
                    <a:cxn ang="0">
                      <a:pos x="194" y="120"/>
                    </a:cxn>
                    <a:cxn ang="0">
                      <a:pos x="195" y="127"/>
                    </a:cxn>
                    <a:cxn ang="0">
                      <a:pos x="205" y="132"/>
                    </a:cxn>
                    <a:cxn ang="0">
                      <a:pos x="216" y="133"/>
                    </a:cxn>
                    <a:cxn ang="0">
                      <a:pos x="228" y="133"/>
                    </a:cxn>
                    <a:cxn ang="0">
                      <a:pos x="233" y="103"/>
                    </a:cxn>
                    <a:cxn ang="0">
                      <a:pos x="225" y="60"/>
                    </a:cxn>
                    <a:cxn ang="0">
                      <a:pos x="235" y="34"/>
                    </a:cxn>
                    <a:cxn ang="0">
                      <a:pos x="268" y="49"/>
                    </a:cxn>
                    <a:cxn ang="0">
                      <a:pos x="290" y="89"/>
                    </a:cxn>
                    <a:cxn ang="0">
                      <a:pos x="307" y="109"/>
                    </a:cxn>
                    <a:cxn ang="0">
                      <a:pos x="314" y="127"/>
                    </a:cxn>
                    <a:cxn ang="0">
                      <a:pos x="309" y="151"/>
                    </a:cxn>
                    <a:cxn ang="0">
                      <a:pos x="300" y="170"/>
                    </a:cxn>
                    <a:cxn ang="0">
                      <a:pos x="296" y="191"/>
                    </a:cxn>
                    <a:cxn ang="0">
                      <a:pos x="309" y="234"/>
                    </a:cxn>
                    <a:cxn ang="0">
                      <a:pos x="344" y="259"/>
                    </a:cxn>
                    <a:cxn ang="0">
                      <a:pos x="365" y="280"/>
                    </a:cxn>
                    <a:cxn ang="0">
                      <a:pos x="343" y="289"/>
                    </a:cxn>
                    <a:cxn ang="0">
                      <a:pos x="314" y="287"/>
                    </a:cxn>
                    <a:cxn ang="0">
                      <a:pos x="305" y="302"/>
                    </a:cxn>
                    <a:cxn ang="0">
                      <a:pos x="287" y="272"/>
                    </a:cxn>
                    <a:cxn ang="0">
                      <a:pos x="279" y="253"/>
                    </a:cxn>
                    <a:cxn ang="0">
                      <a:pos x="238" y="280"/>
                    </a:cxn>
                    <a:cxn ang="0">
                      <a:pos x="211" y="301"/>
                    </a:cxn>
                    <a:cxn ang="0">
                      <a:pos x="174" y="310"/>
                    </a:cxn>
                    <a:cxn ang="0">
                      <a:pos x="172" y="303"/>
                    </a:cxn>
                    <a:cxn ang="0">
                      <a:pos x="169" y="289"/>
                    </a:cxn>
                    <a:cxn ang="0">
                      <a:pos x="162" y="256"/>
                    </a:cxn>
                    <a:cxn ang="0">
                      <a:pos x="146" y="288"/>
                    </a:cxn>
                    <a:cxn ang="0">
                      <a:pos x="150" y="298"/>
                    </a:cxn>
                    <a:cxn ang="0">
                      <a:pos x="140" y="331"/>
                    </a:cxn>
                    <a:cxn ang="0">
                      <a:pos x="113" y="324"/>
                    </a:cxn>
                    <a:cxn ang="0">
                      <a:pos x="70" y="307"/>
                    </a:cxn>
                    <a:cxn ang="0">
                      <a:pos x="54" y="260"/>
                    </a:cxn>
                    <a:cxn ang="0">
                      <a:pos x="15" y="242"/>
                    </a:cxn>
                    <a:cxn ang="0">
                      <a:pos x="0" y="196"/>
                    </a:cxn>
                    <a:cxn ang="0">
                      <a:pos x="20" y="196"/>
                    </a:cxn>
                    <a:cxn ang="0">
                      <a:pos x="27" y="179"/>
                    </a:cxn>
                    <a:cxn ang="0">
                      <a:pos x="15" y="176"/>
                    </a:cxn>
                    <a:cxn ang="0">
                      <a:pos x="26" y="173"/>
                    </a:cxn>
                    <a:cxn ang="0">
                      <a:pos x="13" y="152"/>
                    </a:cxn>
                    <a:cxn ang="0">
                      <a:pos x="8" y="140"/>
                    </a:cxn>
                    <a:cxn ang="0">
                      <a:pos x="21" y="143"/>
                    </a:cxn>
                    <a:cxn ang="0">
                      <a:pos x="17" y="122"/>
                    </a:cxn>
                    <a:cxn ang="0">
                      <a:pos x="26" y="99"/>
                    </a:cxn>
                    <a:cxn ang="0">
                      <a:pos x="44" y="95"/>
                    </a:cxn>
                    <a:cxn ang="0">
                      <a:pos x="33" y="88"/>
                    </a:cxn>
                    <a:cxn ang="0">
                      <a:pos x="26" y="67"/>
                    </a:cxn>
                    <a:cxn ang="0">
                      <a:pos x="36" y="51"/>
                    </a:cxn>
                    <a:cxn ang="0">
                      <a:pos x="67" y="43"/>
                    </a:cxn>
                    <a:cxn ang="0">
                      <a:pos x="80" y="22"/>
                    </a:cxn>
                    <a:cxn ang="0">
                      <a:pos x="119" y="0"/>
                    </a:cxn>
                    <a:cxn ang="0">
                      <a:pos x="117" y="13"/>
                    </a:cxn>
                    <a:cxn ang="0">
                      <a:pos x="146" y="54"/>
                    </a:cxn>
                    <a:cxn ang="0">
                      <a:pos x="160" y="54"/>
                    </a:cxn>
                    <a:cxn ang="0">
                      <a:pos x="169" y="68"/>
                    </a:cxn>
                    <a:cxn ang="0">
                      <a:pos x="168" y="87"/>
                    </a:cxn>
                  </a:cxnLst>
                  <a:rect l="0" t="0" r="r" b="b"/>
                  <a:pathLst>
                    <a:path w="365" h="334">
                      <a:moveTo>
                        <a:pt x="178" y="86"/>
                      </a:moveTo>
                      <a:lnTo>
                        <a:pt x="179" y="89"/>
                      </a:lnTo>
                      <a:lnTo>
                        <a:pt x="180" y="95"/>
                      </a:lnTo>
                      <a:lnTo>
                        <a:pt x="185" y="89"/>
                      </a:lnTo>
                      <a:lnTo>
                        <a:pt x="201" y="94"/>
                      </a:lnTo>
                      <a:lnTo>
                        <a:pt x="200" y="103"/>
                      </a:lnTo>
                      <a:lnTo>
                        <a:pt x="201" y="106"/>
                      </a:lnTo>
                      <a:lnTo>
                        <a:pt x="194" y="120"/>
                      </a:lnTo>
                      <a:lnTo>
                        <a:pt x="196" y="121"/>
                      </a:lnTo>
                      <a:lnTo>
                        <a:pt x="195" y="127"/>
                      </a:lnTo>
                      <a:lnTo>
                        <a:pt x="198" y="135"/>
                      </a:lnTo>
                      <a:lnTo>
                        <a:pt x="205" y="132"/>
                      </a:lnTo>
                      <a:lnTo>
                        <a:pt x="210" y="138"/>
                      </a:lnTo>
                      <a:lnTo>
                        <a:pt x="216" y="133"/>
                      </a:lnTo>
                      <a:lnTo>
                        <a:pt x="226" y="137"/>
                      </a:lnTo>
                      <a:lnTo>
                        <a:pt x="228" y="133"/>
                      </a:lnTo>
                      <a:lnTo>
                        <a:pt x="228" y="109"/>
                      </a:lnTo>
                      <a:lnTo>
                        <a:pt x="233" y="103"/>
                      </a:lnTo>
                      <a:lnTo>
                        <a:pt x="226" y="92"/>
                      </a:lnTo>
                      <a:lnTo>
                        <a:pt x="225" y="60"/>
                      </a:lnTo>
                      <a:lnTo>
                        <a:pt x="225" y="47"/>
                      </a:lnTo>
                      <a:lnTo>
                        <a:pt x="235" y="34"/>
                      </a:lnTo>
                      <a:lnTo>
                        <a:pt x="242" y="30"/>
                      </a:lnTo>
                      <a:lnTo>
                        <a:pt x="268" y="49"/>
                      </a:lnTo>
                      <a:lnTo>
                        <a:pt x="287" y="78"/>
                      </a:lnTo>
                      <a:lnTo>
                        <a:pt x="290" y="89"/>
                      </a:lnTo>
                      <a:lnTo>
                        <a:pt x="297" y="109"/>
                      </a:lnTo>
                      <a:lnTo>
                        <a:pt x="307" y="109"/>
                      </a:lnTo>
                      <a:lnTo>
                        <a:pt x="314" y="115"/>
                      </a:lnTo>
                      <a:lnTo>
                        <a:pt x="314" y="127"/>
                      </a:lnTo>
                      <a:lnTo>
                        <a:pt x="311" y="138"/>
                      </a:lnTo>
                      <a:lnTo>
                        <a:pt x="309" y="151"/>
                      </a:lnTo>
                      <a:lnTo>
                        <a:pt x="305" y="163"/>
                      </a:lnTo>
                      <a:lnTo>
                        <a:pt x="300" y="170"/>
                      </a:lnTo>
                      <a:lnTo>
                        <a:pt x="296" y="181"/>
                      </a:lnTo>
                      <a:lnTo>
                        <a:pt x="296" y="191"/>
                      </a:lnTo>
                      <a:lnTo>
                        <a:pt x="298" y="201"/>
                      </a:lnTo>
                      <a:lnTo>
                        <a:pt x="309" y="234"/>
                      </a:lnTo>
                      <a:lnTo>
                        <a:pt x="323" y="254"/>
                      </a:lnTo>
                      <a:lnTo>
                        <a:pt x="344" y="259"/>
                      </a:lnTo>
                      <a:lnTo>
                        <a:pt x="361" y="272"/>
                      </a:lnTo>
                      <a:lnTo>
                        <a:pt x="365" y="280"/>
                      </a:lnTo>
                      <a:lnTo>
                        <a:pt x="364" y="283"/>
                      </a:lnTo>
                      <a:lnTo>
                        <a:pt x="343" y="289"/>
                      </a:lnTo>
                      <a:lnTo>
                        <a:pt x="317" y="277"/>
                      </a:lnTo>
                      <a:lnTo>
                        <a:pt x="314" y="287"/>
                      </a:lnTo>
                      <a:lnTo>
                        <a:pt x="314" y="296"/>
                      </a:lnTo>
                      <a:lnTo>
                        <a:pt x="305" y="302"/>
                      </a:lnTo>
                      <a:lnTo>
                        <a:pt x="281" y="273"/>
                      </a:lnTo>
                      <a:lnTo>
                        <a:pt x="287" y="272"/>
                      </a:lnTo>
                      <a:lnTo>
                        <a:pt x="289" y="261"/>
                      </a:lnTo>
                      <a:lnTo>
                        <a:pt x="279" y="253"/>
                      </a:lnTo>
                      <a:lnTo>
                        <a:pt x="265" y="272"/>
                      </a:lnTo>
                      <a:lnTo>
                        <a:pt x="238" y="280"/>
                      </a:lnTo>
                      <a:lnTo>
                        <a:pt x="225" y="287"/>
                      </a:lnTo>
                      <a:lnTo>
                        <a:pt x="211" y="301"/>
                      </a:lnTo>
                      <a:lnTo>
                        <a:pt x="183" y="312"/>
                      </a:lnTo>
                      <a:lnTo>
                        <a:pt x="174" y="310"/>
                      </a:lnTo>
                      <a:lnTo>
                        <a:pt x="165" y="302"/>
                      </a:lnTo>
                      <a:lnTo>
                        <a:pt x="172" y="303"/>
                      </a:lnTo>
                      <a:lnTo>
                        <a:pt x="179" y="296"/>
                      </a:lnTo>
                      <a:lnTo>
                        <a:pt x="169" y="289"/>
                      </a:lnTo>
                      <a:lnTo>
                        <a:pt x="162" y="276"/>
                      </a:lnTo>
                      <a:lnTo>
                        <a:pt x="162" y="256"/>
                      </a:lnTo>
                      <a:lnTo>
                        <a:pt x="149" y="265"/>
                      </a:lnTo>
                      <a:lnTo>
                        <a:pt x="146" y="288"/>
                      </a:lnTo>
                      <a:lnTo>
                        <a:pt x="155" y="285"/>
                      </a:lnTo>
                      <a:lnTo>
                        <a:pt x="150" y="298"/>
                      </a:lnTo>
                      <a:lnTo>
                        <a:pt x="146" y="320"/>
                      </a:lnTo>
                      <a:lnTo>
                        <a:pt x="140" y="331"/>
                      </a:lnTo>
                      <a:lnTo>
                        <a:pt x="130" y="334"/>
                      </a:lnTo>
                      <a:lnTo>
                        <a:pt x="113" y="324"/>
                      </a:lnTo>
                      <a:lnTo>
                        <a:pt x="90" y="320"/>
                      </a:lnTo>
                      <a:lnTo>
                        <a:pt x="70" y="307"/>
                      </a:lnTo>
                      <a:lnTo>
                        <a:pt x="61" y="289"/>
                      </a:lnTo>
                      <a:lnTo>
                        <a:pt x="54" y="260"/>
                      </a:lnTo>
                      <a:lnTo>
                        <a:pt x="42" y="262"/>
                      </a:lnTo>
                      <a:lnTo>
                        <a:pt x="15" y="242"/>
                      </a:lnTo>
                      <a:lnTo>
                        <a:pt x="10" y="223"/>
                      </a:lnTo>
                      <a:lnTo>
                        <a:pt x="0" y="196"/>
                      </a:lnTo>
                      <a:lnTo>
                        <a:pt x="10" y="190"/>
                      </a:lnTo>
                      <a:lnTo>
                        <a:pt x="20" y="196"/>
                      </a:lnTo>
                      <a:lnTo>
                        <a:pt x="32" y="190"/>
                      </a:lnTo>
                      <a:lnTo>
                        <a:pt x="27" y="179"/>
                      </a:lnTo>
                      <a:lnTo>
                        <a:pt x="17" y="181"/>
                      </a:lnTo>
                      <a:lnTo>
                        <a:pt x="15" y="176"/>
                      </a:lnTo>
                      <a:lnTo>
                        <a:pt x="17" y="173"/>
                      </a:lnTo>
                      <a:lnTo>
                        <a:pt x="26" y="173"/>
                      </a:lnTo>
                      <a:lnTo>
                        <a:pt x="24" y="159"/>
                      </a:lnTo>
                      <a:lnTo>
                        <a:pt x="13" y="152"/>
                      </a:lnTo>
                      <a:lnTo>
                        <a:pt x="7" y="141"/>
                      </a:lnTo>
                      <a:lnTo>
                        <a:pt x="8" y="140"/>
                      </a:lnTo>
                      <a:lnTo>
                        <a:pt x="17" y="151"/>
                      </a:lnTo>
                      <a:lnTo>
                        <a:pt x="21" y="143"/>
                      </a:lnTo>
                      <a:lnTo>
                        <a:pt x="22" y="132"/>
                      </a:lnTo>
                      <a:lnTo>
                        <a:pt x="17" y="122"/>
                      </a:lnTo>
                      <a:lnTo>
                        <a:pt x="17" y="106"/>
                      </a:lnTo>
                      <a:lnTo>
                        <a:pt x="26" y="99"/>
                      </a:lnTo>
                      <a:lnTo>
                        <a:pt x="39" y="103"/>
                      </a:lnTo>
                      <a:lnTo>
                        <a:pt x="44" y="95"/>
                      </a:lnTo>
                      <a:lnTo>
                        <a:pt x="38" y="83"/>
                      </a:lnTo>
                      <a:lnTo>
                        <a:pt x="33" y="88"/>
                      </a:lnTo>
                      <a:lnTo>
                        <a:pt x="29" y="82"/>
                      </a:lnTo>
                      <a:lnTo>
                        <a:pt x="26" y="67"/>
                      </a:lnTo>
                      <a:lnTo>
                        <a:pt x="28" y="62"/>
                      </a:lnTo>
                      <a:lnTo>
                        <a:pt x="36" y="51"/>
                      </a:lnTo>
                      <a:lnTo>
                        <a:pt x="42" y="55"/>
                      </a:lnTo>
                      <a:lnTo>
                        <a:pt x="67" y="43"/>
                      </a:lnTo>
                      <a:lnTo>
                        <a:pt x="77" y="18"/>
                      </a:lnTo>
                      <a:lnTo>
                        <a:pt x="80" y="22"/>
                      </a:lnTo>
                      <a:lnTo>
                        <a:pt x="103" y="4"/>
                      </a:lnTo>
                      <a:lnTo>
                        <a:pt x="119" y="0"/>
                      </a:lnTo>
                      <a:lnTo>
                        <a:pt x="123" y="1"/>
                      </a:lnTo>
                      <a:lnTo>
                        <a:pt x="117" y="13"/>
                      </a:lnTo>
                      <a:lnTo>
                        <a:pt x="119" y="24"/>
                      </a:lnTo>
                      <a:lnTo>
                        <a:pt x="146" y="54"/>
                      </a:lnTo>
                      <a:lnTo>
                        <a:pt x="151" y="57"/>
                      </a:lnTo>
                      <a:lnTo>
                        <a:pt x="160" y="54"/>
                      </a:lnTo>
                      <a:lnTo>
                        <a:pt x="162" y="62"/>
                      </a:lnTo>
                      <a:lnTo>
                        <a:pt x="169" y="68"/>
                      </a:lnTo>
                      <a:lnTo>
                        <a:pt x="163" y="78"/>
                      </a:lnTo>
                      <a:lnTo>
                        <a:pt x="168" y="87"/>
                      </a:lnTo>
                      <a:lnTo>
                        <a:pt x="178" y="8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32" name="Freeform 121"/>
                <p:cNvSpPr>
                  <a:spLocks noChangeAspect="1"/>
                </p:cNvSpPr>
                <p:nvPr/>
              </p:nvSpPr>
              <p:spPr bwMode="gray">
                <a:xfrm>
                  <a:off x="4066" y="1166"/>
                  <a:ext cx="44" cy="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6" y="8"/>
                    </a:cxn>
                    <a:cxn ang="0">
                      <a:pos x="32" y="30"/>
                    </a:cxn>
                    <a:cxn ang="0">
                      <a:pos x="42" y="38"/>
                    </a:cxn>
                    <a:cxn ang="0">
                      <a:pos x="56" y="59"/>
                    </a:cxn>
                    <a:cxn ang="0">
                      <a:pos x="64" y="66"/>
                    </a:cxn>
                    <a:cxn ang="0">
                      <a:pos x="89" y="71"/>
                    </a:cxn>
                    <a:cxn ang="0">
                      <a:pos x="106" y="59"/>
                    </a:cxn>
                    <a:cxn ang="0">
                      <a:pos x="116" y="56"/>
                    </a:cxn>
                    <a:cxn ang="0">
                      <a:pos x="138" y="64"/>
                    </a:cxn>
                    <a:cxn ang="0">
                      <a:pos x="152" y="89"/>
                    </a:cxn>
                    <a:cxn ang="0">
                      <a:pos x="169" y="97"/>
                    </a:cxn>
                    <a:cxn ang="0">
                      <a:pos x="182" y="110"/>
                    </a:cxn>
                    <a:cxn ang="0">
                      <a:pos x="201" y="120"/>
                    </a:cxn>
                    <a:cxn ang="0">
                      <a:pos x="215" y="136"/>
                    </a:cxn>
                    <a:cxn ang="0">
                      <a:pos x="222" y="136"/>
                    </a:cxn>
                    <a:cxn ang="0">
                      <a:pos x="224" y="145"/>
                    </a:cxn>
                    <a:cxn ang="0">
                      <a:pos x="206" y="142"/>
                    </a:cxn>
                    <a:cxn ang="0">
                      <a:pos x="197" y="146"/>
                    </a:cxn>
                    <a:cxn ang="0">
                      <a:pos x="193" y="155"/>
                    </a:cxn>
                    <a:cxn ang="0">
                      <a:pos x="181" y="156"/>
                    </a:cxn>
                    <a:cxn ang="0">
                      <a:pos x="185" y="161"/>
                    </a:cxn>
                    <a:cxn ang="0">
                      <a:pos x="182" y="169"/>
                    </a:cxn>
                    <a:cxn ang="0">
                      <a:pos x="182" y="183"/>
                    </a:cxn>
                    <a:cxn ang="0">
                      <a:pos x="188" y="194"/>
                    </a:cxn>
                    <a:cxn ang="0">
                      <a:pos x="183" y="200"/>
                    </a:cxn>
                    <a:cxn ang="0">
                      <a:pos x="180" y="217"/>
                    </a:cxn>
                    <a:cxn ang="0">
                      <a:pos x="167" y="226"/>
                    </a:cxn>
                    <a:cxn ang="0">
                      <a:pos x="163" y="232"/>
                    </a:cxn>
                    <a:cxn ang="0">
                      <a:pos x="138" y="248"/>
                    </a:cxn>
                    <a:cxn ang="0">
                      <a:pos x="128" y="241"/>
                    </a:cxn>
                    <a:cxn ang="0">
                      <a:pos x="91" y="233"/>
                    </a:cxn>
                    <a:cxn ang="0">
                      <a:pos x="77" y="222"/>
                    </a:cxn>
                    <a:cxn ang="0">
                      <a:pos x="54" y="164"/>
                    </a:cxn>
                    <a:cxn ang="0">
                      <a:pos x="56" y="147"/>
                    </a:cxn>
                    <a:cxn ang="0">
                      <a:pos x="69" y="108"/>
                    </a:cxn>
                    <a:cxn ang="0">
                      <a:pos x="73" y="85"/>
                    </a:cxn>
                    <a:cxn ang="0">
                      <a:pos x="64" y="85"/>
                    </a:cxn>
                    <a:cxn ang="0">
                      <a:pos x="61" y="73"/>
                    </a:cxn>
                    <a:cxn ang="0">
                      <a:pos x="16" y="19"/>
                    </a:cxn>
                    <a:cxn ang="0">
                      <a:pos x="8" y="1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24" h="248">
                      <a:moveTo>
                        <a:pt x="0" y="0"/>
                      </a:moveTo>
                      <a:lnTo>
                        <a:pt x="16" y="8"/>
                      </a:lnTo>
                      <a:lnTo>
                        <a:pt x="32" y="30"/>
                      </a:lnTo>
                      <a:lnTo>
                        <a:pt x="42" y="38"/>
                      </a:lnTo>
                      <a:lnTo>
                        <a:pt x="56" y="59"/>
                      </a:lnTo>
                      <a:lnTo>
                        <a:pt x="64" y="66"/>
                      </a:lnTo>
                      <a:lnTo>
                        <a:pt x="89" y="71"/>
                      </a:lnTo>
                      <a:lnTo>
                        <a:pt x="106" y="59"/>
                      </a:lnTo>
                      <a:lnTo>
                        <a:pt x="116" y="56"/>
                      </a:lnTo>
                      <a:lnTo>
                        <a:pt x="138" y="64"/>
                      </a:lnTo>
                      <a:lnTo>
                        <a:pt x="152" y="89"/>
                      </a:lnTo>
                      <a:lnTo>
                        <a:pt x="169" y="97"/>
                      </a:lnTo>
                      <a:lnTo>
                        <a:pt x="182" y="110"/>
                      </a:lnTo>
                      <a:lnTo>
                        <a:pt x="201" y="120"/>
                      </a:lnTo>
                      <a:lnTo>
                        <a:pt x="215" y="136"/>
                      </a:lnTo>
                      <a:lnTo>
                        <a:pt x="222" y="136"/>
                      </a:lnTo>
                      <a:lnTo>
                        <a:pt x="224" y="145"/>
                      </a:lnTo>
                      <a:lnTo>
                        <a:pt x="206" y="142"/>
                      </a:lnTo>
                      <a:lnTo>
                        <a:pt x="197" y="146"/>
                      </a:lnTo>
                      <a:lnTo>
                        <a:pt x="193" y="155"/>
                      </a:lnTo>
                      <a:lnTo>
                        <a:pt x="181" y="156"/>
                      </a:lnTo>
                      <a:lnTo>
                        <a:pt x="185" y="161"/>
                      </a:lnTo>
                      <a:lnTo>
                        <a:pt x="182" y="169"/>
                      </a:lnTo>
                      <a:lnTo>
                        <a:pt x="182" y="183"/>
                      </a:lnTo>
                      <a:lnTo>
                        <a:pt x="188" y="194"/>
                      </a:lnTo>
                      <a:lnTo>
                        <a:pt x="183" y="200"/>
                      </a:lnTo>
                      <a:lnTo>
                        <a:pt x="180" y="217"/>
                      </a:lnTo>
                      <a:lnTo>
                        <a:pt x="167" y="226"/>
                      </a:lnTo>
                      <a:lnTo>
                        <a:pt x="163" y="232"/>
                      </a:lnTo>
                      <a:lnTo>
                        <a:pt x="138" y="248"/>
                      </a:lnTo>
                      <a:lnTo>
                        <a:pt x="128" y="241"/>
                      </a:lnTo>
                      <a:lnTo>
                        <a:pt x="91" y="233"/>
                      </a:lnTo>
                      <a:lnTo>
                        <a:pt x="77" y="222"/>
                      </a:lnTo>
                      <a:lnTo>
                        <a:pt x="54" y="164"/>
                      </a:lnTo>
                      <a:lnTo>
                        <a:pt x="56" y="147"/>
                      </a:lnTo>
                      <a:lnTo>
                        <a:pt x="69" y="108"/>
                      </a:lnTo>
                      <a:lnTo>
                        <a:pt x="73" y="85"/>
                      </a:lnTo>
                      <a:lnTo>
                        <a:pt x="64" y="85"/>
                      </a:lnTo>
                      <a:lnTo>
                        <a:pt x="61" y="73"/>
                      </a:lnTo>
                      <a:lnTo>
                        <a:pt x="16" y="19"/>
                      </a:lnTo>
                      <a:lnTo>
                        <a:pt x="8" y="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33" name="Freeform 122"/>
                <p:cNvSpPr>
                  <a:spLocks noChangeAspect="1"/>
                </p:cNvSpPr>
                <p:nvPr/>
              </p:nvSpPr>
              <p:spPr bwMode="gray">
                <a:xfrm>
                  <a:off x="4119" y="1193"/>
                  <a:ext cx="54" cy="36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9" y="6"/>
                    </a:cxn>
                    <a:cxn ang="0">
                      <a:pos x="19" y="10"/>
                    </a:cxn>
                    <a:cxn ang="0">
                      <a:pos x="24" y="15"/>
                    </a:cxn>
                    <a:cxn ang="0">
                      <a:pos x="26" y="25"/>
                    </a:cxn>
                    <a:cxn ang="0">
                      <a:pos x="36" y="30"/>
                    </a:cxn>
                    <a:cxn ang="0">
                      <a:pos x="51" y="33"/>
                    </a:cxn>
                    <a:cxn ang="0">
                      <a:pos x="66" y="35"/>
                    </a:cxn>
                    <a:cxn ang="0">
                      <a:pos x="73" y="31"/>
                    </a:cxn>
                    <a:cxn ang="0">
                      <a:pos x="127" y="41"/>
                    </a:cxn>
                    <a:cxn ang="0">
                      <a:pos x="129" y="49"/>
                    </a:cxn>
                    <a:cxn ang="0">
                      <a:pos x="122" y="49"/>
                    </a:cxn>
                    <a:cxn ang="0">
                      <a:pos x="121" y="55"/>
                    </a:cxn>
                    <a:cxn ang="0">
                      <a:pos x="109" y="67"/>
                    </a:cxn>
                    <a:cxn ang="0">
                      <a:pos x="132" y="64"/>
                    </a:cxn>
                    <a:cxn ang="0">
                      <a:pos x="154" y="68"/>
                    </a:cxn>
                    <a:cxn ang="0">
                      <a:pos x="163" y="62"/>
                    </a:cxn>
                    <a:cxn ang="0">
                      <a:pos x="172" y="62"/>
                    </a:cxn>
                    <a:cxn ang="0">
                      <a:pos x="182" y="68"/>
                    </a:cxn>
                    <a:cxn ang="0">
                      <a:pos x="188" y="79"/>
                    </a:cxn>
                    <a:cxn ang="0">
                      <a:pos x="207" y="75"/>
                    </a:cxn>
                    <a:cxn ang="0">
                      <a:pos x="218" y="79"/>
                    </a:cxn>
                    <a:cxn ang="0">
                      <a:pos x="225" y="91"/>
                    </a:cxn>
                    <a:cxn ang="0">
                      <a:pos x="266" y="100"/>
                    </a:cxn>
                    <a:cxn ang="0">
                      <a:pos x="256" y="108"/>
                    </a:cxn>
                    <a:cxn ang="0">
                      <a:pos x="257" y="135"/>
                    </a:cxn>
                    <a:cxn ang="0">
                      <a:pos x="245" y="154"/>
                    </a:cxn>
                    <a:cxn ang="0">
                      <a:pos x="208" y="176"/>
                    </a:cxn>
                    <a:cxn ang="0">
                      <a:pos x="198" y="180"/>
                    </a:cxn>
                    <a:cxn ang="0">
                      <a:pos x="191" y="171"/>
                    </a:cxn>
                    <a:cxn ang="0">
                      <a:pos x="186" y="176"/>
                    </a:cxn>
                    <a:cxn ang="0">
                      <a:pos x="179" y="173"/>
                    </a:cxn>
                    <a:cxn ang="0">
                      <a:pos x="174" y="164"/>
                    </a:cxn>
                    <a:cxn ang="0">
                      <a:pos x="171" y="175"/>
                    </a:cxn>
                    <a:cxn ang="0">
                      <a:pos x="160" y="175"/>
                    </a:cxn>
                    <a:cxn ang="0">
                      <a:pos x="144" y="170"/>
                    </a:cxn>
                    <a:cxn ang="0">
                      <a:pos x="133" y="156"/>
                    </a:cxn>
                    <a:cxn ang="0">
                      <a:pos x="117" y="156"/>
                    </a:cxn>
                    <a:cxn ang="0">
                      <a:pos x="104" y="151"/>
                    </a:cxn>
                    <a:cxn ang="0">
                      <a:pos x="95" y="140"/>
                    </a:cxn>
                    <a:cxn ang="0">
                      <a:pos x="85" y="135"/>
                    </a:cxn>
                    <a:cxn ang="0">
                      <a:pos x="75" y="123"/>
                    </a:cxn>
                    <a:cxn ang="0">
                      <a:pos x="57" y="118"/>
                    </a:cxn>
                    <a:cxn ang="0">
                      <a:pos x="46" y="110"/>
                    </a:cxn>
                    <a:cxn ang="0">
                      <a:pos x="45" y="81"/>
                    </a:cxn>
                    <a:cxn ang="0">
                      <a:pos x="31" y="67"/>
                    </a:cxn>
                    <a:cxn ang="0">
                      <a:pos x="26" y="47"/>
                    </a:cxn>
                    <a:cxn ang="0">
                      <a:pos x="5" y="20"/>
                    </a:cxn>
                    <a:cxn ang="0">
                      <a:pos x="0" y="3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266" h="180">
                      <a:moveTo>
                        <a:pt x="3" y="0"/>
                      </a:moveTo>
                      <a:lnTo>
                        <a:pt x="9" y="6"/>
                      </a:lnTo>
                      <a:lnTo>
                        <a:pt x="19" y="10"/>
                      </a:lnTo>
                      <a:lnTo>
                        <a:pt x="24" y="15"/>
                      </a:lnTo>
                      <a:lnTo>
                        <a:pt x="26" y="25"/>
                      </a:lnTo>
                      <a:lnTo>
                        <a:pt x="36" y="30"/>
                      </a:lnTo>
                      <a:lnTo>
                        <a:pt x="51" y="33"/>
                      </a:lnTo>
                      <a:lnTo>
                        <a:pt x="66" y="35"/>
                      </a:lnTo>
                      <a:lnTo>
                        <a:pt x="73" y="31"/>
                      </a:lnTo>
                      <a:lnTo>
                        <a:pt x="127" y="41"/>
                      </a:lnTo>
                      <a:lnTo>
                        <a:pt x="129" y="49"/>
                      </a:lnTo>
                      <a:lnTo>
                        <a:pt x="122" y="49"/>
                      </a:lnTo>
                      <a:lnTo>
                        <a:pt x="121" y="55"/>
                      </a:lnTo>
                      <a:lnTo>
                        <a:pt x="109" y="67"/>
                      </a:lnTo>
                      <a:lnTo>
                        <a:pt x="132" y="64"/>
                      </a:lnTo>
                      <a:lnTo>
                        <a:pt x="154" y="68"/>
                      </a:lnTo>
                      <a:lnTo>
                        <a:pt x="163" y="62"/>
                      </a:lnTo>
                      <a:lnTo>
                        <a:pt x="172" y="62"/>
                      </a:lnTo>
                      <a:lnTo>
                        <a:pt x="182" y="68"/>
                      </a:lnTo>
                      <a:lnTo>
                        <a:pt x="188" y="79"/>
                      </a:lnTo>
                      <a:lnTo>
                        <a:pt x="207" y="75"/>
                      </a:lnTo>
                      <a:lnTo>
                        <a:pt x="218" y="79"/>
                      </a:lnTo>
                      <a:lnTo>
                        <a:pt x="225" y="91"/>
                      </a:lnTo>
                      <a:lnTo>
                        <a:pt x="266" y="100"/>
                      </a:lnTo>
                      <a:lnTo>
                        <a:pt x="256" y="108"/>
                      </a:lnTo>
                      <a:lnTo>
                        <a:pt x="257" y="135"/>
                      </a:lnTo>
                      <a:lnTo>
                        <a:pt x="245" y="154"/>
                      </a:lnTo>
                      <a:lnTo>
                        <a:pt x="208" y="176"/>
                      </a:lnTo>
                      <a:lnTo>
                        <a:pt x="198" y="180"/>
                      </a:lnTo>
                      <a:lnTo>
                        <a:pt x="191" y="171"/>
                      </a:lnTo>
                      <a:lnTo>
                        <a:pt x="186" y="176"/>
                      </a:lnTo>
                      <a:lnTo>
                        <a:pt x="179" y="173"/>
                      </a:lnTo>
                      <a:lnTo>
                        <a:pt x="174" y="164"/>
                      </a:lnTo>
                      <a:lnTo>
                        <a:pt x="171" y="175"/>
                      </a:lnTo>
                      <a:lnTo>
                        <a:pt x="160" y="175"/>
                      </a:lnTo>
                      <a:lnTo>
                        <a:pt x="144" y="170"/>
                      </a:lnTo>
                      <a:lnTo>
                        <a:pt x="133" y="156"/>
                      </a:lnTo>
                      <a:lnTo>
                        <a:pt x="117" y="156"/>
                      </a:lnTo>
                      <a:lnTo>
                        <a:pt x="104" y="151"/>
                      </a:lnTo>
                      <a:lnTo>
                        <a:pt x="95" y="140"/>
                      </a:lnTo>
                      <a:lnTo>
                        <a:pt x="85" y="135"/>
                      </a:lnTo>
                      <a:lnTo>
                        <a:pt x="75" y="123"/>
                      </a:lnTo>
                      <a:lnTo>
                        <a:pt x="57" y="118"/>
                      </a:lnTo>
                      <a:lnTo>
                        <a:pt x="46" y="110"/>
                      </a:lnTo>
                      <a:lnTo>
                        <a:pt x="45" y="81"/>
                      </a:lnTo>
                      <a:lnTo>
                        <a:pt x="31" y="67"/>
                      </a:lnTo>
                      <a:lnTo>
                        <a:pt x="26" y="47"/>
                      </a:lnTo>
                      <a:lnTo>
                        <a:pt x="5" y="20"/>
                      </a:lnTo>
                      <a:lnTo>
                        <a:pt x="0" y="3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34" name="Freeform 123"/>
                <p:cNvSpPr>
                  <a:spLocks noChangeAspect="1"/>
                </p:cNvSpPr>
                <p:nvPr/>
              </p:nvSpPr>
              <p:spPr bwMode="gray">
                <a:xfrm>
                  <a:off x="4047" y="1261"/>
                  <a:ext cx="43" cy="27"/>
                </a:xfrm>
                <a:custGeom>
                  <a:avLst/>
                  <a:gdLst/>
                  <a:ahLst/>
                  <a:cxnLst>
                    <a:cxn ang="0">
                      <a:pos x="92" y="7"/>
                    </a:cxn>
                    <a:cxn ang="0">
                      <a:pos x="110" y="0"/>
                    </a:cxn>
                    <a:cxn ang="0">
                      <a:pos x="126" y="2"/>
                    </a:cxn>
                    <a:cxn ang="0">
                      <a:pos x="137" y="5"/>
                    </a:cxn>
                    <a:cxn ang="0">
                      <a:pos x="148" y="16"/>
                    </a:cxn>
                    <a:cxn ang="0">
                      <a:pos x="156" y="18"/>
                    </a:cxn>
                    <a:cxn ang="0">
                      <a:pos x="169" y="36"/>
                    </a:cxn>
                    <a:cxn ang="0">
                      <a:pos x="187" y="51"/>
                    </a:cxn>
                    <a:cxn ang="0">
                      <a:pos x="203" y="78"/>
                    </a:cxn>
                    <a:cxn ang="0">
                      <a:pos x="207" y="93"/>
                    </a:cxn>
                    <a:cxn ang="0">
                      <a:pos x="207" y="112"/>
                    </a:cxn>
                    <a:cxn ang="0">
                      <a:pos x="212" y="126"/>
                    </a:cxn>
                    <a:cxn ang="0">
                      <a:pos x="212" y="136"/>
                    </a:cxn>
                    <a:cxn ang="0">
                      <a:pos x="202" y="132"/>
                    </a:cxn>
                    <a:cxn ang="0">
                      <a:pos x="193" y="136"/>
                    </a:cxn>
                    <a:cxn ang="0">
                      <a:pos x="181" y="134"/>
                    </a:cxn>
                    <a:cxn ang="0">
                      <a:pos x="167" y="127"/>
                    </a:cxn>
                    <a:cxn ang="0">
                      <a:pos x="139" y="128"/>
                    </a:cxn>
                    <a:cxn ang="0">
                      <a:pos x="122" y="120"/>
                    </a:cxn>
                    <a:cxn ang="0">
                      <a:pos x="115" y="112"/>
                    </a:cxn>
                    <a:cxn ang="0">
                      <a:pos x="102" y="115"/>
                    </a:cxn>
                    <a:cxn ang="0">
                      <a:pos x="85" y="110"/>
                    </a:cxn>
                    <a:cxn ang="0">
                      <a:pos x="68" y="99"/>
                    </a:cxn>
                    <a:cxn ang="0">
                      <a:pos x="48" y="95"/>
                    </a:cxn>
                    <a:cxn ang="0">
                      <a:pos x="21" y="110"/>
                    </a:cxn>
                    <a:cxn ang="0">
                      <a:pos x="10" y="109"/>
                    </a:cxn>
                    <a:cxn ang="0">
                      <a:pos x="0" y="95"/>
                    </a:cxn>
                    <a:cxn ang="0">
                      <a:pos x="8" y="89"/>
                    </a:cxn>
                    <a:cxn ang="0">
                      <a:pos x="37" y="86"/>
                    </a:cxn>
                    <a:cxn ang="0">
                      <a:pos x="41" y="79"/>
                    </a:cxn>
                    <a:cxn ang="0">
                      <a:pos x="48" y="62"/>
                    </a:cxn>
                    <a:cxn ang="0">
                      <a:pos x="60" y="31"/>
                    </a:cxn>
                    <a:cxn ang="0">
                      <a:pos x="60" y="19"/>
                    </a:cxn>
                    <a:cxn ang="0">
                      <a:pos x="65" y="10"/>
                    </a:cxn>
                    <a:cxn ang="0">
                      <a:pos x="92" y="7"/>
                    </a:cxn>
                  </a:cxnLst>
                  <a:rect l="0" t="0" r="r" b="b"/>
                  <a:pathLst>
                    <a:path w="212" h="136">
                      <a:moveTo>
                        <a:pt x="92" y="7"/>
                      </a:moveTo>
                      <a:lnTo>
                        <a:pt x="110" y="0"/>
                      </a:lnTo>
                      <a:lnTo>
                        <a:pt x="126" y="2"/>
                      </a:lnTo>
                      <a:lnTo>
                        <a:pt x="137" y="5"/>
                      </a:lnTo>
                      <a:lnTo>
                        <a:pt x="148" y="16"/>
                      </a:lnTo>
                      <a:lnTo>
                        <a:pt x="156" y="18"/>
                      </a:lnTo>
                      <a:lnTo>
                        <a:pt x="169" y="36"/>
                      </a:lnTo>
                      <a:lnTo>
                        <a:pt x="187" y="51"/>
                      </a:lnTo>
                      <a:lnTo>
                        <a:pt x="203" y="78"/>
                      </a:lnTo>
                      <a:lnTo>
                        <a:pt x="207" y="93"/>
                      </a:lnTo>
                      <a:lnTo>
                        <a:pt x="207" y="112"/>
                      </a:lnTo>
                      <a:lnTo>
                        <a:pt x="212" y="126"/>
                      </a:lnTo>
                      <a:lnTo>
                        <a:pt x="212" y="136"/>
                      </a:lnTo>
                      <a:lnTo>
                        <a:pt x="202" y="132"/>
                      </a:lnTo>
                      <a:lnTo>
                        <a:pt x="193" y="136"/>
                      </a:lnTo>
                      <a:lnTo>
                        <a:pt x="181" y="134"/>
                      </a:lnTo>
                      <a:lnTo>
                        <a:pt x="167" y="127"/>
                      </a:lnTo>
                      <a:lnTo>
                        <a:pt x="139" y="128"/>
                      </a:lnTo>
                      <a:lnTo>
                        <a:pt x="122" y="120"/>
                      </a:lnTo>
                      <a:lnTo>
                        <a:pt x="115" y="112"/>
                      </a:lnTo>
                      <a:lnTo>
                        <a:pt x="102" y="115"/>
                      </a:lnTo>
                      <a:lnTo>
                        <a:pt x="85" y="110"/>
                      </a:lnTo>
                      <a:lnTo>
                        <a:pt x="68" y="99"/>
                      </a:lnTo>
                      <a:lnTo>
                        <a:pt x="48" y="95"/>
                      </a:lnTo>
                      <a:lnTo>
                        <a:pt x="21" y="110"/>
                      </a:lnTo>
                      <a:lnTo>
                        <a:pt x="10" y="109"/>
                      </a:lnTo>
                      <a:lnTo>
                        <a:pt x="0" y="95"/>
                      </a:lnTo>
                      <a:lnTo>
                        <a:pt x="8" y="89"/>
                      </a:lnTo>
                      <a:lnTo>
                        <a:pt x="37" y="86"/>
                      </a:lnTo>
                      <a:lnTo>
                        <a:pt x="41" y="79"/>
                      </a:lnTo>
                      <a:lnTo>
                        <a:pt x="48" y="62"/>
                      </a:lnTo>
                      <a:lnTo>
                        <a:pt x="60" y="31"/>
                      </a:lnTo>
                      <a:lnTo>
                        <a:pt x="60" y="19"/>
                      </a:lnTo>
                      <a:lnTo>
                        <a:pt x="65" y="10"/>
                      </a:lnTo>
                      <a:lnTo>
                        <a:pt x="92" y="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35" name="Freeform 124"/>
                <p:cNvSpPr>
                  <a:spLocks noChangeAspect="1"/>
                </p:cNvSpPr>
                <p:nvPr/>
              </p:nvSpPr>
              <p:spPr bwMode="gray">
                <a:xfrm>
                  <a:off x="3080" y="1282"/>
                  <a:ext cx="68" cy="102"/>
                </a:xfrm>
                <a:custGeom>
                  <a:avLst/>
                  <a:gdLst/>
                  <a:ahLst/>
                  <a:cxnLst>
                    <a:cxn ang="0">
                      <a:pos x="152" y="22"/>
                    </a:cxn>
                    <a:cxn ang="0">
                      <a:pos x="199" y="0"/>
                    </a:cxn>
                    <a:cxn ang="0">
                      <a:pos x="234" y="15"/>
                    </a:cxn>
                    <a:cxn ang="0">
                      <a:pos x="277" y="45"/>
                    </a:cxn>
                    <a:cxn ang="0">
                      <a:pos x="272" y="68"/>
                    </a:cxn>
                    <a:cxn ang="0">
                      <a:pos x="234" y="86"/>
                    </a:cxn>
                    <a:cxn ang="0">
                      <a:pos x="267" y="94"/>
                    </a:cxn>
                    <a:cxn ang="0">
                      <a:pos x="245" y="114"/>
                    </a:cxn>
                    <a:cxn ang="0">
                      <a:pos x="238" y="119"/>
                    </a:cxn>
                    <a:cxn ang="0">
                      <a:pos x="232" y="158"/>
                    </a:cxn>
                    <a:cxn ang="0">
                      <a:pos x="226" y="165"/>
                    </a:cxn>
                    <a:cxn ang="0">
                      <a:pos x="219" y="189"/>
                    </a:cxn>
                    <a:cxn ang="0">
                      <a:pos x="224" y="226"/>
                    </a:cxn>
                    <a:cxn ang="0">
                      <a:pos x="218" y="267"/>
                    </a:cxn>
                    <a:cxn ang="0">
                      <a:pos x="230" y="331"/>
                    </a:cxn>
                    <a:cxn ang="0">
                      <a:pos x="250" y="373"/>
                    </a:cxn>
                    <a:cxn ang="0">
                      <a:pos x="278" y="426"/>
                    </a:cxn>
                    <a:cxn ang="0">
                      <a:pos x="306" y="450"/>
                    </a:cxn>
                    <a:cxn ang="0">
                      <a:pos x="338" y="472"/>
                    </a:cxn>
                    <a:cxn ang="0">
                      <a:pos x="322" y="490"/>
                    </a:cxn>
                    <a:cxn ang="0">
                      <a:pos x="320" y="498"/>
                    </a:cxn>
                    <a:cxn ang="0">
                      <a:pos x="301" y="502"/>
                    </a:cxn>
                    <a:cxn ang="0">
                      <a:pos x="284" y="470"/>
                    </a:cxn>
                    <a:cxn ang="0">
                      <a:pos x="261" y="481"/>
                    </a:cxn>
                    <a:cxn ang="0">
                      <a:pos x="273" y="487"/>
                    </a:cxn>
                    <a:cxn ang="0">
                      <a:pos x="251" y="491"/>
                    </a:cxn>
                    <a:cxn ang="0">
                      <a:pos x="243" y="495"/>
                    </a:cxn>
                    <a:cxn ang="0">
                      <a:pos x="220" y="476"/>
                    </a:cxn>
                    <a:cxn ang="0">
                      <a:pos x="210" y="488"/>
                    </a:cxn>
                    <a:cxn ang="0">
                      <a:pos x="182" y="480"/>
                    </a:cxn>
                    <a:cxn ang="0">
                      <a:pos x="189" y="466"/>
                    </a:cxn>
                    <a:cxn ang="0">
                      <a:pos x="144" y="470"/>
                    </a:cxn>
                    <a:cxn ang="0">
                      <a:pos x="127" y="461"/>
                    </a:cxn>
                    <a:cxn ang="0">
                      <a:pos x="125" y="438"/>
                    </a:cxn>
                    <a:cxn ang="0">
                      <a:pos x="124" y="421"/>
                    </a:cxn>
                    <a:cxn ang="0">
                      <a:pos x="135" y="413"/>
                    </a:cxn>
                    <a:cxn ang="0">
                      <a:pos x="157" y="412"/>
                    </a:cxn>
                    <a:cxn ang="0">
                      <a:pos x="143" y="400"/>
                    </a:cxn>
                    <a:cxn ang="0">
                      <a:pos x="116" y="380"/>
                    </a:cxn>
                    <a:cxn ang="0">
                      <a:pos x="138" y="348"/>
                    </a:cxn>
                    <a:cxn ang="0">
                      <a:pos x="109" y="380"/>
                    </a:cxn>
                    <a:cxn ang="0">
                      <a:pos x="107" y="345"/>
                    </a:cxn>
                    <a:cxn ang="0">
                      <a:pos x="90" y="342"/>
                    </a:cxn>
                    <a:cxn ang="0">
                      <a:pos x="76" y="353"/>
                    </a:cxn>
                    <a:cxn ang="0">
                      <a:pos x="65" y="319"/>
                    </a:cxn>
                    <a:cxn ang="0">
                      <a:pos x="51" y="331"/>
                    </a:cxn>
                    <a:cxn ang="0">
                      <a:pos x="32" y="347"/>
                    </a:cxn>
                    <a:cxn ang="0">
                      <a:pos x="16" y="340"/>
                    </a:cxn>
                    <a:cxn ang="0">
                      <a:pos x="1" y="294"/>
                    </a:cxn>
                    <a:cxn ang="0">
                      <a:pos x="3" y="255"/>
                    </a:cxn>
                    <a:cxn ang="0">
                      <a:pos x="27" y="242"/>
                    </a:cxn>
                    <a:cxn ang="0">
                      <a:pos x="42" y="244"/>
                    </a:cxn>
                    <a:cxn ang="0">
                      <a:pos x="53" y="230"/>
                    </a:cxn>
                    <a:cxn ang="0">
                      <a:pos x="64" y="206"/>
                    </a:cxn>
                    <a:cxn ang="0">
                      <a:pos x="70" y="186"/>
                    </a:cxn>
                    <a:cxn ang="0">
                      <a:pos x="79" y="162"/>
                    </a:cxn>
                    <a:cxn ang="0">
                      <a:pos x="75" y="158"/>
                    </a:cxn>
                    <a:cxn ang="0">
                      <a:pos x="68" y="141"/>
                    </a:cxn>
                    <a:cxn ang="0">
                      <a:pos x="73" y="97"/>
                    </a:cxn>
                    <a:cxn ang="0">
                      <a:pos x="103" y="87"/>
                    </a:cxn>
                    <a:cxn ang="0">
                      <a:pos x="94" y="74"/>
                    </a:cxn>
                    <a:cxn ang="0">
                      <a:pos x="92" y="61"/>
                    </a:cxn>
                    <a:cxn ang="0">
                      <a:pos x="124" y="20"/>
                    </a:cxn>
                  </a:cxnLst>
                  <a:rect l="0" t="0" r="r" b="b"/>
                  <a:pathLst>
                    <a:path w="338" h="508">
                      <a:moveTo>
                        <a:pt x="124" y="20"/>
                      </a:moveTo>
                      <a:lnTo>
                        <a:pt x="128" y="17"/>
                      </a:lnTo>
                      <a:lnTo>
                        <a:pt x="152" y="22"/>
                      </a:lnTo>
                      <a:lnTo>
                        <a:pt x="161" y="12"/>
                      </a:lnTo>
                      <a:lnTo>
                        <a:pt x="187" y="0"/>
                      </a:lnTo>
                      <a:lnTo>
                        <a:pt x="199" y="0"/>
                      </a:lnTo>
                      <a:lnTo>
                        <a:pt x="210" y="9"/>
                      </a:lnTo>
                      <a:lnTo>
                        <a:pt x="219" y="14"/>
                      </a:lnTo>
                      <a:lnTo>
                        <a:pt x="234" y="15"/>
                      </a:lnTo>
                      <a:lnTo>
                        <a:pt x="256" y="33"/>
                      </a:lnTo>
                      <a:lnTo>
                        <a:pt x="268" y="34"/>
                      </a:lnTo>
                      <a:lnTo>
                        <a:pt x="277" y="45"/>
                      </a:lnTo>
                      <a:lnTo>
                        <a:pt x="279" y="55"/>
                      </a:lnTo>
                      <a:lnTo>
                        <a:pt x="245" y="63"/>
                      </a:lnTo>
                      <a:lnTo>
                        <a:pt x="272" y="68"/>
                      </a:lnTo>
                      <a:lnTo>
                        <a:pt x="268" y="74"/>
                      </a:lnTo>
                      <a:lnTo>
                        <a:pt x="256" y="73"/>
                      </a:lnTo>
                      <a:lnTo>
                        <a:pt x="234" y="86"/>
                      </a:lnTo>
                      <a:lnTo>
                        <a:pt x="246" y="88"/>
                      </a:lnTo>
                      <a:lnTo>
                        <a:pt x="265" y="82"/>
                      </a:lnTo>
                      <a:lnTo>
                        <a:pt x="267" y="94"/>
                      </a:lnTo>
                      <a:lnTo>
                        <a:pt x="262" y="103"/>
                      </a:lnTo>
                      <a:lnTo>
                        <a:pt x="253" y="111"/>
                      </a:lnTo>
                      <a:lnTo>
                        <a:pt x="245" y="114"/>
                      </a:lnTo>
                      <a:lnTo>
                        <a:pt x="225" y="111"/>
                      </a:lnTo>
                      <a:lnTo>
                        <a:pt x="222" y="121"/>
                      </a:lnTo>
                      <a:lnTo>
                        <a:pt x="238" y="119"/>
                      </a:lnTo>
                      <a:lnTo>
                        <a:pt x="242" y="131"/>
                      </a:lnTo>
                      <a:lnTo>
                        <a:pt x="235" y="143"/>
                      </a:lnTo>
                      <a:lnTo>
                        <a:pt x="232" y="158"/>
                      </a:lnTo>
                      <a:lnTo>
                        <a:pt x="226" y="156"/>
                      </a:lnTo>
                      <a:lnTo>
                        <a:pt x="222" y="160"/>
                      </a:lnTo>
                      <a:lnTo>
                        <a:pt x="226" y="165"/>
                      </a:lnTo>
                      <a:lnTo>
                        <a:pt x="225" y="176"/>
                      </a:lnTo>
                      <a:lnTo>
                        <a:pt x="219" y="178"/>
                      </a:lnTo>
                      <a:lnTo>
                        <a:pt x="219" y="189"/>
                      </a:lnTo>
                      <a:lnTo>
                        <a:pt x="218" y="201"/>
                      </a:lnTo>
                      <a:lnTo>
                        <a:pt x="219" y="214"/>
                      </a:lnTo>
                      <a:lnTo>
                        <a:pt x="224" y="226"/>
                      </a:lnTo>
                      <a:lnTo>
                        <a:pt x="224" y="235"/>
                      </a:lnTo>
                      <a:lnTo>
                        <a:pt x="216" y="255"/>
                      </a:lnTo>
                      <a:lnTo>
                        <a:pt x="218" y="267"/>
                      </a:lnTo>
                      <a:lnTo>
                        <a:pt x="222" y="273"/>
                      </a:lnTo>
                      <a:lnTo>
                        <a:pt x="226" y="313"/>
                      </a:lnTo>
                      <a:lnTo>
                        <a:pt x="230" y="331"/>
                      </a:lnTo>
                      <a:lnTo>
                        <a:pt x="234" y="341"/>
                      </a:lnTo>
                      <a:lnTo>
                        <a:pt x="242" y="353"/>
                      </a:lnTo>
                      <a:lnTo>
                        <a:pt x="250" y="373"/>
                      </a:lnTo>
                      <a:lnTo>
                        <a:pt x="253" y="382"/>
                      </a:lnTo>
                      <a:lnTo>
                        <a:pt x="254" y="394"/>
                      </a:lnTo>
                      <a:lnTo>
                        <a:pt x="278" y="426"/>
                      </a:lnTo>
                      <a:lnTo>
                        <a:pt x="288" y="436"/>
                      </a:lnTo>
                      <a:lnTo>
                        <a:pt x="296" y="439"/>
                      </a:lnTo>
                      <a:lnTo>
                        <a:pt x="306" y="450"/>
                      </a:lnTo>
                      <a:lnTo>
                        <a:pt x="322" y="464"/>
                      </a:lnTo>
                      <a:lnTo>
                        <a:pt x="327" y="463"/>
                      </a:lnTo>
                      <a:lnTo>
                        <a:pt x="338" y="472"/>
                      </a:lnTo>
                      <a:lnTo>
                        <a:pt x="332" y="475"/>
                      </a:lnTo>
                      <a:lnTo>
                        <a:pt x="332" y="485"/>
                      </a:lnTo>
                      <a:lnTo>
                        <a:pt x="322" y="490"/>
                      </a:lnTo>
                      <a:lnTo>
                        <a:pt x="301" y="486"/>
                      </a:lnTo>
                      <a:lnTo>
                        <a:pt x="296" y="491"/>
                      </a:lnTo>
                      <a:lnTo>
                        <a:pt x="320" y="498"/>
                      </a:lnTo>
                      <a:lnTo>
                        <a:pt x="311" y="499"/>
                      </a:lnTo>
                      <a:lnTo>
                        <a:pt x="310" y="508"/>
                      </a:lnTo>
                      <a:lnTo>
                        <a:pt x="301" y="502"/>
                      </a:lnTo>
                      <a:lnTo>
                        <a:pt x="286" y="486"/>
                      </a:lnTo>
                      <a:lnTo>
                        <a:pt x="281" y="482"/>
                      </a:lnTo>
                      <a:lnTo>
                        <a:pt x="284" y="470"/>
                      </a:lnTo>
                      <a:lnTo>
                        <a:pt x="274" y="475"/>
                      </a:lnTo>
                      <a:lnTo>
                        <a:pt x="265" y="475"/>
                      </a:lnTo>
                      <a:lnTo>
                        <a:pt x="261" y="481"/>
                      </a:lnTo>
                      <a:lnTo>
                        <a:pt x="262" y="487"/>
                      </a:lnTo>
                      <a:lnTo>
                        <a:pt x="268" y="491"/>
                      </a:lnTo>
                      <a:lnTo>
                        <a:pt x="273" y="487"/>
                      </a:lnTo>
                      <a:lnTo>
                        <a:pt x="275" y="498"/>
                      </a:lnTo>
                      <a:lnTo>
                        <a:pt x="261" y="499"/>
                      </a:lnTo>
                      <a:lnTo>
                        <a:pt x="251" y="491"/>
                      </a:lnTo>
                      <a:lnTo>
                        <a:pt x="246" y="491"/>
                      </a:lnTo>
                      <a:lnTo>
                        <a:pt x="248" y="498"/>
                      </a:lnTo>
                      <a:lnTo>
                        <a:pt x="243" y="495"/>
                      </a:lnTo>
                      <a:lnTo>
                        <a:pt x="237" y="481"/>
                      </a:lnTo>
                      <a:lnTo>
                        <a:pt x="229" y="482"/>
                      </a:lnTo>
                      <a:lnTo>
                        <a:pt x="220" y="476"/>
                      </a:lnTo>
                      <a:lnTo>
                        <a:pt x="216" y="487"/>
                      </a:lnTo>
                      <a:lnTo>
                        <a:pt x="213" y="483"/>
                      </a:lnTo>
                      <a:lnTo>
                        <a:pt x="210" y="488"/>
                      </a:lnTo>
                      <a:lnTo>
                        <a:pt x="209" y="499"/>
                      </a:lnTo>
                      <a:lnTo>
                        <a:pt x="204" y="499"/>
                      </a:lnTo>
                      <a:lnTo>
                        <a:pt x="182" y="480"/>
                      </a:lnTo>
                      <a:lnTo>
                        <a:pt x="178" y="471"/>
                      </a:lnTo>
                      <a:lnTo>
                        <a:pt x="191" y="471"/>
                      </a:lnTo>
                      <a:lnTo>
                        <a:pt x="189" y="466"/>
                      </a:lnTo>
                      <a:lnTo>
                        <a:pt x="173" y="465"/>
                      </a:lnTo>
                      <a:lnTo>
                        <a:pt x="151" y="472"/>
                      </a:lnTo>
                      <a:lnTo>
                        <a:pt x="144" y="470"/>
                      </a:lnTo>
                      <a:lnTo>
                        <a:pt x="139" y="461"/>
                      </a:lnTo>
                      <a:lnTo>
                        <a:pt x="134" y="465"/>
                      </a:lnTo>
                      <a:lnTo>
                        <a:pt x="127" y="461"/>
                      </a:lnTo>
                      <a:lnTo>
                        <a:pt x="125" y="458"/>
                      </a:lnTo>
                      <a:lnTo>
                        <a:pt x="124" y="449"/>
                      </a:lnTo>
                      <a:lnTo>
                        <a:pt x="125" y="438"/>
                      </a:lnTo>
                      <a:lnTo>
                        <a:pt x="125" y="431"/>
                      </a:lnTo>
                      <a:lnTo>
                        <a:pt x="122" y="423"/>
                      </a:lnTo>
                      <a:lnTo>
                        <a:pt x="124" y="421"/>
                      </a:lnTo>
                      <a:lnTo>
                        <a:pt x="137" y="427"/>
                      </a:lnTo>
                      <a:lnTo>
                        <a:pt x="139" y="422"/>
                      </a:lnTo>
                      <a:lnTo>
                        <a:pt x="135" y="413"/>
                      </a:lnTo>
                      <a:lnTo>
                        <a:pt x="144" y="418"/>
                      </a:lnTo>
                      <a:lnTo>
                        <a:pt x="156" y="416"/>
                      </a:lnTo>
                      <a:lnTo>
                        <a:pt x="157" y="412"/>
                      </a:lnTo>
                      <a:lnTo>
                        <a:pt x="145" y="410"/>
                      </a:lnTo>
                      <a:lnTo>
                        <a:pt x="150" y="404"/>
                      </a:lnTo>
                      <a:lnTo>
                        <a:pt x="143" y="400"/>
                      </a:lnTo>
                      <a:lnTo>
                        <a:pt x="124" y="397"/>
                      </a:lnTo>
                      <a:lnTo>
                        <a:pt x="116" y="388"/>
                      </a:lnTo>
                      <a:lnTo>
                        <a:pt x="116" y="380"/>
                      </a:lnTo>
                      <a:lnTo>
                        <a:pt x="119" y="382"/>
                      </a:lnTo>
                      <a:lnTo>
                        <a:pt x="121" y="372"/>
                      </a:lnTo>
                      <a:lnTo>
                        <a:pt x="138" y="348"/>
                      </a:lnTo>
                      <a:lnTo>
                        <a:pt x="124" y="357"/>
                      </a:lnTo>
                      <a:lnTo>
                        <a:pt x="116" y="373"/>
                      </a:lnTo>
                      <a:lnTo>
                        <a:pt x="109" y="380"/>
                      </a:lnTo>
                      <a:lnTo>
                        <a:pt x="109" y="364"/>
                      </a:lnTo>
                      <a:lnTo>
                        <a:pt x="107" y="356"/>
                      </a:lnTo>
                      <a:lnTo>
                        <a:pt x="107" y="345"/>
                      </a:lnTo>
                      <a:lnTo>
                        <a:pt x="109" y="336"/>
                      </a:lnTo>
                      <a:lnTo>
                        <a:pt x="97" y="348"/>
                      </a:lnTo>
                      <a:lnTo>
                        <a:pt x="90" y="342"/>
                      </a:lnTo>
                      <a:lnTo>
                        <a:pt x="86" y="352"/>
                      </a:lnTo>
                      <a:lnTo>
                        <a:pt x="80" y="348"/>
                      </a:lnTo>
                      <a:lnTo>
                        <a:pt x="76" y="353"/>
                      </a:lnTo>
                      <a:lnTo>
                        <a:pt x="73" y="341"/>
                      </a:lnTo>
                      <a:lnTo>
                        <a:pt x="73" y="325"/>
                      </a:lnTo>
                      <a:lnTo>
                        <a:pt x="65" y="319"/>
                      </a:lnTo>
                      <a:lnTo>
                        <a:pt x="57" y="335"/>
                      </a:lnTo>
                      <a:lnTo>
                        <a:pt x="55" y="346"/>
                      </a:lnTo>
                      <a:lnTo>
                        <a:pt x="51" y="331"/>
                      </a:lnTo>
                      <a:lnTo>
                        <a:pt x="46" y="336"/>
                      </a:lnTo>
                      <a:lnTo>
                        <a:pt x="44" y="347"/>
                      </a:lnTo>
                      <a:lnTo>
                        <a:pt x="32" y="347"/>
                      </a:lnTo>
                      <a:lnTo>
                        <a:pt x="26" y="346"/>
                      </a:lnTo>
                      <a:lnTo>
                        <a:pt x="22" y="341"/>
                      </a:lnTo>
                      <a:lnTo>
                        <a:pt x="16" y="340"/>
                      </a:lnTo>
                      <a:lnTo>
                        <a:pt x="10" y="330"/>
                      </a:lnTo>
                      <a:lnTo>
                        <a:pt x="3" y="309"/>
                      </a:lnTo>
                      <a:lnTo>
                        <a:pt x="1" y="294"/>
                      </a:lnTo>
                      <a:lnTo>
                        <a:pt x="0" y="280"/>
                      </a:lnTo>
                      <a:lnTo>
                        <a:pt x="3" y="269"/>
                      </a:lnTo>
                      <a:lnTo>
                        <a:pt x="3" y="255"/>
                      </a:lnTo>
                      <a:lnTo>
                        <a:pt x="6" y="246"/>
                      </a:lnTo>
                      <a:lnTo>
                        <a:pt x="21" y="234"/>
                      </a:lnTo>
                      <a:lnTo>
                        <a:pt x="27" y="242"/>
                      </a:lnTo>
                      <a:lnTo>
                        <a:pt x="33" y="235"/>
                      </a:lnTo>
                      <a:lnTo>
                        <a:pt x="43" y="234"/>
                      </a:lnTo>
                      <a:lnTo>
                        <a:pt x="42" y="244"/>
                      </a:lnTo>
                      <a:lnTo>
                        <a:pt x="48" y="249"/>
                      </a:lnTo>
                      <a:lnTo>
                        <a:pt x="52" y="240"/>
                      </a:lnTo>
                      <a:lnTo>
                        <a:pt x="53" y="230"/>
                      </a:lnTo>
                      <a:lnTo>
                        <a:pt x="57" y="228"/>
                      </a:lnTo>
                      <a:lnTo>
                        <a:pt x="58" y="206"/>
                      </a:lnTo>
                      <a:lnTo>
                        <a:pt x="64" y="206"/>
                      </a:lnTo>
                      <a:lnTo>
                        <a:pt x="65" y="199"/>
                      </a:lnTo>
                      <a:lnTo>
                        <a:pt x="62" y="189"/>
                      </a:lnTo>
                      <a:lnTo>
                        <a:pt x="70" y="186"/>
                      </a:lnTo>
                      <a:lnTo>
                        <a:pt x="70" y="174"/>
                      </a:lnTo>
                      <a:lnTo>
                        <a:pt x="74" y="171"/>
                      </a:lnTo>
                      <a:lnTo>
                        <a:pt x="79" y="162"/>
                      </a:lnTo>
                      <a:lnTo>
                        <a:pt x="85" y="156"/>
                      </a:lnTo>
                      <a:lnTo>
                        <a:pt x="86" y="149"/>
                      </a:lnTo>
                      <a:lnTo>
                        <a:pt x="75" y="158"/>
                      </a:lnTo>
                      <a:lnTo>
                        <a:pt x="71" y="152"/>
                      </a:lnTo>
                      <a:lnTo>
                        <a:pt x="76" y="140"/>
                      </a:lnTo>
                      <a:lnTo>
                        <a:pt x="68" y="141"/>
                      </a:lnTo>
                      <a:lnTo>
                        <a:pt x="52" y="126"/>
                      </a:lnTo>
                      <a:lnTo>
                        <a:pt x="55" y="111"/>
                      </a:lnTo>
                      <a:lnTo>
                        <a:pt x="73" y="97"/>
                      </a:lnTo>
                      <a:lnTo>
                        <a:pt x="85" y="90"/>
                      </a:lnTo>
                      <a:lnTo>
                        <a:pt x="91" y="95"/>
                      </a:lnTo>
                      <a:lnTo>
                        <a:pt x="103" y="87"/>
                      </a:lnTo>
                      <a:lnTo>
                        <a:pt x="95" y="87"/>
                      </a:lnTo>
                      <a:lnTo>
                        <a:pt x="90" y="81"/>
                      </a:lnTo>
                      <a:lnTo>
                        <a:pt x="94" y="74"/>
                      </a:lnTo>
                      <a:lnTo>
                        <a:pt x="100" y="72"/>
                      </a:lnTo>
                      <a:lnTo>
                        <a:pt x="97" y="66"/>
                      </a:lnTo>
                      <a:lnTo>
                        <a:pt x="92" y="61"/>
                      </a:lnTo>
                      <a:lnTo>
                        <a:pt x="91" y="52"/>
                      </a:lnTo>
                      <a:lnTo>
                        <a:pt x="109" y="30"/>
                      </a:lnTo>
                      <a:lnTo>
                        <a:pt x="124" y="2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36" name="Freeform 125"/>
                <p:cNvSpPr>
                  <a:spLocks noChangeAspect="1"/>
                </p:cNvSpPr>
                <p:nvPr/>
              </p:nvSpPr>
              <p:spPr bwMode="gray">
                <a:xfrm>
                  <a:off x="3104" y="1129"/>
                  <a:ext cx="169" cy="159"/>
                </a:xfrm>
                <a:custGeom>
                  <a:avLst/>
                  <a:gdLst/>
                  <a:ahLst/>
                  <a:cxnLst>
                    <a:cxn ang="0">
                      <a:pos x="31" y="669"/>
                    </a:cxn>
                    <a:cxn ang="0">
                      <a:pos x="88" y="629"/>
                    </a:cxn>
                    <a:cxn ang="0">
                      <a:pos x="84" y="616"/>
                    </a:cxn>
                    <a:cxn ang="0">
                      <a:pos x="83" y="578"/>
                    </a:cxn>
                    <a:cxn ang="0">
                      <a:pos x="109" y="554"/>
                    </a:cxn>
                    <a:cxn ang="0">
                      <a:pos x="106" y="527"/>
                    </a:cxn>
                    <a:cxn ang="0">
                      <a:pos x="144" y="509"/>
                    </a:cxn>
                    <a:cxn ang="0">
                      <a:pos x="113" y="481"/>
                    </a:cxn>
                    <a:cxn ang="0">
                      <a:pos x="103" y="457"/>
                    </a:cxn>
                    <a:cxn ang="0">
                      <a:pos x="105" y="410"/>
                    </a:cxn>
                    <a:cxn ang="0">
                      <a:pos x="163" y="404"/>
                    </a:cxn>
                    <a:cxn ang="0">
                      <a:pos x="230" y="351"/>
                    </a:cxn>
                    <a:cxn ang="0">
                      <a:pos x="259" y="310"/>
                    </a:cxn>
                    <a:cxn ang="0">
                      <a:pos x="302" y="253"/>
                    </a:cxn>
                    <a:cxn ang="0">
                      <a:pos x="372" y="196"/>
                    </a:cxn>
                    <a:cxn ang="0">
                      <a:pos x="385" y="219"/>
                    </a:cxn>
                    <a:cxn ang="0">
                      <a:pos x="398" y="169"/>
                    </a:cxn>
                    <a:cxn ang="0">
                      <a:pos x="426" y="161"/>
                    </a:cxn>
                    <a:cxn ang="0">
                      <a:pos x="502" y="184"/>
                    </a:cxn>
                    <a:cxn ang="0">
                      <a:pos x="572" y="161"/>
                    </a:cxn>
                    <a:cxn ang="0">
                      <a:pos x="615" y="124"/>
                    </a:cxn>
                    <a:cxn ang="0">
                      <a:pos x="660" y="105"/>
                    </a:cxn>
                    <a:cxn ang="0">
                      <a:pos x="689" y="39"/>
                    </a:cxn>
                    <a:cxn ang="0">
                      <a:pos x="750" y="0"/>
                    </a:cxn>
                    <a:cxn ang="0">
                      <a:pos x="832" y="36"/>
                    </a:cxn>
                    <a:cxn ang="0">
                      <a:pos x="829" y="110"/>
                    </a:cxn>
                    <a:cxn ang="0">
                      <a:pos x="799" y="176"/>
                    </a:cxn>
                    <a:cxn ang="0">
                      <a:pos x="733" y="221"/>
                    </a:cxn>
                    <a:cxn ang="0">
                      <a:pos x="648" y="244"/>
                    </a:cxn>
                    <a:cxn ang="0">
                      <a:pos x="614" y="276"/>
                    </a:cxn>
                    <a:cxn ang="0">
                      <a:pos x="540" y="304"/>
                    </a:cxn>
                    <a:cxn ang="0">
                      <a:pos x="472" y="372"/>
                    </a:cxn>
                    <a:cxn ang="0">
                      <a:pos x="391" y="442"/>
                    </a:cxn>
                    <a:cxn ang="0">
                      <a:pos x="374" y="453"/>
                    </a:cxn>
                    <a:cxn ang="0">
                      <a:pos x="358" y="511"/>
                    </a:cxn>
                    <a:cxn ang="0">
                      <a:pos x="331" y="520"/>
                    </a:cxn>
                    <a:cxn ang="0">
                      <a:pos x="294" y="530"/>
                    </a:cxn>
                    <a:cxn ang="0">
                      <a:pos x="297" y="562"/>
                    </a:cxn>
                    <a:cxn ang="0">
                      <a:pos x="249" y="547"/>
                    </a:cxn>
                    <a:cxn ang="0">
                      <a:pos x="273" y="603"/>
                    </a:cxn>
                    <a:cxn ang="0">
                      <a:pos x="262" y="625"/>
                    </a:cxn>
                    <a:cxn ang="0">
                      <a:pos x="251" y="651"/>
                    </a:cxn>
                    <a:cxn ang="0">
                      <a:pos x="213" y="601"/>
                    </a:cxn>
                    <a:cxn ang="0">
                      <a:pos x="221" y="652"/>
                    </a:cxn>
                    <a:cxn ang="0">
                      <a:pos x="228" y="687"/>
                    </a:cxn>
                    <a:cxn ang="0">
                      <a:pos x="179" y="679"/>
                    </a:cxn>
                    <a:cxn ang="0">
                      <a:pos x="211" y="723"/>
                    </a:cxn>
                    <a:cxn ang="0">
                      <a:pos x="185" y="718"/>
                    </a:cxn>
                    <a:cxn ang="0">
                      <a:pos x="192" y="760"/>
                    </a:cxn>
                    <a:cxn ang="0">
                      <a:pos x="159" y="794"/>
                    </a:cxn>
                    <a:cxn ang="0">
                      <a:pos x="82" y="761"/>
                    </a:cxn>
                    <a:cxn ang="0">
                      <a:pos x="39" y="757"/>
                    </a:cxn>
                    <a:cxn ang="0">
                      <a:pos x="63" y="724"/>
                    </a:cxn>
                    <a:cxn ang="0">
                      <a:pos x="52" y="713"/>
                    </a:cxn>
                    <a:cxn ang="0">
                      <a:pos x="0" y="692"/>
                    </a:cxn>
                  </a:cxnLst>
                  <a:rect l="0" t="0" r="r" b="b"/>
                  <a:pathLst>
                    <a:path w="843" h="796">
                      <a:moveTo>
                        <a:pt x="0" y="692"/>
                      </a:moveTo>
                      <a:lnTo>
                        <a:pt x="0" y="687"/>
                      </a:lnTo>
                      <a:lnTo>
                        <a:pt x="4" y="692"/>
                      </a:lnTo>
                      <a:lnTo>
                        <a:pt x="17" y="689"/>
                      </a:lnTo>
                      <a:lnTo>
                        <a:pt x="31" y="669"/>
                      </a:lnTo>
                      <a:lnTo>
                        <a:pt x="60" y="659"/>
                      </a:lnTo>
                      <a:lnTo>
                        <a:pt x="55" y="653"/>
                      </a:lnTo>
                      <a:lnTo>
                        <a:pt x="60" y="636"/>
                      </a:lnTo>
                      <a:lnTo>
                        <a:pt x="77" y="621"/>
                      </a:lnTo>
                      <a:lnTo>
                        <a:pt x="88" y="629"/>
                      </a:lnTo>
                      <a:lnTo>
                        <a:pt x="101" y="631"/>
                      </a:lnTo>
                      <a:lnTo>
                        <a:pt x="116" y="641"/>
                      </a:lnTo>
                      <a:lnTo>
                        <a:pt x="133" y="644"/>
                      </a:lnTo>
                      <a:lnTo>
                        <a:pt x="124" y="631"/>
                      </a:lnTo>
                      <a:lnTo>
                        <a:pt x="84" y="616"/>
                      </a:lnTo>
                      <a:lnTo>
                        <a:pt x="77" y="604"/>
                      </a:lnTo>
                      <a:lnTo>
                        <a:pt x="86" y="606"/>
                      </a:lnTo>
                      <a:lnTo>
                        <a:pt x="103" y="604"/>
                      </a:lnTo>
                      <a:lnTo>
                        <a:pt x="108" y="593"/>
                      </a:lnTo>
                      <a:lnTo>
                        <a:pt x="83" y="578"/>
                      </a:lnTo>
                      <a:lnTo>
                        <a:pt x="86" y="572"/>
                      </a:lnTo>
                      <a:lnTo>
                        <a:pt x="120" y="570"/>
                      </a:lnTo>
                      <a:lnTo>
                        <a:pt x="127" y="565"/>
                      </a:lnTo>
                      <a:lnTo>
                        <a:pt x="121" y="556"/>
                      </a:lnTo>
                      <a:lnTo>
                        <a:pt x="109" y="554"/>
                      </a:lnTo>
                      <a:lnTo>
                        <a:pt x="103" y="545"/>
                      </a:lnTo>
                      <a:lnTo>
                        <a:pt x="98" y="536"/>
                      </a:lnTo>
                      <a:lnTo>
                        <a:pt x="98" y="523"/>
                      </a:lnTo>
                      <a:lnTo>
                        <a:pt x="100" y="519"/>
                      </a:lnTo>
                      <a:lnTo>
                        <a:pt x="106" y="527"/>
                      </a:lnTo>
                      <a:lnTo>
                        <a:pt x="129" y="513"/>
                      </a:lnTo>
                      <a:lnTo>
                        <a:pt x="151" y="519"/>
                      </a:lnTo>
                      <a:lnTo>
                        <a:pt x="163" y="511"/>
                      </a:lnTo>
                      <a:lnTo>
                        <a:pt x="152" y="513"/>
                      </a:lnTo>
                      <a:lnTo>
                        <a:pt x="144" y="509"/>
                      </a:lnTo>
                      <a:lnTo>
                        <a:pt x="138" y="496"/>
                      </a:lnTo>
                      <a:lnTo>
                        <a:pt x="127" y="493"/>
                      </a:lnTo>
                      <a:lnTo>
                        <a:pt x="108" y="498"/>
                      </a:lnTo>
                      <a:lnTo>
                        <a:pt x="105" y="490"/>
                      </a:lnTo>
                      <a:lnTo>
                        <a:pt x="113" y="481"/>
                      </a:lnTo>
                      <a:lnTo>
                        <a:pt x="122" y="455"/>
                      </a:lnTo>
                      <a:lnTo>
                        <a:pt x="117" y="457"/>
                      </a:lnTo>
                      <a:lnTo>
                        <a:pt x="116" y="452"/>
                      </a:lnTo>
                      <a:lnTo>
                        <a:pt x="113" y="443"/>
                      </a:lnTo>
                      <a:lnTo>
                        <a:pt x="103" y="457"/>
                      </a:lnTo>
                      <a:lnTo>
                        <a:pt x="103" y="442"/>
                      </a:lnTo>
                      <a:lnTo>
                        <a:pt x="97" y="437"/>
                      </a:lnTo>
                      <a:lnTo>
                        <a:pt x="103" y="426"/>
                      </a:lnTo>
                      <a:lnTo>
                        <a:pt x="100" y="421"/>
                      </a:lnTo>
                      <a:lnTo>
                        <a:pt x="105" y="410"/>
                      </a:lnTo>
                      <a:lnTo>
                        <a:pt x="124" y="410"/>
                      </a:lnTo>
                      <a:lnTo>
                        <a:pt x="124" y="426"/>
                      </a:lnTo>
                      <a:lnTo>
                        <a:pt x="131" y="431"/>
                      </a:lnTo>
                      <a:lnTo>
                        <a:pt x="153" y="418"/>
                      </a:lnTo>
                      <a:lnTo>
                        <a:pt x="163" y="404"/>
                      </a:lnTo>
                      <a:lnTo>
                        <a:pt x="165" y="387"/>
                      </a:lnTo>
                      <a:lnTo>
                        <a:pt x="184" y="378"/>
                      </a:lnTo>
                      <a:lnTo>
                        <a:pt x="208" y="383"/>
                      </a:lnTo>
                      <a:lnTo>
                        <a:pt x="229" y="362"/>
                      </a:lnTo>
                      <a:lnTo>
                        <a:pt x="230" y="351"/>
                      </a:lnTo>
                      <a:lnTo>
                        <a:pt x="226" y="340"/>
                      </a:lnTo>
                      <a:lnTo>
                        <a:pt x="237" y="332"/>
                      </a:lnTo>
                      <a:lnTo>
                        <a:pt x="234" y="320"/>
                      </a:lnTo>
                      <a:lnTo>
                        <a:pt x="249" y="308"/>
                      </a:lnTo>
                      <a:lnTo>
                        <a:pt x="259" y="310"/>
                      </a:lnTo>
                      <a:lnTo>
                        <a:pt x="269" y="304"/>
                      </a:lnTo>
                      <a:lnTo>
                        <a:pt x="265" y="298"/>
                      </a:lnTo>
                      <a:lnTo>
                        <a:pt x="271" y="277"/>
                      </a:lnTo>
                      <a:lnTo>
                        <a:pt x="278" y="269"/>
                      </a:lnTo>
                      <a:lnTo>
                        <a:pt x="302" y="253"/>
                      </a:lnTo>
                      <a:lnTo>
                        <a:pt x="334" y="240"/>
                      </a:lnTo>
                      <a:lnTo>
                        <a:pt x="341" y="233"/>
                      </a:lnTo>
                      <a:lnTo>
                        <a:pt x="343" y="222"/>
                      </a:lnTo>
                      <a:lnTo>
                        <a:pt x="348" y="211"/>
                      </a:lnTo>
                      <a:lnTo>
                        <a:pt x="372" y="196"/>
                      </a:lnTo>
                      <a:lnTo>
                        <a:pt x="383" y="201"/>
                      </a:lnTo>
                      <a:lnTo>
                        <a:pt x="377" y="212"/>
                      </a:lnTo>
                      <a:lnTo>
                        <a:pt x="371" y="229"/>
                      </a:lnTo>
                      <a:lnTo>
                        <a:pt x="380" y="232"/>
                      </a:lnTo>
                      <a:lnTo>
                        <a:pt x="385" y="219"/>
                      </a:lnTo>
                      <a:lnTo>
                        <a:pt x="404" y="212"/>
                      </a:lnTo>
                      <a:lnTo>
                        <a:pt x="409" y="201"/>
                      </a:lnTo>
                      <a:lnTo>
                        <a:pt x="401" y="195"/>
                      </a:lnTo>
                      <a:lnTo>
                        <a:pt x="398" y="184"/>
                      </a:lnTo>
                      <a:lnTo>
                        <a:pt x="398" y="169"/>
                      </a:lnTo>
                      <a:lnTo>
                        <a:pt x="404" y="170"/>
                      </a:lnTo>
                      <a:lnTo>
                        <a:pt x="407" y="162"/>
                      </a:lnTo>
                      <a:lnTo>
                        <a:pt x="402" y="157"/>
                      </a:lnTo>
                      <a:lnTo>
                        <a:pt x="423" y="152"/>
                      </a:lnTo>
                      <a:lnTo>
                        <a:pt x="426" y="161"/>
                      </a:lnTo>
                      <a:lnTo>
                        <a:pt x="470" y="165"/>
                      </a:lnTo>
                      <a:lnTo>
                        <a:pt x="470" y="185"/>
                      </a:lnTo>
                      <a:lnTo>
                        <a:pt x="481" y="190"/>
                      </a:lnTo>
                      <a:lnTo>
                        <a:pt x="488" y="178"/>
                      </a:lnTo>
                      <a:lnTo>
                        <a:pt x="502" y="184"/>
                      </a:lnTo>
                      <a:lnTo>
                        <a:pt x="546" y="152"/>
                      </a:lnTo>
                      <a:lnTo>
                        <a:pt x="557" y="152"/>
                      </a:lnTo>
                      <a:lnTo>
                        <a:pt x="560" y="161"/>
                      </a:lnTo>
                      <a:lnTo>
                        <a:pt x="562" y="162"/>
                      </a:lnTo>
                      <a:lnTo>
                        <a:pt x="572" y="161"/>
                      </a:lnTo>
                      <a:lnTo>
                        <a:pt x="577" y="154"/>
                      </a:lnTo>
                      <a:lnTo>
                        <a:pt x="583" y="156"/>
                      </a:lnTo>
                      <a:lnTo>
                        <a:pt x="588" y="147"/>
                      </a:lnTo>
                      <a:lnTo>
                        <a:pt x="595" y="146"/>
                      </a:lnTo>
                      <a:lnTo>
                        <a:pt x="615" y="124"/>
                      </a:lnTo>
                      <a:lnTo>
                        <a:pt x="633" y="124"/>
                      </a:lnTo>
                      <a:lnTo>
                        <a:pt x="638" y="118"/>
                      </a:lnTo>
                      <a:lnTo>
                        <a:pt x="643" y="102"/>
                      </a:lnTo>
                      <a:lnTo>
                        <a:pt x="653" y="109"/>
                      </a:lnTo>
                      <a:lnTo>
                        <a:pt x="660" y="105"/>
                      </a:lnTo>
                      <a:lnTo>
                        <a:pt x="667" y="97"/>
                      </a:lnTo>
                      <a:lnTo>
                        <a:pt x="663" y="70"/>
                      </a:lnTo>
                      <a:lnTo>
                        <a:pt x="668" y="56"/>
                      </a:lnTo>
                      <a:lnTo>
                        <a:pt x="680" y="51"/>
                      </a:lnTo>
                      <a:lnTo>
                        <a:pt x="689" y="39"/>
                      </a:lnTo>
                      <a:lnTo>
                        <a:pt x="697" y="39"/>
                      </a:lnTo>
                      <a:lnTo>
                        <a:pt x="708" y="25"/>
                      </a:lnTo>
                      <a:lnTo>
                        <a:pt x="713" y="14"/>
                      </a:lnTo>
                      <a:lnTo>
                        <a:pt x="726" y="20"/>
                      </a:lnTo>
                      <a:lnTo>
                        <a:pt x="750" y="0"/>
                      </a:lnTo>
                      <a:lnTo>
                        <a:pt x="782" y="1"/>
                      </a:lnTo>
                      <a:lnTo>
                        <a:pt x="812" y="12"/>
                      </a:lnTo>
                      <a:lnTo>
                        <a:pt x="820" y="20"/>
                      </a:lnTo>
                      <a:lnTo>
                        <a:pt x="825" y="29"/>
                      </a:lnTo>
                      <a:lnTo>
                        <a:pt x="832" y="36"/>
                      </a:lnTo>
                      <a:lnTo>
                        <a:pt x="831" y="46"/>
                      </a:lnTo>
                      <a:lnTo>
                        <a:pt x="842" y="76"/>
                      </a:lnTo>
                      <a:lnTo>
                        <a:pt x="842" y="87"/>
                      </a:lnTo>
                      <a:lnTo>
                        <a:pt x="834" y="93"/>
                      </a:lnTo>
                      <a:lnTo>
                        <a:pt x="829" y="110"/>
                      </a:lnTo>
                      <a:lnTo>
                        <a:pt x="843" y="111"/>
                      </a:lnTo>
                      <a:lnTo>
                        <a:pt x="841" y="119"/>
                      </a:lnTo>
                      <a:lnTo>
                        <a:pt x="829" y="127"/>
                      </a:lnTo>
                      <a:lnTo>
                        <a:pt x="819" y="141"/>
                      </a:lnTo>
                      <a:lnTo>
                        <a:pt x="799" y="176"/>
                      </a:lnTo>
                      <a:lnTo>
                        <a:pt x="807" y="189"/>
                      </a:lnTo>
                      <a:lnTo>
                        <a:pt x="789" y="180"/>
                      </a:lnTo>
                      <a:lnTo>
                        <a:pt x="781" y="180"/>
                      </a:lnTo>
                      <a:lnTo>
                        <a:pt x="772" y="184"/>
                      </a:lnTo>
                      <a:lnTo>
                        <a:pt x="733" y="221"/>
                      </a:lnTo>
                      <a:lnTo>
                        <a:pt x="712" y="229"/>
                      </a:lnTo>
                      <a:lnTo>
                        <a:pt x="702" y="229"/>
                      </a:lnTo>
                      <a:lnTo>
                        <a:pt x="680" y="240"/>
                      </a:lnTo>
                      <a:lnTo>
                        <a:pt x="669" y="238"/>
                      </a:lnTo>
                      <a:lnTo>
                        <a:pt x="648" y="244"/>
                      </a:lnTo>
                      <a:lnTo>
                        <a:pt x="641" y="251"/>
                      </a:lnTo>
                      <a:lnTo>
                        <a:pt x="638" y="261"/>
                      </a:lnTo>
                      <a:lnTo>
                        <a:pt x="628" y="271"/>
                      </a:lnTo>
                      <a:lnTo>
                        <a:pt x="624" y="260"/>
                      </a:lnTo>
                      <a:lnTo>
                        <a:pt x="614" y="276"/>
                      </a:lnTo>
                      <a:lnTo>
                        <a:pt x="558" y="310"/>
                      </a:lnTo>
                      <a:lnTo>
                        <a:pt x="552" y="309"/>
                      </a:lnTo>
                      <a:lnTo>
                        <a:pt x="545" y="289"/>
                      </a:lnTo>
                      <a:lnTo>
                        <a:pt x="539" y="294"/>
                      </a:lnTo>
                      <a:lnTo>
                        <a:pt x="540" y="304"/>
                      </a:lnTo>
                      <a:lnTo>
                        <a:pt x="538" y="308"/>
                      </a:lnTo>
                      <a:lnTo>
                        <a:pt x="534" y="318"/>
                      </a:lnTo>
                      <a:lnTo>
                        <a:pt x="506" y="350"/>
                      </a:lnTo>
                      <a:lnTo>
                        <a:pt x="481" y="356"/>
                      </a:lnTo>
                      <a:lnTo>
                        <a:pt x="472" y="372"/>
                      </a:lnTo>
                      <a:lnTo>
                        <a:pt x="469" y="363"/>
                      </a:lnTo>
                      <a:lnTo>
                        <a:pt x="449" y="398"/>
                      </a:lnTo>
                      <a:lnTo>
                        <a:pt x="422" y="431"/>
                      </a:lnTo>
                      <a:lnTo>
                        <a:pt x="395" y="436"/>
                      </a:lnTo>
                      <a:lnTo>
                        <a:pt x="391" y="442"/>
                      </a:lnTo>
                      <a:lnTo>
                        <a:pt x="389" y="434"/>
                      </a:lnTo>
                      <a:lnTo>
                        <a:pt x="378" y="436"/>
                      </a:lnTo>
                      <a:lnTo>
                        <a:pt x="373" y="430"/>
                      </a:lnTo>
                      <a:lnTo>
                        <a:pt x="367" y="445"/>
                      </a:lnTo>
                      <a:lnTo>
                        <a:pt x="374" y="453"/>
                      </a:lnTo>
                      <a:lnTo>
                        <a:pt x="383" y="454"/>
                      </a:lnTo>
                      <a:lnTo>
                        <a:pt x="385" y="465"/>
                      </a:lnTo>
                      <a:lnTo>
                        <a:pt x="359" y="491"/>
                      </a:lnTo>
                      <a:lnTo>
                        <a:pt x="362" y="501"/>
                      </a:lnTo>
                      <a:lnTo>
                        <a:pt x="358" y="511"/>
                      </a:lnTo>
                      <a:lnTo>
                        <a:pt x="340" y="514"/>
                      </a:lnTo>
                      <a:lnTo>
                        <a:pt x="331" y="504"/>
                      </a:lnTo>
                      <a:lnTo>
                        <a:pt x="316" y="498"/>
                      </a:lnTo>
                      <a:lnTo>
                        <a:pt x="319" y="506"/>
                      </a:lnTo>
                      <a:lnTo>
                        <a:pt x="331" y="520"/>
                      </a:lnTo>
                      <a:lnTo>
                        <a:pt x="341" y="543"/>
                      </a:lnTo>
                      <a:lnTo>
                        <a:pt x="304" y="517"/>
                      </a:lnTo>
                      <a:lnTo>
                        <a:pt x="294" y="520"/>
                      </a:lnTo>
                      <a:lnTo>
                        <a:pt x="296" y="524"/>
                      </a:lnTo>
                      <a:lnTo>
                        <a:pt x="294" y="530"/>
                      </a:lnTo>
                      <a:lnTo>
                        <a:pt x="299" y="544"/>
                      </a:lnTo>
                      <a:lnTo>
                        <a:pt x="304" y="549"/>
                      </a:lnTo>
                      <a:lnTo>
                        <a:pt x="293" y="541"/>
                      </a:lnTo>
                      <a:lnTo>
                        <a:pt x="291" y="547"/>
                      </a:lnTo>
                      <a:lnTo>
                        <a:pt x="297" y="562"/>
                      </a:lnTo>
                      <a:lnTo>
                        <a:pt x="293" y="570"/>
                      </a:lnTo>
                      <a:lnTo>
                        <a:pt x="285" y="571"/>
                      </a:lnTo>
                      <a:lnTo>
                        <a:pt x="280" y="561"/>
                      </a:lnTo>
                      <a:lnTo>
                        <a:pt x="251" y="538"/>
                      </a:lnTo>
                      <a:lnTo>
                        <a:pt x="249" y="547"/>
                      </a:lnTo>
                      <a:lnTo>
                        <a:pt x="262" y="561"/>
                      </a:lnTo>
                      <a:lnTo>
                        <a:pt x="270" y="574"/>
                      </a:lnTo>
                      <a:lnTo>
                        <a:pt x="278" y="593"/>
                      </a:lnTo>
                      <a:lnTo>
                        <a:pt x="278" y="604"/>
                      </a:lnTo>
                      <a:lnTo>
                        <a:pt x="273" y="603"/>
                      </a:lnTo>
                      <a:lnTo>
                        <a:pt x="271" y="610"/>
                      </a:lnTo>
                      <a:lnTo>
                        <a:pt x="270" y="620"/>
                      </a:lnTo>
                      <a:lnTo>
                        <a:pt x="264" y="613"/>
                      </a:lnTo>
                      <a:lnTo>
                        <a:pt x="261" y="613"/>
                      </a:lnTo>
                      <a:lnTo>
                        <a:pt x="262" y="625"/>
                      </a:lnTo>
                      <a:lnTo>
                        <a:pt x="265" y="629"/>
                      </a:lnTo>
                      <a:lnTo>
                        <a:pt x="260" y="633"/>
                      </a:lnTo>
                      <a:lnTo>
                        <a:pt x="251" y="625"/>
                      </a:lnTo>
                      <a:lnTo>
                        <a:pt x="249" y="636"/>
                      </a:lnTo>
                      <a:lnTo>
                        <a:pt x="251" y="651"/>
                      </a:lnTo>
                      <a:lnTo>
                        <a:pt x="244" y="653"/>
                      </a:lnTo>
                      <a:lnTo>
                        <a:pt x="239" y="644"/>
                      </a:lnTo>
                      <a:lnTo>
                        <a:pt x="232" y="643"/>
                      </a:lnTo>
                      <a:lnTo>
                        <a:pt x="228" y="630"/>
                      </a:lnTo>
                      <a:lnTo>
                        <a:pt x="213" y="601"/>
                      </a:lnTo>
                      <a:lnTo>
                        <a:pt x="207" y="621"/>
                      </a:lnTo>
                      <a:lnTo>
                        <a:pt x="210" y="633"/>
                      </a:lnTo>
                      <a:lnTo>
                        <a:pt x="197" y="640"/>
                      </a:lnTo>
                      <a:lnTo>
                        <a:pt x="213" y="646"/>
                      </a:lnTo>
                      <a:lnTo>
                        <a:pt x="221" y="652"/>
                      </a:lnTo>
                      <a:lnTo>
                        <a:pt x="221" y="663"/>
                      </a:lnTo>
                      <a:lnTo>
                        <a:pt x="230" y="668"/>
                      </a:lnTo>
                      <a:lnTo>
                        <a:pt x="226" y="671"/>
                      </a:lnTo>
                      <a:lnTo>
                        <a:pt x="228" y="678"/>
                      </a:lnTo>
                      <a:lnTo>
                        <a:pt x="228" y="687"/>
                      </a:lnTo>
                      <a:lnTo>
                        <a:pt x="226" y="700"/>
                      </a:lnTo>
                      <a:lnTo>
                        <a:pt x="216" y="701"/>
                      </a:lnTo>
                      <a:lnTo>
                        <a:pt x="211" y="686"/>
                      </a:lnTo>
                      <a:lnTo>
                        <a:pt x="205" y="684"/>
                      </a:lnTo>
                      <a:lnTo>
                        <a:pt x="179" y="679"/>
                      </a:lnTo>
                      <a:lnTo>
                        <a:pt x="170" y="681"/>
                      </a:lnTo>
                      <a:lnTo>
                        <a:pt x="179" y="689"/>
                      </a:lnTo>
                      <a:lnTo>
                        <a:pt x="194" y="691"/>
                      </a:lnTo>
                      <a:lnTo>
                        <a:pt x="207" y="712"/>
                      </a:lnTo>
                      <a:lnTo>
                        <a:pt x="211" y="723"/>
                      </a:lnTo>
                      <a:lnTo>
                        <a:pt x="207" y="730"/>
                      </a:lnTo>
                      <a:lnTo>
                        <a:pt x="202" y="733"/>
                      </a:lnTo>
                      <a:lnTo>
                        <a:pt x="200" y="739"/>
                      </a:lnTo>
                      <a:lnTo>
                        <a:pt x="190" y="730"/>
                      </a:lnTo>
                      <a:lnTo>
                        <a:pt x="185" y="718"/>
                      </a:lnTo>
                      <a:lnTo>
                        <a:pt x="174" y="714"/>
                      </a:lnTo>
                      <a:lnTo>
                        <a:pt x="179" y="732"/>
                      </a:lnTo>
                      <a:lnTo>
                        <a:pt x="184" y="744"/>
                      </a:lnTo>
                      <a:lnTo>
                        <a:pt x="191" y="751"/>
                      </a:lnTo>
                      <a:lnTo>
                        <a:pt x="192" y="760"/>
                      </a:lnTo>
                      <a:lnTo>
                        <a:pt x="185" y="769"/>
                      </a:lnTo>
                      <a:lnTo>
                        <a:pt x="180" y="781"/>
                      </a:lnTo>
                      <a:lnTo>
                        <a:pt x="174" y="782"/>
                      </a:lnTo>
                      <a:lnTo>
                        <a:pt x="167" y="796"/>
                      </a:lnTo>
                      <a:lnTo>
                        <a:pt x="159" y="794"/>
                      </a:lnTo>
                      <a:lnTo>
                        <a:pt x="152" y="788"/>
                      </a:lnTo>
                      <a:lnTo>
                        <a:pt x="133" y="789"/>
                      </a:lnTo>
                      <a:lnTo>
                        <a:pt x="115" y="777"/>
                      </a:lnTo>
                      <a:lnTo>
                        <a:pt x="97" y="776"/>
                      </a:lnTo>
                      <a:lnTo>
                        <a:pt x="82" y="761"/>
                      </a:lnTo>
                      <a:lnTo>
                        <a:pt x="61" y="764"/>
                      </a:lnTo>
                      <a:lnTo>
                        <a:pt x="39" y="777"/>
                      </a:lnTo>
                      <a:lnTo>
                        <a:pt x="24" y="776"/>
                      </a:lnTo>
                      <a:lnTo>
                        <a:pt x="35" y="766"/>
                      </a:lnTo>
                      <a:lnTo>
                        <a:pt x="39" y="757"/>
                      </a:lnTo>
                      <a:lnTo>
                        <a:pt x="33" y="757"/>
                      </a:lnTo>
                      <a:lnTo>
                        <a:pt x="34" y="745"/>
                      </a:lnTo>
                      <a:lnTo>
                        <a:pt x="39" y="738"/>
                      </a:lnTo>
                      <a:lnTo>
                        <a:pt x="56" y="723"/>
                      </a:lnTo>
                      <a:lnTo>
                        <a:pt x="63" y="724"/>
                      </a:lnTo>
                      <a:lnTo>
                        <a:pt x="78" y="713"/>
                      </a:lnTo>
                      <a:lnTo>
                        <a:pt x="77" y="711"/>
                      </a:lnTo>
                      <a:lnTo>
                        <a:pt x="68" y="703"/>
                      </a:lnTo>
                      <a:lnTo>
                        <a:pt x="63" y="711"/>
                      </a:lnTo>
                      <a:lnTo>
                        <a:pt x="52" y="713"/>
                      </a:lnTo>
                      <a:lnTo>
                        <a:pt x="40" y="727"/>
                      </a:lnTo>
                      <a:lnTo>
                        <a:pt x="18" y="724"/>
                      </a:lnTo>
                      <a:lnTo>
                        <a:pt x="17" y="714"/>
                      </a:lnTo>
                      <a:lnTo>
                        <a:pt x="4" y="706"/>
                      </a:lnTo>
                      <a:lnTo>
                        <a:pt x="0" y="69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37" name="Freeform 126"/>
                <p:cNvSpPr>
                  <a:spLocks noChangeAspect="1"/>
                </p:cNvSpPr>
                <p:nvPr/>
              </p:nvSpPr>
              <p:spPr bwMode="gray">
                <a:xfrm>
                  <a:off x="3090" y="1355"/>
                  <a:ext cx="9" cy="16"/>
                </a:xfrm>
                <a:custGeom>
                  <a:avLst/>
                  <a:gdLst/>
                  <a:ahLst/>
                  <a:cxnLst>
                    <a:cxn ang="0">
                      <a:pos x="0" y="11"/>
                    </a:cxn>
                    <a:cxn ang="0">
                      <a:pos x="0" y="8"/>
                    </a:cxn>
                    <a:cxn ang="0">
                      <a:pos x="13" y="0"/>
                    </a:cxn>
                    <a:cxn ang="0">
                      <a:pos x="23" y="5"/>
                    </a:cxn>
                    <a:cxn ang="0">
                      <a:pos x="33" y="16"/>
                    </a:cxn>
                    <a:cxn ang="0">
                      <a:pos x="35" y="10"/>
                    </a:cxn>
                    <a:cxn ang="0">
                      <a:pos x="47" y="30"/>
                    </a:cxn>
                    <a:cxn ang="0">
                      <a:pos x="48" y="40"/>
                    </a:cxn>
                    <a:cxn ang="0">
                      <a:pos x="47" y="53"/>
                    </a:cxn>
                    <a:cxn ang="0">
                      <a:pos x="44" y="57"/>
                    </a:cxn>
                    <a:cxn ang="0">
                      <a:pos x="45" y="68"/>
                    </a:cxn>
                    <a:cxn ang="0">
                      <a:pos x="48" y="78"/>
                    </a:cxn>
                    <a:cxn ang="0">
                      <a:pos x="44" y="81"/>
                    </a:cxn>
                    <a:cxn ang="0">
                      <a:pos x="38" y="59"/>
                    </a:cxn>
                    <a:cxn ang="0">
                      <a:pos x="31" y="46"/>
                    </a:cxn>
                    <a:cxn ang="0">
                      <a:pos x="24" y="27"/>
                    </a:cxn>
                    <a:cxn ang="0">
                      <a:pos x="4" y="19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48" h="81">
                      <a:moveTo>
                        <a:pt x="0" y="11"/>
                      </a:moveTo>
                      <a:lnTo>
                        <a:pt x="0" y="8"/>
                      </a:lnTo>
                      <a:lnTo>
                        <a:pt x="13" y="0"/>
                      </a:lnTo>
                      <a:lnTo>
                        <a:pt x="23" y="5"/>
                      </a:lnTo>
                      <a:lnTo>
                        <a:pt x="33" y="16"/>
                      </a:lnTo>
                      <a:lnTo>
                        <a:pt x="35" y="10"/>
                      </a:lnTo>
                      <a:lnTo>
                        <a:pt x="47" y="30"/>
                      </a:lnTo>
                      <a:lnTo>
                        <a:pt x="48" y="40"/>
                      </a:lnTo>
                      <a:lnTo>
                        <a:pt x="47" y="53"/>
                      </a:lnTo>
                      <a:lnTo>
                        <a:pt x="44" y="57"/>
                      </a:lnTo>
                      <a:lnTo>
                        <a:pt x="45" y="68"/>
                      </a:lnTo>
                      <a:lnTo>
                        <a:pt x="48" y="78"/>
                      </a:lnTo>
                      <a:lnTo>
                        <a:pt x="44" y="81"/>
                      </a:lnTo>
                      <a:lnTo>
                        <a:pt x="38" y="59"/>
                      </a:lnTo>
                      <a:lnTo>
                        <a:pt x="31" y="46"/>
                      </a:lnTo>
                      <a:lnTo>
                        <a:pt x="24" y="27"/>
                      </a:lnTo>
                      <a:lnTo>
                        <a:pt x="4" y="19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38" name="Freeform 127"/>
                <p:cNvSpPr>
                  <a:spLocks noChangeAspect="1"/>
                </p:cNvSpPr>
                <p:nvPr/>
              </p:nvSpPr>
              <p:spPr bwMode="gray">
                <a:xfrm>
                  <a:off x="4042" y="1314"/>
                  <a:ext cx="17" cy="13"/>
                </a:xfrm>
                <a:custGeom>
                  <a:avLst/>
                  <a:gdLst/>
                  <a:ahLst/>
                  <a:cxnLst>
                    <a:cxn ang="0">
                      <a:pos x="44" y="7"/>
                    </a:cxn>
                    <a:cxn ang="0">
                      <a:pos x="57" y="9"/>
                    </a:cxn>
                    <a:cxn ang="0">
                      <a:pos x="84" y="4"/>
                    </a:cxn>
                    <a:cxn ang="0">
                      <a:pos x="85" y="7"/>
                    </a:cxn>
                    <a:cxn ang="0">
                      <a:pos x="84" y="14"/>
                    </a:cxn>
                    <a:cxn ang="0">
                      <a:pos x="79" y="27"/>
                    </a:cxn>
                    <a:cxn ang="0">
                      <a:pos x="76" y="37"/>
                    </a:cxn>
                    <a:cxn ang="0">
                      <a:pos x="71" y="45"/>
                    </a:cxn>
                    <a:cxn ang="0">
                      <a:pos x="70" y="40"/>
                    </a:cxn>
                    <a:cxn ang="0">
                      <a:pos x="70" y="26"/>
                    </a:cxn>
                    <a:cxn ang="0">
                      <a:pos x="62" y="51"/>
                    </a:cxn>
                    <a:cxn ang="0">
                      <a:pos x="54" y="50"/>
                    </a:cxn>
                    <a:cxn ang="0">
                      <a:pos x="44" y="42"/>
                    </a:cxn>
                    <a:cxn ang="0">
                      <a:pos x="36" y="52"/>
                    </a:cxn>
                    <a:cxn ang="0">
                      <a:pos x="20" y="51"/>
                    </a:cxn>
                    <a:cxn ang="0">
                      <a:pos x="17" y="57"/>
                    </a:cxn>
                    <a:cxn ang="0">
                      <a:pos x="13" y="61"/>
                    </a:cxn>
                    <a:cxn ang="0">
                      <a:pos x="0" y="46"/>
                    </a:cxn>
                    <a:cxn ang="0">
                      <a:pos x="4" y="40"/>
                    </a:cxn>
                    <a:cxn ang="0">
                      <a:pos x="11" y="37"/>
                    </a:cxn>
                    <a:cxn ang="0">
                      <a:pos x="10" y="29"/>
                    </a:cxn>
                    <a:cxn ang="0">
                      <a:pos x="13" y="23"/>
                    </a:cxn>
                    <a:cxn ang="0">
                      <a:pos x="19" y="20"/>
                    </a:cxn>
                    <a:cxn ang="0">
                      <a:pos x="19" y="14"/>
                    </a:cxn>
                    <a:cxn ang="0">
                      <a:pos x="16" y="4"/>
                    </a:cxn>
                    <a:cxn ang="0">
                      <a:pos x="25" y="0"/>
                    </a:cxn>
                    <a:cxn ang="0">
                      <a:pos x="41" y="2"/>
                    </a:cxn>
                    <a:cxn ang="0">
                      <a:pos x="44" y="3"/>
                    </a:cxn>
                    <a:cxn ang="0">
                      <a:pos x="44" y="7"/>
                    </a:cxn>
                  </a:cxnLst>
                  <a:rect l="0" t="0" r="r" b="b"/>
                  <a:pathLst>
                    <a:path w="85" h="61">
                      <a:moveTo>
                        <a:pt x="44" y="7"/>
                      </a:moveTo>
                      <a:lnTo>
                        <a:pt x="57" y="9"/>
                      </a:lnTo>
                      <a:lnTo>
                        <a:pt x="84" y="4"/>
                      </a:lnTo>
                      <a:lnTo>
                        <a:pt x="85" y="7"/>
                      </a:lnTo>
                      <a:lnTo>
                        <a:pt x="84" y="14"/>
                      </a:lnTo>
                      <a:lnTo>
                        <a:pt x="79" y="27"/>
                      </a:lnTo>
                      <a:lnTo>
                        <a:pt x="76" y="37"/>
                      </a:lnTo>
                      <a:lnTo>
                        <a:pt x="71" y="45"/>
                      </a:lnTo>
                      <a:lnTo>
                        <a:pt x="70" y="40"/>
                      </a:lnTo>
                      <a:lnTo>
                        <a:pt x="70" y="26"/>
                      </a:lnTo>
                      <a:lnTo>
                        <a:pt x="62" y="51"/>
                      </a:lnTo>
                      <a:lnTo>
                        <a:pt x="54" y="50"/>
                      </a:lnTo>
                      <a:lnTo>
                        <a:pt x="44" y="42"/>
                      </a:lnTo>
                      <a:lnTo>
                        <a:pt x="36" y="52"/>
                      </a:lnTo>
                      <a:lnTo>
                        <a:pt x="20" y="51"/>
                      </a:lnTo>
                      <a:lnTo>
                        <a:pt x="17" y="57"/>
                      </a:lnTo>
                      <a:lnTo>
                        <a:pt x="13" y="61"/>
                      </a:lnTo>
                      <a:lnTo>
                        <a:pt x="0" y="46"/>
                      </a:lnTo>
                      <a:lnTo>
                        <a:pt x="4" y="40"/>
                      </a:lnTo>
                      <a:lnTo>
                        <a:pt x="11" y="37"/>
                      </a:lnTo>
                      <a:lnTo>
                        <a:pt x="10" y="29"/>
                      </a:lnTo>
                      <a:lnTo>
                        <a:pt x="13" y="23"/>
                      </a:lnTo>
                      <a:lnTo>
                        <a:pt x="19" y="20"/>
                      </a:lnTo>
                      <a:lnTo>
                        <a:pt x="19" y="14"/>
                      </a:lnTo>
                      <a:lnTo>
                        <a:pt x="16" y="4"/>
                      </a:lnTo>
                      <a:lnTo>
                        <a:pt x="25" y="0"/>
                      </a:lnTo>
                      <a:lnTo>
                        <a:pt x="41" y="2"/>
                      </a:lnTo>
                      <a:lnTo>
                        <a:pt x="44" y="3"/>
                      </a:lnTo>
                      <a:lnTo>
                        <a:pt x="44" y="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39" name="Freeform 128"/>
                <p:cNvSpPr>
                  <a:spLocks noChangeAspect="1"/>
                </p:cNvSpPr>
                <p:nvPr/>
              </p:nvSpPr>
              <p:spPr bwMode="gray">
                <a:xfrm>
                  <a:off x="3158" y="1386"/>
                  <a:ext cx="22" cy="25"/>
                </a:xfrm>
                <a:custGeom>
                  <a:avLst/>
                  <a:gdLst/>
                  <a:ahLst/>
                  <a:cxnLst>
                    <a:cxn ang="0">
                      <a:pos x="15" y="75"/>
                    </a:cxn>
                    <a:cxn ang="0">
                      <a:pos x="12" y="75"/>
                    </a:cxn>
                    <a:cxn ang="0">
                      <a:pos x="7" y="57"/>
                    </a:cxn>
                    <a:cxn ang="0">
                      <a:pos x="7" y="49"/>
                    </a:cxn>
                    <a:cxn ang="0">
                      <a:pos x="3" y="47"/>
                    </a:cxn>
                    <a:cxn ang="0">
                      <a:pos x="0" y="36"/>
                    </a:cxn>
                    <a:cxn ang="0">
                      <a:pos x="10" y="41"/>
                    </a:cxn>
                    <a:cxn ang="0">
                      <a:pos x="19" y="38"/>
                    </a:cxn>
                    <a:cxn ang="0">
                      <a:pos x="6" y="25"/>
                    </a:cxn>
                    <a:cxn ang="0">
                      <a:pos x="10" y="23"/>
                    </a:cxn>
                    <a:cxn ang="0">
                      <a:pos x="15" y="15"/>
                    </a:cxn>
                    <a:cxn ang="0">
                      <a:pos x="19" y="3"/>
                    </a:cxn>
                    <a:cxn ang="0">
                      <a:pos x="27" y="0"/>
                    </a:cxn>
                    <a:cxn ang="0">
                      <a:pos x="37" y="16"/>
                    </a:cxn>
                    <a:cxn ang="0">
                      <a:pos x="46" y="23"/>
                    </a:cxn>
                    <a:cxn ang="0">
                      <a:pos x="52" y="38"/>
                    </a:cxn>
                    <a:cxn ang="0">
                      <a:pos x="68" y="46"/>
                    </a:cxn>
                    <a:cxn ang="0">
                      <a:pos x="82" y="62"/>
                    </a:cxn>
                    <a:cxn ang="0">
                      <a:pos x="109" y="98"/>
                    </a:cxn>
                    <a:cxn ang="0">
                      <a:pos x="112" y="108"/>
                    </a:cxn>
                    <a:cxn ang="0">
                      <a:pos x="103" y="123"/>
                    </a:cxn>
                    <a:cxn ang="0">
                      <a:pos x="96" y="118"/>
                    </a:cxn>
                    <a:cxn ang="0">
                      <a:pos x="89" y="117"/>
                    </a:cxn>
                    <a:cxn ang="0">
                      <a:pos x="85" y="122"/>
                    </a:cxn>
                    <a:cxn ang="0">
                      <a:pos x="74" y="122"/>
                    </a:cxn>
                    <a:cxn ang="0">
                      <a:pos x="60" y="112"/>
                    </a:cxn>
                    <a:cxn ang="0">
                      <a:pos x="64" y="103"/>
                    </a:cxn>
                    <a:cxn ang="0">
                      <a:pos x="54" y="96"/>
                    </a:cxn>
                    <a:cxn ang="0">
                      <a:pos x="44" y="95"/>
                    </a:cxn>
                    <a:cxn ang="0">
                      <a:pos x="26" y="82"/>
                    </a:cxn>
                    <a:cxn ang="0">
                      <a:pos x="31" y="95"/>
                    </a:cxn>
                    <a:cxn ang="0">
                      <a:pos x="39" y="106"/>
                    </a:cxn>
                    <a:cxn ang="0">
                      <a:pos x="37" y="113"/>
                    </a:cxn>
                    <a:cxn ang="0">
                      <a:pos x="28" y="95"/>
                    </a:cxn>
                    <a:cxn ang="0">
                      <a:pos x="15" y="75"/>
                    </a:cxn>
                  </a:cxnLst>
                  <a:rect l="0" t="0" r="r" b="b"/>
                  <a:pathLst>
                    <a:path w="112" h="123">
                      <a:moveTo>
                        <a:pt x="15" y="75"/>
                      </a:moveTo>
                      <a:lnTo>
                        <a:pt x="12" y="75"/>
                      </a:lnTo>
                      <a:lnTo>
                        <a:pt x="7" y="57"/>
                      </a:lnTo>
                      <a:lnTo>
                        <a:pt x="7" y="49"/>
                      </a:lnTo>
                      <a:lnTo>
                        <a:pt x="3" y="47"/>
                      </a:lnTo>
                      <a:lnTo>
                        <a:pt x="0" y="36"/>
                      </a:lnTo>
                      <a:lnTo>
                        <a:pt x="10" y="41"/>
                      </a:lnTo>
                      <a:lnTo>
                        <a:pt x="19" y="38"/>
                      </a:lnTo>
                      <a:lnTo>
                        <a:pt x="6" y="25"/>
                      </a:lnTo>
                      <a:lnTo>
                        <a:pt x="10" y="23"/>
                      </a:lnTo>
                      <a:lnTo>
                        <a:pt x="15" y="15"/>
                      </a:lnTo>
                      <a:lnTo>
                        <a:pt x="19" y="3"/>
                      </a:lnTo>
                      <a:lnTo>
                        <a:pt x="27" y="0"/>
                      </a:lnTo>
                      <a:lnTo>
                        <a:pt x="37" y="16"/>
                      </a:lnTo>
                      <a:lnTo>
                        <a:pt x="46" y="23"/>
                      </a:lnTo>
                      <a:lnTo>
                        <a:pt x="52" y="38"/>
                      </a:lnTo>
                      <a:lnTo>
                        <a:pt x="68" y="46"/>
                      </a:lnTo>
                      <a:lnTo>
                        <a:pt x="82" y="62"/>
                      </a:lnTo>
                      <a:lnTo>
                        <a:pt x="109" y="98"/>
                      </a:lnTo>
                      <a:lnTo>
                        <a:pt x="112" y="108"/>
                      </a:lnTo>
                      <a:lnTo>
                        <a:pt x="103" y="123"/>
                      </a:lnTo>
                      <a:lnTo>
                        <a:pt x="96" y="118"/>
                      </a:lnTo>
                      <a:lnTo>
                        <a:pt x="89" y="117"/>
                      </a:lnTo>
                      <a:lnTo>
                        <a:pt x="85" y="122"/>
                      </a:lnTo>
                      <a:lnTo>
                        <a:pt x="74" y="122"/>
                      </a:lnTo>
                      <a:lnTo>
                        <a:pt x="60" y="112"/>
                      </a:lnTo>
                      <a:lnTo>
                        <a:pt x="64" y="103"/>
                      </a:lnTo>
                      <a:lnTo>
                        <a:pt x="54" y="96"/>
                      </a:lnTo>
                      <a:lnTo>
                        <a:pt x="44" y="95"/>
                      </a:lnTo>
                      <a:lnTo>
                        <a:pt x="26" y="82"/>
                      </a:lnTo>
                      <a:lnTo>
                        <a:pt x="31" y="95"/>
                      </a:lnTo>
                      <a:lnTo>
                        <a:pt x="39" y="106"/>
                      </a:lnTo>
                      <a:lnTo>
                        <a:pt x="37" y="113"/>
                      </a:lnTo>
                      <a:lnTo>
                        <a:pt x="28" y="95"/>
                      </a:lnTo>
                      <a:lnTo>
                        <a:pt x="15" y="7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40" name="Freeform 129"/>
                <p:cNvSpPr>
                  <a:spLocks noChangeAspect="1"/>
                </p:cNvSpPr>
                <p:nvPr/>
              </p:nvSpPr>
              <p:spPr bwMode="gray">
                <a:xfrm>
                  <a:off x="3534" y="960"/>
                  <a:ext cx="81" cy="75"/>
                </a:xfrm>
                <a:custGeom>
                  <a:avLst/>
                  <a:gdLst/>
                  <a:ahLst/>
                  <a:cxnLst>
                    <a:cxn ang="0">
                      <a:pos x="81" y="49"/>
                    </a:cxn>
                    <a:cxn ang="0">
                      <a:pos x="90" y="63"/>
                    </a:cxn>
                    <a:cxn ang="0">
                      <a:pos x="54" y="79"/>
                    </a:cxn>
                    <a:cxn ang="0">
                      <a:pos x="47" y="106"/>
                    </a:cxn>
                    <a:cxn ang="0">
                      <a:pos x="0" y="138"/>
                    </a:cxn>
                    <a:cxn ang="0">
                      <a:pos x="17" y="168"/>
                    </a:cxn>
                    <a:cxn ang="0">
                      <a:pos x="19" y="154"/>
                    </a:cxn>
                    <a:cxn ang="0">
                      <a:pos x="31" y="142"/>
                    </a:cxn>
                    <a:cxn ang="0">
                      <a:pos x="45" y="154"/>
                    </a:cxn>
                    <a:cxn ang="0">
                      <a:pos x="51" y="168"/>
                    </a:cxn>
                    <a:cxn ang="0">
                      <a:pos x="71" y="160"/>
                    </a:cxn>
                    <a:cxn ang="0">
                      <a:pos x="75" y="181"/>
                    </a:cxn>
                    <a:cxn ang="0">
                      <a:pos x="76" y="220"/>
                    </a:cxn>
                    <a:cxn ang="0">
                      <a:pos x="83" y="247"/>
                    </a:cxn>
                    <a:cxn ang="0">
                      <a:pos x="103" y="276"/>
                    </a:cxn>
                    <a:cxn ang="0">
                      <a:pos x="120" y="302"/>
                    </a:cxn>
                    <a:cxn ang="0">
                      <a:pos x="157" y="255"/>
                    </a:cxn>
                    <a:cxn ang="0">
                      <a:pos x="161" y="298"/>
                    </a:cxn>
                    <a:cxn ang="0">
                      <a:pos x="176" y="300"/>
                    </a:cxn>
                    <a:cxn ang="0">
                      <a:pos x="185" y="313"/>
                    </a:cxn>
                    <a:cxn ang="0">
                      <a:pos x="233" y="338"/>
                    </a:cxn>
                    <a:cxn ang="0">
                      <a:pos x="260" y="354"/>
                    </a:cxn>
                    <a:cxn ang="0">
                      <a:pos x="327" y="373"/>
                    </a:cxn>
                    <a:cxn ang="0">
                      <a:pos x="350" y="366"/>
                    </a:cxn>
                    <a:cxn ang="0">
                      <a:pos x="365" y="348"/>
                    </a:cxn>
                    <a:cxn ang="0">
                      <a:pos x="375" y="322"/>
                    </a:cxn>
                    <a:cxn ang="0">
                      <a:pos x="377" y="295"/>
                    </a:cxn>
                    <a:cxn ang="0">
                      <a:pos x="366" y="262"/>
                    </a:cxn>
                    <a:cxn ang="0">
                      <a:pos x="339" y="232"/>
                    </a:cxn>
                    <a:cxn ang="0">
                      <a:pos x="371" y="232"/>
                    </a:cxn>
                    <a:cxn ang="0">
                      <a:pos x="376" y="190"/>
                    </a:cxn>
                    <a:cxn ang="0">
                      <a:pos x="377" y="160"/>
                    </a:cxn>
                    <a:cxn ang="0">
                      <a:pos x="383" y="139"/>
                    </a:cxn>
                    <a:cxn ang="0">
                      <a:pos x="405" y="107"/>
                    </a:cxn>
                    <a:cxn ang="0">
                      <a:pos x="386" y="103"/>
                    </a:cxn>
                    <a:cxn ang="0">
                      <a:pos x="390" y="72"/>
                    </a:cxn>
                    <a:cxn ang="0">
                      <a:pos x="384" y="65"/>
                    </a:cxn>
                    <a:cxn ang="0">
                      <a:pos x="367" y="18"/>
                    </a:cxn>
                    <a:cxn ang="0">
                      <a:pos x="359" y="0"/>
                    </a:cxn>
                    <a:cxn ang="0">
                      <a:pos x="335" y="2"/>
                    </a:cxn>
                    <a:cxn ang="0">
                      <a:pos x="306" y="0"/>
                    </a:cxn>
                    <a:cxn ang="0">
                      <a:pos x="306" y="32"/>
                    </a:cxn>
                    <a:cxn ang="0">
                      <a:pos x="269" y="75"/>
                    </a:cxn>
                    <a:cxn ang="0">
                      <a:pos x="237" y="95"/>
                    </a:cxn>
                    <a:cxn ang="0">
                      <a:pos x="255" y="66"/>
                    </a:cxn>
                    <a:cxn ang="0">
                      <a:pos x="265" y="45"/>
                    </a:cxn>
                    <a:cxn ang="0">
                      <a:pos x="291" y="2"/>
                    </a:cxn>
                    <a:cxn ang="0">
                      <a:pos x="97" y="0"/>
                    </a:cxn>
                    <a:cxn ang="0">
                      <a:pos x="77" y="32"/>
                    </a:cxn>
                  </a:cxnLst>
                  <a:rect l="0" t="0" r="r" b="b"/>
                  <a:pathLst>
                    <a:path w="405" h="373">
                      <a:moveTo>
                        <a:pt x="77" y="32"/>
                      </a:moveTo>
                      <a:lnTo>
                        <a:pt x="81" y="49"/>
                      </a:lnTo>
                      <a:lnTo>
                        <a:pt x="91" y="55"/>
                      </a:lnTo>
                      <a:lnTo>
                        <a:pt x="90" y="63"/>
                      </a:lnTo>
                      <a:lnTo>
                        <a:pt x="80" y="72"/>
                      </a:lnTo>
                      <a:lnTo>
                        <a:pt x="54" y="79"/>
                      </a:lnTo>
                      <a:lnTo>
                        <a:pt x="49" y="91"/>
                      </a:lnTo>
                      <a:lnTo>
                        <a:pt x="47" y="106"/>
                      </a:lnTo>
                      <a:lnTo>
                        <a:pt x="16" y="141"/>
                      </a:lnTo>
                      <a:lnTo>
                        <a:pt x="0" y="138"/>
                      </a:lnTo>
                      <a:lnTo>
                        <a:pt x="13" y="149"/>
                      </a:lnTo>
                      <a:lnTo>
                        <a:pt x="17" y="168"/>
                      </a:lnTo>
                      <a:lnTo>
                        <a:pt x="21" y="163"/>
                      </a:lnTo>
                      <a:lnTo>
                        <a:pt x="19" y="154"/>
                      </a:lnTo>
                      <a:lnTo>
                        <a:pt x="21" y="146"/>
                      </a:lnTo>
                      <a:lnTo>
                        <a:pt x="31" y="142"/>
                      </a:lnTo>
                      <a:lnTo>
                        <a:pt x="38" y="160"/>
                      </a:lnTo>
                      <a:lnTo>
                        <a:pt x="45" y="154"/>
                      </a:lnTo>
                      <a:lnTo>
                        <a:pt x="50" y="158"/>
                      </a:lnTo>
                      <a:lnTo>
                        <a:pt x="51" y="168"/>
                      </a:lnTo>
                      <a:lnTo>
                        <a:pt x="64" y="160"/>
                      </a:lnTo>
                      <a:lnTo>
                        <a:pt x="71" y="160"/>
                      </a:lnTo>
                      <a:lnTo>
                        <a:pt x="71" y="168"/>
                      </a:lnTo>
                      <a:lnTo>
                        <a:pt x="75" y="181"/>
                      </a:lnTo>
                      <a:lnTo>
                        <a:pt x="76" y="192"/>
                      </a:lnTo>
                      <a:lnTo>
                        <a:pt x="76" y="220"/>
                      </a:lnTo>
                      <a:lnTo>
                        <a:pt x="77" y="236"/>
                      </a:lnTo>
                      <a:lnTo>
                        <a:pt x="83" y="247"/>
                      </a:lnTo>
                      <a:lnTo>
                        <a:pt x="97" y="257"/>
                      </a:lnTo>
                      <a:lnTo>
                        <a:pt x="103" y="276"/>
                      </a:lnTo>
                      <a:lnTo>
                        <a:pt x="115" y="289"/>
                      </a:lnTo>
                      <a:lnTo>
                        <a:pt x="120" y="302"/>
                      </a:lnTo>
                      <a:lnTo>
                        <a:pt x="144" y="278"/>
                      </a:lnTo>
                      <a:lnTo>
                        <a:pt x="157" y="255"/>
                      </a:lnTo>
                      <a:lnTo>
                        <a:pt x="160" y="269"/>
                      </a:lnTo>
                      <a:lnTo>
                        <a:pt x="161" y="298"/>
                      </a:lnTo>
                      <a:lnTo>
                        <a:pt x="166" y="306"/>
                      </a:lnTo>
                      <a:lnTo>
                        <a:pt x="176" y="300"/>
                      </a:lnTo>
                      <a:lnTo>
                        <a:pt x="187" y="303"/>
                      </a:lnTo>
                      <a:lnTo>
                        <a:pt x="185" y="313"/>
                      </a:lnTo>
                      <a:lnTo>
                        <a:pt x="228" y="327"/>
                      </a:lnTo>
                      <a:lnTo>
                        <a:pt x="233" y="338"/>
                      </a:lnTo>
                      <a:lnTo>
                        <a:pt x="254" y="348"/>
                      </a:lnTo>
                      <a:lnTo>
                        <a:pt x="260" y="354"/>
                      </a:lnTo>
                      <a:lnTo>
                        <a:pt x="265" y="366"/>
                      </a:lnTo>
                      <a:lnTo>
                        <a:pt x="327" y="373"/>
                      </a:lnTo>
                      <a:lnTo>
                        <a:pt x="338" y="365"/>
                      </a:lnTo>
                      <a:lnTo>
                        <a:pt x="350" y="366"/>
                      </a:lnTo>
                      <a:lnTo>
                        <a:pt x="351" y="351"/>
                      </a:lnTo>
                      <a:lnTo>
                        <a:pt x="365" y="348"/>
                      </a:lnTo>
                      <a:lnTo>
                        <a:pt x="376" y="338"/>
                      </a:lnTo>
                      <a:lnTo>
                        <a:pt x="375" y="322"/>
                      </a:lnTo>
                      <a:lnTo>
                        <a:pt x="377" y="313"/>
                      </a:lnTo>
                      <a:lnTo>
                        <a:pt x="377" y="295"/>
                      </a:lnTo>
                      <a:lnTo>
                        <a:pt x="365" y="275"/>
                      </a:lnTo>
                      <a:lnTo>
                        <a:pt x="366" y="262"/>
                      </a:lnTo>
                      <a:lnTo>
                        <a:pt x="356" y="259"/>
                      </a:lnTo>
                      <a:lnTo>
                        <a:pt x="339" y="232"/>
                      </a:lnTo>
                      <a:lnTo>
                        <a:pt x="336" y="212"/>
                      </a:lnTo>
                      <a:lnTo>
                        <a:pt x="371" y="232"/>
                      </a:lnTo>
                      <a:lnTo>
                        <a:pt x="376" y="216"/>
                      </a:lnTo>
                      <a:lnTo>
                        <a:pt x="376" y="190"/>
                      </a:lnTo>
                      <a:lnTo>
                        <a:pt x="375" y="163"/>
                      </a:lnTo>
                      <a:lnTo>
                        <a:pt x="377" y="160"/>
                      </a:lnTo>
                      <a:lnTo>
                        <a:pt x="378" y="147"/>
                      </a:lnTo>
                      <a:lnTo>
                        <a:pt x="383" y="139"/>
                      </a:lnTo>
                      <a:lnTo>
                        <a:pt x="388" y="113"/>
                      </a:lnTo>
                      <a:lnTo>
                        <a:pt x="405" y="107"/>
                      </a:lnTo>
                      <a:lnTo>
                        <a:pt x="399" y="102"/>
                      </a:lnTo>
                      <a:lnTo>
                        <a:pt x="386" y="103"/>
                      </a:lnTo>
                      <a:lnTo>
                        <a:pt x="384" y="90"/>
                      </a:lnTo>
                      <a:lnTo>
                        <a:pt x="390" y="72"/>
                      </a:lnTo>
                      <a:lnTo>
                        <a:pt x="392" y="60"/>
                      </a:lnTo>
                      <a:lnTo>
                        <a:pt x="384" y="65"/>
                      </a:lnTo>
                      <a:lnTo>
                        <a:pt x="386" y="53"/>
                      </a:lnTo>
                      <a:lnTo>
                        <a:pt x="367" y="18"/>
                      </a:lnTo>
                      <a:lnTo>
                        <a:pt x="366" y="6"/>
                      </a:lnTo>
                      <a:lnTo>
                        <a:pt x="359" y="0"/>
                      </a:lnTo>
                      <a:lnTo>
                        <a:pt x="344" y="0"/>
                      </a:lnTo>
                      <a:lnTo>
                        <a:pt x="335" y="2"/>
                      </a:lnTo>
                      <a:lnTo>
                        <a:pt x="330" y="0"/>
                      </a:lnTo>
                      <a:lnTo>
                        <a:pt x="306" y="0"/>
                      </a:lnTo>
                      <a:lnTo>
                        <a:pt x="308" y="2"/>
                      </a:lnTo>
                      <a:lnTo>
                        <a:pt x="306" y="32"/>
                      </a:lnTo>
                      <a:lnTo>
                        <a:pt x="282" y="50"/>
                      </a:lnTo>
                      <a:lnTo>
                        <a:pt x="269" y="75"/>
                      </a:lnTo>
                      <a:lnTo>
                        <a:pt x="253" y="77"/>
                      </a:lnTo>
                      <a:lnTo>
                        <a:pt x="237" y="95"/>
                      </a:lnTo>
                      <a:lnTo>
                        <a:pt x="223" y="92"/>
                      </a:lnTo>
                      <a:lnTo>
                        <a:pt x="255" y="66"/>
                      </a:lnTo>
                      <a:lnTo>
                        <a:pt x="265" y="68"/>
                      </a:lnTo>
                      <a:lnTo>
                        <a:pt x="265" y="45"/>
                      </a:lnTo>
                      <a:lnTo>
                        <a:pt x="290" y="33"/>
                      </a:lnTo>
                      <a:lnTo>
                        <a:pt x="291" y="2"/>
                      </a:lnTo>
                      <a:lnTo>
                        <a:pt x="290" y="0"/>
                      </a:lnTo>
                      <a:lnTo>
                        <a:pt x="97" y="0"/>
                      </a:lnTo>
                      <a:lnTo>
                        <a:pt x="83" y="15"/>
                      </a:lnTo>
                      <a:lnTo>
                        <a:pt x="77" y="3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41" name="Freeform 130"/>
                <p:cNvSpPr>
                  <a:spLocks noChangeAspect="1"/>
                </p:cNvSpPr>
                <p:nvPr/>
              </p:nvSpPr>
              <p:spPr bwMode="gray">
                <a:xfrm>
                  <a:off x="4473" y="1348"/>
                  <a:ext cx="44" cy="25"/>
                </a:xfrm>
                <a:custGeom>
                  <a:avLst/>
                  <a:gdLst/>
                  <a:ahLst/>
                  <a:cxnLst>
                    <a:cxn ang="0">
                      <a:pos x="82" y="99"/>
                    </a:cxn>
                    <a:cxn ang="0">
                      <a:pos x="78" y="98"/>
                    </a:cxn>
                    <a:cxn ang="0">
                      <a:pos x="69" y="103"/>
                    </a:cxn>
                    <a:cxn ang="0">
                      <a:pos x="63" y="110"/>
                    </a:cxn>
                    <a:cxn ang="0">
                      <a:pos x="60" y="119"/>
                    </a:cxn>
                    <a:cxn ang="0">
                      <a:pos x="38" y="121"/>
                    </a:cxn>
                    <a:cxn ang="0">
                      <a:pos x="36" y="118"/>
                    </a:cxn>
                    <a:cxn ang="0">
                      <a:pos x="16" y="125"/>
                    </a:cxn>
                    <a:cxn ang="0">
                      <a:pos x="15" y="116"/>
                    </a:cxn>
                    <a:cxn ang="0">
                      <a:pos x="4" y="100"/>
                    </a:cxn>
                    <a:cxn ang="0">
                      <a:pos x="0" y="91"/>
                    </a:cxn>
                    <a:cxn ang="0">
                      <a:pos x="4" y="78"/>
                    </a:cxn>
                    <a:cxn ang="0">
                      <a:pos x="12" y="72"/>
                    </a:cxn>
                    <a:cxn ang="0">
                      <a:pos x="16" y="60"/>
                    </a:cxn>
                    <a:cxn ang="0">
                      <a:pos x="36" y="43"/>
                    </a:cxn>
                    <a:cxn ang="0">
                      <a:pos x="42" y="33"/>
                    </a:cxn>
                    <a:cxn ang="0">
                      <a:pos x="55" y="19"/>
                    </a:cxn>
                    <a:cxn ang="0">
                      <a:pos x="63" y="19"/>
                    </a:cxn>
                    <a:cxn ang="0">
                      <a:pos x="66" y="10"/>
                    </a:cxn>
                    <a:cxn ang="0">
                      <a:pos x="82" y="5"/>
                    </a:cxn>
                    <a:cxn ang="0">
                      <a:pos x="82" y="3"/>
                    </a:cxn>
                    <a:cxn ang="0">
                      <a:pos x="82" y="5"/>
                    </a:cxn>
                    <a:cxn ang="0">
                      <a:pos x="84" y="3"/>
                    </a:cxn>
                    <a:cxn ang="0">
                      <a:pos x="84" y="5"/>
                    </a:cxn>
                    <a:cxn ang="0">
                      <a:pos x="90" y="6"/>
                    </a:cxn>
                    <a:cxn ang="0">
                      <a:pos x="101" y="1"/>
                    </a:cxn>
                    <a:cxn ang="0">
                      <a:pos x="114" y="10"/>
                    </a:cxn>
                    <a:cxn ang="0">
                      <a:pos x="127" y="1"/>
                    </a:cxn>
                    <a:cxn ang="0">
                      <a:pos x="133" y="3"/>
                    </a:cxn>
                    <a:cxn ang="0">
                      <a:pos x="135" y="0"/>
                    </a:cxn>
                    <a:cxn ang="0">
                      <a:pos x="156" y="11"/>
                    </a:cxn>
                    <a:cxn ang="0">
                      <a:pos x="184" y="19"/>
                    </a:cxn>
                    <a:cxn ang="0">
                      <a:pos x="188" y="24"/>
                    </a:cxn>
                    <a:cxn ang="0">
                      <a:pos x="186" y="28"/>
                    </a:cxn>
                    <a:cxn ang="0">
                      <a:pos x="186" y="32"/>
                    </a:cxn>
                    <a:cxn ang="0">
                      <a:pos x="214" y="55"/>
                    </a:cxn>
                    <a:cxn ang="0">
                      <a:pos x="218" y="67"/>
                    </a:cxn>
                    <a:cxn ang="0">
                      <a:pos x="214" y="77"/>
                    </a:cxn>
                    <a:cxn ang="0">
                      <a:pos x="193" y="91"/>
                    </a:cxn>
                    <a:cxn ang="0">
                      <a:pos x="143" y="107"/>
                    </a:cxn>
                    <a:cxn ang="0">
                      <a:pos x="133" y="113"/>
                    </a:cxn>
                    <a:cxn ang="0">
                      <a:pos x="113" y="109"/>
                    </a:cxn>
                    <a:cxn ang="0">
                      <a:pos x="107" y="104"/>
                    </a:cxn>
                    <a:cxn ang="0">
                      <a:pos x="82" y="100"/>
                    </a:cxn>
                    <a:cxn ang="0">
                      <a:pos x="82" y="99"/>
                    </a:cxn>
                  </a:cxnLst>
                  <a:rect l="0" t="0" r="r" b="b"/>
                  <a:pathLst>
                    <a:path w="218" h="125">
                      <a:moveTo>
                        <a:pt x="82" y="99"/>
                      </a:moveTo>
                      <a:lnTo>
                        <a:pt x="78" y="98"/>
                      </a:lnTo>
                      <a:lnTo>
                        <a:pt x="69" y="103"/>
                      </a:lnTo>
                      <a:lnTo>
                        <a:pt x="63" y="110"/>
                      </a:lnTo>
                      <a:lnTo>
                        <a:pt x="60" y="119"/>
                      </a:lnTo>
                      <a:lnTo>
                        <a:pt x="38" y="121"/>
                      </a:lnTo>
                      <a:lnTo>
                        <a:pt x="36" y="118"/>
                      </a:lnTo>
                      <a:lnTo>
                        <a:pt x="16" y="125"/>
                      </a:lnTo>
                      <a:lnTo>
                        <a:pt x="15" y="116"/>
                      </a:lnTo>
                      <a:lnTo>
                        <a:pt x="4" y="100"/>
                      </a:lnTo>
                      <a:lnTo>
                        <a:pt x="0" y="91"/>
                      </a:lnTo>
                      <a:lnTo>
                        <a:pt x="4" y="78"/>
                      </a:lnTo>
                      <a:lnTo>
                        <a:pt x="12" y="72"/>
                      </a:lnTo>
                      <a:lnTo>
                        <a:pt x="16" y="60"/>
                      </a:lnTo>
                      <a:lnTo>
                        <a:pt x="36" y="43"/>
                      </a:lnTo>
                      <a:lnTo>
                        <a:pt x="42" y="33"/>
                      </a:lnTo>
                      <a:lnTo>
                        <a:pt x="55" y="19"/>
                      </a:lnTo>
                      <a:lnTo>
                        <a:pt x="63" y="19"/>
                      </a:lnTo>
                      <a:lnTo>
                        <a:pt x="66" y="10"/>
                      </a:lnTo>
                      <a:lnTo>
                        <a:pt x="82" y="5"/>
                      </a:lnTo>
                      <a:lnTo>
                        <a:pt x="82" y="3"/>
                      </a:lnTo>
                      <a:lnTo>
                        <a:pt x="82" y="5"/>
                      </a:lnTo>
                      <a:lnTo>
                        <a:pt x="84" y="3"/>
                      </a:lnTo>
                      <a:lnTo>
                        <a:pt x="84" y="5"/>
                      </a:lnTo>
                      <a:lnTo>
                        <a:pt x="90" y="6"/>
                      </a:lnTo>
                      <a:lnTo>
                        <a:pt x="101" y="1"/>
                      </a:lnTo>
                      <a:lnTo>
                        <a:pt x="114" y="10"/>
                      </a:lnTo>
                      <a:lnTo>
                        <a:pt x="127" y="1"/>
                      </a:lnTo>
                      <a:lnTo>
                        <a:pt x="133" y="3"/>
                      </a:lnTo>
                      <a:lnTo>
                        <a:pt x="135" y="0"/>
                      </a:lnTo>
                      <a:lnTo>
                        <a:pt x="156" y="11"/>
                      </a:lnTo>
                      <a:lnTo>
                        <a:pt x="184" y="19"/>
                      </a:lnTo>
                      <a:lnTo>
                        <a:pt x="188" y="24"/>
                      </a:lnTo>
                      <a:lnTo>
                        <a:pt x="186" y="28"/>
                      </a:lnTo>
                      <a:lnTo>
                        <a:pt x="186" y="32"/>
                      </a:lnTo>
                      <a:lnTo>
                        <a:pt x="214" y="55"/>
                      </a:lnTo>
                      <a:lnTo>
                        <a:pt x="218" y="67"/>
                      </a:lnTo>
                      <a:lnTo>
                        <a:pt x="214" y="77"/>
                      </a:lnTo>
                      <a:lnTo>
                        <a:pt x="193" y="91"/>
                      </a:lnTo>
                      <a:lnTo>
                        <a:pt x="143" y="107"/>
                      </a:lnTo>
                      <a:lnTo>
                        <a:pt x="133" y="113"/>
                      </a:lnTo>
                      <a:lnTo>
                        <a:pt x="113" y="109"/>
                      </a:lnTo>
                      <a:lnTo>
                        <a:pt x="107" y="104"/>
                      </a:lnTo>
                      <a:lnTo>
                        <a:pt x="82" y="100"/>
                      </a:lnTo>
                      <a:lnTo>
                        <a:pt x="82" y="9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326" name="Freeform 131"/>
              <p:cNvSpPr>
                <a:spLocks noChangeAspect="1"/>
              </p:cNvSpPr>
              <p:nvPr/>
            </p:nvSpPr>
            <p:spPr bwMode="gray">
              <a:xfrm>
                <a:off x="4071" y="1777"/>
                <a:ext cx="34" cy="144"/>
              </a:xfrm>
              <a:custGeom>
                <a:avLst/>
                <a:gdLst/>
                <a:ahLst/>
                <a:cxnLst>
                  <a:cxn ang="0">
                    <a:pos x="55" y="0"/>
                  </a:cxn>
                  <a:cxn ang="0">
                    <a:pos x="69" y="22"/>
                  </a:cxn>
                  <a:cxn ang="0">
                    <a:pos x="76" y="79"/>
                  </a:cxn>
                  <a:cxn ang="0">
                    <a:pos x="92" y="144"/>
                  </a:cxn>
                  <a:cxn ang="0">
                    <a:pos x="90" y="187"/>
                  </a:cxn>
                  <a:cxn ang="0">
                    <a:pos x="84" y="210"/>
                  </a:cxn>
                  <a:cxn ang="0">
                    <a:pos x="90" y="243"/>
                  </a:cxn>
                  <a:cxn ang="0">
                    <a:pos x="92" y="257"/>
                  </a:cxn>
                  <a:cxn ang="0">
                    <a:pos x="102" y="289"/>
                  </a:cxn>
                  <a:cxn ang="0">
                    <a:pos x="116" y="344"/>
                  </a:cxn>
                  <a:cxn ang="0">
                    <a:pos x="139" y="425"/>
                  </a:cxn>
                  <a:cxn ang="0">
                    <a:pos x="150" y="459"/>
                  </a:cxn>
                  <a:cxn ang="0">
                    <a:pos x="168" y="487"/>
                  </a:cxn>
                  <a:cxn ang="0">
                    <a:pos x="149" y="466"/>
                  </a:cxn>
                  <a:cxn ang="0">
                    <a:pos x="119" y="448"/>
                  </a:cxn>
                  <a:cxn ang="0">
                    <a:pos x="92" y="447"/>
                  </a:cxn>
                  <a:cxn ang="0">
                    <a:pos x="75" y="475"/>
                  </a:cxn>
                  <a:cxn ang="0">
                    <a:pos x="65" y="509"/>
                  </a:cxn>
                  <a:cxn ang="0">
                    <a:pos x="53" y="566"/>
                  </a:cxn>
                  <a:cxn ang="0">
                    <a:pos x="61" y="602"/>
                  </a:cxn>
                  <a:cxn ang="0">
                    <a:pos x="80" y="635"/>
                  </a:cxn>
                  <a:cxn ang="0">
                    <a:pos x="89" y="651"/>
                  </a:cxn>
                  <a:cxn ang="0">
                    <a:pos x="100" y="654"/>
                  </a:cxn>
                  <a:cxn ang="0">
                    <a:pos x="108" y="684"/>
                  </a:cxn>
                  <a:cxn ang="0">
                    <a:pos x="102" y="713"/>
                  </a:cxn>
                  <a:cxn ang="0">
                    <a:pos x="69" y="663"/>
                  </a:cxn>
                  <a:cxn ang="0">
                    <a:pos x="46" y="673"/>
                  </a:cxn>
                  <a:cxn ang="0">
                    <a:pos x="31" y="721"/>
                  </a:cxn>
                  <a:cxn ang="0">
                    <a:pos x="15" y="689"/>
                  </a:cxn>
                  <a:cxn ang="0">
                    <a:pos x="21" y="623"/>
                  </a:cxn>
                  <a:cxn ang="0">
                    <a:pos x="32" y="554"/>
                  </a:cxn>
                  <a:cxn ang="0">
                    <a:pos x="23" y="522"/>
                  </a:cxn>
                  <a:cxn ang="0">
                    <a:pos x="17" y="479"/>
                  </a:cxn>
                  <a:cxn ang="0">
                    <a:pos x="28" y="425"/>
                  </a:cxn>
                  <a:cxn ang="0">
                    <a:pos x="32" y="392"/>
                  </a:cxn>
                  <a:cxn ang="0">
                    <a:pos x="30" y="375"/>
                  </a:cxn>
                  <a:cxn ang="0">
                    <a:pos x="25" y="348"/>
                  </a:cxn>
                  <a:cxn ang="0">
                    <a:pos x="31" y="297"/>
                  </a:cxn>
                  <a:cxn ang="0">
                    <a:pos x="21" y="260"/>
                  </a:cxn>
                  <a:cxn ang="0">
                    <a:pos x="4" y="243"/>
                  </a:cxn>
                  <a:cxn ang="0">
                    <a:pos x="3" y="226"/>
                  </a:cxn>
                  <a:cxn ang="0">
                    <a:pos x="0" y="188"/>
                  </a:cxn>
                  <a:cxn ang="0">
                    <a:pos x="12" y="125"/>
                  </a:cxn>
                  <a:cxn ang="0">
                    <a:pos x="9" y="96"/>
                  </a:cxn>
                  <a:cxn ang="0">
                    <a:pos x="25" y="79"/>
                  </a:cxn>
                  <a:cxn ang="0">
                    <a:pos x="37" y="87"/>
                  </a:cxn>
                  <a:cxn ang="0">
                    <a:pos x="50" y="81"/>
                  </a:cxn>
                  <a:cxn ang="0">
                    <a:pos x="50" y="66"/>
                  </a:cxn>
                  <a:cxn ang="0">
                    <a:pos x="59" y="64"/>
                  </a:cxn>
                  <a:cxn ang="0">
                    <a:pos x="49" y="33"/>
                  </a:cxn>
                  <a:cxn ang="0">
                    <a:pos x="38" y="9"/>
                  </a:cxn>
                  <a:cxn ang="0">
                    <a:pos x="47" y="6"/>
                  </a:cxn>
                </a:cxnLst>
                <a:rect l="0" t="0" r="r" b="b"/>
                <a:pathLst>
                  <a:path w="170" h="721">
                    <a:moveTo>
                      <a:pt x="52" y="3"/>
                    </a:moveTo>
                    <a:lnTo>
                      <a:pt x="55" y="0"/>
                    </a:lnTo>
                    <a:lnTo>
                      <a:pt x="63" y="4"/>
                    </a:lnTo>
                    <a:lnTo>
                      <a:pt x="69" y="22"/>
                    </a:lnTo>
                    <a:lnTo>
                      <a:pt x="73" y="59"/>
                    </a:lnTo>
                    <a:lnTo>
                      <a:pt x="76" y="79"/>
                    </a:lnTo>
                    <a:lnTo>
                      <a:pt x="87" y="113"/>
                    </a:lnTo>
                    <a:lnTo>
                      <a:pt x="92" y="144"/>
                    </a:lnTo>
                    <a:lnTo>
                      <a:pt x="93" y="166"/>
                    </a:lnTo>
                    <a:lnTo>
                      <a:pt x="90" y="187"/>
                    </a:lnTo>
                    <a:lnTo>
                      <a:pt x="82" y="192"/>
                    </a:lnTo>
                    <a:lnTo>
                      <a:pt x="84" y="210"/>
                    </a:lnTo>
                    <a:lnTo>
                      <a:pt x="89" y="229"/>
                    </a:lnTo>
                    <a:lnTo>
                      <a:pt x="90" y="243"/>
                    </a:lnTo>
                    <a:lnTo>
                      <a:pt x="89" y="258"/>
                    </a:lnTo>
                    <a:lnTo>
                      <a:pt x="92" y="257"/>
                    </a:lnTo>
                    <a:lnTo>
                      <a:pt x="98" y="272"/>
                    </a:lnTo>
                    <a:lnTo>
                      <a:pt x="102" y="289"/>
                    </a:lnTo>
                    <a:lnTo>
                      <a:pt x="103" y="292"/>
                    </a:lnTo>
                    <a:lnTo>
                      <a:pt x="116" y="344"/>
                    </a:lnTo>
                    <a:lnTo>
                      <a:pt x="135" y="407"/>
                    </a:lnTo>
                    <a:lnTo>
                      <a:pt x="139" y="425"/>
                    </a:lnTo>
                    <a:lnTo>
                      <a:pt x="144" y="445"/>
                    </a:lnTo>
                    <a:lnTo>
                      <a:pt x="150" y="459"/>
                    </a:lnTo>
                    <a:lnTo>
                      <a:pt x="157" y="474"/>
                    </a:lnTo>
                    <a:lnTo>
                      <a:pt x="168" y="487"/>
                    </a:lnTo>
                    <a:lnTo>
                      <a:pt x="170" y="496"/>
                    </a:lnTo>
                    <a:lnTo>
                      <a:pt x="149" y="466"/>
                    </a:lnTo>
                    <a:lnTo>
                      <a:pt x="135" y="456"/>
                    </a:lnTo>
                    <a:lnTo>
                      <a:pt x="119" y="448"/>
                    </a:lnTo>
                    <a:lnTo>
                      <a:pt x="104" y="445"/>
                    </a:lnTo>
                    <a:lnTo>
                      <a:pt x="92" y="447"/>
                    </a:lnTo>
                    <a:lnTo>
                      <a:pt x="80" y="457"/>
                    </a:lnTo>
                    <a:lnTo>
                      <a:pt x="75" y="475"/>
                    </a:lnTo>
                    <a:lnTo>
                      <a:pt x="73" y="491"/>
                    </a:lnTo>
                    <a:lnTo>
                      <a:pt x="65" y="509"/>
                    </a:lnTo>
                    <a:lnTo>
                      <a:pt x="55" y="549"/>
                    </a:lnTo>
                    <a:lnTo>
                      <a:pt x="53" y="566"/>
                    </a:lnTo>
                    <a:lnTo>
                      <a:pt x="53" y="586"/>
                    </a:lnTo>
                    <a:lnTo>
                      <a:pt x="61" y="602"/>
                    </a:lnTo>
                    <a:lnTo>
                      <a:pt x="77" y="623"/>
                    </a:lnTo>
                    <a:lnTo>
                      <a:pt x="80" y="635"/>
                    </a:lnTo>
                    <a:lnTo>
                      <a:pt x="84" y="645"/>
                    </a:lnTo>
                    <a:lnTo>
                      <a:pt x="89" y="651"/>
                    </a:lnTo>
                    <a:lnTo>
                      <a:pt x="97" y="656"/>
                    </a:lnTo>
                    <a:lnTo>
                      <a:pt x="100" y="654"/>
                    </a:lnTo>
                    <a:lnTo>
                      <a:pt x="103" y="657"/>
                    </a:lnTo>
                    <a:lnTo>
                      <a:pt x="108" y="684"/>
                    </a:lnTo>
                    <a:lnTo>
                      <a:pt x="107" y="700"/>
                    </a:lnTo>
                    <a:lnTo>
                      <a:pt x="102" y="713"/>
                    </a:lnTo>
                    <a:lnTo>
                      <a:pt x="95" y="674"/>
                    </a:lnTo>
                    <a:lnTo>
                      <a:pt x="69" y="663"/>
                    </a:lnTo>
                    <a:lnTo>
                      <a:pt x="55" y="662"/>
                    </a:lnTo>
                    <a:lnTo>
                      <a:pt x="46" y="673"/>
                    </a:lnTo>
                    <a:lnTo>
                      <a:pt x="36" y="706"/>
                    </a:lnTo>
                    <a:lnTo>
                      <a:pt x="31" y="721"/>
                    </a:lnTo>
                    <a:lnTo>
                      <a:pt x="18" y="714"/>
                    </a:lnTo>
                    <a:lnTo>
                      <a:pt x="15" y="689"/>
                    </a:lnTo>
                    <a:lnTo>
                      <a:pt x="15" y="666"/>
                    </a:lnTo>
                    <a:lnTo>
                      <a:pt x="21" y="623"/>
                    </a:lnTo>
                    <a:lnTo>
                      <a:pt x="26" y="565"/>
                    </a:lnTo>
                    <a:lnTo>
                      <a:pt x="32" y="554"/>
                    </a:lnTo>
                    <a:lnTo>
                      <a:pt x="31" y="539"/>
                    </a:lnTo>
                    <a:lnTo>
                      <a:pt x="23" y="522"/>
                    </a:lnTo>
                    <a:lnTo>
                      <a:pt x="17" y="499"/>
                    </a:lnTo>
                    <a:lnTo>
                      <a:pt x="17" y="479"/>
                    </a:lnTo>
                    <a:lnTo>
                      <a:pt x="22" y="463"/>
                    </a:lnTo>
                    <a:lnTo>
                      <a:pt x="28" y="425"/>
                    </a:lnTo>
                    <a:lnTo>
                      <a:pt x="28" y="394"/>
                    </a:lnTo>
                    <a:lnTo>
                      <a:pt x="32" y="392"/>
                    </a:lnTo>
                    <a:lnTo>
                      <a:pt x="30" y="386"/>
                    </a:lnTo>
                    <a:lnTo>
                      <a:pt x="30" y="375"/>
                    </a:lnTo>
                    <a:lnTo>
                      <a:pt x="28" y="360"/>
                    </a:lnTo>
                    <a:lnTo>
                      <a:pt x="25" y="348"/>
                    </a:lnTo>
                    <a:lnTo>
                      <a:pt x="25" y="331"/>
                    </a:lnTo>
                    <a:lnTo>
                      <a:pt x="31" y="297"/>
                    </a:lnTo>
                    <a:lnTo>
                      <a:pt x="31" y="284"/>
                    </a:lnTo>
                    <a:lnTo>
                      <a:pt x="21" y="260"/>
                    </a:lnTo>
                    <a:lnTo>
                      <a:pt x="11" y="249"/>
                    </a:lnTo>
                    <a:lnTo>
                      <a:pt x="4" y="243"/>
                    </a:lnTo>
                    <a:lnTo>
                      <a:pt x="6" y="237"/>
                    </a:lnTo>
                    <a:lnTo>
                      <a:pt x="3" y="226"/>
                    </a:lnTo>
                    <a:lnTo>
                      <a:pt x="0" y="205"/>
                    </a:lnTo>
                    <a:lnTo>
                      <a:pt x="0" y="188"/>
                    </a:lnTo>
                    <a:lnTo>
                      <a:pt x="10" y="160"/>
                    </a:lnTo>
                    <a:lnTo>
                      <a:pt x="12" y="125"/>
                    </a:lnTo>
                    <a:lnTo>
                      <a:pt x="11" y="108"/>
                    </a:lnTo>
                    <a:lnTo>
                      <a:pt x="9" y="96"/>
                    </a:lnTo>
                    <a:lnTo>
                      <a:pt x="14" y="85"/>
                    </a:lnTo>
                    <a:lnTo>
                      <a:pt x="25" y="79"/>
                    </a:lnTo>
                    <a:lnTo>
                      <a:pt x="31" y="81"/>
                    </a:lnTo>
                    <a:lnTo>
                      <a:pt x="37" y="87"/>
                    </a:lnTo>
                    <a:lnTo>
                      <a:pt x="48" y="86"/>
                    </a:lnTo>
                    <a:lnTo>
                      <a:pt x="50" y="81"/>
                    </a:lnTo>
                    <a:lnTo>
                      <a:pt x="48" y="75"/>
                    </a:lnTo>
                    <a:lnTo>
                      <a:pt x="50" y="66"/>
                    </a:lnTo>
                    <a:lnTo>
                      <a:pt x="57" y="66"/>
                    </a:lnTo>
                    <a:lnTo>
                      <a:pt x="59" y="64"/>
                    </a:lnTo>
                    <a:lnTo>
                      <a:pt x="54" y="52"/>
                    </a:lnTo>
                    <a:lnTo>
                      <a:pt x="49" y="33"/>
                    </a:lnTo>
                    <a:lnTo>
                      <a:pt x="39" y="16"/>
                    </a:lnTo>
                    <a:lnTo>
                      <a:pt x="38" y="9"/>
                    </a:lnTo>
                    <a:lnTo>
                      <a:pt x="41" y="6"/>
                    </a:lnTo>
                    <a:lnTo>
                      <a:pt x="47" y="6"/>
                    </a:lnTo>
                    <a:lnTo>
                      <a:pt x="52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27" name="Freeform 132"/>
              <p:cNvSpPr>
                <a:spLocks noChangeAspect="1"/>
              </p:cNvSpPr>
              <p:nvPr/>
            </p:nvSpPr>
            <p:spPr bwMode="gray">
              <a:xfrm>
                <a:off x="2817" y="1091"/>
                <a:ext cx="1786" cy="901"/>
              </a:xfrm>
              <a:custGeom>
                <a:avLst/>
                <a:gdLst/>
                <a:ahLst/>
                <a:cxnLst>
                  <a:cxn ang="0">
                    <a:pos x="3264" y="3913"/>
                  </a:cxn>
                  <a:cxn ang="0">
                    <a:pos x="4333" y="3788"/>
                  </a:cxn>
                  <a:cxn ang="0">
                    <a:pos x="5307" y="3536"/>
                  </a:cxn>
                  <a:cxn ang="0">
                    <a:pos x="5833" y="4138"/>
                  </a:cxn>
                  <a:cxn ang="0">
                    <a:pos x="6066" y="4138"/>
                  </a:cxn>
                  <a:cxn ang="0">
                    <a:pos x="6189" y="3482"/>
                  </a:cxn>
                  <a:cxn ang="0">
                    <a:pos x="5968" y="3336"/>
                  </a:cxn>
                  <a:cxn ang="0">
                    <a:pos x="6672" y="2912"/>
                  </a:cxn>
                  <a:cxn ang="0">
                    <a:pos x="6999" y="2815"/>
                  </a:cxn>
                  <a:cxn ang="0">
                    <a:pos x="7448" y="2593"/>
                  </a:cxn>
                  <a:cxn ang="0">
                    <a:pos x="7045" y="3206"/>
                  </a:cxn>
                  <a:cxn ang="0">
                    <a:pos x="7368" y="3293"/>
                  </a:cxn>
                  <a:cxn ang="0">
                    <a:pos x="7505" y="2864"/>
                  </a:cxn>
                  <a:cxn ang="0">
                    <a:pos x="7925" y="2760"/>
                  </a:cxn>
                  <a:cxn ang="0">
                    <a:pos x="8227" y="2553"/>
                  </a:cxn>
                  <a:cxn ang="0">
                    <a:pos x="8363" y="2256"/>
                  </a:cxn>
                  <a:cxn ang="0">
                    <a:pos x="8646" y="2287"/>
                  </a:cxn>
                  <a:cxn ang="0">
                    <a:pos x="8841" y="2201"/>
                  </a:cxn>
                  <a:cxn ang="0">
                    <a:pos x="8685" y="1981"/>
                  </a:cxn>
                  <a:cxn ang="0">
                    <a:pos x="8538" y="1863"/>
                  </a:cxn>
                  <a:cxn ang="0">
                    <a:pos x="7819" y="1608"/>
                  </a:cxn>
                  <a:cxn ang="0">
                    <a:pos x="7284" y="1590"/>
                  </a:cxn>
                  <a:cxn ang="0">
                    <a:pos x="6685" y="1267"/>
                  </a:cxn>
                  <a:cxn ang="0">
                    <a:pos x="6173" y="1286"/>
                  </a:cxn>
                  <a:cxn ang="0">
                    <a:pos x="5674" y="1395"/>
                  </a:cxn>
                  <a:cxn ang="0">
                    <a:pos x="5597" y="1031"/>
                  </a:cxn>
                  <a:cxn ang="0">
                    <a:pos x="5210" y="1036"/>
                  </a:cxn>
                  <a:cxn ang="0">
                    <a:pos x="4698" y="872"/>
                  </a:cxn>
                  <a:cxn ang="0">
                    <a:pos x="4354" y="1003"/>
                  </a:cxn>
                  <a:cxn ang="0">
                    <a:pos x="4584" y="721"/>
                  </a:cxn>
                  <a:cxn ang="0">
                    <a:pos x="4684" y="394"/>
                  </a:cxn>
                  <a:cxn ang="0">
                    <a:pos x="4372" y="204"/>
                  </a:cxn>
                  <a:cxn ang="0">
                    <a:pos x="4025" y="232"/>
                  </a:cxn>
                  <a:cxn ang="0">
                    <a:pos x="3791" y="419"/>
                  </a:cxn>
                  <a:cxn ang="0">
                    <a:pos x="3374" y="550"/>
                  </a:cxn>
                  <a:cxn ang="0">
                    <a:pos x="3254" y="832"/>
                  </a:cxn>
                  <a:cxn ang="0">
                    <a:pos x="2949" y="1149"/>
                  </a:cxn>
                  <a:cxn ang="0">
                    <a:pos x="2945" y="1235"/>
                  </a:cxn>
                  <a:cxn ang="0">
                    <a:pos x="2627" y="1222"/>
                  </a:cxn>
                  <a:cxn ang="0">
                    <a:pos x="2758" y="1734"/>
                  </a:cxn>
                  <a:cxn ang="0">
                    <a:pos x="2590" y="1842"/>
                  </a:cxn>
                  <a:cxn ang="0">
                    <a:pos x="2499" y="1888"/>
                  </a:cxn>
                  <a:cxn ang="0">
                    <a:pos x="2297" y="1040"/>
                  </a:cxn>
                  <a:cxn ang="0">
                    <a:pos x="2235" y="1800"/>
                  </a:cxn>
                  <a:cxn ang="0">
                    <a:pos x="1570" y="1757"/>
                  </a:cxn>
                  <a:cxn ang="0">
                    <a:pos x="1175" y="1897"/>
                  </a:cxn>
                  <a:cxn ang="0">
                    <a:pos x="933" y="2056"/>
                  </a:cxn>
                  <a:cxn ang="0">
                    <a:pos x="501" y="2289"/>
                  </a:cxn>
                  <a:cxn ang="0">
                    <a:pos x="306" y="2013"/>
                  </a:cxn>
                  <a:cxn ang="0">
                    <a:pos x="589" y="1783"/>
                  </a:cxn>
                  <a:cxn ang="0">
                    <a:pos x="191" y="1600"/>
                  </a:cxn>
                  <a:cxn ang="0">
                    <a:pos x="215" y="2548"/>
                  </a:cxn>
                  <a:cxn ang="0">
                    <a:pos x="14" y="3054"/>
                  </a:cxn>
                  <a:cxn ang="0">
                    <a:pos x="241" y="3470"/>
                  </a:cxn>
                  <a:cxn ang="0">
                    <a:pos x="440" y="3762"/>
                  </a:cxn>
                  <a:cxn ang="0">
                    <a:pos x="644" y="4043"/>
                  </a:cxn>
                  <a:cxn ang="0">
                    <a:pos x="898" y="4398"/>
                  </a:cxn>
                  <a:cxn ang="0">
                    <a:pos x="1107" y="4133"/>
                  </a:cxn>
                  <a:cxn ang="0">
                    <a:pos x="1169" y="3800"/>
                  </a:cxn>
                  <a:cxn ang="0">
                    <a:pos x="1520" y="3752"/>
                  </a:cxn>
                  <a:cxn ang="0">
                    <a:pos x="1831" y="3572"/>
                  </a:cxn>
                  <a:cxn ang="0">
                    <a:pos x="2183" y="3384"/>
                  </a:cxn>
                  <a:cxn ang="0">
                    <a:pos x="2523" y="3466"/>
                  </a:cxn>
                </a:cxnLst>
                <a:rect l="0" t="0" r="r" b="b"/>
                <a:pathLst>
                  <a:path w="8931" h="4504">
                    <a:moveTo>
                      <a:pt x="2688" y="3454"/>
                    </a:moveTo>
                    <a:lnTo>
                      <a:pt x="2691" y="3461"/>
                    </a:lnTo>
                    <a:lnTo>
                      <a:pt x="2695" y="3463"/>
                    </a:lnTo>
                    <a:lnTo>
                      <a:pt x="2768" y="3530"/>
                    </a:lnTo>
                    <a:lnTo>
                      <a:pt x="2887" y="3748"/>
                    </a:lnTo>
                    <a:lnTo>
                      <a:pt x="2902" y="3737"/>
                    </a:lnTo>
                    <a:lnTo>
                      <a:pt x="2904" y="3730"/>
                    </a:lnTo>
                    <a:lnTo>
                      <a:pt x="2904" y="3723"/>
                    </a:lnTo>
                    <a:lnTo>
                      <a:pt x="2915" y="3709"/>
                    </a:lnTo>
                    <a:lnTo>
                      <a:pt x="2923" y="3708"/>
                    </a:lnTo>
                    <a:lnTo>
                      <a:pt x="2928" y="3714"/>
                    </a:lnTo>
                    <a:lnTo>
                      <a:pt x="2936" y="3717"/>
                    </a:lnTo>
                    <a:lnTo>
                      <a:pt x="2950" y="3725"/>
                    </a:lnTo>
                    <a:lnTo>
                      <a:pt x="2946" y="3732"/>
                    </a:lnTo>
                    <a:lnTo>
                      <a:pt x="2951" y="3739"/>
                    </a:lnTo>
                    <a:lnTo>
                      <a:pt x="2956" y="3740"/>
                    </a:lnTo>
                    <a:lnTo>
                      <a:pt x="2961" y="3753"/>
                    </a:lnTo>
                    <a:lnTo>
                      <a:pt x="2985" y="3751"/>
                    </a:lnTo>
                    <a:lnTo>
                      <a:pt x="3003" y="3756"/>
                    </a:lnTo>
                    <a:lnTo>
                      <a:pt x="3010" y="3753"/>
                    </a:lnTo>
                    <a:lnTo>
                      <a:pt x="3026" y="3753"/>
                    </a:lnTo>
                    <a:lnTo>
                      <a:pt x="3028" y="3746"/>
                    </a:lnTo>
                    <a:lnTo>
                      <a:pt x="3033" y="3740"/>
                    </a:lnTo>
                    <a:lnTo>
                      <a:pt x="3042" y="3741"/>
                    </a:lnTo>
                    <a:lnTo>
                      <a:pt x="3049" y="3741"/>
                    </a:lnTo>
                    <a:lnTo>
                      <a:pt x="3053" y="3734"/>
                    </a:lnTo>
                    <a:lnTo>
                      <a:pt x="3060" y="3729"/>
                    </a:lnTo>
                    <a:lnTo>
                      <a:pt x="3075" y="3734"/>
                    </a:lnTo>
                    <a:lnTo>
                      <a:pt x="3082" y="3737"/>
                    </a:lnTo>
                    <a:lnTo>
                      <a:pt x="3086" y="3745"/>
                    </a:lnTo>
                    <a:lnTo>
                      <a:pt x="3093" y="3748"/>
                    </a:lnTo>
                    <a:lnTo>
                      <a:pt x="3103" y="3761"/>
                    </a:lnTo>
                    <a:lnTo>
                      <a:pt x="3112" y="3764"/>
                    </a:lnTo>
                    <a:lnTo>
                      <a:pt x="3114" y="3772"/>
                    </a:lnTo>
                    <a:lnTo>
                      <a:pt x="3112" y="3779"/>
                    </a:lnTo>
                    <a:lnTo>
                      <a:pt x="3113" y="3788"/>
                    </a:lnTo>
                    <a:lnTo>
                      <a:pt x="3117" y="3795"/>
                    </a:lnTo>
                    <a:lnTo>
                      <a:pt x="3125" y="3796"/>
                    </a:lnTo>
                    <a:lnTo>
                      <a:pt x="3146" y="3807"/>
                    </a:lnTo>
                    <a:lnTo>
                      <a:pt x="3150" y="3815"/>
                    </a:lnTo>
                    <a:lnTo>
                      <a:pt x="3150" y="3822"/>
                    </a:lnTo>
                    <a:lnTo>
                      <a:pt x="3157" y="3826"/>
                    </a:lnTo>
                    <a:lnTo>
                      <a:pt x="3162" y="3831"/>
                    </a:lnTo>
                    <a:lnTo>
                      <a:pt x="3170" y="3845"/>
                    </a:lnTo>
                    <a:lnTo>
                      <a:pt x="3176" y="3849"/>
                    </a:lnTo>
                    <a:lnTo>
                      <a:pt x="3193" y="3852"/>
                    </a:lnTo>
                    <a:lnTo>
                      <a:pt x="3199" y="3857"/>
                    </a:lnTo>
                    <a:lnTo>
                      <a:pt x="3208" y="3859"/>
                    </a:lnTo>
                    <a:lnTo>
                      <a:pt x="3215" y="3860"/>
                    </a:lnTo>
                    <a:lnTo>
                      <a:pt x="3224" y="3860"/>
                    </a:lnTo>
                    <a:lnTo>
                      <a:pt x="3226" y="3853"/>
                    </a:lnTo>
                    <a:lnTo>
                      <a:pt x="3231" y="3847"/>
                    </a:lnTo>
                    <a:lnTo>
                      <a:pt x="3246" y="3841"/>
                    </a:lnTo>
                    <a:lnTo>
                      <a:pt x="3248" y="3849"/>
                    </a:lnTo>
                    <a:lnTo>
                      <a:pt x="3252" y="3857"/>
                    </a:lnTo>
                    <a:lnTo>
                      <a:pt x="3259" y="3861"/>
                    </a:lnTo>
                    <a:lnTo>
                      <a:pt x="3267" y="3875"/>
                    </a:lnTo>
                    <a:lnTo>
                      <a:pt x="3273" y="3880"/>
                    </a:lnTo>
                    <a:lnTo>
                      <a:pt x="3277" y="3887"/>
                    </a:lnTo>
                    <a:lnTo>
                      <a:pt x="3264" y="3913"/>
                    </a:lnTo>
                    <a:lnTo>
                      <a:pt x="3289" y="3920"/>
                    </a:lnTo>
                    <a:lnTo>
                      <a:pt x="3305" y="3904"/>
                    </a:lnTo>
                    <a:lnTo>
                      <a:pt x="3310" y="3904"/>
                    </a:lnTo>
                    <a:lnTo>
                      <a:pt x="3322" y="3882"/>
                    </a:lnTo>
                    <a:lnTo>
                      <a:pt x="3338" y="3865"/>
                    </a:lnTo>
                    <a:lnTo>
                      <a:pt x="3356" y="3858"/>
                    </a:lnTo>
                    <a:lnTo>
                      <a:pt x="3375" y="3852"/>
                    </a:lnTo>
                    <a:lnTo>
                      <a:pt x="3394" y="3839"/>
                    </a:lnTo>
                    <a:lnTo>
                      <a:pt x="3414" y="3823"/>
                    </a:lnTo>
                    <a:lnTo>
                      <a:pt x="3439" y="3811"/>
                    </a:lnTo>
                    <a:lnTo>
                      <a:pt x="3464" y="3789"/>
                    </a:lnTo>
                    <a:lnTo>
                      <a:pt x="3505" y="3777"/>
                    </a:lnTo>
                    <a:lnTo>
                      <a:pt x="3530" y="3766"/>
                    </a:lnTo>
                    <a:lnTo>
                      <a:pt x="3553" y="3763"/>
                    </a:lnTo>
                    <a:lnTo>
                      <a:pt x="3575" y="3767"/>
                    </a:lnTo>
                    <a:lnTo>
                      <a:pt x="3591" y="3773"/>
                    </a:lnTo>
                    <a:lnTo>
                      <a:pt x="3604" y="3784"/>
                    </a:lnTo>
                    <a:lnTo>
                      <a:pt x="3623" y="3780"/>
                    </a:lnTo>
                    <a:lnTo>
                      <a:pt x="3644" y="3779"/>
                    </a:lnTo>
                    <a:lnTo>
                      <a:pt x="3661" y="3782"/>
                    </a:lnTo>
                    <a:lnTo>
                      <a:pt x="3692" y="3811"/>
                    </a:lnTo>
                    <a:lnTo>
                      <a:pt x="3697" y="3818"/>
                    </a:lnTo>
                    <a:lnTo>
                      <a:pt x="3714" y="3821"/>
                    </a:lnTo>
                    <a:lnTo>
                      <a:pt x="3761" y="3814"/>
                    </a:lnTo>
                    <a:lnTo>
                      <a:pt x="3774" y="3820"/>
                    </a:lnTo>
                    <a:lnTo>
                      <a:pt x="3818" y="3821"/>
                    </a:lnTo>
                    <a:lnTo>
                      <a:pt x="3856" y="3816"/>
                    </a:lnTo>
                    <a:lnTo>
                      <a:pt x="3866" y="3811"/>
                    </a:lnTo>
                    <a:lnTo>
                      <a:pt x="3866" y="3803"/>
                    </a:lnTo>
                    <a:lnTo>
                      <a:pt x="3862" y="3791"/>
                    </a:lnTo>
                    <a:lnTo>
                      <a:pt x="3865" y="3777"/>
                    </a:lnTo>
                    <a:lnTo>
                      <a:pt x="3875" y="3761"/>
                    </a:lnTo>
                    <a:lnTo>
                      <a:pt x="3875" y="3745"/>
                    </a:lnTo>
                    <a:lnTo>
                      <a:pt x="3864" y="3730"/>
                    </a:lnTo>
                    <a:lnTo>
                      <a:pt x="3860" y="3712"/>
                    </a:lnTo>
                    <a:lnTo>
                      <a:pt x="3862" y="3694"/>
                    </a:lnTo>
                    <a:lnTo>
                      <a:pt x="3878" y="3680"/>
                    </a:lnTo>
                    <a:lnTo>
                      <a:pt x="3892" y="3664"/>
                    </a:lnTo>
                    <a:lnTo>
                      <a:pt x="3910" y="3649"/>
                    </a:lnTo>
                    <a:lnTo>
                      <a:pt x="3921" y="3632"/>
                    </a:lnTo>
                    <a:lnTo>
                      <a:pt x="3935" y="3631"/>
                    </a:lnTo>
                    <a:lnTo>
                      <a:pt x="3955" y="3637"/>
                    </a:lnTo>
                    <a:lnTo>
                      <a:pt x="3969" y="3648"/>
                    </a:lnTo>
                    <a:lnTo>
                      <a:pt x="4006" y="3658"/>
                    </a:lnTo>
                    <a:lnTo>
                      <a:pt x="4017" y="3672"/>
                    </a:lnTo>
                    <a:lnTo>
                      <a:pt x="4041" y="3678"/>
                    </a:lnTo>
                    <a:lnTo>
                      <a:pt x="4065" y="3681"/>
                    </a:lnTo>
                    <a:lnTo>
                      <a:pt x="4082" y="3688"/>
                    </a:lnTo>
                    <a:lnTo>
                      <a:pt x="4092" y="3704"/>
                    </a:lnTo>
                    <a:lnTo>
                      <a:pt x="4097" y="3734"/>
                    </a:lnTo>
                    <a:lnTo>
                      <a:pt x="4097" y="3755"/>
                    </a:lnTo>
                    <a:lnTo>
                      <a:pt x="4102" y="3755"/>
                    </a:lnTo>
                    <a:lnTo>
                      <a:pt x="4117" y="3769"/>
                    </a:lnTo>
                    <a:lnTo>
                      <a:pt x="4140" y="3785"/>
                    </a:lnTo>
                    <a:lnTo>
                      <a:pt x="4174" y="3796"/>
                    </a:lnTo>
                    <a:lnTo>
                      <a:pt x="4202" y="3790"/>
                    </a:lnTo>
                    <a:lnTo>
                      <a:pt x="4229" y="3775"/>
                    </a:lnTo>
                    <a:lnTo>
                      <a:pt x="4254" y="3763"/>
                    </a:lnTo>
                    <a:lnTo>
                      <a:pt x="4285" y="3771"/>
                    </a:lnTo>
                    <a:lnTo>
                      <a:pt x="4333" y="3788"/>
                    </a:lnTo>
                    <a:lnTo>
                      <a:pt x="4343" y="3800"/>
                    </a:lnTo>
                    <a:lnTo>
                      <a:pt x="4344" y="3800"/>
                    </a:lnTo>
                    <a:lnTo>
                      <a:pt x="4350" y="3805"/>
                    </a:lnTo>
                    <a:lnTo>
                      <a:pt x="4372" y="3817"/>
                    </a:lnTo>
                    <a:lnTo>
                      <a:pt x="4393" y="3823"/>
                    </a:lnTo>
                    <a:lnTo>
                      <a:pt x="4414" y="3832"/>
                    </a:lnTo>
                    <a:lnTo>
                      <a:pt x="4428" y="3852"/>
                    </a:lnTo>
                    <a:lnTo>
                      <a:pt x="4455" y="3868"/>
                    </a:lnTo>
                    <a:lnTo>
                      <a:pt x="4487" y="3873"/>
                    </a:lnTo>
                    <a:lnTo>
                      <a:pt x="4510" y="3880"/>
                    </a:lnTo>
                    <a:lnTo>
                      <a:pt x="4528" y="3881"/>
                    </a:lnTo>
                    <a:lnTo>
                      <a:pt x="4553" y="3879"/>
                    </a:lnTo>
                    <a:lnTo>
                      <a:pt x="4571" y="3887"/>
                    </a:lnTo>
                    <a:lnTo>
                      <a:pt x="4627" y="3868"/>
                    </a:lnTo>
                    <a:lnTo>
                      <a:pt x="4661" y="3860"/>
                    </a:lnTo>
                    <a:lnTo>
                      <a:pt x="4688" y="3855"/>
                    </a:lnTo>
                    <a:lnTo>
                      <a:pt x="4725" y="3826"/>
                    </a:lnTo>
                    <a:lnTo>
                      <a:pt x="4749" y="3810"/>
                    </a:lnTo>
                    <a:lnTo>
                      <a:pt x="4774" y="3801"/>
                    </a:lnTo>
                    <a:lnTo>
                      <a:pt x="4799" y="3811"/>
                    </a:lnTo>
                    <a:lnTo>
                      <a:pt x="4817" y="3826"/>
                    </a:lnTo>
                    <a:lnTo>
                      <a:pt x="4838" y="3830"/>
                    </a:lnTo>
                    <a:lnTo>
                      <a:pt x="4855" y="3826"/>
                    </a:lnTo>
                    <a:lnTo>
                      <a:pt x="4869" y="3818"/>
                    </a:lnTo>
                    <a:lnTo>
                      <a:pt x="4875" y="3821"/>
                    </a:lnTo>
                    <a:lnTo>
                      <a:pt x="4886" y="3823"/>
                    </a:lnTo>
                    <a:lnTo>
                      <a:pt x="4899" y="3833"/>
                    </a:lnTo>
                    <a:lnTo>
                      <a:pt x="4931" y="3843"/>
                    </a:lnTo>
                    <a:lnTo>
                      <a:pt x="4956" y="3855"/>
                    </a:lnTo>
                    <a:lnTo>
                      <a:pt x="4967" y="3853"/>
                    </a:lnTo>
                    <a:lnTo>
                      <a:pt x="4982" y="3842"/>
                    </a:lnTo>
                    <a:lnTo>
                      <a:pt x="5032" y="3811"/>
                    </a:lnTo>
                    <a:lnTo>
                      <a:pt x="5033" y="3804"/>
                    </a:lnTo>
                    <a:lnTo>
                      <a:pt x="5031" y="3791"/>
                    </a:lnTo>
                    <a:lnTo>
                      <a:pt x="5034" y="3779"/>
                    </a:lnTo>
                    <a:lnTo>
                      <a:pt x="5045" y="3766"/>
                    </a:lnTo>
                    <a:lnTo>
                      <a:pt x="5052" y="3755"/>
                    </a:lnTo>
                    <a:lnTo>
                      <a:pt x="5059" y="3725"/>
                    </a:lnTo>
                    <a:lnTo>
                      <a:pt x="5064" y="3703"/>
                    </a:lnTo>
                    <a:lnTo>
                      <a:pt x="5071" y="3686"/>
                    </a:lnTo>
                    <a:lnTo>
                      <a:pt x="5090" y="3676"/>
                    </a:lnTo>
                    <a:lnTo>
                      <a:pt x="5114" y="3649"/>
                    </a:lnTo>
                    <a:lnTo>
                      <a:pt x="5114" y="3644"/>
                    </a:lnTo>
                    <a:lnTo>
                      <a:pt x="5109" y="3633"/>
                    </a:lnTo>
                    <a:lnTo>
                      <a:pt x="5111" y="3606"/>
                    </a:lnTo>
                    <a:lnTo>
                      <a:pt x="5104" y="3602"/>
                    </a:lnTo>
                    <a:lnTo>
                      <a:pt x="5093" y="3602"/>
                    </a:lnTo>
                    <a:lnTo>
                      <a:pt x="5075" y="3607"/>
                    </a:lnTo>
                    <a:lnTo>
                      <a:pt x="5071" y="3602"/>
                    </a:lnTo>
                    <a:lnTo>
                      <a:pt x="5076" y="3589"/>
                    </a:lnTo>
                    <a:lnTo>
                      <a:pt x="5100" y="3565"/>
                    </a:lnTo>
                    <a:lnTo>
                      <a:pt x="5108" y="3553"/>
                    </a:lnTo>
                    <a:lnTo>
                      <a:pt x="5124" y="3541"/>
                    </a:lnTo>
                    <a:lnTo>
                      <a:pt x="5158" y="3535"/>
                    </a:lnTo>
                    <a:lnTo>
                      <a:pt x="5199" y="3520"/>
                    </a:lnTo>
                    <a:lnTo>
                      <a:pt x="5224" y="3521"/>
                    </a:lnTo>
                    <a:lnTo>
                      <a:pt x="5259" y="3515"/>
                    </a:lnTo>
                    <a:lnTo>
                      <a:pt x="5271" y="3515"/>
                    </a:lnTo>
                    <a:lnTo>
                      <a:pt x="5290" y="3524"/>
                    </a:lnTo>
                    <a:lnTo>
                      <a:pt x="5307" y="3536"/>
                    </a:lnTo>
                    <a:lnTo>
                      <a:pt x="5318" y="3548"/>
                    </a:lnTo>
                    <a:lnTo>
                      <a:pt x="5334" y="3552"/>
                    </a:lnTo>
                    <a:lnTo>
                      <a:pt x="5353" y="3549"/>
                    </a:lnTo>
                    <a:lnTo>
                      <a:pt x="5369" y="3553"/>
                    </a:lnTo>
                    <a:lnTo>
                      <a:pt x="5383" y="3559"/>
                    </a:lnTo>
                    <a:lnTo>
                      <a:pt x="5391" y="3573"/>
                    </a:lnTo>
                    <a:lnTo>
                      <a:pt x="5403" y="3591"/>
                    </a:lnTo>
                    <a:lnTo>
                      <a:pt x="5404" y="3604"/>
                    </a:lnTo>
                    <a:lnTo>
                      <a:pt x="5412" y="3611"/>
                    </a:lnTo>
                    <a:lnTo>
                      <a:pt x="5421" y="3617"/>
                    </a:lnTo>
                    <a:lnTo>
                      <a:pt x="5423" y="3626"/>
                    </a:lnTo>
                    <a:lnTo>
                      <a:pt x="5424" y="3621"/>
                    </a:lnTo>
                    <a:lnTo>
                      <a:pt x="5426" y="3634"/>
                    </a:lnTo>
                    <a:lnTo>
                      <a:pt x="5431" y="3649"/>
                    </a:lnTo>
                    <a:lnTo>
                      <a:pt x="5434" y="3670"/>
                    </a:lnTo>
                    <a:lnTo>
                      <a:pt x="5442" y="3687"/>
                    </a:lnTo>
                    <a:lnTo>
                      <a:pt x="5447" y="3704"/>
                    </a:lnTo>
                    <a:lnTo>
                      <a:pt x="5468" y="3744"/>
                    </a:lnTo>
                    <a:lnTo>
                      <a:pt x="5474" y="3785"/>
                    </a:lnTo>
                    <a:lnTo>
                      <a:pt x="5483" y="3804"/>
                    </a:lnTo>
                    <a:lnTo>
                      <a:pt x="5482" y="3809"/>
                    </a:lnTo>
                    <a:lnTo>
                      <a:pt x="5483" y="3810"/>
                    </a:lnTo>
                    <a:lnTo>
                      <a:pt x="5485" y="3828"/>
                    </a:lnTo>
                    <a:lnTo>
                      <a:pt x="5485" y="3849"/>
                    </a:lnTo>
                    <a:lnTo>
                      <a:pt x="5498" y="3860"/>
                    </a:lnTo>
                    <a:lnTo>
                      <a:pt x="5521" y="3863"/>
                    </a:lnTo>
                    <a:lnTo>
                      <a:pt x="5542" y="3855"/>
                    </a:lnTo>
                    <a:lnTo>
                      <a:pt x="5558" y="3863"/>
                    </a:lnTo>
                    <a:lnTo>
                      <a:pt x="5577" y="3865"/>
                    </a:lnTo>
                    <a:lnTo>
                      <a:pt x="5595" y="3874"/>
                    </a:lnTo>
                    <a:lnTo>
                      <a:pt x="5627" y="3902"/>
                    </a:lnTo>
                    <a:lnTo>
                      <a:pt x="5642" y="3909"/>
                    </a:lnTo>
                    <a:lnTo>
                      <a:pt x="5654" y="3911"/>
                    </a:lnTo>
                    <a:lnTo>
                      <a:pt x="5658" y="3918"/>
                    </a:lnTo>
                    <a:lnTo>
                      <a:pt x="5658" y="3923"/>
                    </a:lnTo>
                    <a:lnTo>
                      <a:pt x="5660" y="3922"/>
                    </a:lnTo>
                    <a:lnTo>
                      <a:pt x="5661" y="3938"/>
                    </a:lnTo>
                    <a:lnTo>
                      <a:pt x="5668" y="3947"/>
                    </a:lnTo>
                    <a:lnTo>
                      <a:pt x="5667" y="3963"/>
                    </a:lnTo>
                    <a:lnTo>
                      <a:pt x="5668" y="3981"/>
                    </a:lnTo>
                    <a:lnTo>
                      <a:pt x="5678" y="3997"/>
                    </a:lnTo>
                    <a:lnTo>
                      <a:pt x="5684" y="4010"/>
                    </a:lnTo>
                    <a:lnTo>
                      <a:pt x="5703" y="4009"/>
                    </a:lnTo>
                    <a:lnTo>
                      <a:pt x="5722" y="4015"/>
                    </a:lnTo>
                    <a:lnTo>
                      <a:pt x="5740" y="4013"/>
                    </a:lnTo>
                    <a:lnTo>
                      <a:pt x="5771" y="3998"/>
                    </a:lnTo>
                    <a:lnTo>
                      <a:pt x="5805" y="3976"/>
                    </a:lnTo>
                    <a:lnTo>
                      <a:pt x="5823" y="3974"/>
                    </a:lnTo>
                    <a:lnTo>
                      <a:pt x="5856" y="3956"/>
                    </a:lnTo>
                    <a:lnTo>
                      <a:pt x="5888" y="3947"/>
                    </a:lnTo>
                    <a:lnTo>
                      <a:pt x="5889" y="3950"/>
                    </a:lnTo>
                    <a:lnTo>
                      <a:pt x="5881" y="3963"/>
                    </a:lnTo>
                    <a:lnTo>
                      <a:pt x="5881" y="3983"/>
                    </a:lnTo>
                    <a:lnTo>
                      <a:pt x="5886" y="3999"/>
                    </a:lnTo>
                    <a:lnTo>
                      <a:pt x="5883" y="4019"/>
                    </a:lnTo>
                    <a:lnTo>
                      <a:pt x="5871" y="4029"/>
                    </a:lnTo>
                    <a:lnTo>
                      <a:pt x="5857" y="4042"/>
                    </a:lnTo>
                    <a:lnTo>
                      <a:pt x="5855" y="4063"/>
                    </a:lnTo>
                    <a:lnTo>
                      <a:pt x="5841" y="4096"/>
                    </a:lnTo>
                    <a:lnTo>
                      <a:pt x="5833" y="4138"/>
                    </a:lnTo>
                    <a:lnTo>
                      <a:pt x="5814" y="4176"/>
                    </a:lnTo>
                    <a:lnTo>
                      <a:pt x="5801" y="4194"/>
                    </a:lnTo>
                    <a:lnTo>
                      <a:pt x="5796" y="4214"/>
                    </a:lnTo>
                    <a:lnTo>
                      <a:pt x="5784" y="4224"/>
                    </a:lnTo>
                    <a:lnTo>
                      <a:pt x="5779" y="4220"/>
                    </a:lnTo>
                    <a:lnTo>
                      <a:pt x="5728" y="4208"/>
                    </a:lnTo>
                    <a:lnTo>
                      <a:pt x="5715" y="4215"/>
                    </a:lnTo>
                    <a:lnTo>
                      <a:pt x="5679" y="4250"/>
                    </a:lnTo>
                    <a:lnTo>
                      <a:pt x="5687" y="4263"/>
                    </a:lnTo>
                    <a:lnTo>
                      <a:pt x="5693" y="4290"/>
                    </a:lnTo>
                    <a:lnTo>
                      <a:pt x="5693" y="4349"/>
                    </a:lnTo>
                    <a:lnTo>
                      <a:pt x="5677" y="4374"/>
                    </a:lnTo>
                    <a:lnTo>
                      <a:pt x="5657" y="4391"/>
                    </a:lnTo>
                    <a:lnTo>
                      <a:pt x="5657" y="4409"/>
                    </a:lnTo>
                    <a:lnTo>
                      <a:pt x="5657" y="4415"/>
                    </a:lnTo>
                    <a:lnTo>
                      <a:pt x="5661" y="4423"/>
                    </a:lnTo>
                    <a:lnTo>
                      <a:pt x="5669" y="4419"/>
                    </a:lnTo>
                    <a:lnTo>
                      <a:pt x="5667" y="4412"/>
                    </a:lnTo>
                    <a:lnTo>
                      <a:pt x="5665" y="4407"/>
                    </a:lnTo>
                    <a:lnTo>
                      <a:pt x="5673" y="4404"/>
                    </a:lnTo>
                    <a:lnTo>
                      <a:pt x="5693" y="4406"/>
                    </a:lnTo>
                    <a:lnTo>
                      <a:pt x="5699" y="4396"/>
                    </a:lnTo>
                    <a:lnTo>
                      <a:pt x="5705" y="4390"/>
                    </a:lnTo>
                    <a:lnTo>
                      <a:pt x="5709" y="4382"/>
                    </a:lnTo>
                    <a:lnTo>
                      <a:pt x="5721" y="4369"/>
                    </a:lnTo>
                    <a:lnTo>
                      <a:pt x="5728" y="4345"/>
                    </a:lnTo>
                    <a:lnTo>
                      <a:pt x="5730" y="4354"/>
                    </a:lnTo>
                    <a:lnTo>
                      <a:pt x="5737" y="4355"/>
                    </a:lnTo>
                    <a:lnTo>
                      <a:pt x="5732" y="4365"/>
                    </a:lnTo>
                    <a:lnTo>
                      <a:pt x="5736" y="4370"/>
                    </a:lnTo>
                    <a:lnTo>
                      <a:pt x="5748" y="4361"/>
                    </a:lnTo>
                    <a:lnTo>
                      <a:pt x="5754" y="4359"/>
                    </a:lnTo>
                    <a:lnTo>
                      <a:pt x="5754" y="4366"/>
                    </a:lnTo>
                    <a:lnTo>
                      <a:pt x="5753" y="4374"/>
                    </a:lnTo>
                    <a:lnTo>
                      <a:pt x="5753" y="4385"/>
                    </a:lnTo>
                    <a:lnTo>
                      <a:pt x="5755" y="4387"/>
                    </a:lnTo>
                    <a:lnTo>
                      <a:pt x="5764" y="4387"/>
                    </a:lnTo>
                    <a:lnTo>
                      <a:pt x="5774" y="4390"/>
                    </a:lnTo>
                    <a:lnTo>
                      <a:pt x="5784" y="4396"/>
                    </a:lnTo>
                    <a:lnTo>
                      <a:pt x="5787" y="4395"/>
                    </a:lnTo>
                    <a:lnTo>
                      <a:pt x="5794" y="4398"/>
                    </a:lnTo>
                    <a:lnTo>
                      <a:pt x="5806" y="4401"/>
                    </a:lnTo>
                    <a:lnTo>
                      <a:pt x="5828" y="4393"/>
                    </a:lnTo>
                    <a:lnTo>
                      <a:pt x="5835" y="4393"/>
                    </a:lnTo>
                    <a:lnTo>
                      <a:pt x="5846" y="4387"/>
                    </a:lnTo>
                    <a:lnTo>
                      <a:pt x="5860" y="4376"/>
                    </a:lnTo>
                    <a:lnTo>
                      <a:pt x="5903" y="4347"/>
                    </a:lnTo>
                    <a:lnTo>
                      <a:pt x="5916" y="4332"/>
                    </a:lnTo>
                    <a:lnTo>
                      <a:pt x="5925" y="4318"/>
                    </a:lnTo>
                    <a:lnTo>
                      <a:pt x="5939" y="4299"/>
                    </a:lnTo>
                    <a:lnTo>
                      <a:pt x="5940" y="4290"/>
                    </a:lnTo>
                    <a:lnTo>
                      <a:pt x="5947" y="4279"/>
                    </a:lnTo>
                    <a:lnTo>
                      <a:pt x="5957" y="4269"/>
                    </a:lnTo>
                    <a:lnTo>
                      <a:pt x="5968" y="4263"/>
                    </a:lnTo>
                    <a:lnTo>
                      <a:pt x="5982" y="4240"/>
                    </a:lnTo>
                    <a:lnTo>
                      <a:pt x="5989" y="4232"/>
                    </a:lnTo>
                    <a:lnTo>
                      <a:pt x="6000" y="4215"/>
                    </a:lnTo>
                    <a:lnTo>
                      <a:pt x="6050" y="4161"/>
                    </a:lnTo>
                    <a:lnTo>
                      <a:pt x="6055" y="4148"/>
                    </a:lnTo>
                    <a:lnTo>
                      <a:pt x="6066" y="4138"/>
                    </a:lnTo>
                    <a:lnTo>
                      <a:pt x="6069" y="4134"/>
                    </a:lnTo>
                    <a:lnTo>
                      <a:pt x="6083" y="4106"/>
                    </a:lnTo>
                    <a:lnTo>
                      <a:pt x="6095" y="4070"/>
                    </a:lnTo>
                    <a:lnTo>
                      <a:pt x="6102" y="4056"/>
                    </a:lnTo>
                    <a:lnTo>
                      <a:pt x="6123" y="4031"/>
                    </a:lnTo>
                    <a:lnTo>
                      <a:pt x="6140" y="4001"/>
                    </a:lnTo>
                    <a:lnTo>
                      <a:pt x="6160" y="3979"/>
                    </a:lnTo>
                    <a:lnTo>
                      <a:pt x="6169" y="3967"/>
                    </a:lnTo>
                    <a:lnTo>
                      <a:pt x="6172" y="3961"/>
                    </a:lnTo>
                    <a:lnTo>
                      <a:pt x="6179" y="3957"/>
                    </a:lnTo>
                    <a:lnTo>
                      <a:pt x="6188" y="3949"/>
                    </a:lnTo>
                    <a:lnTo>
                      <a:pt x="6192" y="3924"/>
                    </a:lnTo>
                    <a:lnTo>
                      <a:pt x="6194" y="3912"/>
                    </a:lnTo>
                    <a:lnTo>
                      <a:pt x="6193" y="3902"/>
                    </a:lnTo>
                    <a:lnTo>
                      <a:pt x="6195" y="3890"/>
                    </a:lnTo>
                    <a:lnTo>
                      <a:pt x="6204" y="3871"/>
                    </a:lnTo>
                    <a:lnTo>
                      <a:pt x="6205" y="3861"/>
                    </a:lnTo>
                    <a:lnTo>
                      <a:pt x="6201" y="3827"/>
                    </a:lnTo>
                    <a:lnTo>
                      <a:pt x="6210" y="3816"/>
                    </a:lnTo>
                    <a:lnTo>
                      <a:pt x="6209" y="3810"/>
                    </a:lnTo>
                    <a:lnTo>
                      <a:pt x="6205" y="3806"/>
                    </a:lnTo>
                    <a:lnTo>
                      <a:pt x="6199" y="3778"/>
                    </a:lnTo>
                    <a:lnTo>
                      <a:pt x="6199" y="3757"/>
                    </a:lnTo>
                    <a:lnTo>
                      <a:pt x="6205" y="3747"/>
                    </a:lnTo>
                    <a:lnTo>
                      <a:pt x="6208" y="3734"/>
                    </a:lnTo>
                    <a:lnTo>
                      <a:pt x="6209" y="3713"/>
                    </a:lnTo>
                    <a:lnTo>
                      <a:pt x="6214" y="3712"/>
                    </a:lnTo>
                    <a:lnTo>
                      <a:pt x="6214" y="3705"/>
                    </a:lnTo>
                    <a:lnTo>
                      <a:pt x="6219" y="3702"/>
                    </a:lnTo>
                    <a:lnTo>
                      <a:pt x="6216" y="3696"/>
                    </a:lnTo>
                    <a:lnTo>
                      <a:pt x="6228" y="3676"/>
                    </a:lnTo>
                    <a:lnTo>
                      <a:pt x="6236" y="3671"/>
                    </a:lnTo>
                    <a:lnTo>
                      <a:pt x="6241" y="3661"/>
                    </a:lnTo>
                    <a:lnTo>
                      <a:pt x="6247" y="3653"/>
                    </a:lnTo>
                    <a:lnTo>
                      <a:pt x="6248" y="3643"/>
                    </a:lnTo>
                    <a:lnTo>
                      <a:pt x="6253" y="3631"/>
                    </a:lnTo>
                    <a:lnTo>
                      <a:pt x="6233" y="3610"/>
                    </a:lnTo>
                    <a:lnTo>
                      <a:pt x="6241" y="3591"/>
                    </a:lnTo>
                    <a:lnTo>
                      <a:pt x="6238" y="3578"/>
                    </a:lnTo>
                    <a:lnTo>
                      <a:pt x="6235" y="3565"/>
                    </a:lnTo>
                    <a:lnTo>
                      <a:pt x="6225" y="3559"/>
                    </a:lnTo>
                    <a:lnTo>
                      <a:pt x="6214" y="3549"/>
                    </a:lnTo>
                    <a:lnTo>
                      <a:pt x="6203" y="3551"/>
                    </a:lnTo>
                    <a:lnTo>
                      <a:pt x="6190" y="3542"/>
                    </a:lnTo>
                    <a:lnTo>
                      <a:pt x="6176" y="3537"/>
                    </a:lnTo>
                    <a:lnTo>
                      <a:pt x="6168" y="3538"/>
                    </a:lnTo>
                    <a:lnTo>
                      <a:pt x="6174" y="3532"/>
                    </a:lnTo>
                    <a:lnTo>
                      <a:pt x="6188" y="3532"/>
                    </a:lnTo>
                    <a:lnTo>
                      <a:pt x="6200" y="3542"/>
                    </a:lnTo>
                    <a:lnTo>
                      <a:pt x="6209" y="3543"/>
                    </a:lnTo>
                    <a:lnTo>
                      <a:pt x="6219" y="3542"/>
                    </a:lnTo>
                    <a:lnTo>
                      <a:pt x="6237" y="3554"/>
                    </a:lnTo>
                    <a:lnTo>
                      <a:pt x="6241" y="3551"/>
                    </a:lnTo>
                    <a:lnTo>
                      <a:pt x="6249" y="3540"/>
                    </a:lnTo>
                    <a:lnTo>
                      <a:pt x="6248" y="3529"/>
                    </a:lnTo>
                    <a:lnTo>
                      <a:pt x="6241" y="3526"/>
                    </a:lnTo>
                    <a:lnTo>
                      <a:pt x="6215" y="3508"/>
                    </a:lnTo>
                    <a:lnTo>
                      <a:pt x="6203" y="3495"/>
                    </a:lnTo>
                    <a:lnTo>
                      <a:pt x="6192" y="3487"/>
                    </a:lnTo>
                    <a:lnTo>
                      <a:pt x="6189" y="3482"/>
                    </a:lnTo>
                    <a:lnTo>
                      <a:pt x="6189" y="3468"/>
                    </a:lnTo>
                    <a:lnTo>
                      <a:pt x="6182" y="3461"/>
                    </a:lnTo>
                    <a:lnTo>
                      <a:pt x="6173" y="3454"/>
                    </a:lnTo>
                    <a:lnTo>
                      <a:pt x="6163" y="3450"/>
                    </a:lnTo>
                    <a:lnTo>
                      <a:pt x="6161" y="3445"/>
                    </a:lnTo>
                    <a:lnTo>
                      <a:pt x="6161" y="3440"/>
                    </a:lnTo>
                    <a:lnTo>
                      <a:pt x="6158" y="3440"/>
                    </a:lnTo>
                    <a:lnTo>
                      <a:pt x="6150" y="3440"/>
                    </a:lnTo>
                    <a:lnTo>
                      <a:pt x="6135" y="3446"/>
                    </a:lnTo>
                    <a:lnTo>
                      <a:pt x="6124" y="3446"/>
                    </a:lnTo>
                    <a:lnTo>
                      <a:pt x="6103" y="3438"/>
                    </a:lnTo>
                    <a:lnTo>
                      <a:pt x="6103" y="3457"/>
                    </a:lnTo>
                    <a:lnTo>
                      <a:pt x="6106" y="3459"/>
                    </a:lnTo>
                    <a:lnTo>
                      <a:pt x="6103" y="3467"/>
                    </a:lnTo>
                    <a:lnTo>
                      <a:pt x="6101" y="3483"/>
                    </a:lnTo>
                    <a:lnTo>
                      <a:pt x="6093" y="3504"/>
                    </a:lnTo>
                    <a:lnTo>
                      <a:pt x="6082" y="3510"/>
                    </a:lnTo>
                    <a:lnTo>
                      <a:pt x="6086" y="3495"/>
                    </a:lnTo>
                    <a:lnTo>
                      <a:pt x="6095" y="3481"/>
                    </a:lnTo>
                    <a:lnTo>
                      <a:pt x="6090" y="3471"/>
                    </a:lnTo>
                    <a:lnTo>
                      <a:pt x="6071" y="3493"/>
                    </a:lnTo>
                    <a:lnTo>
                      <a:pt x="6058" y="3500"/>
                    </a:lnTo>
                    <a:lnTo>
                      <a:pt x="6038" y="3505"/>
                    </a:lnTo>
                    <a:lnTo>
                      <a:pt x="6023" y="3504"/>
                    </a:lnTo>
                    <a:lnTo>
                      <a:pt x="6023" y="3499"/>
                    </a:lnTo>
                    <a:lnTo>
                      <a:pt x="6032" y="3495"/>
                    </a:lnTo>
                    <a:lnTo>
                      <a:pt x="6038" y="3488"/>
                    </a:lnTo>
                    <a:lnTo>
                      <a:pt x="6045" y="3477"/>
                    </a:lnTo>
                    <a:lnTo>
                      <a:pt x="6043" y="3470"/>
                    </a:lnTo>
                    <a:lnTo>
                      <a:pt x="6033" y="3465"/>
                    </a:lnTo>
                    <a:lnTo>
                      <a:pt x="6028" y="3455"/>
                    </a:lnTo>
                    <a:lnTo>
                      <a:pt x="6034" y="3452"/>
                    </a:lnTo>
                    <a:lnTo>
                      <a:pt x="6043" y="3443"/>
                    </a:lnTo>
                    <a:lnTo>
                      <a:pt x="6044" y="3438"/>
                    </a:lnTo>
                    <a:lnTo>
                      <a:pt x="6028" y="3439"/>
                    </a:lnTo>
                    <a:lnTo>
                      <a:pt x="6018" y="3445"/>
                    </a:lnTo>
                    <a:lnTo>
                      <a:pt x="6015" y="3454"/>
                    </a:lnTo>
                    <a:lnTo>
                      <a:pt x="6021" y="3462"/>
                    </a:lnTo>
                    <a:lnTo>
                      <a:pt x="6018" y="3470"/>
                    </a:lnTo>
                    <a:lnTo>
                      <a:pt x="6010" y="3479"/>
                    </a:lnTo>
                    <a:lnTo>
                      <a:pt x="6001" y="3479"/>
                    </a:lnTo>
                    <a:lnTo>
                      <a:pt x="5996" y="3487"/>
                    </a:lnTo>
                    <a:lnTo>
                      <a:pt x="5994" y="3484"/>
                    </a:lnTo>
                    <a:lnTo>
                      <a:pt x="5993" y="3466"/>
                    </a:lnTo>
                    <a:lnTo>
                      <a:pt x="5995" y="3455"/>
                    </a:lnTo>
                    <a:lnTo>
                      <a:pt x="5996" y="3444"/>
                    </a:lnTo>
                    <a:lnTo>
                      <a:pt x="5997" y="3434"/>
                    </a:lnTo>
                    <a:lnTo>
                      <a:pt x="5996" y="3430"/>
                    </a:lnTo>
                    <a:lnTo>
                      <a:pt x="5997" y="3417"/>
                    </a:lnTo>
                    <a:lnTo>
                      <a:pt x="5995" y="3408"/>
                    </a:lnTo>
                    <a:lnTo>
                      <a:pt x="5985" y="3406"/>
                    </a:lnTo>
                    <a:lnTo>
                      <a:pt x="5962" y="3412"/>
                    </a:lnTo>
                    <a:lnTo>
                      <a:pt x="5939" y="3413"/>
                    </a:lnTo>
                    <a:lnTo>
                      <a:pt x="5929" y="3405"/>
                    </a:lnTo>
                    <a:lnTo>
                      <a:pt x="5910" y="3396"/>
                    </a:lnTo>
                    <a:lnTo>
                      <a:pt x="5910" y="3390"/>
                    </a:lnTo>
                    <a:lnTo>
                      <a:pt x="5915" y="3376"/>
                    </a:lnTo>
                    <a:lnTo>
                      <a:pt x="5942" y="3354"/>
                    </a:lnTo>
                    <a:lnTo>
                      <a:pt x="5950" y="3350"/>
                    </a:lnTo>
                    <a:lnTo>
                      <a:pt x="5968" y="3336"/>
                    </a:lnTo>
                    <a:lnTo>
                      <a:pt x="5977" y="3320"/>
                    </a:lnTo>
                    <a:lnTo>
                      <a:pt x="5983" y="3314"/>
                    </a:lnTo>
                    <a:lnTo>
                      <a:pt x="5989" y="3312"/>
                    </a:lnTo>
                    <a:lnTo>
                      <a:pt x="5999" y="3305"/>
                    </a:lnTo>
                    <a:lnTo>
                      <a:pt x="6047" y="3260"/>
                    </a:lnTo>
                    <a:lnTo>
                      <a:pt x="6056" y="3241"/>
                    </a:lnTo>
                    <a:lnTo>
                      <a:pt x="6065" y="3235"/>
                    </a:lnTo>
                    <a:lnTo>
                      <a:pt x="6069" y="3226"/>
                    </a:lnTo>
                    <a:lnTo>
                      <a:pt x="6070" y="3218"/>
                    </a:lnTo>
                    <a:lnTo>
                      <a:pt x="6076" y="3212"/>
                    </a:lnTo>
                    <a:lnTo>
                      <a:pt x="6083" y="3202"/>
                    </a:lnTo>
                    <a:lnTo>
                      <a:pt x="6087" y="3194"/>
                    </a:lnTo>
                    <a:lnTo>
                      <a:pt x="6093" y="3196"/>
                    </a:lnTo>
                    <a:lnTo>
                      <a:pt x="6099" y="3182"/>
                    </a:lnTo>
                    <a:lnTo>
                      <a:pt x="6114" y="3169"/>
                    </a:lnTo>
                    <a:lnTo>
                      <a:pt x="6130" y="3145"/>
                    </a:lnTo>
                    <a:lnTo>
                      <a:pt x="6140" y="3147"/>
                    </a:lnTo>
                    <a:lnTo>
                      <a:pt x="6158" y="3127"/>
                    </a:lnTo>
                    <a:lnTo>
                      <a:pt x="6166" y="3111"/>
                    </a:lnTo>
                    <a:lnTo>
                      <a:pt x="6169" y="3112"/>
                    </a:lnTo>
                    <a:lnTo>
                      <a:pt x="6182" y="3101"/>
                    </a:lnTo>
                    <a:lnTo>
                      <a:pt x="6193" y="3095"/>
                    </a:lnTo>
                    <a:lnTo>
                      <a:pt x="6201" y="3078"/>
                    </a:lnTo>
                    <a:lnTo>
                      <a:pt x="6204" y="3063"/>
                    </a:lnTo>
                    <a:lnTo>
                      <a:pt x="6219" y="3043"/>
                    </a:lnTo>
                    <a:lnTo>
                      <a:pt x="6258" y="3011"/>
                    </a:lnTo>
                    <a:lnTo>
                      <a:pt x="6270" y="2994"/>
                    </a:lnTo>
                    <a:lnTo>
                      <a:pt x="6280" y="2976"/>
                    </a:lnTo>
                    <a:lnTo>
                      <a:pt x="6298" y="2960"/>
                    </a:lnTo>
                    <a:lnTo>
                      <a:pt x="6316" y="2946"/>
                    </a:lnTo>
                    <a:lnTo>
                      <a:pt x="6345" y="2932"/>
                    </a:lnTo>
                    <a:lnTo>
                      <a:pt x="6400" y="2927"/>
                    </a:lnTo>
                    <a:lnTo>
                      <a:pt x="6436" y="2927"/>
                    </a:lnTo>
                    <a:lnTo>
                      <a:pt x="6456" y="2924"/>
                    </a:lnTo>
                    <a:lnTo>
                      <a:pt x="6464" y="2927"/>
                    </a:lnTo>
                    <a:lnTo>
                      <a:pt x="6475" y="2925"/>
                    </a:lnTo>
                    <a:lnTo>
                      <a:pt x="6488" y="2929"/>
                    </a:lnTo>
                    <a:lnTo>
                      <a:pt x="6495" y="2929"/>
                    </a:lnTo>
                    <a:lnTo>
                      <a:pt x="6495" y="2941"/>
                    </a:lnTo>
                    <a:lnTo>
                      <a:pt x="6500" y="2950"/>
                    </a:lnTo>
                    <a:lnTo>
                      <a:pt x="6507" y="2951"/>
                    </a:lnTo>
                    <a:lnTo>
                      <a:pt x="6518" y="2949"/>
                    </a:lnTo>
                    <a:lnTo>
                      <a:pt x="6521" y="2944"/>
                    </a:lnTo>
                    <a:lnTo>
                      <a:pt x="6522" y="2923"/>
                    </a:lnTo>
                    <a:lnTo>
                      <a:pt x="6527" y="2919"/>
                    </a:lnTo>
                    <a:lnTo>
                      <a:pt x="6585" y="2943"/>
                    </a:lnTo>
                    <a:lnTo>
                      <a:pt x="6602" y="2940"/>
                    </a:lnTo>
                    <a:lnTo>
                      <a:pt x="6602" y="2932"/>
                    </a:lnTo>
                    <a:lnTo>
                      <a:pt x="6610" y="2927"/>
                    </a:lnTo>
                    <a:lnTo>
                      <a:pt x="6630" y="2928"/>
                    </a:lnTo>
                    <a:lnTo>
                      <a:pt x="6638" y="2937"/>
                    </a:lnTo>
                    <a:lnTo>
                      <a:pt x="6641" y="2944"/>
                    </a:lnTo>
                    <a:lnTo>
                      <a:pt x="6646" y="2945"/>
                    </a:lnTo>
                    <a:lnTo>
                      <a:pt x="6660" y="2941"/>
                    </a:lnTo>
                    <a:lnTo>
                      <a:pt x="6660" y="2932"/>
                    </a:lnTo>
                    <a:lnTo>
                      <a:pt x="6656" y="2932"/>
                    </a:lnTo>
                    <a:lnTo>
                      <a:pt x="6651" y="2923"/>
                    </a:lnTo>
                    <a:lnTo>
                      <a:pt x="6660" y="2918"/>
                    </a:lnTo>
                    <a:lnTo>
                      <a:pt x="6673" y="2918"/>
                    </a:lnTo>
                    <a:lnTo>
                      <a:pt x="6672" y="2912"/>
                    </a:lnTo>
                    <a:lnTo>
                      <a:pt x="6667" y="2905"/>
                    </a:lnTo>
                    <a:lnTo>
                      <a:pt x="6668" y="2898"/>
                    </a:lnTo>
                    <a:lnTo>
                      <a:pt x="6679" y="2891"/>
                    </a:lnTo>
                    <a:lnTo>
                      <a:pt x="6692" y="2890"/>
                    </a:lnTo>
                    <a:lnTo>
                      <a:pt x="6705" y="2892"/>
                    </a:lnTo>
                    <a:lnTo>
                      <a:pt x="6737" y="2905"/>
                    </a:lnTo>
                    <a:lnTo>
                      <a:pt x="6747" y="2905"/>
                    </a:lnTo>
                    <a:lnTo>
                      <a:pt x="6760" y="2913"/>
                    </a:lnTo>
                    <a:lnTo>
                      <a:pt x="6762" y="2918"/>
                    </a:lnTo>
                    <a:lnTo>
                      <a:pt x="6770" y="2921"/>
                    </a:lnTo>
                    <a:lnTo>
                      <a:pt x="6775" y="2908"/>
                    </a:lnTo>
                    <a:lnTo>
                      <a:pt x="6785" y="2906"/>
                    </a:lnTo>
                    <a:lnTo>
                      <a:pt x="6798" y="2910"/>
                    </a:lnTo>
                    <a:lnTo>
                      <a:pt x="6808" y="2916"/>
                    </a:lnTo>
                    <a:lnTo>
                      <a:pt x="6817" y="2927"/>
                    </a:lnTo>
                    <a:lnTo>
                      <a:pt x="6822" y="2937"/>
                    </a:lnTo>
                    <a:lnTo>
                      <a:pt x="6841" y="2940"/>
                    </a:lnTo>
                    <a:lnTo>
                      <a:pt x="6845" y="2948"/>
                    </a:lnTo>
                    <a:lnTo>
                      <a:pt x="6833" y="2953"/>
                    </a:lnTo>
                    <a:lnTo>
                      <a:pt x="6817" y="2954"/>
                    </a:lnTo>
                    <a:lnTo>
                      <a:pt x="6795" y="2954"/>
                    </a:lnTo>
                    <a:lnTo>
                      <a:pt x="6784" y="2959"/>
                    </a:lnTo>
                    <a:lnTo>
                      <a:pt x="6785" y="2965"/>
                    </a:lnTo>
                    <a:lnTo>
                      <a:pt x="6800" y="2984"/>
                    </a:lnTo>
                    <a:lnTo>
                      <a:pt x="6816" y="2986"/>
                    </a:lnTo>
                    <a:lnTo>
                      <a:pt x="6829" y="2984"/>
                    </a:lnTo>
                    <a:lnTo>
                      <a:pt x="6843" y="2981"/>
                    </a:lnTo>
                    <a:lnTo>
                      <a:pt x="6849" y="2971"/>
                    </a:lnTo>
                    <a:lnTo>
                      <a:pt x="6859" y="2966"/>
                    </a:lnTo>
                    <a:lnTo>
                      <a:pt x="6866" y="2973"/>
                    </a:lnTo>
                    <a:lnTo>
                      <a:pt x="6878" y="2978"/>
                    </a:lnTo>
                    <a:lnTo>
                      <a:pt x="6886" y="2972"/>
                    </a:lnTo>
                    <a:lnTo>
                      <a:pt x="6892" y="2962"/>
                    </a:lnTo>
                    <a:lnTo>
                      <a:pt x="6905" y="2960"/>
                    </a:lnTo>
                    <a:lnTo>
                      <a:pt x="6907" y="2953"/>
                    </a:lnTo>
                    <a:lnTo>
                      <a:pt x="6919" y="2946"/>
                    </a:lnTo>
                    <a:lnTo>
                      <a:pt x="6935" y="2951"/>
                    </a:lnTo>
                    <a:lnTo>
                      <a:pt x="6942" y="2962"/>
                    </a:lnTo>
                    <a:lnTo>
                      <a:pt x="6951" y="2962"/>
                    </a:lnTo>
                    <a:lnTo>
                      <a:pt x="6963" y="2959"/>
                    </a:lnTo>
                    <a:lnTo>
                      <a:pt x="6967" y="2950"/>
                    </a:lnTo>
                    <a:lnTo>
                      <a:pt x="6981" y="2951"/>
                    </a:lnTo>
                    <a:lnTo>
                      <a:pt x="6988" y="2956"/>
                    </a:lnTo>
                    <a:lnTo>
                      <a:pt x="6991" y="2950"/>
                    </a:lnTo>
                    <a:lnTo>
                      <a:pt x="7001" y="2950"/>
                    </a:lnTo>
                    <a:lnTo>
                      <a:pt x="7002" y="2943"/>
                    </a:lnTo>
                    <a:lnTo>
                      <a:pt x="7000" y="2933"/>
                    </a:lnTo>
                    <a:lnTo>
                      <a:pt x="6993" y="2922"/>
                    </a:lnTo>
                    <a:lnTo>
                      <a:pt x="6972" y="2913"/>
                    </a:lnTo>
                    <a:lnTo>
                      <a:pt x="6951" y="2917"/>
                    </a:lnTo>
                    <a:lnTo>
                      <a:pt x="6952" y="2910"/>
                    </a:lnTo>
                    <a:lnTo>
                      <a:pt x="6958" y="2902"/>
                    </a:lnTo>
                    <a:lnTo>
                      <a:pt x="6950" y="2879"/>
                    </a:lnTo>
                    <a:lnTo>
                      <a:pt x="6953" y="2875"/>
                    </a:lnTo>
                    <a:lnTo>
                      <a:pt x="6959" y="2879"/>
                    </a:lnTo>
                    <a:lnTo>
                      <a:pt x="6962" y="2879"/>
                    </a:lnTo>
                    <a:lnTo>
                      <a:pt x="6975" y="2849"/>
                    </a:lnTo>
                    <a:lnTo>
                      <a:pt x="6983" y="2837"/>
                    </a:lnTo>
                    <a:lnTo>
                      <a:pt x="6986" y="2827"/>
                    </a:lnTo>
                    <a:lnTo>
                      <a:pt x="6999" y="2815"/>
                    </a:lnTo>
                    <a:lnTo>
                      <a:pt x="7011" y="2809"/>
                    </a:lnTo>
                    <a:lnTo>
                      <a:pt x="7047" y="2776"/>
                    </a:lnTo>
                    <a:lnTo>
                      <a:pt x="7047" y="2767"/>
                    </a:lnTo>
                    <a:lnTo>
                      <a:pt x="7051" y="2757"/>
                    </a:lnTo>
                    <a:lnTo>
                      <a:pt x="7074" y="2731"/>
                    </a:lnTo>
                    <a:lnTo>
                      <a:pt x="7083" y="2723"/>
                    </a:lnTo>
                    <a:lnTo>
                      <a:pt x="7088" y="2697"/>
                    </a:lnTo>
                    <a:lnTo>
                      <a:pt x="7099" y="2690"/>
                    </a:lnTo>
                    <a:lnTo>
                      <a:pt x="7118" y="2670"/>
                    </a:lnTo>
                    <a:lnTo>
                      <a:pt x="7128" y="2666"/>
                    </a:lnTo>
                    <a:lnTo>
                      <a:pt x="7137" y="2659"/>
                    </a:lnTo>
                    <a:lnTo>
                      <a:pt x="7165" y="2661"/>
                    </a:lnTo>
                    <a:lnTo>
                      <a:pt x="7205" y="2653"/>
                    </a:lnTo>
                    <a:lnTo>
                      <a:pt x="7211" y="2648"/>
                    </a:lnTo>
                    <a:lnTo>
                      <a:pt x="7215" y="2642"/>
                    </a:lnTo>
                    <a:lnTo>
                      <a:pt x="7221" y="2643"/>
                    </a:lnTo>
                    <a:lnTo>
                      <a:pt x="7235" y="2652"/>
                    </a:lnTo>
                    <a:lnTo>
                      <a:pt x="7241" y="2659"/>
                    </a:lnTo>
                    <a:lnTo>
                      <a:pt x="7244" y="2670"/>
                    </a:lnTo>
                    <a:lnTo>
                      <a:pt x="7260" y="2669"/>
                    </a:lnTo>
                    <a:lnTo>
                      <a:pt x="7270" y="2658"/>
                    </a:lnTo>
                    <a:lnTo>
                      <a:pt x="7290" y="2638"/>
                    </a:lnTo>
                    <a:lnTo>
                      <a:pt x="7281" y="2685"/>
                    </a:lnTo>
                    <a:lnTo>
                      <a:pt x="7273" y="2693"/>
                    </a:lnTo>
                    <a:lnTo>
                      <a:pt x="7269" y="2703"/>
                    </a:lnTo>
                    <a:lnTo>
                      <a:pt x="7263" y="2712"/>
                    </a:lnTo>
                    <a:lnTo>
                      <a:pt x="7263" y="2725"/>
                    </a:lnTo>
                    <a:lnTo>
                      <a:pt x="7269" y="2733"/>
                    </a:lnTo>
                    <a:lnTo>
                      <a:pt x="7268" y="2741"/>
                    </a:lnTo>
                    <a:lnTo>
                      <a:pt x="7263" y="2745"/>
                    </a:lnTo>
                    <a:lnTo>
                      <a:pt x="7260" y="2752"/>
                    </a:lnTo>
                    <a:lnTo>
                      <a:pt x="7265" y="2756"/>
                    </a:lnTo>
                    <a:lnTo>
                      <a:pt x="7280" y="2749"/>
                    </a:lnTo>
                    <a:lnTo>
                      <a:pt x="7292" y="2746"/>
                    </a:lnTo>
                    <a:lnTo>
                      <a:pt x="7281" y="2771"/>
                    </a:lnTo>
                    <a:lnTo>
                      <a:pt x="7278" y="2787"/>
                    </a:lnTo>
                    <a:lnTo>
                      <a:pt x="7279" y="2797"/>
                    </a:lnTo>
                    <a:lnTo>
                      <a:pt x="7286" y="2793"/>
                    </a:lnTo>
                    <a:lnTo>
                      <a:pt x="7300" y="2781"/>
                    </a:lnTo>
                    <a:lnTo>
                      <a:pt x="7309" y="2781"/>
                    </a:lnTo>
                    <a:lnTo>
                      <a:pt x="7345" y="2734"/>
                    </a:lnTo>
                    <a:lnTo>
                      <a:pt x="7355" y="2728"/>
                    </a:lnTo>
                    <a:lnTo>
                      <a:pt x="7367" y="2713"/>
                    </a:lnTo>
                    <a:lnTo>
                      <a:pt x="7378" y="2704"/>
                    </a:lnTo>
                    <a:lnTo>
                      <a:pt x="7399" y="2680"/>
                    </a:lnTo>
                    <a:lnTo>
                      <a:pt x="7414" y="2679"/>
                    </a:lnTo>
                    <a:lnTo>
                      <a:pt x="7420" y="2675"/>
                    </a:lnTo>
                    <a:lnTo>
                      <a:pt x="7422" y="2666"/>
                    </a:lnTo>
                    <a:lnTo>
                      <a:pt x="7430" y="2671"/>
                    </a:lnTo>
                    <a:lnTo>
                      <a:pt x="7429" y="2680"/>
                    </a:lnTo>
                    <a:lnTo>
                      <a:pt x="7431" y="2688"/>
                    </a:lnTo>
                    <a:lnTo>
                      <a:pt x="7438" y="2687"/>
                    </a:lnTo>
                    <a:lnTo>
                      <a:pt x="7447" y="2669"/>
                    </a:lnTo>
                    <a:lnTo>
                      <a:pt x="7437" y="2666"/>
                    </a:lnTo>
                    <a:lnTo>
                      <a:pt x="7434" y="2656"/>
                    </a:lnTo>
                    <a:lnTo>
                      <a:pt x="7437" y="2642"/>
                    </a:lnTo>
                    <a:lnTo>
                      <a:pt x="7438" y="2627"/>
                    </a:lnTo>
                    <a:lnTo>
                      <a:pt x="7438" y="2618"/>
                    </a:lnTo>
                    <a:lnTo>
                      <a:pt x="7448" y="2601"/>
                    </a:lnTo>
                    <a:lnTo>
                      <a:pt x="7448" y="2593"/>
                    </a:lnTo>
                    <a:lnTo>
                      <a:pt x="7452" y="2583"/>
                    </a:lnTo>
                    <a:lnTo>
                      <a:pt x="7467" y="2569"/>
                    </a:lnTo>
                    <a:lnTo>
                      <a:pt x="7511" y="2553"/>
                    </a:lnTo>
                    <a:lnTo>
                      <a:pt x="7526" y="2557"/>
                    </a:lnTo>
                    <a:lnTo>
                      <a:pt x="7542" y="2572"/>
                    </a:lnTo>
                    <a:lnTo>
                      <a:pt x="7535" y="2585"/>
                    </a:lnTo>
                    <a:lnTo>
                      <a:pt x="7524" y="2582"/>
                    </a:lnTo>
                    <a:lnTo>
                      <a:pt x="7506" y="2596"/>
                    </a:lnTo>
                    <a:lnTo>
                      <a:pt x="7496" y="2607"/>
                    </a:lnTo>
                    <a:lnTo>
                      <a:pt x="7494" y="2623"/>
                    </a:lnTo>
                    <a:lnTo>
                      <a:pt x="7490" y="2631"/>
                    </a:lnTo>
                    <a:lnTo>
                      <a:pt x="7489" y="2644"/>
                    </a:lnTo>
                    <a:lnTo>
                      <a:pt x="7489" y="2670"/>
                    </a:lnTo>
                    <a:lnTo>
                      <a:pt x="7478" y="2681"/>
                    </a:lnTo>
                    <a:lnTo>
                      <a:pt x="7477" y="2688"/>
                    </a:lnTo>
                    <a:lnTo>
                      <a:pt x="7478" y="2699"/>
                    </a:lnTo>
                    <a:lnTo>
                      <a:pt x="7480" y="2706"/>
                    </a:lnTo>
                    <a:lnTo>
                      <a:pt x="7479" y="2718"/>
                    </a:lnTo>
                    <a:lnTo>
                      <a:pt x="7472" y="2728"/>
                    </a:lnTo>
                    <a:lnTo>
                      <a:pt x="7465" y="2731"/>
                    </a:lnTo>
                    <a:lnTo>
                      <a:pt x="7464" y="2738"/>
                    </a:lnTo>
                    <a:lnTo>
                      <a:pt x="7463" y="2749"/>
                    </a:lnTo>
                    <a:lnTo>
                      <a:pt x="7472" y="2755"/>
                    </a:lnTo>
                    <a:lnTo>
                      <a:pt x="7472" y="2762"/>
                    </a:lnTo>
                    <a:lnTo>
                      <a:pt x="7462" y="2771"/>
                    </a:lnTo>
                    <a:lnTo>
                      <a:pt x="7451" y="2777"/>
                    </a:lnTo>
                    <a:lnTo>
                      <a:pt x="7440" y="2774"/>
                    </a:lnTo>
                    <a:lnTo>
                      <a:pt x="7427" y="2779"/>
                    </a:lnTo>
                    <a:lnTo>
                      <a:pt x="7415" y="2797"/>
                    </a:lnTo>
                    <a:lnTo>
                      <a:pt x="7402" y="2798"/>
                    </a:lnTo>
                    <a:lnTo>
                      <a:pt x="7376" y="2809"/>
                    </a:lnTo>
                    <a:lnTo>
                      <a:pt x="7372" y="2814"/>
                    </a:lnTo>
                    <a:lnTo>
                      <a:pt x="7372" y="2826"/>
                    </a:lnTo>
                    <a:lnTo>
                      <a:pt x="7367" y="2838"/>
                    </a:lnTo>
                    <a:lnTo>
                      <a:pt x="7356" y="2848"/>
                    </a:lnTo>
                    <a:lnTo>
                      <a:pt x="7343" y="2864"/>
                    </a:lnTo>
                    <a:lnTo>
                      <a:pt x="7318" y="2897"/>
                    </a:lnTo>
                    <a:lnTo>
                      <a:pt x="7293" y="2911"/>
                    </a:lnTo>
                    <a:lnTo>
                      <a:pt x="7286" y="2929"/>
                    </a:lnTo>
                    <a:lnTo>
                      <a:pt x="7276" y="2934"/>
                    </a:lnTo>
                    <a:lnTo>
                      <a:pt x="7258" y="2960"/>
                    </a:lnTo>
                    <a:lnTo>
                      <a:pt x="7255" y="2978"/>
                    </a:lnTo>
                    <a:lnTo>
                      <a:pt x="7236" y="3002"/>
                    </a:lnTo>
                    <a:lnTo>
                      <a:pt x="7225" y="3019"/>
                    </a:lnTo>
                    <a:lnTo>
                      <a:pt x="7210" y="3031"/>
                    </a:lnTo>
                    <a:lnTo>
                      <a:pt x="7195" y="3047"/>
                    </a:lnTo>
                    <a:lnTo>
                      <a:pt x="7182" y="3066"/>
                    </a:lnTo>
                    <a:lnTo>
                      <a:pt x="7162" y="3075"/>
                    </a:lnTo>
                    <a:lnTo>
                      <a:pt x="7144" y="3075"/>
                    </a:lnTo>
                    <a:lnTo>
                      <a:pt x="7137" y="3085"/>
                    </a:lnTo>
                    <a:lnTo>
                      <a:pt x="7128" y="3096"/>
                    </a:lnTo>
                    <a:lnTo>
                      <a:pt x="7108" y="3091"/>
                    </a:lnTo>
                    <a:lnTo>
                      <a:pt x="7098" y="3093"/>
                    </a:lnTo>
                    <a:lnTo>
                      <a:pt x="7103" y="3105"/>
                    </a:lnTo>
                    <a:lnTo>
                      <a:pt x="7106" y="3124"/>
                    </a:lnTo>
                    <a:lnTo>
                      <a:pt x="7093" y="3164"/>
                    </a:lnTo>
                    <a:lnTo>
                      <a:pt x="7077" y="3174"/>
                    </a:lnTo>
                    <a:lnTo>
                      <a:pt x="7065" y="3186"/>
                    </a:lnTo>
                    <a:lnTo>
                      <a:pt x="7051" y="3193"/>
                    </a:lnTo>
                    <a:lnTo>
                      <a:pt x="7045" y="3206"/>
                    </a:lnTo>
                    <a:lnTo>
                      <a:pt x="7040" y="3229"/>
                    </a:lnTo>
                    <a:lnTo>
                      <a:pt x="7028" y="3279"/>
                    </a:lnTo>
                    <a:lnTo>
                      <a:pt x="7027" y="3328"/>
                    </a:lnTo>
                    <a:lnTo>
                      <a:pt x="7028" y="3352"/>
                    </a:lnTo>
                    <a:lnTo>
                      <a:pt x="7031" y="3374"/>
                    </a:lnTo>
                    <a:lnTo>
                      <a:pt x="7032" y="3403"/>
                    </a:lnTo>
                    <a:lnTo>
                      <a:pt x="7036" y="3418"/>
                    </a:lnTo>
                    <a:lnTo>
                      <a:pt x="7040" y="3459"/>
                    </a:lnTo>
                    <a:lnTo>
                      <a:pt x="7042" y="3463"/>
                    </a:lnTo>
                    <a:lnTo>
                      <a:pt x="7044" y="3467"/>
                    </a:lnTo>
                    <a:lnTo>
                      <a:pt x="7051" y="3503"/>
                    </a:lnTo>
                    <a:lnTo>
                      <a:pt x="7056" y="3524"/>
                    </a:lnTo>
                    <a:lnTo>
                      <a:pt x="7058" y="3551"/>
                    </a:lnTo>
                    <a:lnTo>
                      <a:pt x="7061" y="3573"/>
                    </a:lnTo>
                    <a:lnTo>
                      <a:pt x="7066" y="3596"/>
                    </a:lnTo>
                    <a:lnTo>
                      <a:pt x="7075" y="3617"/>
                    </a:lnTo>
                    <a:lnTo>
                      <a:pt x="7081" y="3640"/>
                    </a:lnTo>
                    <a:lnTo>
                      <a:pt x="7081" y="3685"/>
                    </a:lnTo>
                    <a:lnTo>
                      <a:pt x="7082" y="3705"/>
                    </a:lnTo>
                    <a:lnTo>
                      <a:pt x="7092" y="3729"/>
                    </a:lnTo>
                    <a:lnTo>
                      <a:pt x="7094" y="3742"/>
                    </a:lnTo>
                    <a:lnTo>
                      <a:pt x="7108" y="3728"/>
                    </a:lnTo>
                    <a:lnTo>
                      <a:pt x="7120" y="3718"/>
                    </a:lnTo>
                    <a:lnTo>
                      <a:pt x="7131" y="3704"/>
                    </a:lnTo>
                    <a:lnTo>
                      <a:pt x="7139" y="3691"/>
                    </a:lnTo>
                    <a:lnTo>
                      <a:pt x="7150" y="3682"/>
                    </a:lnTo>
                    <a:lnTo>
                      <a:pt x="7172" y="3656"/>
                    </a:lnTo>
                    <a:lnTo>
                      <a:pt x="7184" y="3626"/>
                    </a:lnTo>
                    <a:lnTo>
                      <a:pt x="7185" y="3613"/>
                    </a:lnTo>
                    <a:lnTo>
                      <a:pt x="7184" y="3595"/>
                    </a:lnTo>
                    <a:lnTo>
                      <a:pt x="7188" y="3589"/>
                    </a:lnTo>
                    <a:lnTo>
                      <a:pt x="7192" y="3573"/>
                    </a:lnTo>
                    <a:lnTo>
                      <a:pt x="7187" y="3569"/>
                    </a:lnTo>
                    <a:lnTo>
                      <a:pt x="7192" y="3561"/>
                    </a:lnTo>
                    <a:lnTo>
                      <a:pt x="7198" y="3562"/>
                    </a:lnTo>
                    <a:lnTo>
                      <a:pt x="7203" y="3567"/>
                    </a:lnTo>
                    <a:lnTo>
                      <a:pt x="7212" y="3556"/>
                    </a:lnTo>
                    <a:lnTo>
                      <a:pt x="7228" y="3545"/>
                    </a:lnTo>
                    <a:lnTo>
                      <a:pt x="7252" y="3536"/>
                    </a:lnTo>
                    <a:lnTo>
                      <a:pt x="7269" y="3542"/>
                    </a:lnTo>
                    <a:lnTo>
                      <a:pt x="7268" y="3536"/>
                    </a:lnTo>
                    <a:lnTo>
                      <a:pt x="7264" y="3529"/>
                    </a:lnTo>
                    <a:lnTo>
                      <a:pt x="7262" y="3516"/>
                    </a:lnTo>
                    <a:lnTo>
                      <a:pt x="7262" y="3479"/>
                    </a:lnTo>
                    <a:lnTo>
                      <a:pt x="7263" y="3463"/>
                    </a:lnTo>
                    <a:lnTo>
                      <a:pt x="7273" y="3450"/>
                    </a:lnTo>
                    <a:lnTo>
                      <a:pt x="7301" y="3423"/>
                    </a:lnTo>
                    <a:lnTo>
                      <a:pt x="7319" y="3413"/>
                    </a:lnTo>
                    <a:lnTo>
                      <a:pt x="7335" y="3409"/>
                    </a:lnTo>
                    <a:lnTo>
                      <a:pt x="7341" y="3418"/>
                    </a:lnTo>
                    <a:lnTo>
                      <a:pt x="7354" y="3418"/>
                    </a:lnTo>
                    <a:lnTo>
                      <a:pt x="7366" y="3414"/>
                    </a:lnTo>
                    <a:lnTo>
                      <a:pt x="7382" y="3398"/>
                    </a:lnTo>
                    <a:lnTo>
                      <a:pt x="7384" y="3390"/>
                    </a:lnTo>
                    <a:lnTo>
                      <a:pt x="7365" y="3362"/>
                    </a:lnTo>
                    <a:lnTo>
                      <a:pt x="7360" y="3347"/>
                    </a:lnTo>
                    <a:lnTo>
                      <a:pt x="7357" y="3335"/>
                    </a:lnTo>
                    <a:lnTo>
                      <a:pt x="7359" y="3322"/>
                    </a:lnTo>
                    <a:lnTo>
                      <a:pt x="7362" y="3305"/>
                    </a:lnTo>
                    <a:lnTo>
                      <a:pt x="7368" y="3293"/>
                    </a:lnTo>
                    <a:lnTo>
                      <a:pt x="7372" y="3279"/>
                    </a:lnTo>
                    <a:lnTo>
                      <a:pt x="7381" y="3267"/>
                    </a:lnTo>
                    <a:lnTo>
                      <a:pt x="7397" y="3256"/>
                    </a:lnTo>
                    <a:lnTo>
                      <a:pt x="7394" y="3247"/>
                    </a:lnTo>
                    <a:lnTo>
                      <a:pt x="7391" y="3242"/>
                    </a:lnTo>
                    <a:lnTo>
                      <a:pt x="7389" y="3237"/>
                    </a:lnTo>
                    <a:lnTo>
                      <a:pt x="7405" y="3231"/>
                    </a:lnTo>
                    <a:lnTo>
                      <a:pt x="7422" y="3229"/>
                    </a:lnTo>
                    <a:lnTo>
                      <a:pt x="7429" y="3222"/>
                    </a:lnTo>
                    <a:lnTo>
                      <a:pt x="7431" y="3226"/>
                    </a:lnTo>
                    <a:lnTo>
                      <a:pt x="7424" y="3237"/>
                    </a:lnTo>
                    <a:lnTo>
                      <a:pt x="7416" y="3242"/>
                    </a:lnTo>
                    <a:lnTo>
                      <a:pt x="7413" y="3251"/>
                    </a:lnTo>
                    <a:lnTo>
                      <a:pt x="7422" y="3271"/>
                    </a:lnTo>
                    <a:lnTo>
                      <a:pt x="7431" y="3274"/>
                    </a:lnTo>
                    <a:lnTo>
                      <a:pt x="7435" y="3274"/>
                    </a:lnTo>
                    <a:lnTo>
                      <a:pt x="7445" y="3258"/>
                    </a:lnTo>
                    <a:lnTo>
                      <a:pt x="7447" y="3247"/>
                    </a:lnTo>
                    <a:lnTo>
                      <a:pt x="7442" y="3212"/>
                    </a:lnTo>
                    <a:lnTo>
                      <a:pt x="7437" y="3203"/>
                    </a:lnTo>
                    <a:lnTo>
                      <a:pt x="7421" y="3206"/>
                    </a:lnTo>
                    <a:lnTo>
                      <a:pt x="7419" y="3202"/>
                    </a:lnTo>
                    <a:lnTo>
                      <a:pt x="7419" y="3180"/>
                    </a:lnTo>
                    <a:lnTo>
                      <a:pt x="7416" y="3159"/>
                    </a:lnTo>
                    <a:lnTo>
                      <a:pt x="7418" y="3147"/>
                    </a:lnTo>
                    <a:lnTo>
                      <a:pt x="7421" y="3137"/>
                    </a:lnTo>
                    <a:lnTo>
                      <a:pt x="7434" y="3126"/>
                    </a:lnTo>
                    <a:lnTo>
                      <a:pt x="7445" y="3106"/>
                    </a:lnTo>
                    <a:lnTo>
                      <a:pt x="7443" y="3097"/>
                    </a:lnTo>
                    <a:lnTo>
                      <a:pt x="7413" y="3079"/>
                    </a:lnTo>
                    <a:lnTo>
                      <a:pt x="7400" y="3083"/>
                    </a:lnTo>
                    <a:lnTo>
                      <a:pt x="7397" y="3096"/>
                    </a:lnTo>
                    <a:lnTo>
                      <a:pt x="7394" y="3100"/>
                    </a:lnTo>
                    <a:lnTo>
                      <a:pt x="7387" y="3097"/>
                    </a:lnTo>
                    <a:lnTo>
                      <a:pt x="7381" y="3093"/>
                    </a:lnTo>
                    <a:lnTo>
                      <a:pt x="7377" y="3081"/>
                    </a:lnTo>
                    <a:lnTo>
                      <a:pt x="7377" y="3063"/>
                    </a:lnTo>
                    <a:lnTo>
                      <a:pt x="7381" y="3051"/>
                    </a:lnTo>
                    <a:lnTo>
                      <a:pt x="7386" y="3032"/>
                    </a:lnTo>
                    <a:lnTo>
                      <a:pt x="7393" y="3019"/>
                    </a:lnTo>
                    <a:lnTo>
                      <a:pt x="7407" y="2999"/>
                    </a:lnTo>
                    <a:lnTo>
                      <a:pt x="7420" y="2983"/>
                    </a:lnTo>
                    <a:lnTo>
                      <a:pt x="7427" y="2970"/>
                    </a:lnTo>
                    <a:lnTo>
                      <a:pt x="7426" y="2960"/>
                    </a:lnTo>
                    <a:lnTo>
                      <a:pt x="7430" y="2954"/>
                    </a:lnTo>
                    <a:lnTo>
                      <a:pt x="7440" y="2957"/>
                    </a:lnTo>
                    <a:lnTo>
                      <a:pt x="7437" y="2950"/>
                    </a:lnTo>
                    <a:lnTo>
                      <a:pt x="7437" y="2943"/>
                    </a:lnTo>
                    <a:lnTo>
                      <a:pt x="7446" y="2938"/>
                    </a:lnTo>
                    <a:lnTo>
                      <a:pt x="7450" y="2932"/>
                    </a:lnTo>
                    <a:lnTo>
                      <a:pt x="7446" y="2918"/>
                    </a:lnTo>
                    <a:lnTo>
                      <a:pt x="7447" y="2905"/>
                    </a:lnTo>
                    <a:lnTo>
                      <a:pt x="7454" y="2892"/>
                    </a:lnTo>
                    <a:lnTo>
                      <a:pt x="7456" y="2881"/>
                    </a:lnTo>
                    <a:lnTo>
                      <a:pt x="7462" y="2875"/>
                    </a:lnTo>
                    <a:lnTo>
                      <a:pt x="7472" y="2871"/>
                    </a:lnTo>
                    <a:lnTo>
                      <a:pt x="7485" y="2862"/>
                    </a:lnTo>
                    <a:lnTo>
                      <a:pt x="7492" y="2867"/>
                    </a:lnTo>
                    <a:lnTo>
                      <a:pt x="7496" y="2876"/>
                    </a:lnTo>
                    <a:lnTo>
                      <a:pt x="7505" y="2864"/>
                    </a:lnTo>
                    <a:lnTo>
                      <a:pt x="7517" y="2855"/>
                    </a:lnTo>
                    <a:lnTo>
                      <a:pt x="7527" y="2865"/>
                    </a:lnTo>
                    <a:lnTo>
                      <a:pt x="7532" y="2879"/>
                    </a:lnTo>
                    <a:lnTo>
                      <a:pt x="7542" y="2881"/>
                    </a:lnTo>
                    <a:lnTo>
                      <a:pt x="7547" y="2864"/>
                    </a:lnTo>
                    <a:lnTo>
                      <a:pt x="7547" y="2852"/>
                    </a:lnTo>
                    <a:lnTo>
                      <a:pt x="7556" y="2840"/>
                    </a:lnTo>
                    <a:lnTo>
                      <a:pt x="7563" y="2836"/>
                    </a:lnTo>
                    <a:lnTo>
                      <a:pt x="7581" y="2830"/>
                    </a:lnTo>
                    <a:lnTo>
                      <a:pt x="7588" y="2824"/>
                    </a:lnTo>
                    <a:lnTo>
                      <a:pt x="7598" y="2809"/>
                    </a:lnTo>
                    <a:lnTo>
                      <a:pt x="7604" y="2803"/>
                    </a:lnTo>
                    <a:lnTo>
                      <a:pt x="7609" y="2806"/>
                    </a:lnTo>
                    <a:lnTo>
                      <a:pt x="7612" y="2814"/>
                    </a:lnTo>
                    <a:lnTo>
                      <a:pt x="7607" y="2821"/>
                    </a:lnTo>
                    <a:lnTo>
                      <a:pt x="7610" y="2841"/>
                    </a:lnTo>
                    <a:lnTo>
                      <a:pt x="7606" y="2855"/>
                    </a:lnTo>
                    <a:lnTo>
                      <a:pt x="7606" y="2864"/>
                    </a:lnTo>
                    <a:lnTo>
                      <a:pt x="7604" y="2870"/>
                    </a:lnTo>
                    <a:lnTo>
                      <a:pt x="7602" y="2875"/>
                    </a:lnTo>
                    <a:lnTo>
                      <a:pt x="7602" y="2880"/>
                    </a:lnTo>
                    <a:lnTo>
                      <a:pt x="7606" y="2880"/>
                    </a:lnTo>
                    <a:lnTo>
                      <a:pt x="7618" y="2863"/>
                    </a:lnTo>
                    <a:lnTo>
                      <a:pt x="7647" y="2835"/>
                    </a:lnTo>
                    <a:lnTo>
                      <a:pt x="7649" y="2828"/>
                    </a:lnTo>
                    <a:lnTo>
                      <a:pt x="7647" y="2819"/>
                    </a:lnTo>
                    <a:lnTo>
                      <a:pt x="7650" y="2815"/>
                    </a:lnTo>
                    <a:lnTo>
                      <a:pt x="7658" y="2822"/>
                    </a:lnTo>
                    <a:lnTo>
                      <a:pt x="7667" y="2814"/>
                    </a:lnTo>
                    <a:lnTo>
                      <a:pt x="7678" y="2812"/>
                    </a:lnTo>
                    <a:lnTo>
                      <a:pt x="7694" y="2800"/>
                    </a:lnTo>
                    <a:lnTo>
                      <a:pt x="7706" y="2799"/>
                    </a:lnTo>
                    <a:lnTo>
                      <a:pt x="7714" y="2790"/>
                    </a:lnTo>
                    <a:lnTo>
                      <a:pt x="7720" y="2795"/>
                    </a:lnTo>
                    <a:lnTo>
                      <a:pt x="7726" y="2794"/>
                    </a:lnTo>
                    <a:lnTo>
                      <a:pt x="7755" y="2795"/>
                    </a:lnTo>
                    <a:lnTo>
                      <a:pt x="7770" y="2799"/>
                    </a:lnTo>
                    <a:lnTo>
                      <a:pt x="7781" y="2804"/>
                    </a:lnTo>
                    <a:lnTo>
                      <a:pt x="7795" y="2815"/>
                    </a:lnTo>
                    <a:lnTo>
                      <a:pt x="7800" y="2827"/>
                    </a:lnTo>
                    <a:lnTo>
                      <a:pt x="7819" y="2857"/>
                    </a:lnTo>
                    <a:lnTo>
                      <a:pt x="7820" y="2863"/>
                    </a:lnTo>
                    <a:lnTo>
                      <a:pt x="7833" y="2865"/>
                    </a:lnTo>
                    <a:lnTo>
                      <a:pt x="7836" y="2863"/>
                    </a:lnTo>
                    <a:lnTo>
                      <a:pt x="7836" y="2846"/>
                    </a:lnTo>
                    <a:lnTo>
                      <a:pt x="7848" y="2820"/>
                    </a:lnTo>
                    <a:lnTo>
                      <a:pt x="7848" y="2814"/>
                    </a:lnTo>
                    <a:lnTo>
                      <a:pt x="7845" y="2811"/>
                    </a:lnTo>
                    <a:lnTo>
                      <a:pt x="7852" y="2809"/>
                    </a:lnTo>
                    <a:lnTo>
                      <a:pt x="7865" y="2800"/>
                    </a:lnTo>
                    <a:lnTo>
                      <a:pt x="7871" y="2799"/>
                    </a:lnTo>
                    <a:lnTo>
                      <a:pt x="7875" y="2792"/>
                    </a:lnTo>
                    <a:lnTo>
                      <a:pt x="7879" y="2795"/>
                    </a:lnTo>
                    <a:lnTo>
                      <a:pt x="7886" y="2795"/>
                    </a:lnTo>
                    <a:lnTo>
                      <a:pt x="7899" y="2778"/>
                    </a:lnTo>
                    <a:lnTo>
                      <a:pt x="7903" y="2777"/>
                    </a:lnTo>
                    <a:lnTo>
                      <a:pt x="7903" y="2772"/>
                    </a:lnTo>
                    <a:lnTo>
                      <a:pt x="7913" y="2765"/>
                    </a:lnTo>
                    <a:lnTo>
                      <a:pt x="7921" y="2763"/>
                    </a:lnTo>
                    <a:lnTo>
                      <a:pt x="7925" y="2760"/>
                    </a:lnTo>
                    <a:lnTo>
                      <a:pt x="7931" y="2758"/>
                    </a:lnTo>
                    <a:lnTo>
                      <a:pt x="7932" y="2754"/>
                    </a:lnTo>
                    <a:lnTo>
                      <a:pt x="7931" y="2749"/>
                    </a:lnTo>
                    <a:lnTo>
                      <a:pt x="7926" y="2744"/>
                    </a:lnTo>
                    <a:lnTo>
                      <a:pt x="7927" y="2739"/>
                    </a:lnTo>
                    <a:lnTo>
                      <a:pt x="7936" y="2746"/>
                    </a:lnTo>
                    <a:lnTo>
                      <a:pt x="7941" y="2749"/>
                    </a:lnTo>
                    <a:lnTo>
                      <a:pt x="7946" y="2745"/>
                    </a:lnTo>
                    <a:lnTo>
                      <a:pt x="7948" y="2733"/>
                    </a:lnTo>
                    <a:lnTo>
                      <a:pt x="7946" y="2727"/>
                    </a:lnTo>
                    <a:lnTo>
                      <a:pt x="7957" y="2727"/>
                    </a:lnTo>
                    <a:lnTo>
                      <a:pt x="7968" y="2719"/>
                    </a:lnTo>
                    <a:lnTo>
                      <a:pt x="7970" y="2719"/>
                    </a:lnTo>
                    <a:lnTo>
                      <a:pt x="7973" y="2714"/>
                    </a:lnTo>
                    <a:lnTo>
                      <a:pt x="7968" y="2703"/>
                    </a:lnTo>
                    <a:lnTo>
                      <a:pt x="7972" y="2701"/>
                    </a:lnTo>
                    <a:lnTo>
                      <a:pt x="7978" y="2706"/>
                    </a:lnTo>
                    <a:lnTo>
                      <a:pt x="7981" y="2706"/>
                    </a:lnTo>
                    <a:lnTo>
                      <a:pt x="7988" y="2702"/>
                    </a:lnTo>
                    <a:lnTo>
                      <a:pt x="7992" y="2696"/>
                    </a:lnTo>
                    <a:lnTo>
                      <a:pt x="7996" y="2688"/>
                    </a:lnTo>
                    <a:lnTo>
                      <a:pt x="8000" y="2688"/>
                    </a:lnTo>
                    <a:lnTo>
                      <a:pt x="8002" y="2684"/>
                    </a:lnTo>
                    <a:lnTo>
                      <a:pt x="8004" y="2671"/>
                    </a:lnTo>
                    <a:lnTo>
                      <a:pt x="8006" y="2664"/>
                    </a:lnTo>
                    <a:lnTo>
                      <a:pt x="8012" y="2665"/>
                    </a:lnTo>
                    <a:lnTo>
                      <a:pt x="8017" y="2674"/>
                    </a:lnTo>
                    <a:lnTo>
                      <a:pt x="8022" y="2675"/>
                    </a:lnTo>
                    <a:lnTo>
                      <a:pt x="8027" y="2672"/>
                    </a:lnTo>
                    <a:lnTo>
                      <a:pt x="8040" y="2660"/>
                    </a:lnTo>
                    <a:lnTo>
                      <a:pt x="8067" y="2652"/>
                    </a:lnTo>
                    <a:lnTo>
                      <a:pt x="8075" y="2644"/>
                    </a:lnTo>
                    <a:lnTo>
                      <a:pt x="8090" y="2637"/>
                    </a:lnTo>
                    <a:lnTo>
                      <a:pt x="8093" y="2629"/>
                    </a:lnTo>
                    <a:lnTo>
                      <a:pt x="8094" y="2623"/>
                    </a:lnTo>
                    <a:lnTo>
                      <a:pt x="8094" y="2616"/>
                    </a:lnTo>
                    <a:lnTo>
                      <a:pt x="8103" y="2614"/>
                    </a:lnTo>
                    <a:lnTo>
                      <a:pt x="8102" y="2618"/>
                    </a:lnTo>
                    <a:lnTo>
                      <a:pt x="8099" y="2625"/>
                    </a:lnTo>
                    <a:lnTo>
                      <a:pt x="8103" y="2625"/>
                    </a:lnTo>
                    <a:lnTo>
                      <a:pt x="8126" y="2612"/>
                    </a:lnTo>
                    <a:lnTo>
                      <a:pt x="8133" y="2612"/>
                    </a:lnTo>
                    <a:lnTo>
                      <a:pt x="8146" y="2605"/>
                    </a:lnTo>
                    <a:lnTo>
                      <a:pt x="8182" y="2579"/>
                    </a:lnTo>
                    <a:lnTo>
                      <a:pt x="8209" y="2569"/>
                    </a:lnTo>
                    <a:lnTo>
                      <a:pt x="8212" y="2566"/>
                    </a:lnTo>
                    <a:lnTo>
                      <a:pt x="8210" y="2563"/>
                    </a:lnTo>
                    <a:lnTo>
                      <a:pt x="8205" y="2559"/>
                    </a:lnTo>
                    <a:lnTo>
                      <a:pt x="8199" y="2543"/>
                    </a:lnTo>
                    <a:lnTo>
                      <a:pt x="8196" y="2534"/>
                    </a:lnTo>
                    <a:lnTo>
                      <a:pt x="8200" y="2530"/>
                    </a:lnTo>
                    <a:lnTo>
                      <a:pt x="8204" y="2536"/>
                    </a:lnTo>
                    <a:lnTo>
                      <a:pt x="8209" y="2548"/>
                    </a:lnTo>
                    <a:lnTo>
                      <a:pt x="8215" y="2557"/>
                    </a:lnTo>
                    <a:lnTo>
                      <a:pt x="8219" y="2557"/>
                    </a:lnTo>
                    <a:lnTo>
                      <a:pt x="8219" y="2563"/>
                    </a:lnTo>
                    <a:lnTo>
                      <a:pt x="8221" y="2566"/>
                    </a:lnTo>
                    <a:lnTo>
                      <a:pt x="8232" y="2567"/>
                    </a:lnTo>
                    <a:lnTo>
                      <a:pt x="8231" y="2559"/>
                    </a:lnTo>
                    <a:lnTo>
                      <a:pt x="8227" y="2553"/>
                    </a:lnTo>
                    <a:lnTo>
                      <a:pt x="8233" y="2553"/>
                    </a:lnTo>
                    <a:lnTo>
                      <a:pt x="8237" y="2561"/>
                    </a:lnTo>
                    <a:lnTo>
                      <a:pt x="8243" y="2568"/>
                    </a:lnTo>
                    <a:lnTo>
                      <a:pt x="8253" y="2568"/>
                    </a:lnTo>
                    <a:lnTo>
                      <a:pt x="8266" y="2573"/>
                    </a:lnTo>
                    <a:lnTo>
                      <a:pt x="8275" y="2582"/>
                    </a:lnTo>
                    <a:lnTo>
                      <a:pt x="8290" y="2591"/>
                    </a:lnTo>
                    <a:lnTo>
                      <a:pt x="8306" y="2596"/>
                    </a:lnTo>
                    <a:lnTo>
                      <a:pt x="8309" y="2594"/>
                    </a:lnTo>
                    <a:lnTo>
                      <a:pt x="8313" y="2582"/>
                    </a:lnTo>
                    <a:lnTo>
                      <a:pt x="8320" y="2580"/>
                    </a:lnTo>
                    <a:lnTo>
                      <a:pt x="8334" y="2558"/>
                    </a:lnTo>
                    <a:lnTo>
                      <a:pt x="8338" y="2545"/>
                    </a:lnTo>
                    <a:lnTo>
                      <a:pt x="8334" y="2535"/>
                    </a:lnTo>
                    <a:lnTo>
                      <a:pt x="8324" y="2526"/>
                    </a:lnTo>
                    <a:lnTo>
                      <a:pt x="8311" y="2521"/>
                    </a:lnTo>
                    <a:lnTo>
                      <a:pt x="8308" y="2518"/>
                    </a:lnTo>
                    <a:lnTo>
                      <a:pt x="8307" y="2512"/>
                    </a:lnTo>
                    <a:lnTo>
                      <a:pt x="8309" y="2512"/>
                    </a:lnTo>
                    <a:lnTo>
                      <a:pt x="8316" y="2509"/>
                    </a:lnTo>
                    <a:lnTo>
                      <a:pt x="8327" y="2510"/>
                    </a:lnTo>
                    <a:lnTo>
                      <a:pt x="8332" y="2507"/>
                    </a:lnTo>
                    <a:lnTo>
                      <a:pt x="8324" y="2491"/>
                    </a:lnTo>
                    <a:lnTo>
                      <a:pt x="8317" y="2491"/>
                    </a:lnTo>
                    <a:lnTo>
                      <a:pt x="8308" y="2478"/>
                    </a:lnTo>
                    <a:lnTo>
                      <a:pt x="8301" y="2464"/>
                    </a:lnTo>
                    <a:lnTo>
                      <a:pt x="8297" y="2443"/>
                    </a:lnTo>
                    <a:lnTo>
                      <a:pt x="8295" y="2435"/>
                    </a:lnTo>
                    <a:lnTo>
                      <a:pt x="8291" y="2396"/>
                    </a:lnTo>
                    <a:lnTo>
                      <a:pt x="8280" y="2402"/>
                    </a:lnTo>
                    <a:lnTo>
                      <a:pt x="8271" y="2390"/>
                    </a:lnTo>
                    <a:lnTo>
                      <a:pt x="8270" y="2384"/>
                    </a:lnTo>
                    <a:lnTo>
                      <a:pt x="8280" y="2381"/>
                    </a:lnTo>
                    <a:lnTo>
                      <a:pt x="8284" y="2384"/>
                    </a:lnTo>
                    <a:lnTo>
                      <a:pt x="8280" y="2369"/>
                    </a:lnTo>
                    <a:lnTo>
                      <a:pt x="8273" y="2347"/>
                    </a:lnTo>
                    <a:lnTo>
                      <a:pt x="8266" y="2359"/>
                    </a:lnTo>
                    <a:lnTo>
                      <a:pt x="8260" y="2363"/>
                    </a:lnTo>
                    <a:lnTo>
                      <a:pt x="8249" y="2358"/>
                    </a:lnTo>
                    <a:lnTo>
                      <a:pt x="8242" y="2349"/>
                    </a:lnTo>
                    <a:lnTo>
                      <a:pt x="8231" y="2346"/>
                    </a:lnTo>
                    <a:lnTo>
                      <a:pt x="8222" y="2335"/>
                    </a:lnTo>
                    <a:lnTo>
                      <a:pt x="8221" y="2321"/>
                    </a:lnTo>
                    <a:lnTo>
                      <a:pt x="8221" y="2311"/>
                    </a:lnTo>
                    <a:lnTo>
                      <a:pt x="8222" y="2300"/>
                    </a:lnTo>
                    <a:lnTo>
                      <a:pt x="8230" y="2292"/>
                    </a:lnTo>
                    <a:lnTo>
                      <a:pt x="8239" y="2300"/>
                    </a:lnTo>
                    <a:lnTo>
                      <a:pt x="8258" y="2305"/>
                    </a:lnTo>
                    <a:lnTo>
                      <a:pt x="8268" y="2298"/>
                    </a:lnTo>
                    <a:lnTo>
                      <a:pt x="8266" y="2302"/>
                    </a:lnTo>
                    <a:lnTo>
                      <a:pt x="8271" y="2309"/>
                    </a:lnTo>
                    <a:lnTo>
                      <a:pt x="8289" y="2305"/>
                    </a:lnTo>
                    <a:lnTo>
                      <a:pt x="8285" y="2314"/>
                    </a:lnTo>
                    <a:lnTo>
                      <a:pt x="8286" y="2319"/>
                    </a:lnTo>
                    <a:lnTo>
                      <a:pt x="8298" y="2310"/>
                    </a:lnTo>
                    <a:lnTo>
                      <a:pt x="8306" y="2299"/>
                    </a:lnTo>
                    <a:lnTo>
                      <a:pt x="8320" y="2292"/>
                    </a:lnTo>
                    <a:lnTo>
                      <a:pt x="8335" y="2288"/>
                    </a:lnTo>
                    <a:lnTo>
                      <a:pt x="8355" y="2263"/>
                    </a:lnTo>
                    <a:lnTo>
                      <a:pt x="8363" y="2256"/>
                    </a:lnTo>
                    <a:lnTo>
                      <a:pt x="8363" y="2254"/>
                    </a:lnTo>
                    <a:lnTo>
                      <a:pt x="8377" y="2243"/>
                    </a:lnTo>
                    <a:lnTo>
                      <a:pt x="8393" y="2219"/>
                    </a:lnTo>
                    <a:lnTo>
                      <a:pt x="8395" y="2204"/>
                    </a:lnTo>
                    <a:lnTo>
                      <a:pt x="8404" y="2193"/>
                    </a:lnTo>
                    <a:lnTo>
                      <a:pt x="8403" y="2179"/>
                    </a:lnTo>
                    <a:lnTo>
                      <a:pt x="8390" y="2170"/>
                    </a:lnTo>
                    <a:lnTo>
                      <a:pt x="8373" y="2149"/>
                    </a:lnTo>
                    <a:lnTo>
                      <a:pt x="8372" y="2130"/>
                    </a:lnTo>
                    <a:lnTo>
                      <a:pt x="8370" y="2115"/>
                    </a:lnTo>
                    <a:lnTo>
                      <a:pt x="8378" y="2115"/>
                    </a:lnTo>
                    <a:lnTo>
                      <a:pt x="8384" y="2111"/>
                    </a:lnTo>
                    <a:lnTo>
                      <a:pt x="8389" y="2119"/>
                    </a:lnTo>
                    <a:lnTo>
                      <a:pt x="8402" y="2112"/>
                    </a:lnTo>
                    <a:lnTo>
                      <a:pt x="8400" y="2088"/>
                    </a:lnTo>
                    <a:lnTo>
                      <a:pt x="8408" y="2095"/>
                    </a:lnTo>
                    <a:lnTo>
                      <a:pt x="8410" y="2085"/>
                    </a:lnTo>
                    <a:lnTo>
                      <a:pt x="8413" y="2096"/>
                    </a:lnTo>
                    <a:lnTo>
                      <a:pt x="8424" y="2110"/>
                    </a:lnTo>
                    <a:lnTo>
                      <a:pt x="8431" y="2107"/>
                    </a:lnTo>
                    <a:lnTo>
                      <a:pt x="8437" y="2095"/>
                    </a:lnTo>
                    <a:lnTo>
                      <a:pt x="8440" y="2085"/>
                    </a:lnTo>
                    <a:lnTo>
                      <a:pt x="8446" y="2084"/>
                    </a:lnTo>
                    <a:lnTo>
                      <a:pt x="8447" y="2087"/>
                    </a:lnTo>
                    <a:lnTo>
                      <a:pt x="8443" y="2106"/>
                    </a:lnTo>
                    <a:lnTo>
                      <a:pt x="8445" y="2120"/>
                    </a:lnTo>
                    <a:lnTo>
                      <a:pt x="8436" y="2126"/>
                    </a:lnTo>
                    <a:lnTo>
                      <a:pt x="8430" y="2126"/>
                    </a:lnTo>
                    <a:lnTo>
                      <a:pt x="8422" y="2123"/>
                    </a:lnTo>
                    <a:lnTo>
                      <a:pt x="8427" y="2137"/>
                    </a:lnTo>
                    <a:lnTo>
                      <a:pt x="8432" y="2147"/>
                    </a:lnTo>
                    <a:lnTo>
                      <a:pt x="8437" y="2158"/>
                    </a:lnTo>
                    <a:lnTo>
                      <a:pt x="8443" y="2159"/>
                    </a:lnTo>
                    <a:lnTo>
                      <a:pt x="8448" y="2173"/>
                    </a:lnTo>
                    <a:lnTo>
                      <a:pt x="8448" y="2190"/>
                    </a:lnTo>
                    <a:lnTo>
                      <a:pt x="8459" y="2195"/>
                    </a:lnTo>
                    <a:lnTo>
                      <a:pt x="8473" y="2195"/>
                    </a:lnTo>
                    <a:lnTo>
                      <a:pt x="8491" y="2200"/>
                    </a:lnTo>
                    <a:lnTo>
                      <a:pt x="8511" y="2193"/>
                    </a:lnTo>
                    <a:lnTo>
                      <a:pt x="8516" y="2185"/>
                    </a:lnTo>
                    <a:lnTo>
                      <a:pt x="8526" y="2184"/>
                    </a:lnTo>
                    <a:lnTo>
                      <a:pt x="8546" y="2187"/>
                    </a:lnTo>
                    <a:lnTo>
                      <a:pt x="8556" y="2185"/>
                    </a:lnTo>
                    <a:lnTo>
                      <a:pt x="8564" y="2192"/>
                    </a:lnTo>
                    <a:lnTo>
                      <a:pt x="8569" y="2200"/>
                    </a:lnTo>
                    <a:lnTo>
                      <a:pt x="8578" y="2200"/>
                    </a:lnTo>
                    <a:lnTo>
                      <a:pt x="8589" y="2204"/>
                    </a:lnTo>
                    <a:lnTo>
                      <a:pt x="8588" y="2222"/>
                    </a:lnTo>
                    <a:lnTo>
                      <a:pt x="8593" y="2233"/>
                    </a:lnTo>
                    <a:lnTo>
                      <a:pt x="8593" y="2247"/>
                    </a:lnTo>
                    <a:lnTo>
                      <a:pt x="8591" y="2259"/>
                    </a:lnTo>
                    <a:lnTo>
                      <a:pt x="8613" y="2278"/>
                    </a:lnTo>
                    <a:lnTo>
                      <a:pt x="8618" y="2286"/>
                    </a:lnTo>
                    <a:lnTo>
                      <a:pt x="8619" y="2293"/>
                    </a:lnTo>
                    <a:lnTo>
                      <a:pt x="8630" y="2294"/>
                    </a:lnTo>
                    <a:lnTo>
                      <a:pt x="8640" y="2299"/>
                    </a:lnTo>
                    <a:lnTo>
                      <a:pt x="8645" y="2298"/>
                    </a:lnTo>
                    <a:lnTo>
                      <a:pt x="8637" y="2292"/>
                    </a:lnTo>
                    <a:lnTo>
                      <a:pt x="8644" y="2281"/>
                    </a:lnTo>
                    <a:lnTo>
                      <a:pt x="8646" y="2287"/>
                    </a:lnTo>
                    <a:lnTo>
                      <a:pt x="8656" y="2288"/>
                    </a:lnTo>
                    <a:lnTo>
                      <a:pt x="8656" y="2272"/>
                    </a:lnTo>
                    <a:lnTo>
                      <a:pt x="8660" y="2266"/>
                    </a:lnTo>
                    <a:lnTo>
                      <a:pt x="8661" y="2270"/>
                    </a:lnTo>
                    <a:lnTo>
                      <a:pt x="8660" y="2286"/>
                    </a:lnTo>
                    <a:lnTo>
                      <a:pt x="8652" y="2295"/>
                    </a:lnTo>
                    <a:lnTo>
                      <a:pt x="8668" y="2309"/>
                    </a:lnTo>
                    <a:lnTo>
                      <a:pt x="8678" y="2309"/>
                    </a:lnTo>
                    <a:lnTo>
                      <a:pt x="8684" y="2313"/>
                    </a:lnTo>
                    <a:lnTo>
                      <a:pt x="8682" y="2319"/>
                    </a:lnTo>
                    <a:lnTo>
                      <a:pt x="8693" y="2329"/>
                    </a:lnTo>
                    <a:lnTo>
                      <a:pt x="8693" y="2340"/>
                    </a:lnTo>
                    <a:lnTo>
                      <a:pt x="8705" y="2340"/>
                    </a:lnTo>
                    <a:lnTo>
                      <a:pt x="8709" y="2330"/>
                    </a:lnTo>
                    <a:lnTo>
                      <a:pt x="8707" y="2345"/>
                    </a:lnTo>
                    <a:lnTo>
                      <a:pt x="8718" y="2348"/>
                    </a:lnTo>
                    <a:lnTo>
                      <a:pt x="8727" y="2343"/>
                    </a:lnTo>
                    <a:lnTo>
                      <a:pt x="8731" y="2331"/>
                    </a:lnTo>
                    <a:lnTo>
                      <a:pt x="8732" y="2317"/>
                    </a:lnTo>
                    <a:lnTo>
                      <a:pt x="8737" y="2324"/>
                    </a:lnTo>
                    <a:lnTo>
                      <a:pt x="8736" y="2332"/>
                    </a:lnTo>
                    <a:lnTo>
                      <a:pt x="8728" y="2351"/>
                    </a:lnTo>
                    <a:lnTo>
                      <a:pt x="8736" y="2358"/>
                    </a:lnTo>
                    <a:lnTo>
                      <a:pt x="8744" y="2360"/>
                    </a:lnTo>
                    <a:lnTo>
                      <a:pt x="8749" y="2359"/>
                    </a:lnTo>
                    <a:lnTo>
                      <a:pt x="8757" y="2352"/>
                    </a:lnTo>
                    <a:lnTo>
                      <a:pt x="8757" y="2335"/>
                    </a:lnTo>
                    <a:lnTo>
                      <a:pt x="8747" y="2333"/>
                    </a:lnTo>
                    <a:lnTo>
                      <a:pt x="8746" y="2329"/>
                    </a:lnTo>
                    <a:lnTo>
                      <a:pt x="8755" y="2326"/>
                    </a:lnTo>
                    <a:lnTo>
                      <a:pt x="8764" y="2331"/>
                    </a:lnTo>
                    <a:lnTo>
                      <a:pt x="8773" y="2341"/>
                    </a:lnTo>
                    <a:lnTo>
                      <a:pt x="8785" y="2337"/>
                    </a:lnTo>
                    <a:lnTo>
                      <a:pt x="8776" y="2319"/>
                    </a:lnTo>
                    <a:lnTo>
                      <a:pt x="8776" y="2315"/>
                    </a:lnTo>
                    <a:lnTo>
                      <a:pt x="8770" y="2309"/>
                    </a:lnTo>
                    <a:lnTo>
                      <a:pt x="8758" y="2311"/>
                    </a:lnTo>
                    <a:lnTo>
                      <a:pt x="8758" y="2309"/>
                    </a:lnTo>
                    <a:lnTo>
                      <a:pt x="8752" y="2305"/>
                    </a:lnTo>
                    <a:lnTo>
                      <a:pt x="8750" y="2300"/>
                    </a:lnTo>
                    <a:lnTo>
                      <a:pt x="8761" y="2299"/>
                    </a:lnTo>
                    <a:lnTo>
                      <a:pt x="8764" y="2293"/>
                    </a:lnTo>
                    <a:lnTo>
                      <a:pt x="8758" y="2287"/>
                    </a:lnTo>
                    <a:lnTo>
                      <a:pt x="8744" y="2290"/>
                    </a:lnTo>
                    <a:lnTo>
                      <a:pt x="8753" y="2283"/>
                    </a:lnTo>
                    <a:lnTo>
                      <a:pt x="8765" y="2283"/>
                    </a:lnTo>
                    <a:lnTo>
                      <a:pt x="8770" y="2278"/>
                    </a:lnTo>
                    <a:lnTo>
                      <a:pt x="8769" y="2270"/>
                    </a:lnTo>
                    <a:lnTo>
                      <a:pt x="8779" y="2276"/>
                    </a:lnTo>
                    <a:lnTo>
                      <a:pt x="8801" y="2256"/>
                    </a:lnTo>
                    <a:lnTo>
                      <a:pt x="8796" y="2249"/>
                    </a:lnTo>
                    <a:lnTo>
                      <a:pt x="8790" y="2236"/>
                    </a:lnTo>
                    <a:lnTo>
                      <a:pt x="8780" y="2238"/>
                    </a:lnTo>
                    <a:lnTo>
                      <a:pt x="8769" y="2233"/>
                    </a:lnTo>
                    <a:lnTo>
                      <a:pt x="8795" y="2232"/>
                    </a:lnTo>
                    <a:lnTo>
                      <a:pt x="8792" y="2220"/>
                    </a:lnTo>
                    <a:lnTo>
                      <a:pt x="8796" y="2209"/>
                    </a:lnTo>
                    <a:lnTo>
                      <a:pt x="8811" y="2197"/>
                    </a:lnTo>
                    <a:lnTo>
                      <a:pt x="8824" y="2195"/>
                    </a:lnTo>
                    <a:lnTo>
                      <a:pt x="8841" y="2201"/>
                    </a:lnTo>
                    <a:lnTo>
                      <a:pt x="8852" y="2201"/>
                    </a:lnTo>
                    <a:lnTo>
                      <a:pt x="8857" y="2195"/>
                    </a:lnTo>
                    <a:lnTo>
                      <a:pt x="8854" y="2186"/>
                    </a:lnTo>
                    <a:lnTo>
                      <a:pt x="8839" y="2176"/>
                    </a:lnTo>
                    <a:lnTo>
                      <a:pt x="8835" y="2160"/>
                    </a:lnTo>
                    <a:lnTo>
                      <a:pt x="8840" y="2153"/>
                    </a:lnTo>
                    <a:lnTo>
                      <a:pt x="8850" y="2166"/>
                    </a:lnTo>
                    <a:lnTo>
                      <a:pt x="8861" y="2173"/>
                    </a:lnTo>
                    <a:lnTo>
                      <a:pt x="8867" y="2182"/>
                    </a:lnTo>
                    <a:lnTo>
                      <a:pt x="8881" y="2184"/>
                    </a:lnTo>
                    <a:lnTo>
                      <a:pt x="8883" y="2174"/>
                    </a:lnTo>
                    <a:lnTo>
                      <a:pt x="8882" y="2164"/>
                    </a:lnTo>
                    <a:lnTo>
                      <a:pt x="8886" y="2142"/>
                    </a:lnTo>
                    <a:lnTo>
                      <a:pt x="8898" y="2137"/>
                    </a:lnTo>
                    <a:lnTo>
                      <a:pt x="8906" y="2126"/>
                    </a:lnTo>
                    <a:lnTo>
                      <a:pt x="8916" y="2125"/>
                    </a:lnTo>
                    <a:lnTo>
                      <a:pt x="8926" y="2127"/>
                    </a:lnTo>
                    <a:lnTo>
                      <a:pt x="8931" y="2116"/>
                    </a:lnTo>
                    <a:lnTo>
                      <a:pt x="8921" y="2114"/>
                    </a:lnTo>
                    <a:lnTo>
                      <a:pt x="8917" y="2116"/>
                    </a:lnTo>
                    <a:lnTo>
                      <a:pt x="8909" y="2110"/>
                    </a:lnTo>
                    <a:lnTo>
                      <a:pt x="8902" y="2109"/>
                    </a:lnTo>
                    <a:lnTo>
                      <a:pt x="8904" y="2101"/>
                    </a:lnTo>
                    <a:lnTo>
                      <a:pt x="8895" y="2091"/>
                    </a:lnTo>
                    <a:lnTo>
                      <a:pt x="8883" y="2104"/>
                    </a:lnTo>
                    <a:lnTo>
                      <a:pt x="8878" y="2098"/>
                    </a:lnTo>
                    <a:lnTo>
                      <a:pt x="8886" y="2093"/>
                    </a:lnTo>
                    <a:lnTo>
                      <a:pt x="8886" y="2089"/>
                    </a:lnTo>
                    <a:lnTo>
                      <a:pt x="8874" y="2078"/>
                    </a:lnTo>
                    <a:lnTo>
                      <a:pt x="8862" y="2071"/>
                    </a:lnTo>
                    <a:lnTo>
                      <a:pt x="8856" y="2058"/>
                    </a:lnTo>
                    <a:lnTo>
                      <a:pt x="8841" y="2046"/>
                    </a:lnTo>
                    <a:lnTo>
                      <a:pt x="8834" y="2035"/>
                    </a:lnTo>
                    <a:lnTo>
                      <a:pt x="8834" y="2026"/>
                    </a:lnTo>
                    <a:lnTo>
                      <a:pt x="8823" y="2020"/>
                    </a:lnTo>
                    <a:lnTo>
                      <a:pt x="8819" y="2013"/>
                    </a:lnTo>
                    <a:lnTo>
                      <a:pt x="8817" y="2002"/>
                    </a:lnTo>
                    <a:lnTo>
                      <a:pt x="8769" y="1992"/>
                    </a:lnTo>
                    <a:lnTo>
                      <a:pt x="8759" y="1996"/>
                    </a:lnTo>
                    <a:lnTo>
                      <a:pt x="8781" y="2002"/>
                    </a:lnTo>
                    <a:lnTo>
                      <a:pt x="8777" y="2009"/>
                    </a:lnTo>
                    <a:lnTo>
                      <a:pt x="8766" y="2010"/>
                    </a:lnTo>
                    <a:lnTo>
                      <a:pt x="8755" y="2008"/>
                    </a:lnTo>
                    <a:lnTo>
                      <a:pt x="8737" y="1997"/>
                    </a:lnTo>
                    <a:lnTo>
                      <a:pt x="8741" y="2010"/>
                    </a:lnTo>
                    <a:lnTo>
                      <a:pt x="8737" y="2019"/>
                    </a:lnTo>
                    <a:lnTo>
                      <a:pt x="8732" y="2019"/>
                    </a:lnTo>
                    <a:lnTo>
                      <a:pt x="8728" y="2009"/>
                    </a:lnTo>
                    <a:lnTo>
                      <a:pt x="8723" y="2002"/>
                    </a:lnTo>
                    <a:lnTo>
                      <a:pt x="8726" y="1992"/>
                    </a:lnTo>
                    <a:lnTo>
                      <a:pt x="8734" y="1990"/>
                    </a:lnTo>
                    <a:lnTo>
                      <a:pt x="8723" y="1983"/>
                    </a:lnTo>
                    <a:lnTo>
                      <a:pt x="8717" y="1983"/>
                    </a:lnTo>
                    <a:lnTo>
                      <a:pt x="8715" y="1977"/>
                    </a:lnTo>
                    <a:lnTo>
                      <a:pt x="8707" y="1975"/>
                    </a:lnTo>
                    <a:lnTo>
                      <a:pt x="8709" y="1982"/>
                    </a:lnTo>
                    <a:lnTo>
                      <a:pt x="8704" y="1993"/>
                    </a:lnTo>
                    <a:lnTo>
                      <a:pt x="8700" y="1991"/>
                    </a:lnTo>
                    <a:lnTo>
                      <a:pt x="8698" y="1985"/>
                    </a:lnTo>
                    <a:lnTo>
                      <a:pt x="8685" y="1981"/>
                    </a:lnTo>
                    <a:lnTo>
                      <a:pt x="8674" y="1982"/>
                    </a:lnTo>
                    <a:lnTo>
                      <a:pt x="8663" y="1987"/>
                    </a:lnTo>
                    <a:lnTo>
                      <a:pt x="8668" y="1994"/>
                    </a:lnTo>
                    <a:lnTo>
                      <a:pt x="8671" y="1987"/>
                    </a:lnTo>
                    <a:lnTo>
                      <a:pt x="8683" y="1983"/>
                    </a:lnTo>
                    <a:lnTo>
                      <a:pt x="8684" y="1988"/>
                    </a:lnTo>
                    <a:lnTo>
                      <a:pt x="8677" y="1992"/>
                    </a:lnTo>
                    <a:lnTo>
                      <a:pt x="8690" y="1997"/>
                    </a:lnTo>
                    <a:lnTo>
                      <a:pt x="8690" y="2023"/>
                    </a:lnTo>
                    <a:lnTo>
                      <a:pt x="8685" y="2046"/>
                    </a:lnTo>
                    <a:lnTo>
                      <a:pt x="8693" y="2048"/>
                    </a:lnTo>
                    <a:lnTo>
                      <a:pt x="8696" y="2044"/>
                    </a:lnTo>
                    <a:lnTo>
                      <a:pt x="8700" y="2047"/>
                    </a:lnTo>
                    <a:lnTo>
                      <a:pt x="8706" y="2060"/>
                    </a:lnTo>
                    <a:lnTo>
                      <a:pt x="8706" y="2069"/>
                    </a:lnTo>
                    <a:lnTo>
                      <a:pt x="8704" y="2079"/>
                    </a:lnTo>
                    <a:lnTo>
                      <a:pt x="8696" y="2080"/>
                    </a:lnTo>
                    <a:lnTo>
                      <a:pt x="8693" y="2088"/>
                    </a:lnTo>
                    <a:lnTo>
                      <a:pt x="8693" y="2080"/>
                    </a:lnTo>
                    <a:lnTo>
                      <a:pt x="8695" y="2076"/>
                    </a:lnTo>
                    <a:lnTo>
                      <a:pt x="8695" y="2061"/>
                    </a:lnTo>
                    <a:lnTo>
                      <a:pt x="8683" y="2056"/>
                    </a:lnTo>
                    <a:lnTo>
                      <a:pt x="8673" y="2057"/>
                    </a:lnTo>
                    <a:lnTo>
                      <a:pt x="8671" y="2047"/>
                    </a:lnTo>
                    <a:lnTo>
                      <a:pt x="8672" y="2041"/>
                    </a:lnTo>
                    <a:lnTo>
                      <a:pt x="8660" y="2034"/>
                    </a:lnTo>
                    <a:lnTo>
                      <a:pt x="8655" y="2025"/>
                    </a:lnTo>
                    <a:lnTo>
                      <a:pt x="8657" y="2013"/>
                    </a:lnTo>
                    <a:lnTo>
                      <a:pt x="8656" y="2002"/>
                    </a:lnTo>
                    <a:lnTo>
                      <a:pt x="8650" y="1987"/>
                    </a:lnTo>
                    <a:lnTo>
                      <a:pt x="8647" y="1971"/>
                    </a:lnTo>
                    <a:lnTo>
                      <a:pt x="8642" y="1949"/>
                    </a:lnTo>
                    <a:lnTo>
                      <a:pt x="8637" y="1940"/>
                    </a:lnTo>
                    <a:lnTo>
                      <a:pt x="8640" y="1932"/>
                    </a:lnTo>
                    <a:lnTo>
                      <a:pt x="8647" y="1940"/>
                    </a:lnTo>
                    <a:lnTo>
                      <a:pt x="8648" y="1951"/>
                    </a:lnTo>
                    <a:lnTo>
                      <a:pt x="8651" y="1947"/>
                    </a:lnTo>
                    <a:lnTo>
                      <a:pt x="8647" y="1938"/>
                    </a:lnTo>
                    <a:lnTo>
                      <a:pt x="8623" y="1920"/>
                    </a:lnTo>
                    <a:lnTo>
                      <a:pt x="8619" y="1906"/>
                    </a:lnTo>
                    <a:lnTo>
                      <a:pt x="8618" y="1897"/>
                    </a:lnTo>
                    <a:lnTo>
                      <a:pt x="8592" y="1884"/>
                    </a:lnTo>
                    <a:lnTo>
                      <a:pt x="8588" y="1886"/>
                    </a:lnTo>
                    <a:lnTo>
                      <a:pt x="8592" y="1897"/>
                    </a:lnTo>
                    <a:lnTo>
                      <a:pt x="8599" y="1910"/>
                    </a:lnTo>
                    <a:lnTo>
                      <a:pt x="8605" y="1916"/>
                    </a:lnTo>
                    <a:lnTo>
                      <a:pt x="8610" y="1916"/>
                    </a:lnTo>
                    <a:lnTo>
                      <a:pt x="8615" y="1923"/>
                    </a:lnTo>
                    <a:lnTo>
                      <a:pt x="8617" y="1932"/>
                    </a:lnTo>
                    <a:lnTo>
                      <a:pt x="8608" y="1928"/>
                    </a:lnTo>
                    <a:lnTo>
                      <a:pt x="8578" y="1906"/>
                    </a:lnTo>
                    <a:lnTo>
                      <a:pt x="8569" y="1904"/>
                    </a:lnTo>
                    <a:lnTo>
                      <a:pt x="8559" y="1897"/>
                    </a:lnTo>
                    <a:lnTo>
                      <a:pt x="8564" y="1891"/>
                    </a:lnTo>
                    <a:lnTo>
                      <a:pt x="8574" y="1889"/>
                    </a:lnTo>
                    <a:lnTo>
                      <a:pt x="8575" y="1879"/>
                    </a:lnTo>
                    <a:lnTo>
                      <a:pt x="8577" y="1874"/>
                    </a:lnTo>
                    <a:lnTo>
                      <a:pt x="8556" y="1869"/>
                    </a:lnTo>
                    <a:lnTo>
                      <a:pt x="8545" y="1869"/>
                    </a:lnTo>
                    <a:lnTo>
                      <a:pt x="8538" y="1863"/>
                    </a:lnTo>
                    <a:lnTo>
                      <a:pt x="8527" y="1859"/>
                    </a:lnTo>
                    <a:lnTo>
                      <a:pt x="8532" y="1852"/>
                    </a:lnTo>
                    <a:lnTo>
                      <a:pt x="8537" y="1851"/>
                    </a:lnTo>
                    <a:lnTo>
                      <a:pt x="8534" y="1845"/>
                    </a:lnTo>
                    <a:lnTo>
                      <a:pt x="8532" y="1836"/>
                    </a:lnTo>
                    <a:lnTo>
                      <a:pt x="8515" y="1836"/>
                    </a:lnTo>
                    <a:lnTo>
                      <a:pt x="8517" y="1829"/>
                    </a:lnTo>
                    <a:lnTo>
                      <a:pt x="8510" y="1818"/>
                    </a:lnTo>
                    <a:lnTo>
                      <a:pt x="8501" y="1820"/>
                    </a:lnTo>
                    <a:lnTo>
                      <a:pt x="8501" y="1816"/>
                    </a:lnTo>
                    <a:lnTo>
                      <a:pt x="8489" y="1808"/>
                    </a:lnTo>
                    <a:lnTo>
                      <a:pt x="8470" y="1816"/>
                    </a:lnTo>
                    <a:lnTo>
                      <a:pt x="8469" y="1810"/>
                    </a:lnTo>
                    <a:lnTo>
                      <a:pt x="8472" y="1802"/>
                    </a:lnTo>
                    <a:lnTo>
                      <a:pt x="8470" y="1795"/>
                    </a:lnTo>
                    <a:lnTo>
                      <a:pt x="8465" y="1787"/>
                    </a:lnTo>
                    <a:lnTo>
                      <a:pt x="8453" y="1776"/>
                    </a:lnTo>
                    <a:lnTo>
                      <a:pt x="8463" y="1789"/>
                    </a:lnTo>
                    <a:lnTo>
                      <a:pt x="8448" y="1782"/>
                    </a:lnTo>
                    <a:lnTo>
                      <a:pt x="8442" y="1782"/>
                    </a:lnTo>
                    <a:lnTo>
                      <a:pt x="8433" y="1773"/>
                    </a:lnTo>
                    <a:lnTo>
                      <a:pt x="8431" y="1752"/>
                    </a:lnTo>
                    <a:lnTo>
                      <a:pt x="8425" y="1740"/>
                    </a:lnTo>
                    <a:lnTo>
                      <a:pt x="8419" y="1740"/>
                    </a:lnTo>
                    <a:lnTo>
                      <a:pt x="8394" y="1729"/>
                    </a:lnTo>
                    <a:lnTo>
                      <a:pt x="8387" y="1721"/>
                    </a:lnTo>
                    <a:lnTo>
                      <a:pt x="8375" y="1722"/>
                    </a:lnTo>
                    <a:lnTo>
                      <a:pt x="8363" y="1716"/>
                    </a:lnTo>
                    <a:lnTo>
                      <a:pt x="8363" y="1716"/>
                    </a:lnTo>
                    <a:lnTo>
                      <a:pt x="8317" y="1666"/>
                    </a:lnTo>
                    <a:lnTo>
                      <a:pt x="8295" y="1652"/>
                    </a:lnTo>
                    <a:lnTo>
                      <a:pt x="8282" y="1648"/>
                    </a:lnTo>
                    <a:lnTo>
                      <a:pt x="8276" y="1637"/>
                    </a:lnTo>
                    <a:lnTo>
                      <a:pt x="8271" y="1641"/>
                    </a:lnTo>
                    <a:lnTo>
                      <a:pt x="8234" y="1622"/>
                    </a:lnTo>
                    <a:lnTo>
                      <a:pt x="8220" y="1606"/>
                    </a:lnTo>
                    <a:lnTo>
                      <a:pt x="8212" y="1609"/>
                    </a:lnTo>
                    <a:lnTo>
                      <a:pt x="8191" y="1599"/>
                    </a:lnTo>
                    <a:lnTo>
                      <a:pt x="8179" y="1598"/>
                    </a:lnTo>
                    <a:lnTo>
                      <a:pt x="8150" y="1569"/>
                    </a:lnTo>
                    <a:lnTo>
                      <a:pt x="8137" y="1567"/>
                    </a:lnTo>
                    <a:lnTo>
                      <a:pt x="8086" y="1566"/>
                    </a:lnTo>
                    <a:lnTo>
                      <a:pt x="8081" y="1571"/>
                    </a:lnTo>
                    <a:lnTo>
                      <a:pt x="8066" y="1574"/>
                    </a:lnTo>
                    <a:lnTo>
                      <a:pt x="8056" y="1568"/>
                    </a:lnTo>
                    <a:lnTo>
                      <a:pt x="8042" y="1563"/>
                    </a:lnTo>
                    <a:lnTo>
                      <a:pt x="8028" y="1567"/>
                    </a:lnTo>
                    <a:lnTo>
                      <a:pt x="8005" y="1565"/>
                    </a:lnTo>
                    <a:lnTo>
                      <a:pt x="7992" y="1571"/>
                    </a:lnTo>
                    <a:lnTo>
                      <a:pt x="7978" y="1568"/>
                    </a:lnTo>
                    <a:lnTo>
                      <a:pt x="7952" y="1553"/>
                    </a:lnTo>
                    <a:lnTo>
                      <a:pt x="7945" y="1556"/>
                    </a:lnTo>
                    <a:lnTo>
                      <a:pt x="7877" y="1539"/>
                    </a:lnTo>
                    <a:lnTo>
                      <a:pt x="7850" y="1539"/>
                    </a:lnTo>
                    <a:lnTo>
                      <a:pt x="7840" y="1545"/>
                    </a:lnTo>
                    <a:lnTo>
                      <a:pt x="7839" y="1557"/>
                    </a:lnTo>
                    <a:lnTo>
                      <a:pt x="7843" y="1567"/>
                    </a:lnTo>
                    <a:lnTo>
                      <a:pt x="7841" y="1589"/>
                    </a:lnTo>
                    <a:lnTo>
                      <a:pt x="7824" y="1595"/>
                    </a:lnTo>
                    <a:lnTo>
                      <a:pt x="7819" y="1608"/>
                    </a:lnTo>
                    <a:lnTo>
                      <a:pt x="7849" y="1615"/>
                    </a:lnTo>
                    <a:lnTo>
                      <a:pt x="7860" y="1651"/>
                    </a:lnTo>
                    <a:lnTo>
                      <a:pt x="7866" y="1657"/>
                    </a:lnTo>
                    <a:lnTo>
                      <a:pt x="7866" y="1666"/>
                    </a:lnTo>
                    <a:lnTo>
                      <a:pt x="7871" y="1689"/>
                    </a:lnTo>
                    <a:lnTo>
                      <a:pt x="7840" y="1725"/>
                    </a:lnTo>
                    <a:lnTo>
                      <a:pt x="7820" y="1739"/>
                    </a:lnTo>
                    <a:lnTo>
                      <a:pt x="7797" y="1738"/>
                    </a:lnTo>
                    <a:lnTo>
                      <a:pt x="7790" y="1733"/>
                    </a:lnTo>
                    <a:lnTo>
                      <a:pt x="7782" y="1711"/>
                    </a:lnTo>
                    <a:lnTo>
                      <a:pt x="7777" y="1700"/>
                    </a:lnTo>
                    <a:lnTo>
                      <a:pt x="7762" y="1690"/>
                    </a:lnTo>
                    <a:lnTo>
                      <a:pt x="7760" y="1684"/>
                    </a:lnTo>
                    <a:lnTo>
                      <a:pt x="7750" y="1678"/>
                    </a:lnTo>
                    <a:lnTo>
                      <a:pt x="7727" y="1675"/>
                    </a:lnTo>
                    <a:lnTo>
                      <a:pt x="7721" y="1670"/>
                    </a:lnTo>
                    <a:lnTo>
                      <a:pt x="7719" y="1663"/>
                    </a:lnTo>
                    <a:lnTo>
                      <a:pt x="7717" y="1655"/>
                    </a:lnTo>
                    <a:lnTo>
                      <a:pt x="7720" y="1625"/>
                    </a:lnTo>
                    <a:lnTo>
                      <a:pt x="7716" y="1614"/>
                    </a:lnTo>
                    <a:lnTo>
                      <a:pt x="7698" y="1608"/>
                    </a:lnTo>
                    <a:lnTo>
                      <a:pt x="7700" y="1598"/>
                    </a:lnTo>
                    <a:lnTo>
                      <a:pt x="7707" y="1595"/>
                    </a:lnTo>
                    <a:lnTo>
                      <a:pt x="7706" y="1590"/>
                    </a:lnTo>
                    <a:lnTo>
                      <a:pt x="7693" y="1582"/>
                    </a:lnTo>
                    <a:lnTo>
                      <a:pt x="7685" y="1584"/>
                    </a:lnTo>
                    <a:lnTo>
                      <a:pt x="7679" y="1590"/>
                    </a:lnTo>
                    <a:lnTo>
                      <a:pt x="7650" y="1627"/>
                    </a:lnTo>
                    <a:lnTo>
                      <a:pt x="7641" y="1628"/>
                    </a:lnTo>
                    <a:lnTo>
                      <a:pt x="7635" y="1626"/>
                    </a:lnTo>
                    <a:lnTo>
                      <a:pt x="7613" y="1626"/>
                    </a:lnTo>
                    <a:lnTo>
                      <a:pt x="7591" y="1614"/>
                    </a:lnTo>
                    <a:lnTo>
                      <a:pt x="7559" y="1610"/>
                    </a:lnTo>
                    <a:lnTo>
                      <a:pt x="7547" y="1614"/>
                    </a:lnTo>
                    <a:lnTo>
                      <a:pt x="7544" y="1617"/>
                    </a:lnTo>
                    <a:lnTo>
                      <a:pt x="7542" y="1614"/>
                    </a:lnTo>
                    <a:lnTo>
                      <a:pt x="7518" y="1616"/>
                    </a:lnTo>
                    <a:lnTo>
                      <a:pt x="7504" y="1606"/>
                    </a:lnTo>
                    <a:lnTo>
                      <a:pt x="7489" y="1582"/>
                    </a:lnTo>
                    <a:lnTo>
                      <a:pt x="7469" y="1594"/>
                    </a:lnTo>
                    <a:lnTo>
                      <a:pt x="7438" y="1590"/>
                    </a:lnTo>
                    <a:lnTo>
                      <a:pt x="7420" y="1600"/>
                    </a:lnTo>
                    <a:lnTo>
                      <a:pt x="7405" y="1594"/>
                    </a:lnTo>
                    <a:lnTo>
                      <a:pt x="7398" y="1594"/>
                    </a:lnTo>
                    <a:lnTo>
                      <a:pt x="7393" y="1599"/>
                    </a:lnTo>
                    <a:lnTo>
                      <a:pt x="7389" y="1606"/>
                    </a:lnTo>
                    <a:lnTo>
                      <a:pt x="7382" y="1606"/>
                    </a:lnTo>
                    <a:lnTo>
                      <a:pt x="7378" y="1623"/>
                    </a:lnTo>
                    <a:lnTo>
                      <a:pt x="7362" y="1622"/>
                    </a:lnTo>
                    <a:lnTo>
                      <a:pt x="7356" y="1635"/>
                    </a:lnTo>
                    <a:lnTo>
                      <a:pt x="7346" y="1646"/>
                    </a:lnTo>
                    <a:lnTo>
                      <a:pt x="7338" y="1643"/>
                    </a:lnTo>
                    <a:lnTo>
                      <a:pt x="7339" y="1626"/>
                    </a:lnTo>
                    <a:lnTo>
                      <a:pt x="7336" y="1616"/>
                    </a:lnTo>
                    <a:lnTo>
                      <a:pt x="7327" y="1620"/>
                    </a:lnTo>
                    <a:lnTo>
                      <a:pt x="7322" y="1617"/>
                    </a:lnTo>
                    <a:lnTo>
                      <a:pt x="7314" y="1605"/>
                    </a:lnTo>
                    <a:lnTo>
                      <a:pt x="7306" y="1596"/>
                    </a:lnTo>
                    <a:lnTo>
                      <a:pt x="7293" y="1590"/>
                    </a:lnTo>
                    <a:lnTo>
                      <a:pt x="7284" y="1590"/>
                    </a:lnTo>
                    <a:lnTo>
                      <a:pt x="7273" y="1590"/>
                    </a:lnTo>
                    <a:lnTo>
                      <a:pt x="7268" y="1582"/>
                    </a:lnTo>
                    <a:lnTo>
                      <a:pt x="7250" y="1578"/>
                    </a:lnTo>
                    <a:lnTo>
                      <a:pt x="7250" y="1569"/>
                    </a:lnTo>
                    <a:lnTo>
                      <a:pt x="7270" y="1509"/>
                    </a:lnTo>
                    <a:lnTo>
                      <a:pt x="7270" y="1497"/>
                    </a:lnTo>
                    <a:lnTo>
                      <a:pt x="7268" y="1486"/>
                    </a:lnTo>
                    <a:lnTo>
                      <a:pt x="7268" y="1480"/>
                    </a:lnTo>
                    <a:lnTo>
                      <a:pt x="7258" y="1459"/>
                    </a:lnTo>
                    <a:lnTo>
                      <a:pt x="7258" y="1455"/>
                    </a:lnTo>
                    <a:lnTo>
                      <a:pt x="7247" y="1444"/>
                    </a:lnTo>
                    <a:lnTo>
                      <a:pt x="7238" y="1431"/>
                    </a:lnTo>
                    <a:lnTo>
                      <a:pt x="7232" y="1426"/>
                    </a:lnTo>
                    <a:lnTo>
                      <a:pt x="7222" y="1409"/>
                    </a:lnTo>
                    <a:lnTo>
                      <a:pt x="7212" y="1402"/>
                    </a:lnTo>
                    <a:lnTo>
                      <a:pt x="7204" y="1393"/>
                    </a:lnTo>
                    <a:lnTo>
                      <a:pt x="7192" y="1388"/>
                    </a:lnTo>
                    <a:lnTo>
                      <a:pt x="7152" y="1384"/>
                    </a:lnTo>
                    <a:lnTo>
                      <a:pt x="7139" y="1379"/>
                    </a:lnTo>
                    <a:lnTo>
                      <a:pt x="7112" y="1378"/>
                    </a:lnTo>
                    <a:lnTo>
                      <a:pt x="7090" y="1382"/>
                    </a:lnTo>
                    <a:lnTo>
                      <a:pt x="7064" y="1380"/>
                    </a:lnTo>
                    <a:lnTo>
                      <a:pt x="7051" y="1383"/>
                    </a:lnTo>
                    <a:lnTo>
                      <a:pt x="7047" y="1388"/>
                    </a:lnTo>
                    <a:lnTo>
                      <a:pt x="7024" y="1385"/>
                    </a:lnTo>
                    <a:lnTo>
                      <a:pt x="7017" y="1393"/>
                    </a:lnTo>
                    <a:lnTo>
                      <a:pt x="7006" y="1393"/>
                    </a:lnTo>
                    <a:lnTo>
                      <a:pt x="6979" y="1386"/>
                    </a:lnTo>
                    <a:lnTo>
                      <a:pt x="6973" y="1388"/>
                    </a:lnTo>
                    <a:lnTo>
                      <a:pt x="6964" y="1396"/>
                    </a:lnTo>
                    <a:lnTo>
                      <a:pt x="6951" y="1400"/>
                    </a:lnTo>
                    <a:lnTo>
                      <a:pt x="6941" y="1395"/>
                    </a:lnTo>
                    <a:lnTo>
                      <a:pt x="6920" y="1396"/>
                    </a:lnTo>
                    <a:lnTo>
                      <a:pt x="6913" y="1400"/>
                    </a:lnTo>
                    <a:lnTo>
                      <a:pt x="6905" y="1397"/>
                    </a:lnTo>
                    <a:lnTo>
                      <a:pt x="6881" y="1410"/>
                    </a:lnTo>
                    <a:lnTo>
                      <a:pt x="6870" y="1410"/>
                    </a:lnTo>
                    <a:lnTo>
                      <a:pt x="6861" y="1417"/>
                    </a:lnTo>
                    <a:lnTo>
                      <a:pt x="6855" y="1409"/>
                    </a:lnTo>
                    <a:lnTo>
                      <a:pt x="6837" y="1393"/>
                    </a:lnTo>
                    <a:lnTo>
                      <a:pt x="6823" y="1391"/>
                    </a:lnTo>
                    <a:lnTo>
                      <a:pt x="6817" y="1386"/>
                    </a:lnTo>
                    <a:lnTo>
                      <a:pt x="6840" y="1379"/>
                    </a:lnTo>
                    <a:lnTo>
                      <a:pt x="6848" y="1368"/>
                    </a:lnTo>
                    <a:lnTo>
                      <a:pt x="6850" y="1354"/>
                    </a:lnTo>
                    <a:lnTo>
                      <a:pt x="6814" y="1323"/>
                    </a:lnTo>
                    <a:lnTo>
                      <a:pt x="6811" y="1315"/>
                    </a:lnTo>
                    <a:lnTo>
                      <a:pt x="6808" y="1307"/>
                    </a:lnTo>
                    <a:lnTo>
                      <a:pt x="6786" y="1310"/>
                    </a:lnTo>
                    <a:lnTo>
                      <a:pt x="6769" y="1316"/>
                    </a:lnTo>
                    <a:lnTo>
                      <a:pt x="6759" y="1316"/>
                    </a:lnTo>
                    <a:lnTo>
                      <a:pt x="6755" y="1307"/>
                    </a:lnTo>
                    <a:lnTo>
                      <a:pt x="6755" y="1299"/>
                    </a:lnTo>
                    <a:lnTo>
                      <a:pt x="6737" y="1288"/>
                    </a:lnTo>
                    <a:lnTo>
                      <a:pt x="6732" y="1276"/>
                    </a:lnTo>
                    <a:lnTo>
                      <a:pt x="6725" y="1275"/>
                    </a:lnTo>
                    <a:lnTo>
                      <a:pt x="6706" y="1264"/>
                    </a:lnTo>
                    <a:lnTo>
                      <a:pt x="6701" y="1271"/>
                    </a:lnTo>
                    <a:lnTo>
                      <a:pt x="6692" y="1272"/>
                    </a:lnTo>
                    <a:lnTo>
                      <a:pt x="6685" y="1267"/>
                    </a:lnTo>
                    <a:lnTo>
                      <a:pt x="6671" y="1264"/>
                    </a:lnTo>
                    <a:lnTo>
                      <a:pt x="6665" y="1266"/>
                    </a:lnTo>
                    <a:lnTo>
                      <a:pt x="6665" y="1260"/>
                    </a:lnTo>
                    <a:lnTo>
                      <a:pt x="6684" y="1232"/>
                    </a:lnTo>
                    <a:lnTo>
                      <a:pt x="6690" y="1227"/>
                    </a:lnTo>
                    <a:lnTo>
                      <a:pt x="6703" y="1237"/>
                    </a:lnTo>
                    <a:lnTo>
                      <a:pt x="6709" y="1245"/>
                    </a:lnTo>
                    <a:lnTo>
                      <a:pt x="6722" y="1237"/>
                    </a:lnTo>
                    <a:lnTo>
                      <a:pt x="6722" y="1226"/>
                    </a:lnTo>
                    <a:lnTo>
                      <a:pt x="6721" y="1217"/>
                    </a:lnTo>
                    <a:lnTo>
                      <a:pt x="6708" y="1181"/>
                    </a:lnTo>
                    <a:lnTo>
                      <a:pt x="6689" y="1169"/>
                    </a:lnTo>
                    <a:lnTo>
                      <a:pt x="6678" y="1162"/>
                    </a:lnTo>
                    <a:lnTo>
                      <a:pt x="6662" y="1159"/>
                    </a:lnTo>
                    <a:lnTo>
                      <a:pt x="6656" y="1153"/>
                    </a:lnTo>
                    <a:lnTo>
                      <a:pt x="6636" y="1143"/>
                    </a:lnTo>
                    <a:lnTo>
                      <a:pt x="6617" y="1147"/>
                    </a:lnTo>
                    <a:lnTo>
                      <a:pt x="6615" y="1151"/>
                    </a:lnTo>
                    <a:lnTo>
                      <a:pt x="6612" y="1144"/>
                    </a:lnTo>
                    <a:lnTo>
                      <a:pt x="6603" y="1143"/>
                    </a:lnTo>
                    <a:lnTo>
                      <a:pt x="6575" y="1143"/>
                    </a:lnTo>
                    <a:lnTo>
                      <a:pt x="6565" y="1148"/>
                    </a:lnTo>
                    <a:lnTo>
                      <a:pt x="6540" y="1142"/>
                    </a:lnTo>
                    <a:lnTo>
                      <a:pt x="6528" y="1131"/>
                    </a:lnTo>
                    <a:lnTo>
                      <a:pt x="6512" y="1131"/>
                    </a:lnTo>
                    <a:lnTo>
                      <a:pt x="6490" y="1109"/>
                    </a:lnTo>
                    <a:lnTo>
                      <a:pt x="6484" y="1111"/>
                    </a:lnTo>
                    <a:lnTo>
                      <a:pt x="6443" y="1106"/>
                    </a:lnTo>
                    <a:lnTo>
                      <a:pt x="6419" y="1092"/>
                    </a:lnTo>
                    <a:lnTo>
                      <a:pt x="6378" y="1089"/>
                    </a:lnTo>
                    <a:lnTo>
                      <a:pt x="6365" y="1084"/>
                    </a:lnTo>
                    <a:lnTo>
                      <a:pt x="6319" y="1086"/>
                    </a:lnTo>
                    <a:lnTo>
                      <a:pt x="6264" y="1079"/>
                    </a:lnTo>
                    <a:lnTo>
                      <a:pt x="6257" y="1073"/>
                    </a:lnTo>
                    <a:lnTo>
                      <a:pt x="6252" y="1066"/>
                    </a:lnTo>
                    <a:lnTo>
                      <a:pt x="6242" y="1060"/>
                    </a:lnTo>
                    <a:lnTo>
                      <a:pt x="6232" y="1058"/>
                    </a:lnTo>
                    <a:lnTo>
                      <a:pt x="6225" y="1057"/>
                    </a:lnTo>
                    <a:lnTo>
                      <a:pt x="6217" y="1068"/>
                    </a:lnTo>
                    <a:lnTo>
                      <a:pt x="6216" y="1074"/>
                    </a:lnTo>
                    <a:lnTo>
                      <a:pt x="6226" y="1084"/>
                    </a:lnTo>
                    <a:lnTo>
                      <a:pt x="6227" y="1093"/>
                    </a:lnTo>
                    <a:lnTo>
                      <a:pt x="6235" y="1105"/>
                    </a:lnTo>
                    <a:lnTo>
                      <a:pt x="6227" y="1109"/>
                    </a:lnTo>
                    <a:lnTo>
                      <a:pt x="6216" y="1119"/>
                    </a:lnTo>
                    <a:lnTo>
                      <a:pt x="6211" y="1127"/>
                    </a:lnTo>
                    <a:lnTo>
                      <a:pt x="6206" y="1152"/>
                    </a:lnTo>
                    <a:lnTo>
                      <a:pt x="6199" y="1167"/>
                    </a:lnTo>
                    <a:lnTo>
                      <a:pt x="6192" y="1176"/>
                    </a:lnTo>
                    <a:lnTo>
                      <a:pt x="6179" y="1179"/>
                    </a:lnTo>
                    <a:lnTo>
                      <a:pt x="6166" y="1191"/>
                    </a:lnTo>
                    <a:lnTo>
                      <a:pt x="6158" y="1205"/>
                    </a:lnTo>
                    <a:lnTo>
                      <a:pt x="6157" y="1212"/>
                    </a:lnTo>
                    <a:lnTo>
                      <a:pt x="6163" y="1226"/>
                    </a:lnTo>
                    <a:lnTo>
                      <a:pt x="6165" y="1234"/>
                    </a:lnTo>
                    <a:lnTo>
                      <a:pt x="6155" y="1235"/>
                    </a:lnTo>
                    <a:lnTo>
                      <a:pt x="6156" y="1255"/>
                    </a:lnTo>
                    <a:lnTo>
                      <a:pt x="6161" y="1269"/>
                    </a:lnTo>
                    <a:lnTo>
                      <a:pt x="6171" y="1280"/>
                    </a:lnTo>
                    <a:lnTo>
                      <a:pt x="6173" y="1286"/>
                    </a:lnTo>
                    <a:lnTo>
                      <a:pt x="6173" y="1298"/>
                    </a:lnTo>
                    <a:lnTo>
                      <a:pt x="6171" y="1307"/>
                    </a:lnTo>
                    <a:lnTo>
                      <a:pt x="6161" y="1307"/>
                    </a:lnTo>
                    <a:lnTo>
                      <a:pt x="6141" y="1294"/>
                    </a:lnTo>
                    <a:lnTo>
                      <a:pt x="6135" y="1313"/>
                    </a:lnTo>
                    <a:lnTo>
                      <a:pt x="6120" y="1307"/>
                    </a:lnTo>
                    <a:lnTo>
                      <a:pt x="6115" y="1314"/>
                    </a:lnTo>
                    <a:lnTo>
                      <a:pt x="6113" y="1309"/>
                    </a:lnTo>
                    <a:lnTo>
                      <a:pt x="6093" y="1325"/>
                    </a:lnTo>
                    <a:lnTo>
                      <a:pt x="6088" y="1334"/>
                    </a:lnTo>
                    <a:lnTo>
                      <a:pt x="6080" y="1340"/>
                    </a:lnTo>
                    <a:lnTo>
                      <a:pt x="6076" y="1352"/>
                    </a:lnTo>
                    <a:lnTo>
                      <a:pt x="6065" y="1351"/>
                    </a:lnTo>
                    <a:lnTo>
                      <a:pt x="6060" y="1357"/>
                    </a:lnTo>
                    <a:lnTo>
                      <a:pt x="6054" y="1350"/>
                    </a:lnTo>
                    <a:lnTo>
                      <a:pt x="6047" y="1348"/>
                    </a:lnTo>
                    <a:lnTo>
                      <a:pt x="6042" y="1343"/>
                    </a:lnTo>
                    <a:lnTo>
                      <a:pt x="6042" y="1334"/>
                    </a:lnTo>
                    <a:lnTo>
                      <a:pt x="6033" y="1331"/>
                    </a:lnTo>
                    <a:lnTo>
                      <a:pt x="6029" y="1320"/>
                    </a:lnTo>
                    <a:lnTo>
                      <a:pt x="6021" y="1314"/>
                    </a:lnTo>
                    <a:lnTo>
                      <a:pt x="6013" y="1314"/>
                    </a:lnTo>
                    <a:lnTo>
                      <a:pt x="5985" y="1293"/>
                    </a:lnTo>
                    <a:lnTo>
                      <a:pt x="5972" y="1294"/>
                    </a:lnTo>
                    <a:lnTo>
                      <a:pt x="5956" y="1288"/>
                    </a:lnTo>
                    <a:lnTo>
                      <a:pt x="5950" y="1281"/>
                    </a:lnTo>
                    <a:lnTo>
                      <a:pt x="5941" y="1280"/>
                    </a:lnTo>
                    <a:lnTo>
                      <a:pt x="5929" y="1272"/>
                    </a:lnTo>
                    <a:lnTo>
                      <a:pt x="5898" y="1276"/>
                    </a:lnTo>
                    <a:lnTo>
                      <a:pt x="5887" y="1294"/>
                    </a:lnTo>
                    <a:lnTo>
                      <a:pt x="5886" y="1304"/>
                    </a:lnTo>
                    <a:lnTo>
                      <a:pt x="5888" y="1318"/>
                    </a:lnTo>
                    <a:lnTo>
                      <a:pt x="5887" y="1324"/>
                    </a:lnTo>
                    <a:lnTo>
                      <a:pt x="5877" y="1309"/>
                    </a:lnTo>
                    <a:lnTo>
                      <a:pt x="5872" y="1314"/>
                    </a:lnTo>
                    <a:lnTo>
                      <a:pt x="5845" y="1309"/>
                    </a:lnTo>
                    <a:lnTo>
                      <a:pt x="5834" y="1314"/>
                    </a:lnTo>
                    <a:lnTo>
                      <a:pt x="5824" y="1312"/>
                    </a:lnTo>
                    <a:lnTo>
                      <a:pt x="5811" y="1292"/>
                    </a:lnTo>
                    <a:lnTo>
                      <a:pt x="5802" y="1287"/>
                    </a:lnTo>
                    <a:lnTo>
                      <a:pt x="5792" y="1264"/>
                    </a:lnTo>
                    <a:lnTo>
                      <a:pt x="5783" y="1254"/>
                    </a:lnTo>
                    <a:lnTo>
                      <a:pt x="5775" y="1232"/>
                    </a:lnTo>
                    <a:lnTo>
                      <a:pt x="5774" y="1217"/>
                    </a:lnTo>
                    <a:lnTo>
                      <a:pt x="5773" y="1214"/>
                    </a:lnTo>
                    <a:lnTo>
                      <a:pt x="5767" y="1218"/>
                    </a:lnTo>
                    <a:lnTo>
                      <a:pt x="5762" y="1232"/>
                    </a:lnTo>
                    <a:lnTo>
                      <a:pt x="5744" y="1275"/>
                    </a:lnTo>
                    <a:lnTo>
                      <a:pt x="5737" y="1289"/>
                    </a:lnTo>
                    <a:lnTo>
                      <a:pt x="5736" y="1307"/>
                    </a:lnTo>
                    <a:lnTo>
                      <a:pt x="5733" y="1319"/>
                    </a:lnTo>
                    <a:lnTo>
                      <a:pt x="5735" y="1353"/>
                    </a:lnTo>
                    <a:lnTo>
                      <a:pt x="5727" y="1358"/>
                    </a:lnTo>
                    <a:lnTo>
                      <a:pt x="5719" y="1380"/>
                    </a:lnTo>
                    <a:lnTo>
                      <a:pt x="5712" y="1388"/>
                    </a:lnTo>
                    <a:lnTo>
                      <a:pt x="5710" y="1406"/>
                    </a:lnTo>
                    <a:lnTo>
                      <a:pt x="5700" y="1418"/>
                    </a:lnTo>
                    <a:lnTo>
                      <a:pt x="5697" y="1433"/>
                    </a:lnTo>
                    <a:lnTo>
                      <a:pt x="5684" y="1427"/>
                    </a:lnTo>
                    <a:lnTo>
                      <a:pt x="5674" y="1395"/>
                    </a:lnTo>
                    <a:lnTo>
                      <a:pt x="5671" y="1393"/>
                    </a:lnTo>
                    <a:lnTo>
                      <a:pt x="5669" y="1405"/>
                    </a:lnTo>
                    <a:lnTo>
                      <a:pt x="5662" y="1406"/>
                    </a:lnTo>
                    <a:lnTo>
                      <a:pt x="5656" y="1397"/>
                    </a:lnTo>
                    <a:lnTo>
                      <a:pt x="5649" y="1399"/>
                    </a:lnTo>
                    <a:lnTo>
                      <a:pt x="5641" y="1394"/>
                    </a:lnTo>
                    <a:lnTo>
                      <a:pt x="5636" y="1386"/>
                    </a:lnTo>
                    <a:lnTo>
                      <a:pt x="5636" y="1379"/>
                    </a:lnTo>
                    <a:lnTo>
                      <a:pt x="5627" y="1368"/>
                    </a:lnTo>
                    <a:lnTo>
                      <a:pt x="5620" y="1375"/>
                    </a:lnTo>
                    <a:lnTo>
                      <a:pt x="5618" y="1369"/>
                    </a:lnTo>
                    <a:lnTo>
                      <a:pt x="5613" y="1364"/>
                    </a:lnTo>
                    <a:lnTo>
                      <a:pt x="5609" y="1354"/>
                    </a:lnTo>
                    <a:lnTo>
                      <a:pt x="5607" y="1340"/>
                    </a:lnTo>
                    <a:lnTo>
                      <a:pt x="5599" y="1336"/>
                    </a:lnTo>
                    <a:lnTo>
                      <a:pt x="5596" y="1340"/>
                    </a:lnTo>
                    <a:lnTo>
                      <a:pt x="5596" y="1332"/>
                    </a:lnTo>
                    <a:lnTo>
                      <a:pt x="5588" y="1318"/>
                    </a:lnTo>
                    <a:lnTo>
                      <a:pt x="5586" y="1303"/>
                    </a:lnTo>
                    <a:lnTo>
                      <a:pt x="5582" y="1299"/>
                    </a:lnTo>
                    <a:lnTo>
                      <a:pt x="5582" y="1288"/>
                    </a:lnTo>
                    <a:lnTo>
                      <a:pt x="5579" y="1282"/>
                    </a:lnTo>
                    <a:lnTo>
                      <a:pt x="5576" y="1270"/>
                    </a:lnTo>
                    <a:lnTo>
                      <a:pt x="5575" y="1273"/>
                    </a:lnTo>
                    <a:lnTo>
                      <a:pt x="5565" y="1280"/>
                    </a:lnTo>
                    <a:lnTo>
                      <a:pt x="5559" y="1272"/>
                    </a:lnTo>
                    <a:lnTo>
                      <a:pt x="5561" y="1264"/>
                    </a:lnTo>
                    <a:lnTo>
                      <a:pt x="5559" y="1255"/>
                    </a:lnTo>
                    <a:lnTo>
                      <a:pt x="5555" y="1251"/>
                    </a:lnTo>
                    <a:lnTo>
                      <a:pt x="5554" y="1245"/>
                    </a:lnTo>
                    <a:lnTo>
                      <a:pt x="5553" y="1229"/>
                    </a:lnTo>
                    <a:lnTo>
                      <a:pt x="5572" y="1200"/>
                    </a:lnTo>
                    <a:lnTo>
                      <a:pt x="5577" y="1205"/>
                    </a:lnTo>
                    <a:lnTo>
                      <a:pt x="5582" y="1203"/>
                    </a:lnTo>
                    <a:lnTo>
                      <a:pt x="5579" y="1199"/>
                    </a:lnTo>
                    <a:lnTo>
                      <a:pt x="5580" y="1192"/>
                    </a:lnTo>
                    <a:lnTo>
                      <a:pt x="5591" y="1187"/>
                    </a:lnTo>
                    <a:lnTo>
                      <a:pt x="5597" y="1180"/>
                    </a:lnTo>
                    <a:lnTo>
                      <a:pt x="5591" y="1181"/>
                    </a:lnTo>
                    <a:lnTo>
                      <a:pt x="5591" y="1178"/>
                    </a:lnTo>
                    <a:lnTo>
                      <a:pt x="5596" y="1173"/>
                    </a:lnTo>
                    <a:lnTo>
                      <a:pt x="5593" y="1169"/>
                    </a:lnTo>
                    <a:lnTo>
                      <a:pt x="5593" y="1159"/>
                    </a:lnTo>
                    <a:lnTo>
                      <a:pt x="5603" y="1141"/>
                    </a:lnTo>
                    <a:lnTo>
                      <a:pt x="5581" y="1125"/>
                    </a:lnTo>
                    <a:lnTo>
                      <a:pt x="5582" y="1120"/>
                    </a:lnTo>
                    <a:lnTo>
                      <a:pt x="5590" y="1111"/>
                    </a:lnTo>
                    <a:lnTo>
                      <a:pt x="5580" y="1104"/>
                    </a:lnTo>
                    <a:lnTo>
                      <a:pt x="5582" y="1094"/>
                    </a:lnTo>
                    <a:lnTo>
                      <a:pt x="5588" y="1090"/>
                    </a:lnTo>
                    <a:lnTo>
                      <a:pt x="5588" y="1077"/>
                    </a:lnTo>
                    <a:lnTo>
                      <a:pt x="5591" y="1074"/>
                    </a:lnTo>
                    <a:lnTo>
                      <a:pt x="5587" y="1072"/>
                    </a:lnTo>
                    <a:lnTo>
                      <a:pt x="5586" y="1066"/>
                    </a:lnTo>
                    <a:lnTo>
                      <a:pt x="5587" y="1058"/>
                    </a:lnTo>
                    <a:lnTo>
                      <a:pt x="5585" y="1050"/>
                    </a:lnTo>
                    <a:lnTo>
                      <a:pt x="5592" y="1049"/>
                    </a:lnTo>
                    <a:lnTo>
                      <a:pt x="5593" y="1045"/>
                    </a:lnTo>
                    <a:lnTo>
                      <a:pt x="5595" y="1038"/>
                    </a:lnTo>
                    <a:lnTo>
                      <a:pt x="5597" y="1031"/>
                    </a:lnTo>
                    <a:lnTo>
                      <a:pt x="5593" y="1028"/>
                    </a:lnTo>
                    <a:lnTo>
                      <a:pt x="5593" y="1022"/>
                    </a:lnTo>
                    <a:lnTo>
                      <a:pt x="5577" y="1012"/>
                    </a:lnTo>
                    <a:lnTo>
                      <a:pt x="5572" y="1001"/>
                    </a:lnTo>
                    <a:lnTo>
                      <a:pt x="5565" y="992"/>
                    </a:lnTo>
                    <a:lnTo>
                      <a:pt x="5565" y="985"/>
                    </a:lnTo>
                    <a:lnTo>
                      <a:pt x="5541" y="971"/>
                    </a:lnTo>
                    <a:lnTo>
                      <a:pt x="5542" y="964"/>
                    </a:lnTo>
                    <a:lnTo>
                      <a:pt x="5541" y="957"/>
                    </a:lnTo>
                    <a:lnTo>
                      <a:pt x="5528" y="955"/>
                    </a:lnTo>
                    <a:lnTo>
                      <a:pt x="5523" y="952"/>
                    </a:lnTo>
                    <a:lnTo>
                      <a:pt x="5527" y="948"/>
                    </a:lnTo>
                    <a:lnTo>
                      <a:pt x="5521" y="939"/>
                    </a:lnTo>
                    <a:lnTo>
                      <a:pt x="5504" y="932"/>
                    </a:lnTo>
                    <a:lnTo>
                      <a:pt x="5494" y="936"/>
                    </a:lnTo>
                    <a:lnTo>
                      <a:pt x="5478" y="933"/>
                    </a:lnTo>
                    <a:lnTo>
                      <a:pt x="5461" y="925"/>
                    </a:lnTo>
                    <a:lnTo>
                      <a:pt x="5457" y="930"/>
                    </a:lnTo>
                    <a:lnTo>
                      <a:pt x="5455" y="938"/>
                    </a:lnTo>
                    <a:lnTo>
                      <a:pt x="5447" y="938"/>
                    </a:lnTo>
                    <a:lnTo>
                      <a:pt x="5437" y="950"/>
                    </a:lnTo>
                    <a:lnTo>
                      <a:pt x="5435" y="947"/>
                    </a:lnTo>
                    <a:lnTo>
                      <a:pt x="5434" y="941"/>
                    </a:lnTo>
                    <a:lnTo>
                      <a:pt x="5415" y="918"/>
                    </a:lnTo>
                    <a:lnTo>
                      <a:pt x="5408" y="925"/>
                    </a:lnTo>
                    <a:lnTo>
                      <a:pt x="5399" y="920"/>
                    </a:lnTo>
                    <a:lnTo>
                      <a:pt x="5392" y="922"/>
                    </a:lnTo>
                    <a:lnTo>
                      <a:pt x="5385" y="912"/>
                    </a:lnTo>
                    <a:lnTo>
                      <a:pt x="5380" y="916"/>
                    </a:lnTo>
                    <a:lnTo>
                      <a:pt x="5373" y="910"/>
                    </a:lnTo>
                    <a:lnTo>
                      <a:pt x="5370" y="918"/>
                    </a:lnTo>
                    <a:lnTo>
                      <a:pt x="5361" y="910"/>
                    </a:lnTo>
                    <a:lnTo>
                      <a:pt x="5361" y="904"/>
                    </a:lnTo>
                    <a:lnTo>
                      <a:pt x="5359" y="895"/>
                    </a:lnTo>
                    <a:lnTo>
                      <a:pt x="5354" y="891"/>
                    </a:lnTo>
                    <a:lnTo>
                      <a:pt x="5350" y="896"/>
                    </a:lnTo>
                    <a:lnTo>
                      <a:pt x="5339" y="883"/>
                    </a:lnTo>
                    <a:lnTo>
                      <a:pt x="5333" y="885"/>
                    </a:lnTo>
                    <a:lnTo>
                      <a:pt x="5323" y="879"/>
                    </a:lnTo>
                    <a:lnTo>
                      <a:pt x="5305" y="875"/>
                    </a:lnTo>
                    <a:lnTo>
                      <a:pt x="5292" y="866"/>
                    </a:lnTo>
                    <a:lnTo>
                      <a:pt x="5286" y="866"/>
                    </a:lnTo>
                    <a:lnTo>
                      <a:pt x="5285" y="873"/>
                    </a:lnTo>
                    <a:lnTo>
                      <a:pt x="5285" y="880"/>
                    </a:lnTo>
                    <a:lnTo>
                      <a:pt x="5286" y="890"/>
                    </a:lnTo>
                    <a:lnTo>
                      <a:pt x="5284" y="895"/>
                    </a:lnTo>
                    <a:lnTo>
                      <a:pt x="5268" y="893"/>
                    </a:lnTo>
                    <a:lnTo>
                      <a:pt x="5258" y="877"/>
                    </a:lnTo>
                    <a:lnTo>
                      <a:pt x="5257" y="883"/>
                    </a:lnTo>
                    <a:lnTo>
                      <a:pt x="5256" y="900"/>
                    </a:lnTo>
                    <a:lnTo>
                      <a:pt x="5247" y="942"/>
                    </a:lnTo>
                    <a:lnTo>
                      <a:pt x="5252" y="944"/>
                    </a:lnTo>
                    <a:lnTo>
                      <a:pt x="5249" y="950"/>
                    </a:lnTo>
                    <a:lnTo>
                      <a:pt x="5248" y="955"/>
                    </a:lnTo>
                    <a:lnTo>
                      <a:pt x="5251" y="970"/>
                    </a:lnTo>
                    <a:lnTo>
                      <a:pt x="5264" y="1003"/>
                    </a:lnTo>
                    <a:lnTo>
                      <a:pt x="5260" y="1011"/>
                    </a:lnTo>
                    <a:lnTo>
                      <a:pt x="5252" y="1019"/>
                    </a:lnTo>
                    <a:lnTo>
                      <a:pt x="5225" y="1024"/>
                    </a:lnTo>
                    <a:lnTo>
                      <a:pt x="5210" y="1036"/>
                    </a:lnTo>
                    <a:lnTo>
                      <a:pt x="5204" y="1031"/>
                    </a:lnTo>
                    <a:lnTo>
                      <a:pt x="5200" y="1038"/>
                    </a:lnTo>
                    <a:lnTo>
                      <a:pt x="5195" y="1034"/>
                    </a:lnTo>
                    <a:lnTo>
                      <a:pt x="5179" y="1038"/>
                    </a:lnTo>
                    <a:lnTo>
                      <a:pt x="5168" y="1033"/>
                    </a:lnTo>
                    <a:lnTo>
                      <a:pt x="5161" y="1033"/>
                    </a:lnTo>
                    <a:lnTo>
                      <a:pt x="5136" y="1038"/>
                    </a:lnTo>
                    <a:lnTo>
                      <a:pt x="5131" y="1041"/>
                    </a:lnTo>
                    <a:lnTo>
                      <a:pt x="5112" y="1030"/>
                    </a:lnTo>
                    <a:lnTo>
                      <a:pt x="5082" y="1023"/>
                    </a:lnTo>
                    <a:lnTo>
                      <a:pt x="5074" y="1022"/>
                    </a:lnTo>
                    <a:lnTo>
                      <a:pt x="5074" y="1030"/>
                    </a:lnTo>
                    <a:lnTo>
                      <a:pt x="5071" y="1035"/>
                    </a:lnTo>
                    <a:lnTo>
                      <a:pt x="5042" y="1015"/>
                    </a:lnTo>
                    <a:lnTo>
                      <a:pt x="5023" y="1011"/>
                    </a:lnTo>
                    <a:lnTo>
                      <a:pt x="4994" y="995"/>
                    </a:lnTo>
                    <a:lnTo>
                      <a:pt x="4989" y="987"/>
                    </a:lnTo>
                    <a:lnTo>
                      <a:pt x="4989" y="980"/>
                    </a:lnTo>
                    <a:lnTo>
                      <a:pt x="4989" y="974"/>
                    </a:lnTo>
                    <a:lnTo>
                      <a:pt x="4990" y="969"/>
                    </a:lnTo>
                    <a:lnTo>
                      <a:pt x="4988" y="955"/>
                    </a:lnTo>
                    <a:lnTo>
                      <a:pt x="4990" y="948"/>
                    </a:lnTo>
                    <a:lnTo>
                      <a:pt x="4996" y="944"/>
                    </a:lnTo>
                    <a:lnTo>
                      <a:pt x="5007" y="944"/>
                    </a:lnTo>
                    <a:lnTo>
                      <a:pt x="5009" y="938"/>
                    </a:lnTo>
                    <a:lnTo>
                      <a:pt x="5015" y="938"/>
                    </a:lnTo>
                    <a:lnTo>
                      <a:pt x="5012" y="931"/>
                    </a:lnTo>
                    <a:lnTo>
                      <a:pt x="5005" y="925"/>
                    </a:lnTo>
                    <a:lnTo>
                      <a:pt x="4978" y="926"/>
                    </a:lnTo>
                    <a:lnTo>
                      <a:pt x="4967" y="920"/>
                    </a:lnTo>
                    <a:lnTo>
                      <a:pt x="4948" y="925"/>
                    </a:lnTo>
                    <a:lnTo>
                      <a:pt x="4924" y="920"/>
                    </a:lnTo>
                    <a:lnTo>
                      <a:pt x="4912" y="912"/>
                    </a:lnTo>
                    <a:lnTo>
                      <a:pt x="4900" y="912"/>
                    </a:lnTo>
                    <a:lnTo>
                      <a:pt x="4888" y="907"/>
                    </a:lnTo>
                    <a:lnTo>
                      <a:pt x="4875" y="907"/>
                    </a:lnTo>
                    <a:lnTo>
                      <a:pt x="4858" y="899"/>
                    </a:lnTo>
                    <a:lnTo>
                      <a:pt x="4837" y="895"/>
                    </a:lnTo>
                    <a:lnTo>
                      <a:pt x="4818" y="900"/>
                    </a:lnTo>
                    <a:lnTo>
                      <a:pt x="4818" y="909"/>
                    </a:lnTo>
                    <a:lnTo>
                      <a:pt x="4792" y="918"/>
                    </a:lnTo>
                    <a:lnTo>
                      <a:pt x="4779" y="921"/>
                    </a:lnTo>
                    <a:lnTo>
                      <a:pt x="4756" y="918"/>
                    </a:lnTo>
                    <a:lnTo>
                      <a:pt x="4721" y="932"/>
                    </a:lnTo>
                    <a:lnTo>
                      <a:pt x="4736" y="957"/>
                    </a:lnTo>
                    <a:lnTo>
                      <a:pt x="4738" y="969"/>
                    </a:lnTo>
                    <a:lnTo>
                      <a:pt x="4735" y="974"/>
                    </a:lnTo>
                    <a:lnTo>
                      <a:pt x="4713" y="990"/>
                    </a:lnTo>
                    <a:lnTo>
                      <a:pt x="4698" y="984"/>
                    </a:lnTo>
                    <a:lnTo>
                      <a:pt x="4700" y="976"/>
                    </a:lnTo>
                    <a:lnTo>
                      <a:pt x="4715" y="979"/>
                    </a:lnTo>
                    <a:lnTo>
                      <a:pt x="4719" y="969"/>
                    </a:lnTo>
                    <a:lnTo>
                      <a:pt x="4703" y="964"/>
                    </a:lnTo>
                    <a:lnTo>
                      <a:pt x="4705" y="955"/>
                    </a:lnTo>
                    <a:lnTo>
                      <a:pt x="4700" y="947"/>
                    </a:lnTo>
                    <a:lnTo>
                      <a:pt x="4711" y="922"/>
                    </a:lnTo>
                    <a:lnTo>
                      <a:pt x="4710" y="907"/>
                    </a:lnTo>
                    <a:lnTo>
                      <a:pt x="4705" y="894"/>
                    </a:lnTo>
                    <a:lnTo>
                      <a:pt x="4700" y="889"/>
                    </a:lnTo>
                    <a:lnTo>
                      <a:pt x="4698" y="872"/>
                    </a:lnTo>
                    <a:lnTo>
                      <a:pt x="4690" y="858"/>
                    </a:lnTo>
                    <a:lnTo>
                      <a:pt x="4678" y="832"/>
                    </a:lnTo>
                    <a:lnTo>
                      <a:pt x="4684" y="861"/>
                    </a:lnTo>
                    <a:lnTo>
                      <a:pt x="4682" y="878"/>
                    </a:lnTo>
                    <a:lnTo>
                      <a:pt x="4674" y="891"/>
                    </a:lnTo>
                    <a:lnTo>
                      <a:pt x="4658" y="896"/>
                    </a:lnTo>
                    <a:lnTo>
                      <a:pt x="4628" y="894"/>
                    </a:lnTo>
                    <a:lnTo>
                      <a:pt x="4619" y="896"/>
                    </a:lnTo>
                    <a:lnTo>
                      <a:pt x="4617" y="891"/>
                    </a:lnTo>
                    <a:lnTo>
                      <a:pt x="4596" y="874"/>
                    </a:lnTo>
                    <a:lnTo>
                      <a:pt x="4592" y="862"/>
                    </a:lnTo>
                    <a:lnTo>
                      <a:pt x="4591" y="848"/>
                    </a:lnTo>
                    <a:lnTo>
                      <a:pt x="4596" y="837"/>
                    </a:lnTo>
                    <a:lnTo>
                      <a:pt x="4598" y="847"/>
                    </a:lnTo>
                    <a:lnTo>
                      <a:pt x="4607" y="832"/>
                    </a:lnTo>
                    <a:lnTo>
                      <a:pt x="4608" y="826"/>
                    </a:lnTo>
                    <a:lnTo>
                      <a:pt x="4584" y="834"/>
                    </a:lnTo>
                    <a:lnTo>
                      <a:pt x="4576" y="842"/>
                    </a:lnTo>
                    <a:lnTo>
                      <a:pt x="4574" y="851"/>
                    </a:lnTo>
                    <a:lnTo>
                      <a:pt x="4570" y="855"/>
                    </a:lnTo>
                    <a:lnTo>
                      <a:pt x="4565" y="845"/>
                    </a:lnTo>
                    <a:lnTo>
                      <a:pt x="4553" y="840"/>
                    </a:lnTo>
                    <a:lnTo>
                      <a:pt x="4542" y="831"/>
                    </a:lnTo>
                    <a:lnTo>
                      <a:pt x="4527" y="834"/>
                    </a:lnTo>
                    <a:lnTo>
                      <a:pt x="4515" y="839"/>
                    </a:lnTo>
                    <a:lnTo>
                      <a:pt x="4512" y="852"/>
                    </a:lnTo>
                    <a:lnTo>
                      <a:pt x="4496" y="875"/>
                    </a:lnTo>
                    <a:lnTo>
                      <a:pt x="4495" y="884"/>
                    </a:lnTo>
                    <a:lnTo>
                      <a:pt x="4500" y="899"/>
                    </a:lnTo>
                    <a:lnTo>
                      <a:pt x="4507" y="911"/>
                    </a:lnTo>
                    <a:lnTo>
                      <a:pt x="4514" y="907"/>
                    </a:lnTo>
                    <a:lnTo>
                      <a:pt x="4509" y="905"/>
                    </a:lnTo>
                    <a:lnTo>
                      <a:pt x="4509" y="896"/>
                    </a:lnTo>
                    <a:lnTo>
                      <a:pt x="4515" y="902"/>
                    </a:lnTo>
                    <a:lnTo>
                      <a:pt x="4534" y="902"/>
                    </a:lnTo>
                    <a:lnTo>
                      <a:pt x="4542" y="893"/>
                    </a:lnTo>
                    <a:lnTo>
                      <a:pt x="4552" y="888"/>
                    </a:lnTo>
                    <a:lnTo>
                      <a:pt x="4557" y="879"/>
                    </a:lnTo>
                    <a:lnTo>
                      <a:pt x="4565" y="884"/>
                    </a:lnTo>
                    <a:lnTo>
                      <a:pt x="4573" y="901"/>
                    </a:lnTo>
                    <a:lnTo>
                      <a:pt x="4542" y="916"/>
                    </a:lnTo>
                    <a:lnTo>
                      <a:pt x="4536" y="930"/>
                    </a:lnTo>
                    <a:lnTo>
                      <a:pt x="4531" y="927"/>
                    </a:lnTo>
                    <a:lnTo>
                      <a:pt x="4506" y="948"/>
                    </a:lnTo>
                    <a:lnTo>
                      <a:pt x="4495" y="948"/>
                    </a:lnTo>
                    <a:lnTo>
                      <a:pt x="4478" y="926"/>
                    </a:lnTo>
                    <a:lnTo>
                      <a:pt x="4490" y="949"/>
                    </a:lnTo>
                    <a:lnTo>
                      <a:pt x="4487" y="952"/>
                    </a:lnTo>
                    <a:lnTo>
                      <a:pt x="4480" y="945"/>
                    </a:lnTo>
                    <a:lnTo>
                      <a:pt x="4482" y="953"/>
                    </a:lnTo>
                    <a:lnTo>
                      <a:pt x="4479" y="960"/>
                    </a:lnTo>
                    <a:lnTo>
                      <a:pt x="4444" y="971"/>
                    </a:lnTo>
                    <a:lnTo>
                      <a:pt x="4432" y="970"/>
                    </a:lnTo>
                    <a:lnTo>
                      <a:pt x="4430" y="979"/>
                    </a:lnTo>
                    <a:lnTo>
                      <a:pt x="4432" y="986"/>
                    </a:lnTo>
                    <a:lnTo>
                      <a:pt x="4414" y="982"/>
                    </a:lnTo>
                    <a:lnTo>
                      <a:pt x="4394" y="1001"/>
                    </a:lnTo>
                    <a:lnTo>
                      <a:pt x="4389" y="998"/>
                    </a:lnTo>
                    <a:lnTo>
                      <a:pt x="4361" y="996"/>
                    </a:lnTo>
                    <a:lnTo>
                      <a:pt x="4354" y="1003"/>
                    </a:lnTo>
                    <a:lnTo>
                      <a:pt x="4326" y="996"/>
                    </a:lnTo>
                    <a:lnTo>
                      <a:pt x="4315" y="1004"/>
                    </a:lnTo>
                    <a:lnTo>
                      <a:pt x="4316" y="1018"/>
                    </a:lnTo>
                    <a:lnTo>
                      <a:pt x="4323" y="1036"/>
                    </a:lnTo>
                    <a:lnTo>
                      <a:pt x="4358" y="1054"/>
                    </a:lnTo>
                    <a:lnTo>
                      <a:pt x="4350" y="1056"/>
                    </a:lnTo>
                    <a:lnTo>
                      <a:pt x="4340" y="1054"/>
                    </a:lnTo>
                    <a:lnTo>
                      <a:pt x="4317" y="1044"/>
                    </a:lnTo>
                    <a:lnTo>
                      <a:pt x="4308" y="1038"/>
                    </a:lnTo>
                    <a:lnTo>
                      <a:pt x="4301" y="1047"/>
                    </a:lnTo>
                    <a:lnTo>
                      <a:pt x="4294" y="1052"/>
                    </a:lnTo>
                    <a:lnTo>
                      <a:pt x="4288" y="1065"/>
                    </a:lnTo>
                    <a:lnTo>
                      <a:pt x="4278" y="1071"/>
                    </a:lnTo>
                    <a:lnTo>
                      <a:pt x="4267" y="1072"/>
                    </a:lnTo>
                    <a:lnTo>
                      <a:pt x="4253" y="1082"/>
                    </a:lnTo>
                    <a:lnTo>
                      <a:pt x="4242" y="1090"/>
                    </a:lnTo>
                    <a:lnTo>
                      <a:pt x="4229" y="1109"/>
                    </a:lnTo>
                    <a:lnTo>
                      <a:pt x="4232" y="1104"/>
                    </a:lnTo>
                    <a:lnTo>
                      <a:pt x="4229" y="1101"/>
                    </a:lnTo>
                    <a:lnTo>
                      <a:pt x="4215" y="1105"/>
                    </a:lnTo>
                    <a:lnTo>
                      <a:pt x="4213" y="1111"/>
                    </a:lnTo>
                    <a:lnTo>
                      <a:pt x="4206" y="1110"/>
                    </a:lnTo>
                    <a:lnTo>
                      <a:pt x="4205" y="1103"/>
                    </a:lnTo>
                    <a:lnTo>
                      <a:pt x="4227" y="1083"/>
                    </a:lnTo>
                    <a:lnTo>
                      <a:pt x="4236" y="1078"/>
                    </a:lnTo>
                    <a:lnTo>
                      <a:pt x="4240" y="1072"/>
                    </a:lnTo>
                    <a:lnTo>
                      <a:pt x="4252" y="1063"/>
                    </a:lnTo>
                    <a:lnTo>
                      <a:pt x="4263" y="1067"/>
                    </a:lnTo>
                    <a:lnTo>
                      <a:pt x="4276" y="1055"/>
                    </a:lnTo>
                    <a:lnTo>
                      <a:pt x="4285" y="1044"/>
                    </a:lnTo>
                    <a:lnTo>
                      <a:pt x="4301" y="1008"/>
                    </a:lnTo>
                    <a:lnTo>
                      <a:pt x="4306" y="1002"/>
                    </a:lnTo>
                    <a:lnTo>
                      <a:pt x="4306" y="997"/>
                    </a:lnTo>
                    <a:lnTo>
                      <a:pt x="4310" y="987"/>
                    </a:lnTo>
                    <a:lnTo>
                      <a:pt x="4316" y="972"/>
                    </a:lnTo>
                    <a:lnTo>
                      <a:pt x="4326" y="974"/>
                    </a:lnTo>
                    <a:lnTo>
                      <a:pt x="4349" y="965"/>
                    </a:lnTo>
                    <a:lnTo>
                      <a:pt x="4351" y="952"/>
                    </a:lnTo>
                    <a:lnTo>
                      <a:pt x="4365" y="928"/>
                    </a:lnTo>
                    <a:lnTo>
                      <a:pt x="4369" y="911"/>
                    </a:lnTo>
                    <a:lnTo>
                      <a:pt x="4409" y="910"/>
                    </a:lnTo>
                    <a:lnTo>
                      <a:pt x="4419" y="907"/>
                    </a:lnTo>
                    <a:lnTo>
                      <a:pt x="4425" y="915"/>
                    </a:lnTo>
                    <a:lnTo>
                      <a:pt x="4445" y="875"/>
                    </a:lnTo>
                    <a:lnTo>
                      <a:pt x="4452" y="864"/>
                    </a:lnTo>
                    <a:lnTo>
                      <a:pt x="4456" y="848"/>
                    </a:lnTo>
                    <a:lnTo>
                      <a:pt x="4484" y="820"/>
                    </a:lnTo>
                    <a:lnTo>
                      <a:pt x="4500" y="813"/>
                    </a:lnTo>
                    <a:lnTo>
                      <a:pt x="4511" y="802"/>
                    </a:lnTo>
                    <a:lnTo>
                      <a:pt x="4520" y="788"/>
                    </a:lnTo>
                    <a:lnTo>
                      <a:pt x="4526" y="767"/>
                    </a:lnTo>
                    <a:lnTo>
                      <a:pt x="4547" y="748"/>
                    </a:lnTo>
                    <a:lnTo>
                      <a:pt x="4545" y="743"/>
                    </a:lnTo>
                    <a:lnTo>
                      <a:pt x="4548" y="735"/>
                    </a:lnTo>
                    <a:lnTo>
                      <a:pt x="4559" y="733"/>
                    </a:lnTo>
                    <a:lnTo>
                      <a:pt x="4566" y="727"/>
                    </a:lnTo>
                    <a:lnTo>
                      <a:pt x="4563" y="724"/>
                    </a:lnTo>
                    <a:lnTo>
                      <a:pt x="4569" y="722"/>
                    </a:lnTo>
                    <a:lnTo>
                      <a:pt x="4573" y="726"/>
                    </a:lnTo>
                    <a:lnTo>
                      <a:pt x="4584" y="721"/>
                    </a:lnTo>
                    <a:lnTo>
                      <a:pt x="4587" y="707"/>
                    </a:lnTo>
                    <a:lnTo>
                      <a:pt x="4592" y="708"/>
                    </a:lnTo>
                    <a:lnTo>
                      <a:pt x="4607" y="692"/>
                    </a:lnTo>
                    <a:lnTo>
                      <a:pt x="4625" y="703"/>
                    </a:lnTo>
                    <a:lnTo>
                      <a:pt x="4627" y="695"/>
                    </a:lnTo>
                    <a:lnTo>
                      <a:pt x="4630" y="686"/>
                    </a:lnTo>
                    <a:lnTo>
                      <a:pt x="4625" y="678"/>
                    </a:lnTo>
                    <a:lnTo>
                      <a:pt x="4657" y="665"/>
                    </a:lnTo>
                    <a:lnTo>
                      <a:pt x="4643" y="662"/>
                    </a:lnTo>
                    <a:lnTo>
                      <a:pt x="4645" y="656"/>
                    </a:lnTo>
                    <a:lnTo>
                      <a:pt x="4667" y="645"/>
                    </a:lnTo>
                    <a:lnTo>
                      <a:pt x="4665" y="656"/>
                    </a:lnTo>
                    <a:lnTo>
                      <a:pt x="4672" y="645"/>
                    </a:lnTo>
                    <a:lnTo>
                      <a:pt x="4678" y="643"/>
                    </a:lnTo>
                    <a:lnTo>
                      <a:pt x="4684" y="636"/>
                    </a:lnTo>
                    <a:lnTo>
                      <a:pt x="4679" y="631"/>
                    </a:lnTo>
                    <a:lnTo>
                      <a:pt x="4688" y="622"/>
                    </a:lnTo>
                    <a:lnTo>
                      <a:pt x="4698" y="624"/>
                    </a:lnTo>
                    <a:lnTo>
                      <a:pt x="4704" y="611"/>
                    </a:lnTo>
                    <a:lnTo>
                      <a:pt x="4708" y="599"/>
                    </a:lnTo>
                    <a:lnTo>
                      <a:pt x="4708" y="595"/>
                    </a:lnTo>
                    <a:lnTo>
                      <a:pt x="4719" y="582"/>
                    </a:lnTo>
                    <a:lnTo>
                      <a:pt x="4722" y="573"/>
                    </a:lnTo>
                    <a:lnTo>
                      <a:pt x="4729" y="567"/>
                    </a:lnTo>
                    <a:lnTo>
                      <a:pt x="4729" y="549"/>
                    </a:lnTo>
                    <a:lnTo>
                      <a:pt x="4726" y="548"/>
                    </a:lnTo>
                    <a:lnTo>
                      <a:pt x="4722" y="534"/>
                    </a:lnTo>
                    <a:lnTo>
                      <a:pt x="4731" y="538"/>
                    </a:lnTo>
                    <a:lnTo>
                      <a:pt x="4730" y="518"/>
                    </a:lnTo>
                    <a:lnTo>
                      <a:pt x="4716" y="518"/>
                    </a:lnTo>
                    <a:lnTo>
                      <a:pt x="4703" y="506"/>
                    </a:lnTo>
                    <a:lnTo>
                      <a:pt x="4701" y="491"/>
                    </a:lnTo>
                    <a:lnTo>
                      <a:pt x="4692" y="492"/>
                    </a:lnTo>
                    <a:lnTo>
                      <a:pt x="4689" y="502"/>
                    </a:lnTo>
                    <a:lnTo>
                      <a:pt x="4686" y="507"/>
                    </a:lnTo>
                    <a:lnTo>
                      <a:pt x="4681" y="497"/>
                    </a:lnTo>
                    <a:lnTo>
                      <a:pt x="4681" y="493"/>
                    </a:lnTo>
                    <a:lnTo>
                      <a:pt x="4676" y="481"/>
                    </a:lnTo>
                    <a:lnTo>
                      <a:pt x="4679" y="475"/>
                    </a:lnTo>
                    <a:lnTo>
                      <a:pt x="4666" y="464"/>
                    </a:lnTo>
                    <a:lnTo>
                      <a:pt x="4660" y="454"/>
                    </a:lnTo>
                    <a:lnTo>
                      <a:pt x="4662" y="447"/>
                    </a:lnTo>
                    <a:lnTo>
                      <a:pt x="4670" y="449"/>
                    </a:lnTo>
                    <a:lnTo>
                      <a:pt x="4687" y="470"/>
                    </a:lnTo>
                    <a:lnTo>
                      <a:pt x="4717" y="490"/>
                    </a:lnTo>
                    <a:lnTo>
                      <a:pt x="4711" y="507"/>
                    </a:lnTo>
                    <a:lnTo>
                      <a:pt x="4717" y="505"/>
                    </a:lnTo>
                    <a:lnTo>
                      <a:pt x="4724" y="493"/>
                    </a:lnTo>
                    <a:lnTo>
                      <a:pt x="4736" y="455"/>
                    </a:lnTo>
                    <a:lnTo>
                      <a:pt x="4736" y="441"/>
                    </a:lnTo>
                    <a:lnTo>
                      <a:pt x="4732" y="428"/>
                    </a:lnTo>
                    <a:lnTo>
                      <a:pt x="4726" y="432"/>
                    </a:lnTo>
                    <a:lnTo>
                      <a:pt x="4717" y="428"/>
                    </a:lnTo>
                    <a:lnTo>
                      <a:pt x="4713" y="400"/>
                    </a:lnTo>
                    <a:lnTo>
                      <a:pt x="4714" y="389"/>
                    </a:lnTo>
                    <a:lnTo>
                      <a:pt x="4698" y="360"/>
                    </a:lnTo>
                    <a:lnTo>
                      <a:pt x="4689" y="364"/>
                    </a:lnTo>
                    <a:lnTo>
                      <a:pt x="4695" y="378"/>
                    </a:lnTo>
                    <a:lnTo>
                      <a:pt x="4686" y="387"/>
                    </a:lnTo>
                    <a:lnTo>
                      <a:pt x="4684" y="394"/>
                    </a:lnTo>
                    <a:lnTo>
                      <a:pt x="4679" y="394"/>
                    </a:lnTo>
                    <a:lnTo>
                      <a:pt x="4672" y="374"/>
                    </a:lnTo>
                    <a:lnTo>
                      <a:pt x="4662" y="362"/>
                    </a:lnTo>
                    <a:lnTo>
                      <a:pt x="4670" y="358"/>
                    </a:lnTo>
                    <a:lnTo>
                      <a:pt x="4671" y="349"/>
                    </a:lnTo>
                    <a:lnTo>
                      <a:pt x="4673" y="341"/>
                    </a:lnTo>
                    <a:lnTo>
                      <a:pt x="4647" y="315"/>
                    </a:lnTo>
                    <a:lnTo>
                      <a:pt x="4640" y="318"/>
                    </a:lnTo>
                    <a:lnTo>
                      <a:pt x="4639" y="306"/>
                    </a:lnTo>
                    <a:lnTo>
                      <a:pt x="4624" y="283"/>
                    </a:lnTo>
                    <a:lnTo>
                      <a:pt x="4603" y="271"/>
                    </a:lnTo>
                    <a:lnTo>
                      <a:pt x="4607" y="266"/>
                    </a:lnTo>
                    <a:lnTo>
                      <a:pt x="4603" y="258"/>
                    </a:lnTo>
                    <a:lnTo>
                      <a:pt x="4593" y="255"/>
                    </a:lnTo>
                    <a:lnTo>
                      <a:pt x="4588" y="261"/>
                    </a:lnTo>
                    <a:lnTo>
                      <a:pt x="4585" y="255"/>
                    </a:lnTo>
                    <a:lnTo>
                      <a:pt x="4586" y="244"/>
                    </a:lnTo>
                    <a:lnTo>
                      <a:pt x="4569" y="248"/>
                    </a:lnTo>
                    <a:lnTo>
                      <a:pt x="4539" y="242"/>
                    </a:lnTo>
                    <a:lnTo>
                      <a:pt x="4523" y="255"/>
                    </a:lnTo>
                    <a:lnTo>
                      <a:pt x="4518" y="253"/>
                    </a:lnTo>
                    <a:lnTo>
                      <a:pt x="4509" y="255"/>
                    </a:lnTo>
                    <a:lnTo>
                      <a:pt x="4489" y="238"/>
                    </a:lnTo>
                    <a:lnTo>
                      <a:pt x="4477" y="248"/>
                    </a:lnTo>
                    <a:lnTo>
                      <a:pt x="4469" y="247"/>
                    </a:lnTo>
                    <a:lnTo>
                      <a:pt x="4441" y="253"/>
                    </a:lnTo>
                    <a:lnTo>
                      <a:pt x="4435" y="247"/>
                    </a:lnTo>
                    <a:lnTo>
                      <a:pt x="4426" y="255"/>
                    </a:lnTo>
                    <a:lnTo>
                      <a:pt x="4428" y="248"/>
                    </a:lnTo>
                    <a:lnTo>
                      <a:pt x="4432" y="242"/>
                    </a:lnTo>
                    <a:lnTo>
                      <a:pt x="4430" y="238"/>
                    </a:lnTo>
                    <a:lnTo>
                      <a:pt x="4424" y="237"/>
                    </a:lnTo>
                    <a:lnTo>
                      <a:pt x="4421" y="244"/>
                    </a:lnTo>
                    <a:lnTo>
                      <a:pt x="4410" y="247"/>
                    </a:lnTo>
                    <a:lnTo>
                      <a:pt x="4409" y="258"/>
                    </a:lnTo>
                    <a:lnTo>
                      <a:pt x="4405" y="264"/>
                    </a:lnTo>
                    <a:lnTo>
                      <a:pt x="4416" y="261"/>
                    </a:lnTo>
                    <a:lnTo>
                      <a:pt x="4409" y="272"/>
                    </a:lnTo>
                    <a:lnTo>
                      <a:pt x="4403" y="272"/>
                    </a:lnTo>
                    <a:lnTo>
                      <a:pt x="4402" y="283"/>
                    </a:lnTo>
                    <a:lnTo>
                      <a:pt x="4397" y="294"/>
                    </a:lnTo>
                    <a:lnTo>
                      <a:pt x="4386" y="299"/>
                    </a:lnTo>
                    <a:lnTo>
                      <a:pt x="4382" y="296"/>
                    </a:lnTo>
                    <a:lnTo>
                      <a:pt x="4380" y="307"/>
                    </a:lnTo>
                    <a:lnTo>
                      <a:pt x="4356" y="306"/>
                    </a:lnTo>
                    <a:lnTo>
                      <a:pt x="4349" y="312"/>
                    </a:lnTo>
                    <a:lnTo>
                      <a:pt x="4334" y="306"/>
                    </a:lnTo>
                    <a:lnTo>
                      <a:pt x="4313" y="306"/>
                    </a:lnTo>
                    <a:lnTo>
                      <a:pt x="4313" y="301"/>
                    </a:lnTo>
                    <a:lnTo>
                      <a:pt x="4311" y="299"/>
                    </a:lnTo>
                    <a:lnTo>
                      <a:pt x="4329" y="288"/>
                    </a:lnTo>
                    <a:lnTo>
                      <a:pt x="4333" y="292"/>
                    </a:lnTo>
                    <a:lnTo>
                      <a:pt x="4343" y="264"/>
                    </a:lnTo>
                    <a:lnTo>
                      <a:pt x="4349" y="253"/>
                    </a:lnTo>
                    <a:lnTo>
                      <a:pt x="4353" y="242"/>
                    </a:lnTo>
                    <a:lnTo>
                      <a:pt x="4367" y="238"/>
                    </a:lnTo>
                    <a:lnTo>
                      <a:pt x="4377" y="216"/>
                    </a:lnTo>
                    <a:lnTo>
                      <a:pt x="4373" y="213"/>
                    </a:lnTo>
                    <a:lnTo>
                      <a:pt x="4370" y="207"/>
                    </a:lnTo>
                    <a:lnTo>
                      <a:pt x="4372" y="204"/>
                    </a:lnTo>
                    <a:lnTo>
                      <a:pt x="4380" y="204"/>
                    </a:lnTo>
                    <a:lnTo>
                      <a:pt x="4380" y="197"/>
                    </a:lnTo>
                    <a:lnTo>
                      <a:pt x="4373" y="195"/>
                    </a:lnTo>
                    <a:lnTo>
                      <a:pt x="4373" y="188"/>
                    </a:lnTo>
                    <a:lnTo>
                      <a:pt x="4375" y="183"/>
                    </a:lnTo>
                    <a:lnTo>
                      <a:pt x="4349" y="175"/>
                    </a:lnTo>
                    <a:lnTo>
                      <a:pt x="4344" y="178"/>
                    </a:lnTo>
                    <a:lnTo>
                      <a:pt x="4338" y="168"/>
                    </a:lnTo>
                    <a:lnTo>
                      <a:pt x="4329" y="166"/>
                    </a:lnTo>
                    <a:lnTo>
                      <a:pt x="4321" y="166"/>
                    </a:lnTo>
                    <a:lnTo>
                      <a:pt x="4312" y="173"/>
                    </a:lnTo>
                    <a:lnTo>
                      <a:pt x="4306" y="164"/>
                    </a:lnTo>
                    <a:lnTo>
                      <a:pt x="4289" y="173"/>
                    </a:lnTo>
                    <a:lnTo>
                      <a:pt x="4294" y="157"/>
                    </a:lnTo>
                    <a:lnTo>
                      <a:pt x="4292" y="143"/>
                    </a:lnTo>
                    <a:lnTo>
                      <a:pt x="4286" y="162"/>
                    </a:lnTo>
                    <a:lnTo>
                      <a:pt x="4268" y="161"/>
                    </a:lnTo>
                    <a:lnTo>
                      <a:pt x="4211" y="189"/>
                    </a:lnTo>
                    <a:lnTo>
                      <a:pt x="4224" y="169"/>
                    </a:lnTo>
                    <a:lnTo>
                      <a:pt x="4231" y="166"/>
                    </a:lnTo>
                    <a:lnTo>
                      <a:pt x="4256" y="126"/>
                    </a:lnTo>
                    <a:lnTo>
                      <a:pt x="4268" y="116"/>
                    </a:lnTo>
                    <a:lnTo>
                      <a:pt x="4276" y="115"/>
                    </a:lnTo>
                    <a:lnTo>
                      <a:pt x="4286" y="98"/>
                    </a:lnTo>
                    <a:lnTo>
                      <a:pt x="4286" y="91"/>
                    </a:lnTo>
                    <a:lnTo>
                      <a:pt x="4301" y="88"/>
                    </a:lnTo>
                    <a:lnTo>
                      <a:pt x="4310" y="95"/>
                    </a:lnTo>
                    <a:lnTo>
                      <a:pt x="4301" y="82"/>
                    </a:lnTo>
                    <a:lnTo>
                      <a:pt x="4290" y="43"/>
                    </a:lnTo>
                    <a:lnTo>
                      <a:pt x="4281" y="39"/>
                    </a:lnTo>
                    <a:lnTo>
                      <a:pt x="4276" y="48"/>
                    </a:lnTo>
                    <a:lnTo>
                      <a:pt x="4259" y="45"/>
                    </a:lnTo>
                    <a:lnTo>
                      <a:pt x="4242" y="34"/>
                    </a:lnTo>
                    <a:lnTo>
                      <a:pt x="4226" y="7"/>
                    </a:lnTo>
                    <a:lnTo>
                      <a:pt x="4219" y="17"/>
                    </a:lnTo>
                    <a:lnTo>
                      <a:pt x="4213" y="14"/>
                    </a:lnTo>
                    <a:lnTo>
                      <a:pt x="4211" y="12"/>
                    </a:lnTo>
                    <a:lnTo>
                      <a:pt x="4211" y="5"/>
                    </a:lnTo>
                    <a:lnTo>
                      <a:pt x="4203" y="0"/>
                    </a:lnTo>
                    <a:lnTo>
                      <a:pt x="4193" y="2"/>
                    </a:lnTo>
                    <a:lnTo>
                      <a:pt x="4178" y="14"/>
                    </a:lnTo>
                    <a:lnTo>
                      <a:pt x="4172" y="24"/>
                    </a:lnTo>
                    <a:lnTo>
                      <a:pt x="4166" y="27"/>
                    </a:lnTo>
                    <a:lnTo>
                      <a:pt x="4143" y="22"/>
                    </a:lnTo>
                    <a:lnTo>
                      <a:pt x="4139" y="35"/>
                    </a:lnTo>
                    <a:lnTo>
                      <a:pt x="4122" y="51"/>
                    </a:lnTo>
                    <a:lnTo>
                      <a:pt x="4098" y="88"/>
                    </a:lnTo>
                    <a:lnTo>
                      <a:pt x="4093" y="102"/>
                    </a:lnTo>
                    <a:lnTo>
                      <a:pt x="4073" y="120"/>
                    </a:lnTo>
                    <a:lnTo>
                      <a:pt x="4070" y="126"/>
                    </a:lnTo>
                    <a:lnTo>
                      <a:pt x="4049" y="157"/>
                    </a:lnTo>
                    <a:lnTo>
                      <a:pt x="4043" y="168"/>
                    </a:lnTo>
                    <a:lnTo>
                      <a:pt x="4042" y="178"/>
                    </a:lnTo>
                    <a:lnTo>
                      <a:pt x="4042" y="185"/>
                    </a:lnTo>
                    <a:lnTo>
                      <a:pt x="4039" y="194"/>
                    </a:lnTo>
                    <a:lnTo>
                      <a:pt x="4033" y="194"/>
                    </a:lnTo>
                    <a:lnTo>
                      <a:pt x="4032" y="201"/>
                    </a:lnTo>
                    <a:lnTo>
                      <a:pt x="4023" y="220"/>
                    </a:lnTo>
                    <a:lnTo>
                      <a:pt x="4025" y="222"/>
                    </a:lnTo>
                    <a:lnTo>
                      <a:pt x="4025" y="232"/>
                    </a:lnTo>
                    <a:lnTo>
                      <a:pt x="4030" y="238"/>
                    </a:lnTo>
                    <a:lnTo>
                      <a:pt x="4043" y="244"/>
                    </a:lnTo>
                    <a:lnTo>
                      <a:pt x="4046" y="258"/>
                    </a:lnTo>
                    <a:lnTo>
                      <a:pt x="4052" y="263"/>
                    </a:lnTo>
                    <a:lnTo>
                      <a:pt x="4050" y="267"/>
                    </a:lnTo>
                    <a:lnTo>
                      <a:pt x="4039" y="265"/>
                    </a:lnTo>
                    <a:lnTo>
                      <a:pt x="4037" y="258"/>
                    </a:lnTo>
                    <a:lnTo>
                      <a:pt x="4037" y="282"/>
                    </a:lnTo>
                    <a:lnTo>
                      <a:pt x="4041" y="285"/>
                    </a:lnTo>
                    <a:lnTo>
                      <a:pt x="4039" y="286"/>
                    </a:lnTo>
                    <a:lnTo>
                      <a:pt x="4010" y="303"/>
                    </a:lnTo>
                    <a:lnTo>
                      <a:pt x="3995" y="307"/>
                    </a:lnTo>
                    <a:lnTo>
                      <a:pt x="3975" y="306"/>
                    </a:lnTo>
                    <a:lnTo>
                      <a:pt x="3962" y="312"/>
                    </a:lnTo>
                    <a:lnTo>
                      <a:pt x="3913" y="302"/>
                    </a:lnTo>
                    <a:lnTo>
                      <a:pt x="3915" y="310"/>
                    </a:lnTo>
                    <a:lnTo>
                      <a:pt x="3915" y="315"/>
                    </a:lnTo>
                    <a:lnTo>
                      <a:pt x="3921" y="321"/>
                    </a:lnTo>
                    <a:lnTo>
                      <a:pt x="3923" y="334"/>
                    </a:lnTo>
                    <a:lnTo>
                      <a:pt x="3934" y="335"/>
                    </a:lnTo>
                    <a:lnTo>
                      <a:pt x="3941" y="344"/>
                    </a:lnTo>
                    <a:lnTo>
                      <a:pt x="3941" y="351"/>
                    </a:lnTo>
                    <a:lnTo>
                      <a:pt x="3960" y="351"/>
                    </a:lnTo>
                    <a:lnTo>
                      <a:pt x="3967" y="356"/>
                    </a:lnTo>
                    <a:lnTo>
                      <a:pt x="3968" y="364"/>
                    </a:lnTo>
                    <a:lnTo>
                      <a:pt x="3963" y="377"/>
                    </a:lnTo>
                    <a:lnTo>
                      <a:pt x="3963" y="396"/>
                    </a:lnTo>
                    <a:lnTo>
                      <a:pt x="3960" y="406"/>
                    </a:lnTo>
                    <a:lnTo>
                      <a:pt x="3947" y="401"/>
                    </a:lnTo>
                    <a:lnTo>
                      <a:pt x="3947" y="389"/>
                    </a:lnTo>
                    <a:lnTo>
                      <a:pt x="3944" y="384"/>
                    </a:lnTo>
                    <a:lnTo>
                      <a:pt x="3923" y="380"/>
                    </a:lnTo>
                    <a:lnTo>
                      <a:pt x="3923" y="377"/>
                    </a:lnTo>
                    <a:lnTo>
                      <a:pt x="3926" y="366"/>
                    </a:lnTo>
                    <a:lnTo>
                      <a:pt x="3924" y="361"/>
                    </a:lnTo>
                    <a:lnTo>
                      <a:pt x="3907" y="364"/>
                    </a:lnTo>
                    <a:lnTo>
                      <a:pt x="3908" y="353"/>
                    </a:lnTo>
                    <a:lnTo>
                      <a:pt x="3902" y="352"/>
                    </a:lnTo>
                    <a:lnTo>
                      <a:pt x="3865" y="379"/>
                    </a:lnTo>
                    <a:lnTo>
                      <a:pt x="3869" y="389"/>
                    </a:lnTo>
                    <a:lnTo>
                      <a:pt x="3869" y="396"/>
                    </a:lnTo>
                    <a:lnTo>
                      <a:pt x="3864" y="396"/>
                    </a:lnTo>
                    <a:lnTo>
                      <a:pt x="3860" y="390"/>
                    </a:lnTo>
                    <a:lnTo>
                      <a:pt x="3849" y="393"/>
                    </a:lnTo>
                    <a:lnTo>
                      <a:pt x="3844" y="404"/>
                    </a:lnTo>
                    <a:lnTo>
                      <a:pt x="3851" y="405"/>
                    </a:lnTo>
                    <a:lnTo>
                      <a:pt x="3854" y="409"/>
                    </a:lnTo>
                    <a:lnTo>
                      <a:pt x="3855" y="417"/>
                    </a:lnTo>
                    <a:lnTo>
                      <a:pt x="3850" y="419"/>
                    </a:lnTo>
                    <a:lnTo>
                      <a:pt x="3838" y="415"/>
                    </a:lnTo>
                    <a:lnTo>
                      <a:pt x="3821" y="428"/>
                    </a:lnTo>
                    <a:lnTo>
                      <a:pt x="3821" y="415"/>
                    </a:lnTo>
                    <a:lnTo>
                      <a:pt x="3819" y="411"/>
                    </a:lnTo>
                    <a:lnTo>
                      <a:pt x="3815" y="415"/>
                    </a:lnTo>
                    <a:lnTo>
                      <a:pt x="3805" y="431"/>
                    </a:lnTo>
                    <a:lnTo>
                      <a:pt x="3797" y="431"/>
                    </a:lnTo>
                    <a:lnTo>
                      <a:pt x="3784" y="442"/>
                    </a:lnTo>
                    <a:lnTo>
                      <a:pt x="3780" y="439"/>
                    </a:lnTo>
                    <a:lnTo>
                      <a:pt x="3790" y="427"/>
                    </a:lnTo>
                    <a:lnTo>
                      <a:pt x="3791" y="419"/>
                    </a:lnTo>
                    <a:lnTo>
                      <a:pt x="3780" y="417"/>
                    </a:lnTo>
                    <a:lnTo>
                      <a:pt x="3779" y="411"/>
                    </a:lnTo>
                    <a:lnTo>
                      <a:pt x="3774" y="419"/>
                    </a:lnTo>
                    <a:lnTo>
                      <a:pt x="3756" y="423"/>
                    </a:lnTo>
                    <a:lnTo>
                      <a:pt x="3748" y="438"/>
                    </a:lnTo>
                    <a:lnTo>
                      <a:pt x="3740" y="442"/>
                    </a:lnTo>
                    <a:lnTo>
                      <a:pt x="3736" y="436"/>
                    </a:lnTo>
                    <a:lnTo>
                      <a:pt x="3756" y="414"/>
                    </a:lnTo>
                    <a:lnTo>
                      <a:pt x="3761" y="393"/>
                    </a:lnTo>
                    <a:lnTo>
                      <a:pt x="3745" y="380"/>
                    </a:lnTo>
                    <a:lnTo>
                      <a:pt x="3716" y="382"/>
                    </a:lnTo>
                    <a:lnTo>
                      <a:pt x="3711" y="385"/>
                    </a:lnTo>
                    <a:lnTo>
                      <a:pt x="3710" y="393"/>
                    </a:lnTo>
                    <a:lnTo>
                      <a:pt x="3678" y="383"/>
                    </a:lnTo>
                    <a:lnTo>
                      <a:pt x="3676" y="390"/>
                    </a:lnTo>
                    <a:lnTo>
                      <a:pt x="3665" y="399"/>
                    </a:lnTo>
                    <a:lnTo>
                      <a:pt x="3657" y="389"/>
                    </a:lnTo>
                    <a:lnTo>
                      <a:pt x="3629" y="390"/>
                    </a:lnTo>
                    <a:lnTo>
                      <a:pt x="3628" y="394"/>
                    </a:lnTo>
                    <a:lnTo>
                      <a:pt x="3635" y="399"/>
                    </a:lnTo>
                    <a:lnTo>
                      <a:pt x="3635" y="403"/>
                    </a:lnTo>
                    <a:lnTo>
                      <a:pt x="3609" y="409"/>
                    </a:lnTo>
                    <a:lnTo>
                      <a:pt x="3608" y="405"/>
                    </a:lnTo>
                    <a:lnTo>
                      <a:pt x="3611" y="398"/>
                    </a:lnTo>
                    <a:lnTo>
                      <a:pt x="3604" y="399"/>
                    </a:lnTo>
                    <a:lnTo>
                      <a:pt x="3590" y="412"/>
                    </a:lnTo>
                    <a:lnTo>
                      <a:pt x="3586" y="401"/>
                    </a:lnTo>
                    <a:lnTo>
                      <a:pt x="3581" y="405"/>
                    </a:lnTo>
                    <a:lnTo>
                      <a:pt x="3581" y="423"/>
                    </a:lnTo>
                    <a:lnTo>
                      <a:pt x="3585" y="427"/>
                    </a:lnTo>
                    <a:lnTo>
                      <a:pt x="3604" y="417"/>
                    </a:lnTo>
                    <a:lnTo>
                      <a:pt x="3607" y="428"/>
                    </a:lnTo>
                    <a:lnTo>
                      <a:pt x="3611" y="435"/>
                    </a:lnTo>
                    <a:lnTo>
                      <a:pt x="3612" y="432"/>
                    </a:lnTo>
                    <a:lnTo>
                      <a:pt x="3612" y="426"/>
                    </a:lnTo>
                    <a:lnTo>
                      <a:pt x="3619" y="423"/>
                    </a:lnTo>
                    <a:lnTo>
                      <a:pt x="3618" y="428"/>
                    </a:lnTo>
                    <a:lnTo>
                      <a:pt x="3620" y="435"/>
                    </a:lnTo>
                    <a:lnTo>
                      <a:pt x="3614" y="446"/>
                    </a:lnTo>
                    <a:lnTo>
                      <a:pt x="3549" y="471"/>
                    </a:lnTo>
                    <a:lnTo>
                      <a:pt x="3520" y="475"/>
                    </a:lnTo>
                    <a:lnTo>
                      <a:pt x="3516" y="473"/>
                    </a:lnTo>
                    <a:lnTo>
                      <a:pt x="3514" y="481"/>
                    </a:lnTo>
                    <a:lnTo>
                      <a:pt x="3514" y="492"/>
                    </a:lnTo>
                    <a:lnTo>
                      <a:pt x="3514" y="489"/>
                    </a:lnTo>
                    <a:lnTo>
                      <a:pt x="3501" y="487"/>
                    </a:lnTo>
                    <a:lnTo>
                      <a:pt x="3488" y="496"/>
                    </a:lnTo>
                    <a:lnTo>
                      <a:pt x="3473" y="490"/>
                    </a:lnTo>
                    <a:lnTo>
                      <a:pt x="3455" y="502"/>
                    </a:lnTo>
                    <a:lnTo>
                      <a:pt x="3436" y="502"/>
                    </a:lnTo>
                    <a:lnTo>
                      <a:pt x="3420" y="516"/>
                    </a:lnTo>
                    <a:lnTo>
                      <a:pt x="3434" y="524"/>
                    </a:lnTo>
                    <a:lnTo>
                      <a:pt x="3415" y="529"/>
                    </a:lnTo>
                    <a:lnTo>
                      <a:pt x="3401" y="541"/>
                    </a:lnTo>
                    <a:lnTo>
                      <a:pt x="3385" y="528"/>
                    </a:lnTo>
                    <a:lnTo>
                      <a:pt x="3378" y="536"/>
                    </a:lnTo>
                    <a:lnTo>
                      <a:pt x="3366" y="539"/>
                    </a:lnTo>
                    <a:lnTo>
                      <a:pt x="3365" y="544"/>
                    </a:lnTo>
                    <a:lnTo>
                      <a:pt x="3371" y="544"/>
                    </a:lnTo>
                    <a:lnTo>
                      <a:pt x="3374" y="550"/>
                    </a:lnTo>
                    <a:lnTo>
                      <a:pt x="3355" y="555"/>
                    </a:lnTo>
                    <a:lnTo>
                      <a:pt x="3354" y="562"/>
                    </a:lnTo>
                    <a:lnTo>
                      <a:pt x="3344" y="566"/>
                    </a:lnTo>
                    <a:lnTo>
                      <a:pt x="3333" y="584"/>
                    </a:lnTo>
                    <a:lnTo>
                      <a:pt x="3322" y="593"/>
                    </a:lnTo>
                    <a:lnTo>
                      <a:pt x="3321" y="598"/>
                    </a:lnTo>
                    <a:lnTo>
                      <a:pt x="3322" y="604"/>
                    </a:lnTo>
                    <a:lnTo>
                      <a:pt x="3319" y="608"/>
                    </a:lnTo>
                    <a:lnTo>
                      <a:pt x="3305" y="614"/>
                    </a:lnTo>
                    <a:lnTo>
                      <a:pt x="3300" y="605"/>
                    </a:lnTo>
                    <a:lnTo>
                      <a:pt x="3292" y="604"/>
                    </a:lnTo>
                    <a:lnTo>
                      <a:pt x="3269" y="602"/>
                    </a:lnTo>
                    <a:lnTo>
                      <a:pt x="3261" y="606"/>
                    </a:lnTo>
                    <a:lnTo>
                      <a:pt x="3256" y="611"/>
                    </a:lnTo>
                    <a:lnTo>
                      <a:pt x="3262" y="618"/>
                    </a:lnTo>
                    <a:lnTo>
                      <a:pt x="3279" y="625"/>
                    </a:lnTo>
                    <a:lnTo>
                      <a:pt x="3301" y="626"/>
                    </a:lnTo>
                    <a:lnTo>
                      <a:pt x="3297" y="633"/>
                    </a:lnTo>
                    <a:lnTo>
                      <a:pt x="3288" y="642"/>
                    </a:lnTo>
                    <a:lnTo>
                      <a:pt x="3281" y="640"/>
                    </a:lnTo>
                    <a:lnTo>
                      <a:pt x="3279" y="633"/>
                    </a:lnTo>
                    <a:lnTo>
                      <a:pt x="3272" y="640"/>
                    </a:lnTo>
                    <a:lnTo>
                      <a:pt x="3274" y="645"/>
                    </a:lnTo>
                    <a:lnTo>
                      <a:pt x="3268" y="659"/>
                    </a:lnTo>
                    <a:lnTo>
                      <a:pt x="3262" y="667"/>
                    </a:lnTo>
                    <a:lnTo>
                      <a:pt x="3256" y="683"/>
                    </a:lnTo>
                    <a:lnTo>
                      <a:pt x="3249" y="683"/>
                    </a:lnTo>
                    <a:lnTo>
                      <a:pt x="3247" y="694"/>
                    </a:lnTo>
                    <a:lnTo>
                      <a:pt x="3253" y="702"/>
                    </a:lnTo>
                    <a:lnTo>
                      <a:pt x="3246" y="708"/>
                    </a:lnTo>
                    <a:lnTo>
                      <a:pt x="3236" y="691"/>
                    </a:lnTo>
                    <a:lnTo>
                      <a:pt x="3222" y="684"/>
                    </a:lnTo>
                    <a:lnTo>
                      <a:pt x="3221" y="674"/>
                    </a:lnTo>
                    <a:lnTo>
                      <a:pt x="3204" y="667"/>
                    </a:lnTo>
                    <a:lnTo>
                      <a:pt x="3203" y="668"/>
                    </a:lnTo>
                    <a:lnTo>
                      <a:pt x="3209" y="681"/>
                    </a:lnTo>
                    <a:lnTo>
                      <a:pt x="3194" y="690"/>
                    </a:lnTo>
                    <a:lnTo>
                      <a:pt x="3197" y="699"/>
                    </a:lnTo>
                    <a:lnTo>
                      <a:pt x="3192" y="701"/>
                    </a:lnTo>
                    <a:lnTo>
                      <a:pt x="3193" y="707"/>
                    </a:lnTo>
                    <a:lnTo>
                      <a:pt x="3222" y="711"/>
                    </a:lnTo>
                    <a:lnTo>
                      <a:pt x="3229" y="717"/>
                    </a:lnTo>
                    <a:lnTo>
                      <a:pt x="3242" y="724"/>
                    </a:lnTo>
                    <a:lnTo>
                      <a:pt x="3238" y="728"/>
                    </a:lnTo>
                    <a:lnTo>
                      <a:pt x="3238" y="735"/>
                    </a:lnTo>
                    <a:lnTo>
                      <a:pt x="3242" y="739"/>
                    </a:lnTo>
                    <a:lnTo>
                      <a:pt x="3240" y="743"/>
                    </a:lnTo>
                    <a:lnTo>
                      <a:pt x="3227" y="740"/>
                    </a:lnTo>
                    <a:lnTo>
                      <a:pt x="3224" y="744"/>
                    </a:lnTo>
                    <a:lnTo>
                      <a:pt x="3211" y="750"/>
                    </a:lnTo>
                    <a:lnTo>
                      <a:pt x="3215" y="756"/>
                    </a:lnTo>
                    <a:lnTo>
                      <a:pt x="3204" y="756"/>
                    </a:lnTo>
                    <a:lnTo>
                      <a:pt x="3202" y="761"/>
                    </a:lnTo>
                    <a:lnTo>
                      <a:pt x="3203" y="771"/>
                    </a:lnTo>
                    <a:lnTo>
                      <a:pt x="3209" y="777"/>
                    </a:lnTo>
                    <a:lnTo>
                      <a:pt x="3246" y="788"/>
                    </a:lnTo>
                    <a:lnTo>
                      <a:pt x="3249" y="814"/>
                    </a:lnTo>
                    <a:lnTo>
                      <a:pt x="3253" y="821"/>
                    </a:lnTo>
                    <a:lnTo>
                      <a:pt x="3259" y="826"/>
                    </a:lnTo>
                    <a:lnTo>
                      <a:pt x="3254" y="832"/>
                    </a:lnTo>
                    <a:lnTo>
                      <a:pt x="3242" y="828"/>
                    </a:lnTo>
                    <a:lnTo>
                      <a:pt x="3242" y="831"/>
                    </a:lnTo>
                    <a:lnTo>
                      <a:pt x="3245" y="839"/>
                    </a:lnTo>
                    <a:lnTo>
                      <a:pt x="3240" y="841"/>
                    </a:lnTo>
                    <a:lnTo>
                      <a:pt x="3242" y="847"/>
                    </a:lnTo>
                    <a:lnTo>
                      <a:pt x="3247" y="850"/>
                    </a:lnTo>
                    <a:lnTo>
                      <a:pt x="3247" y="856"/>
                    </a:lnTo>
                    <a:lnTo>
                      <a:pt x="3237" y="861"/>
                    </a:lnTo>
                    <a:lnTo>
                      <a:pt x="3215" y="863"/>
                    </a:lnTo>
                    <a:lnTo>
                      <a:pt x="3202" y="872"/>
                    </a:lnTo>
                    <a:lnTo>
                      <a:pt x="3189" y="871"/>
                    </a:lnTo>
                    <a:lnTo>
                      <a:pt x="3182" y="874"/>
                    </a:lnTo>
                    <a:lnTo>
                      <a:pt x="3179" y="883"/>
                    </a:lnTo>
                    <a:lnTo>
                      <a:pt x="3166" y="894"/>
                    </a:lnTo>
                    <a:lnTo>
                      <a:pt x="3148" y="889"/>
                    </a:lnTo>
                    <a:lnTo>
                      <a:pt x="3145" y="883"/>
                    </a:lnTo>
                    <a:lnTo>
                      <a:pt x="3143" y="883"/>
                    </a:lnTo>
                    <a:lnTo>
                      <a:pt x="3130" y="888"/>
                    </a:lnTo>
                    <a:lnTo>
                      <a:pt x="3105" y="893"/>
                    </a:lnTo>
                    <a:lnTo>
                      <a:pt x="3082" y="900"/>
                    </a:lnTo>
                    <a:lnTo>
                      <a:pt x="3035" y="906"/>
                    </a:lnTo>
                    <a:lnTo>
                      <a:pt x="3026" y="900"/>
                    </a:lnTo>
                    <a:lnTo>
                      <a:pt x="3007" y="904"/>
                    </a:lnTo>
                    <a:lnTo>
                      <a:pt x="2989" y="901"/>
                    </a:lnTo>
                    <a:lnTo>
                      <a:pt x="2952" y="912"/>
                    </a:lnTo>
                    <a:lnTo>
                      <a:pt x="2952" y="917"/>
                    </a:lnTo>
                    <a:lnTo>
                      <a:pt x="2950" y="920"/>
                    </a:lnTo>
                    <a:lnTo>
                      <a:pt x="2939" y="914"/>
                    </a:lnTo>
                    <a:lnTo>
                      <a:pt x="2929" y="918"/>
                    </a:lnTo>
                    <a:lnTo>
                      <a:pt x="2928" y="922"/>
                    </a:lnTo>
                    <a:lnTo>
                      <a:pt x="2912" y="926"/>
                    </a:lnTo>
                    <a:lnTo>
                      <a:pt x="2913" y="936"/>
                    </a:lnTo>
                    <a:lnTo>
                      <a:pt x="2917" y="944"/>
                    </a:lnTo>
                    <a:lnTo>
                      <a:pt x="2920" y="943"/>
                    </a:lnTo>
                    <a:lnTo>
                      <a:pt x="2921" y="938"/>
                    </a:lnTo>
                    <a:lnTo>
                      <a:pt x="2926" y="939"/>
                    </a:lnTo>
                    <a:lnTo>
                      <a:pt x="2924" y="947"/>
                    </a:lnTo>
                    <a:lnTo>
                      <a:pt x="2912" y="958"/>
                    </a:lnTo>
                    <a:lnTo>
                      <a:pt x="2912" y="964"/>
                    </a:lnTo>
                    <a:lnTo>
                      <a:pt x="2904" y="960"/>
                    </a:lnTo>
                    <a:lnTo>
                      <a:pt x="2901" y="966"/>
                    </a:lnTo>
                    <a:lnTo>
                      <a:pt x="2904" y="975"/>
                    </a:lnTo>
                    <a:lnTo>
                      <a:pt x="2913" y="977"/>
                    </a:lnTo>
                    <a:lnTo>
                      <a:pt x="2913" y="987"/>
                    </a:lnTo>
                    <a:lnTo>
                      <a:pt x="2901" y="996"/>
                    </a:lnTo>
                    <a:lnTo>
                      <a:pt x="2918" y="1009"/>
                    </a:lnTo>
                    <a:lnTo>
                      <a:pt x="2917" y="1014"/>
                    </a:lnTo>
                    <a:lnTo>
                      <a:pt x="2923" y="1019"/>
                    </a:lnTo>
                    <a:lnTo>
                      <a:pt x="2926" y="1018"/>
                    </a:lnTo>
                    <a:lnTo>
                      <a:pt x="2931" y="1040"/>
                    </a:lnTo>
                    <a:lnTo>
                      <a:pt x="2937" y="1046"/>
                    </a:lnTo>
                    <a:lnTo>
                      <a:pt x="2934" y="1052"/>
                    </a:lnTo>
                    <a:lnTo>
                      <a:pt x="2933" y="1058"/>
                    </a:lnTo>
                    <a:lnTo>
                      <a:pt x="2929" y="1066"/>
                    </a:lnTo>
                    <a:lnTo>
                      <a:pt x="2924" y="1082"/>
                    </a:lnTo>
                    <a:lnTo>
                      <a:pt x="2925" y="1097"/>
                    </a:lnTo>
                    <a:lnTo>
                      <a:pt x="2930" y="1105"/>
                    </a:lnTo>
                    <a:lnTo>
                      <a:pt x="2930" y="1122"/>
                    </a:lnTo>
                    <a:lnTo>
                      <a:pt x="2935" y="1133"/>
                    </a:lnTo>
                    <a:lnTo>
                      <a:pt x="2949" y="1149"/>
                    </a:lnTo>
                    <a:lnTo>
                      <a:pt x="2962" y="1153"/>
                    </a:lnTo>
                    <a:lnTo>
                      <a:pt x="2987" y="1157"/>
                    </a:lnTo>
                    <a:lnTo>
                      <a:pt x="3001" y="1168"/>
                    </a:lnTo>
                    <a:lnTo>
                      <a:pt x="3009" y="1168"/>
                    </a:lnTo>
                    <a:lnTo>
                      <a:pt x="3015" y="1184"/>
                    </a:lnTo>
                    <a:lnTo>
                      <a:pt x="3010" y="1196"/>
                    </a:lnTo>
                    <a:lnTo>
                      <a:pt x="3006" y="1200"/>
                    </a:lnTo>
                    <a:lnTo>
                      <a:pt x="3017" y="1203"/>
                    </a:lnTo>
                    <a:lnTo>
                      <a:pt x="3023" y="1211"/>
                    </a:lnTo>
                    <a:lnTo>
                      <a:pt x="3031" y="1227"/>
                    </a:lnTo>
                    <a:lnTo>
                      <a:pt x="3041" y="1233"/>
                    </a:lnTo>
                    <a:lnTo>
                      <a:pt x="3060" y="1239"/>
                    </a:lnTo>
                    <a:lnTo>
                      <a:pt x="3069" y="1246"/>
                    </a:lnTo>
                    <a:lnTo>
                      <a:pt x="3073" y="1239"/>
                    </a:lnTo>
                    <a:lnTo>
                      <a:pt x="3076" y="1254"/>
                    </a:lnTo>
                    <a:lnTo>
                      <a:pt x="3084" y="1272"/>
                    </a:lnTo>
                    <a:lnTo>
                      <a:pt x="3084" y="1282"/>
                    </a:lnTo>
                    <a:lnTo>
                      <a:pt x="3080" y="1302"/>
                    </a:lnTo>
                    <a:lnTo>
                      <a:pt x="3069" y="1312"/>
                    </a:lnTo>
                    <a:lnTo>
                      <a:pt x="3068" y="1329"/>
                    </a:lnTo>
                    <a:lnTo>
                      <a:pt x="3060" y="1343"/>
                    </a:lnTo>
                    <a:lnTo>
                      <a:pt x="3064" y="1358"/>
                    </a:lnTo>
                    <a:lnTo>
                      <a:pt x="3063" y="1372"/>
                    </a:lnTo>
                    <a:lnTo>
                      <a:pt x="3079" y="1394"/>
                    </a:lnTo>
                    <a:lnTo>
                      <a:pt x="3082" y="1426"/>
                    </a:lnTo>
                    <a:lnTo>
                      <a:pt x="3087" y="1440"/>
                    </a:lnTo>
                    <a:lnTo>
                      <a:pt x="3090" y="1459"/>
                    </a:lnTo>
                    <a:lnTo>
                      <a:pt x="3090" y="1474"/>
                    </a:lnTo>
                    <a:lnTo>
                      <a:pt x="3085" y="1487"/>
                    </a:lnTo>
                    <a:lnTo>
                      <a:pt x="3075" y="1501"/>
                    </a:lnTo>
                    <a:lnTo>
                      <a:pt x="3063" y="1504"/>
                    </a:lnTo>
                    <a:lnTo>
                      <a:pt x="3055" y="1501"/>
                    </a:lnTo>
                    <a:lnTo>
                      <a:pt x="3054" y="1509"/>
                    </a:lnTo>
                    <a:lnTo>
                      <a:pt x="3063" y="1530"/>
                    </a:lnTo>
                    <a:lnTo>
                      <a:pt x="3059" y="1539"/>
                    </a:lnTo>
                    <a:lnTo>
                      <a:pt x="3035" y="1529"/>
                    </a:lnTo>
                    <a:lnTo>
                      <a:pt x="3017" y="1528"/>
                    </a:lnTo>
                    <a:lnTo>
                      <a:pt x="3006" y="1517"/>
                    </a:lnTo>
                    <a:lnTo>
                      <a:pt x="3004" y="1504"/>
                    </a:lnTo>
                    <a:lnTo>
                      <a:pt x="3004" y="1458"/>
                    </a:lnTo>
                    <a:lnTo>
                      <a:pt x="3012" y="1428"/>
                    </a:lnTo>
                    <a:lnTo>
                      <a:pt x="3009" y="1422"/>
                    </a:lnTo>
                    <a:lnTo>
                      <a:pt x="3007" y="1393"/>
                    </a:lnTo>
                    <a:lnTo>
                      <a:pt x="3010" y="1379"/>
                    </a:lnTo>
                    <a:lnTo>
                      <a:pt x="3009" y="1362"/>
                    </a:lnTo>
                    <a:lnTo>
                      <a:pt x="3007" y="1352"/>
                    </a:lnTo>
                    <a:lnTo>
                      <a:pt x="3015" y="1340"/>
                    </a:lnTo>
                    <a:lnTo>
                      <a:pt x="3047" y="1319"/>
                    </a:lnTo>
                    <a:lnTo>
                      <a:pt x="3049" y="1313"/>
                    </a:lnTo>
                    <a:lnTo>
                      <a:pt x="3049" y="1300"/>
                    </a:lnTo>
                    <a:lnTo>
                      <a:pt x="3052" y="1288"/>
                    </a:lnTo>
                    <a:lnTo>
                      <a:pt x="3060" y="1287"/>
                    </a:lnTo>
                    <a:lnTo>
                      <a:pt x="3063" y="1270"/>
                    </a:lnTo>
                    <a:lnTo>
                      <a:pt x="3039" y="1254"/>
                    </a:lnTo>
                    <a:lnTo>
                      <a:pt x="3010" y="1264"/>
                    </a:lnTo>
                    <a:lnTo>
                      <a:pt x="2982" y="1267"/>
                    </a:lnTo>
                    <a:lnTo>
                      <a:pt x="2966" y="1260"/>
                    </a:lnTo>
                    <a:lnTo>
                      <a:pt x="2955" y="1248"/>
                    </a:lnTo>
                    <a:lnTo>
                      <a:pt x="2952" y="1250"/>
                    </a:lnTo>
                    <a:lnTo>
                      <a:pt x="2945" y="1235"/>
                    </a:lnTo>
                    <a:lnTo>
                      <a:pt x="2931" y="1219"/>
                    </a:lnTo>
                    <a:lnTo>
                      <a:pt x="2928" y="1212"/>
                    </a:lnTo>
                    <a:lnTo>
                      <a:pt x="2928" y="1203"/>
                    </a:lnTo>
                    <a:lnTo>
                      <a:pt x="2902" y="1191"/>
                    </a:lnTo>
                    <a:lnTo>
                      <a:pt x="2880" y="1174"/>
                    </a:lnTo>
                    <a:lnTo>
                      <a:pt x="2871" y="1163"/>
                    </a:lnTo>
                    <a:lnTo>
                      <a:pt x="2844" y="1149"/>
                    </a:lnTo>
                    <a:lnTo>
                      <a:pt x="2792" y="1148"/>
                    </a:lnTo>
                    <a:lnTo>
                      <a:pt x="2777" y="1151"/>
                    </a:lnTo>
                    <a:lnTo>
                      <a:pt x="2763" y="1171"/>
                    </a:lnTo>
                    <a:lnTo>
                      <a:pt x="2741" y="1181"/>
                    </a:lnTo>
                    <a:lnTo>
                      <a:pt x="2737" y="1201"/>
                    </a:lnTo>
                    <a:lnTo>
                      <a:pt x="2764" y="1202"/>
                    </a:lnTo>
                    <a:lnTo>
                      <a:pt x="2778" y="1213"/>
                    </a:lnTo>
                    <a:lnTo>
                      <a:pt x="2773" y="1227"/>
                    </a:lnTo>
                    <a:lnTo>
                      <a:pt x="2763" y="1240"/>
                    </a:lnTo>
                    <a:lnTo>
                      <a:pt x="2743" y="1246"/>
                    </a:lnTo>
                    <a:lnTo>
                      <a:pt x="2729" y="1259"/>
                    </a:lnTo>
                    <a:lnTo>
                      <a:pt x="2708" y="1265"/>
                    </a:lnTo>
                    <a:lnTo>
                      <a:pt x="2708" y="1249"/>
                    </a:lnTo>
                    <a:lnTo>
                      <a:pt x="2692" y="1233"/>
                    </a:lnTo>
                    <a:lnTo>
                      <a:pt x="2683" y="1217"/>
                    </a:lnTo>
                    <a:lnTo>
                      <a:pt x="2672" y="1218"/>
                    </a:lnTo>
                    <a:lnTo>
                      <a:pt x="2662" y="1232"/>
                    </a:lnTo>
                    <a:lnTo>
                      <a:pt x="2668" y="1239"/>
                    </a:lnTo>
                    <a:lnTo>
                      <a:pt x="2673" y="1260"/>
                    </a:lnTo>
                    <a:lnTo>
                      <a:pt x="2678" y="1275"/>
                    </a:lnTo>
                    <a:lnTo>
                      <a:pt x="2681" y="1287"/>
                    </a:lnTo>
                    <a:lnTo>
                      <a:pt x="2687" y="1289"/>
                    </a:lnTo>
                    <a:lnTo>
                      <a:pt x="2709" y="1308"/>
                    </a:lnTo>
                    <a:lnTo>
                      <a:pt x="2724" y="1314"/>
                    </a:lnTo>
                    <a:lnTo>
                      <a:pt x="2732" y="1326"/>
                    </a:lnTo>
                    <a:lnTo>
                      <a:pt x="2741" y="1327"/>
                    </a:lnTo>
                    <a:lnTo>
                      <a:pt x="2747" y="1335"/>
                    </a:lnTo>
                    <a:lnTo>
                      <a:pt x="2757" y="1329"/>
                    </a:lnTo>
                    <a:lnTo>
                      <a:pt x="2767" y="1319"/>
                    </a:lnTo>
                    <a:lnTo>
                      <a:pt x="2764" y="1334"/>
                    </a:lnTo>
                    <a:lnTo>
                      <a:pt x="2769" y="1341"/>
                    </a:lnTo>
                    <a:lnTo>
                      <a:pt x="2780" y="1337"/>
                    </a:lnTo>
                    <a:lnTo>
                      <a:pt x="2781" y="1367"/>
                    </a:lnTo>
                    <a:lnTo>
                      <a:pt x="2795" y="1383"/>
                    </a:lnTo>
                    <a:lnTo>
                      <a:pt x="2795" y="1393"/>
                    </a:lnTo>
                    <a:lnTo>
                      <a:pt x="2779" y="1390"/>
                    </a:lnTo>
                    <a:lnTo>
                      <a:pt x="2769" y="1384"/>
                    </a:lnTo>
                    <a:lnTo>
                      <a:pt x="2762" y="1377"/>
                    </a:lnTo>
                    <a:lnTo>
                      <a:pt x="2758" y="1367"/>
                    </a:lnTo>
                    <a:lnTo>
                      <a:pt x="2748" y="1358"/>
                    </a:lnTo>
                    <a:lnTo>
                      <a:pt x="2713" y="1354"/>
                    </a:lnTo>
                    <a:lnTo>
                      <a:pt x="2702" y="1348"/>
                    </a:lnTo>
                    <a:lnTo>
                      <a:pt x="2668" y="1345"/>
                    </a:lnTo>
                    <a:lnTo>
                      <a:pt x="2636" y="1332"/>
                    </a:lnTo>
                    <a:lnTo>
                      <a:pt x="2627" y="1325"/>
                    </a:lnTo>
                    <a:lnTo>
                      <a:pt x="2617" y="1310"/>
                    </a:lnTo>
                    <a:lnTo>
                      <a:pt x="2619" y="1307"/>
                    </a:lnTo>
                    <a:lnTo>
                      <a:pt x="2633" y="1304"/>
                    </a:lnTo>
                    <a:lnTo>
                      <a:pt x="2634" y="1299"/>
                    </a:lnTo>
                    <a:lnTo>
                      <a:pt x="2633" y="1278"/>
                    </a:lnTo>
                    <a:lnTo>
                      <a:pt x="2622" y="1256"/>
                    </a:lnTo>
                    <a:lnTo>
                      <a:pt x="2621" y="1246"/>
                    </a:lnTo>
                    <a:lnTo>
                      <a:pt x="2627" y="1222"/>
                    </a:lnTo>
                    <a:lnTo>
                      <a:pt x="2618" y="1211"/>
                    </a:lnTo>
                    <a:lnTo>
                      <a:pt x="2627" y="1202"/>
                    </a:lnTo>
                    <a:lnTo>
                      <a:pt x="2641" y="1163"/>
                    </a:lnTo>
                    <a:lnTo>
                      <a:pt x="2634" y="1137"/>
                    </a:lnTo>
                    <a:lnTo>
                      <a:pt x="2632" y="1120"/>
                    </a:lnTo>
                    <a:lnTo>
                      <a:pt x="2640" y="1115"/>
                    </a:lnTo>
                    <a:lnTo>
                      <a:pt x="2630" y="1100"/>
                    </a:lnTo>
                    <a:lnTo>
                      <a:pt x="2628" y="1090"/>
                    </a:lnTo>
                    <a:lnTo>
                      <a:pt x="2629" y="1082"/>
                    </a:lnTo>
                    <a:lnTo>
                      <a:pt x="2613" y="1066"/>
                    </a:lnTo>
                    <a:lnTo>
                      <a:pt x="2608" y="1055"/>
                    </a:lnTo>
                    <a:lnTo>
                      <a:pt x="2593" y="1063"/>
                    </a:lnTo>
                    <a:lnTo>
                      <a:pt x="2595" y="1074"/>
                    </a:lnTo>
                    <a:lnTo>
                      <a:pt x="2602" y="1094"/>
                    </a:lnTo>
                    <a:lnTo>
                      <a:pt x="2607" y="1115"/>
                    </a:lnTo>
                    <a:lnTo>
                      <a:pt x="2607" y="1160"/>
                    </a:lnTo>
                    <a:lnTo>
                      <a:pt x="2598" y="1176"/>
                    </a:lnTo>
                    <a:lnTo>
                      <a:pt x="2566" y="1207"/>
                    </a:lnTo>
                    <a:lnTo>
                      <a:pt x="2546" y="1217"/>
                    </a:lnTo>
                    <a:lnTo>
                      <a:pt x="2516" y="1239"/>
                    </a:lnTo>
                    <a:lnTo>
                      <a:pt x="2517" y="1253"/>
                    </a:lnTo>
                    <a:lnTo>
                      <a:pt x="2517" y="1261"/>
                    </a:lnTo>
                    <a:lnTo>
                      <a:pt x="2514" y="1272"/>
                    </a:lnTo>
                    <a:lnTo>
                      <a:pt x="2498" y="1289"/>
                    </a:lnTo>
                    <a:lnTo>
                      <a:pt x="2498" y="1298"/>
                    </a:lnTo>
                    <a:lnTo>
                      <a:pt x="2519" y="1321"/>
                    </a:lnTo>
                    <a:lnTo>
                      <a:pt x="2532" y="1343"/>
                    </a:lnTo>
                    <a:lnTo>
                      <a:pt x="2541" y="1362"/>
                    </a:lnTo>
                    <a:lnTo>
                      <a:pt x="2547" y="1395"/>
                    </a:lnTo>
                    <a:lnTo>
                      <a:pt x="2560" y="1417"/>
                    </a:lnTo>
                    <a:lnTo>
                      <a:pt x="2569" y="1438"/>
                    </a:lnTo>
                    <a:lnTo>
                      <a:pt x="2569" y="1448"/>
                    </a:lnTo>
                    <a:lnTo>
                      <a:pt x="2565" y="1468"/>
                    </a:lnTo>
                    <a:lnTo>
                      <a:pt x="2557" y="1488"/>
                    </a:lnTo>
                    <a:lnTo>
                      <a:pt x="2555" y="1496"/>
                    </a:lnTo>
                    <a:lnTo>
                      <a:pt x="2541" y="1514"/>
                    </a:lnTo>
                    <a:lnTo>
                      <a:pt x="2538" y="1528"/>
                    </a:lnTo>
                    <a:lnTo>
                      <a:pt x="2539" y="1545"/>
                    </a:lnTo>
                    <a:lnTo>
                      <a:pt x="2532" y="1555"/>
                    </a:lnTo>
                    <a:lnTo>
                      <a:pt x="2530" y="1568"/>
                    </a:lnTo>
                    <a:lnTo>
                      <a:pt x="2527" y="1588"/>
                    </a:lnTo>
                    <a:lnTo>
                      <a:pt x="2541" y="1611"/>
                    </a:lnTo>
                    <a:lnTo>
                      <a:pt x="2548" y="1632"/>
                    </a:lnTo>
                    <a:lnTo>
                      <a:pt x="2546" y="1647"/>
                    </a:lnTo>
                    <a:lnTo>
                      <a:pt x="2539" y="1664"/>
                    </a:lnTo>
                    <a:lnTo>
                      <a:pt x="2538" y="1673"/>
                    </a:lnTo>
                    <a:lnTo>
                      <a:pt x="2547" y="1689"/>
                    </a:lnTo>
                    <a:lnTo>
                      <a:pt x="2559" y="1691"/>
                    </a:lnTo>
                    <a:lnTo>
                      <a:pt x="2575" y="1686"/>
                    </a:lnTo>
                    <a:lnTo>
                      <a:pt x="2586" y="1686"/>
                    </a:lnTo>
                    <a:lnTo>
                      <a:pt x="2600" y="1691"/>
                    </a:lnTo>
                    <a:lnTo>
                      <a:pt x="2616" y="1694"/>
                    </a:lnTo>
                    <a:lnTo>
                      <a:pt x="2618" y="1685"/>
                    </a:lnTo>
                    <a:lnTo>
                      <a:pt x="2641" y="1670"/>
                    </a:lnTo>
                    <a:lnTo>
                      <a:pt x="2665" y="1670"/>
                    </a:lnTo>
                    <a:lnTo>
                      <a:pt x="2698" y="1690"/>
                    </a:lnTo>
                    <a:lnTo>
                      <a:pt x="2708" y="1700"/>
                    </a:lnTo>
                    <a:lnTo>
                      <a:pt x="2734" y="1716"/>
                    </a:lnTo>
                    <a:lnTo>
                      <a:pt x="2753" y="1724"/>
                    </a:lnTo>
                    <a:lnTo>
                      <a:pt x="2758" y="1734"/>
                    </a:lnTo>
                    <a:lnTo>
                      <a:pt x="2758" y="1750"/>
                    </a:lnTo>
                    <a:lnTo>
                      <a:pt x="2757" y="1761"/>
                    </a:lnTo>
                    <a:lnTo>
                      <a:pt x="2775" y="1802"/>
                    </a:lnTo>
                    <a:lnTo>
                      <a:pt x="2779" y="1802"/>
                    </a:lnTo>
                    <a:lnTo>
                      <a:pt x="2780" y="1814"/>
                    </a:lnTo>
                    <a:lnTo>
                      <a:pt x="2774" y="1822"/>
                    </a:lnTo>
                    <a:lnTo>
                      <a:pt x="2761" y="1824"/>
                    </a:lnTo>
                    <a:lnTo>
                      <a:pt x="2750" y="1832"/>
                    </a:lnTo>
                    <a:lnTo>
                      <a:pt x="2746" y="1845"/>
                    </a:lnTo>
                    <a:lnTo>
                      <a:pt x="2745" y="1868"/>
                    </a:lnTo>
                    <a:lnTo>
                      <a:pt x="2747" y="1886"/>
                    </a:lnTo>
                    <a:lnTo>
                      <a:pt x="2751" y="1896"/>
                    </a:lnTo>
                    <a:lnTo>
                      <a:pt x="2763" y="1894"/>
                    </a:lnTo>
                    <a:lnTo>
                      <a:pt x="2781" y="1904"/>
                    </a:lnTo>
                    <a:lnTo>
                      <a:pt x="2800" y="1902"/>
                    </a:lnTo>
                    <a:lnTo>
                      <a:pt x="2820" y="1915"/>
                    </a:lnTo>
                    <a:lnTo>
                      <a:pt x="2817" y="1918"/>
                    </a:lnTo>
                    <a:lnTo>
                      <a:pt x="2792" y="1923"/>
                    </a:lnTo>
                    <a:lnTo>
                      <a:pt x="2779" y="1920"/>
                    </a:lnTo>
                    <a:lnTo>
                      <a:pt x="2754" y="1921"/>
                    </a:lnTo>
                    <a:lnTo>
                      <a:pt x="2752" y="1912"/>
                    </a:lnTo>
                    <a:lnTo>
                      <a:pt x="2748" y="1905"/>
                    </a:lnTo>
                    <a:lnTo>
                      <a:pt x="2727" y="1894"/>
                    </a:lnTo>
                    <a:lnTo>
                      <a:pt x="2726" y="1883"/>
                    </a:lnTo>
                    <a:lnTo>
                      <a:pt x="2730" y="1878"/>
                    </a:lnTo>
                    <a:lnTo>
                      <a:pt x="2732" y="1868"/>
                    </a:lnTo>
                    <a:lnTo>
                      <a:pt x="2731" y="1857"/>
                    </a:lnTo>
                    <a:lnTo>
                      <a:pt x="2732" y="1842"/>
                    </a:lnTo>
                    <a:lnTo>
                      <a:pt x="2740" y="1825"/>
                    </a:lnTo>
                    <a:lnTo>
                      <a:pt x="2736" y="1821"/>
                    </a:lnTo>
                    <a:lnTo>
                      <a:pt x="2730" y="1824"/>
                    </a:lnTo>
                    <a:lnTo>
                      <a:pt x="2729" y="1814"/>
                    </a:lnTo>
                    <a:lnTo>
                      <a:pt x="2732" y="1800"/>
                    </a:lnTo>
                    <a:lnTo>
                      <a:pt x="2734" y="1798"/>
                    </a:lnTo>
                    <a:lnTo>
                      <a:pt x="2732" y="1791"/>
                    </a:lnTo>
                    <a:lnTo>
                      <a:pt x="2735" y="1783"/>
                    </a:lnTo>
                    <a:lnTo>
                      <a:pt x="2732" y="1776"/>
                    </a:lnTo>
                    <a:lnTo>
                      <a:pt x="2726" y="1767"/>
                    </a:lnTo>
                    <a:lnTo>
                      <a:pt x="2718" y="1762"/>
                    </a:lnTo>
                    <a:lnTo>
                      <a:pt x="2713" y="1754"/>
                    </a:lnTo>
                    <a:lnTo>
                      <a:pt x="2703" y="1749"/>
                    </a:lnTo>
                    <a:lnTo>
                      <a:pt x="2699" y="1739"/>
                    </a:lnTo>
                    <a:lnTo>
                      <a:pt x="2700" y="1727"/>
                    </a:lnTo>
                    <a:lnTo>
                      <a:pt x="2694" y="1708"/>
                    </a:lnTo>
                    <a:lnTo>
                      <a:pt x="2667" y="1712"/>
                    </a:lnTo>
                    <a:lnTo>
                      <a:pt x="2652" y="1718"/>
                    </a:lnTo>
                    <a:lnTo>
                      <a:pt x="2621" y="1724"/>
                    </a:lnTo>
                    <a:lnTo>
                      <a:pt x="2602" y="1737"/>
                    </a:lnTo>
                    <a:lnTo>
                      <a:pt x="2582" y="1744"/>
                    </a:lnTo>
                    <a:lnTo>
                      <a:pt x="2574" y="1750"/>
                    </a:lnTo>
                    <a:lnTo>
                      <a:pt x="2574" y="1760"/>
                    </a:lnTo>
                    <a:lnTo>
                      <a:pt x="2576" y="1772"/>
                    </a:lnTo>
                    <a:lnTo>
                      <a:pt x="2573" y="1786"/>
                    </a:lnTo>
                    <a:lnTo>
                      <a:pt x="2566" y="1794"/>
                    </a:lnTo>
                    <a:lnTo>
                      <a:pt x="2570" y="1805"/>
                    </a:lnTo>
                    <a:lnTo>
                      <a:pt x="2575" y="1808"/>
                    </a:lnTo>
                    <a:lnTo>
                      <a:pt x="2579" y="1818"/>
                    </a:lnTo>
                    <a:lnTo>
                      <a:pt x="2585" y="1825"/>
                    </a:lnTo>
                    <a:lnTo>
                      <a:pt x="2584" y="1835"/>
                    </a:lnTo>
                    <a:lnTo>
                      <a:pt x="2590" y="1842"/>
                    </a:lnTo>
                    <a:lnTo>
                      <a:pt x="2593" y="1854"/>
                    </a:lnTo>
                    <a:lnTo>
                      <a:pt x="2595" y="1873"/>
                    </a:lnTo>
                    <a:lnTo>
                      <a:pt x="2590" y="1900"/>
                    </a:lnTo>
                    <a:lnTo>
                      <a:pt x="2576" y="1911"/>
                    </a:lnTo>
                    <a:lnTo>
                      <a:pt x="2547" y="1948"/>
                    </a:lnTo>
                    <a:lnTo>
                      <a:pt x="2544" y="1954"/>
                    </a:lnTo>
                    <a:lnTo>
                      <a:pt x="2544" y="1969"/>
                    </a:lnTo>
                    <a:lnTo>
                      <a:pt x="2541" y="1988"/>
                    </a:lnTo>
                    <a:lnTo>
                      <a:pt x="2525" y="2013"/>
                    </a:lnTo>
                    <a:lnTo>
                      <a:pt x="2515" y="2023"/>
                    </a:lnTo>
                    <a:lnTo>
                      <a:pt x="2499" y="2031"/>
                    </a:lnTo>
                    <a:lnTo>
                      <a:pt x="2490" y="2042"/>
                    </a:lnTo>
                    <a:lnTo>
                      <a:pt x="2462" y="2053"/>
                    </a:lnTo>
                    <a:lnTo>
                      <a:pt x="2457" y="2061"/>
                    </a:lnTo>
                    <a:lnTo>
                      <a:pt x="2465" y="2078"/>
                    </a:lnTo>
                    <a:lnTo>
                      <a:pt x="2458" y="2098"/>
                    </a:lnTo>
                    <a:lnTo>
                      <a:pt x="2445" y="2103"/>
                    </a:lnTo>
                    <a:lnTo>
                      <a:pt x="2407" y="2085"/>
                    </a:lnTo>
                    <a:lnTo>
                      <a:pt x="2387" y="2083"/>
                    </a:lnTo>
                    <a:lnTo>
                      <a:pt x="2374" y="2087"/>
                    </a:lnTo>
                    <a:lnTo>
                      <a:pt x="2363" y="2088"/>
                    </a:lnTo>
                    <a:lnTo>
                      <a:pt x="2338" y="2083"/>
                    </a:lnTo>
                    <a:lnTo>
                      <a:pt x="2334" y="2080"/>
                    </a:lnTo>
                    <a:lnTo>
                      <a:pt x="2334" y="2071"/>
                    </a:lnTo>
                    <a:lnTo>
                      <a:pt x="2337" y="2064"/>
                    </a:lnTo>
                    <a:lnTo>
                      <a:pt x="2334" y="2040"/>
                    </a:lnTo>
                    <a:lnTo>
                      <a:pt x="2321" y="2037"/>
                    </a:lnTo>
                    <a:lnTo>
                      <a:pt x="2318" y="2030"/>
                    </a:lnTo>
                    <a:lnTo>
                      <a:pt x="2321" y="2026"/>
                    </a:lnTo>
                    <a:lnTo>
                      <a:pt x="2332" y="2021"/>
                    </a:lnTo>
                    <a:lnTo>
                      <a:pt x="2343" y="2030"/>
                    </a:lnTo>
                    <a:lnTo>
                      <a:pt x="2347" y="2037"/>
                    </a:lnTo>
                    <a:lnTo>
                      <a:pt x="2360" y="2037"/>
                    </a:lnTo>
                    <a:lnTo>
                      <a:pt x="2366" y="2028"/>
                    </a:lnTo>
                    <a:lnTo>
                      <a:pt x="2375" y="2028"/>
                    </a:lnTo>
                    <a:lnTo>
                      <a:pt x="2385" y="2012"/>
                    </a:lnTo>
                    <a:lnTo>
                      <a:pt x="2393" y="2018"/>
                    </a:lnTo>
                    <a:lnTo>
                      <a:pt x="2407" y="2012"/>
                    </a:lnTo>
                    <a:lnTo>
                      <a:pt x="2409" y="2005"/>
                    </a:lnTo>
                    <a:lnTo>
                      <a:pt x="2415" y="2003"/>
                    </a:lnTo>
                    <a:lnTo>
                      <a:pt x="2424" y="2004"/>
                    </a:lnTo>
                    <a:lnTo>
                      <a:pt x="2439" y="2001"/>
                    </a:lnTo>
                    <a:lnTo>
                      <a:pt x="2445" y="1992"/>
                    </a:lnTo>
                    <a:lnTo>
                      <a:pt x="2439" y="1983"/>
                    </a:lnTo>
                    <a:lnTo>
                      <a:pt x="2422" y="1983"/>
                    </a:lnTo>
                    <a:lnTo>
                      <a:pt x="2415" y="1988"/>
                    </a:lnTo>
                    <a:lnTo>
                      <a:pt x="2407" y="1982"/>
                    </a:lnTo>
                    <a:lnTo>
                      <a:pt x="2408" y="1969"/>
                    </a:lnTo>
                    <a:lnTo>
                      <a:pt x="2428" y="1981"/>
                    </a:lnTo>
                    <a:lnTo>
                      <a:pt x="2449" y="1977"/>
                    </a:lnTo>
                    <a:lnTo>
                      <a:pt x="2451" y="1974"/>
                    </a:lnTo>
                    <a:lnTo>
                      <a:pt x="2452" y="1956"/>
                    </a:lnTo>
                    <a:lnTo>
                      <a:pt x="2461" y="1956"/>
                    </a:lnTo>
                    <a:lnTo>
                      <a:pt x="2468" y="1947"/>
                    </a:lnTo>
                    <a:lnTo>
                      <a:pt x="2469" y="1937"/>
                    </a:lnTo>
                    <a:lnTo>
                      <a:pt x="2474" y="1924"/>
                    </a:lnTo>
                    <a:lnTo>
                      <a:pt x="2477" y="1915"/>
                    </a:lnTo>
                    <a:lnTo>
                      <a:pt x="2494" y="1906"/>
                    </a:lnTo>
                    <a:lnTo>
                      <a:pt x="2503" y="1895"/>
                    </a:lnTo>
                    <a:lnTo>
                      <a:pt x="2499" y="1888"/>
                    </a:lnTo>
                    <a:lnTo>
                      <a:pt x="2504" y="1878"/>
                    </a:lnTo>
                    <a:lnTo>
                      <a:pt x="2501" y="1843"/>
                    </a:lnTo>
                    <a:lnTo>
                      <a:pt x="2501" y="1832"/>
                    </a:lnTo>
                    <a:lnTo>
                      <a:pt x="2506" y="1815"/>
                    </a:lnTo>
                    <a:lnTo>
                      <a:pt x="2521" y="1792"/>
                    </a:lnTo>
                    <a:lnTo>
                      <a:pt x="2520" y="1762"/>
                    </a:lnTo>
                    <a:lnTo>
                      <a:pt x="2490" y="1735"/>
                    </a:lnTo>
                    <a:lnTo>
                      <a:pt x="2468" y="1701"/>
                    </a:lnTo>
                    <a:lnTo>
                      <a:pt x="2468" y="1684"/>
                    </a:lnTo>
                    <a:lnTo>
                      <a:pt x="2472" y="1670"/>
                    </a:lnTo>
                    <a:lnTo>
                      <a:pt x="2473" y="1657"/>
                    </a:lnTo>
                    <a:lnTo>
                      <a:pt x="2471" y="1643"/>
                    </a:lnTo>
                    <a:lnTo>
                      <a:pt x="2478" y="1630"/>
                    </a:lnTo>
                    <a:lnTo>
                      <a:pt x="2473" y="1606"/>
                    </a:lnTo>
                    <a:lnTo>
                      <a:pt x="2479" y="1592"/>
                    </a:lnTo>
                    <a:lnTo>
                      <a:pt x="2479" y="1571"/>
                    </a:lnTo>
                    <a:lnTo>
                      <a:pt x="2476" y="1565"/>
                    </a:lnTo>
                    <a:lnTo>
                      <a:pt x="2476" y="1558"/>
                    </a:lnTo>
                    <a:lnTo>
                      <a:pt x="2473" y="1555"/>
                    </a:lnTo>
                    <a:lnTo>
                      <a:pt x="2472" y="1545"/>
                    </a:lnTo>
                    <a:lnTo>
                      <a:pt x="2474" y="1530"/>
                    </a:lnTo>
                    <a:lnTo>
                      <a:pt x="2473" y="1524"/>
                    </a:lnTo>
                    <a:lnTo>
                      <a:pt x="2467" y="1518"/>
                    </a:lnTo>
                    <a:lnTo>
                      <a:pt x="2465" y="1504"/>
                    </a:lnTo>
                    <a:lnTo>
                      <a:pt x="2469" y="1492"/>
                    </a:lnTo>
                    <a:lnTo>
                      <a:pt x="2482" y="1482"/>
                    </a:lnTo>
                    <a:lnTo>
                      <a:pt x="2483" y="1475"/>
                    </a:lnTo>
                    <a:lnTo>
                      <a:pt x="2480" y="1442"/>
                    </a:lnTo>
                    <a:lnTo>
                      <a:pt x="2485" y="1427"/>
                    </a:lnTo>
                    <a:lnTo>
                      <a:pt x="2485" y="1406"/>
                    </a:lnTo>
                    <a:lnTo>
                      <a:pt x="2471" y="1373"/>
                    </a:lnTo>
                    <a:lnTo>
                      <a:pt x="2473" y="1350"/>
                    </a:lnTo>
                    <a:lnTo>
                      <a:pt x="2453" y="1334"/>
                    </a:lnTo>
                    <a:lnTo>
                      <a:pt x="2442" y="1321"/>
                    </a:lnTo>
                    <a:lnTo>
                      <a:pt x="2429" y="1297"/>
                    </a:lnTo>
                    <a:lnTo>
                      <a:pt x="2430" y="1283"/>
                    </a:lnTo>
                    <a:lnTo>
                      <a:pt x="2431" y="1281"/>
                    </a:lnTo>
                    <a:lnTo>
                      <a:pt x="2447" y="1271"/>
                    </a:lnTo>
                    <a:lnTo>
                      <a:pt x="2450" y="1260"/>
                    </a:lnTo>
                    <a:lnTo>
                      <a:pt x="2457" y="1250"/>
                    </a:lnTo>
                    <a:lnTo>
                      <a:pt x="2457" y="1243"/>
                    </a:lnTo>
                    <a:lnTo>
                      <a:pt x="2456" y="1233"/>
                    </a:lnTo>
                    <a:lnTo>
                      <a:pt x="2465" y="1217"/>
                    </a:lnTo>
                    <a:lnTo>
                      <a:pt x="2472" y="1187"/>
                    </a:lnTo>
                    <a:lnTo>
                      <a:pt x="2478" y="1173"/>
                    </a:lnTo>
                    <a:lnTo>
                      <a:pt x="2480" y="1147"/>
                    </a:lnTo>
                    <a:lnTo>
                      <a:pt x="2477" y="1132"/>
                    </a:lnTo>
                    <a:lnTo>
                      <a:pt x="2476" y="1114"/>
                    </a:lnTo>
                    <a:lnTo>
                      <a:pt x="2477" y="1092"/>
                    </a:lnTo>
                    <a:lnTo>
                      <a:pt x="2473" y="1084"/>
                    </a:lnTo>
                    <a:lnTo>
                      <a:pt x="2477" y="1079"/>
                    </a:lnTo>
                    <a:lnTo>
                      <a:pt x="2476" y="1078"/>
                    </a:lnTo>
                    <a:lnTo>
                      <a:pt x="2434" y="1058"/>
                    </a:lnTo>
                    <a:lnTo>
                      <a:pt x="2419" y="1046"/>
                    </a:lnTo>
                    <a:lnTo>
                      <a:pt x="2376" y="1052"/>
                    </a:lnTo>
                    <a:lnTo>
                      <a:pt x="2359" y="1050"/>
                    </a:lnTo>
                    <a:lnTo>
                      <a:pt x="2331" y="1051"/>
                    </a:lnTo>
                    <a:lnTo>
                      <a:pt x="2318" y="1045"/>
                    </a:lnTo>
                    <a:lnTo>
                      <a:pt x="2326" y="1038"/>
                    </a:lnTo>
                    <a:lnTo>
                      <a:pt x="2297" y="1040"/>
                    </a:lnTo>
                    <a:lnTo>
                      <a:pt x="2293" y="1050"/>
                    </a:lnTo>
                    <a:lnTo>
                      <a:pt x="2293" y="1056"/>
                    </a:lnTo>
                    <a:lnTo>
                      <a:pt x="2288" y="1071"/>
                    </a:lnTo>
                    <a:lnTo>
                      <a:pt x="2279" y="1084"/>
                    </a:lnTo>
                    <a:lnTo>
                      <a:pt x="2273" y="1103"/>
                    </a:lnTo>
                    <a:lnTo>
                      <a:pt x="2265" y="1143"/>
                    </a:lnTo>
                    <a:lnTo>
                      <a:pt x="2261" y="1164"/>
                    </a:lnTo>
                    <a:lnTo>
                      <a:pt x="2254" y="1176"/>
                    </a:lnTo>
                    <a:lnTo>
                      <a:pt x="2248" y="1228"/>
                    </a:lnTo>
                    <a:lnTo>
                      <a:pt x="2243" y="1246"/>
                    </a:lnTo>
                    <a:lnTo>
                      <a:pt x="2225" y="1282"/>
                    </a:lnTo>
                    <a:lnTo>
                      <a:pt x="2204" y="1305"/>
                    </a:lnTo>
                    <a:lnTo>
                      <a:pt x="2186" y="1323"/>
                    </a:lnTo>
                    <a:lnTo>
                      <a:pt x="2159" y="1336"/>
                    </a:lnTo>
                    <a:lnTo>
                      <a:pt x="2152" y="1369"/>
                    </a:lnTo>
                    <a:lnTo>
                      <a:pt x="2152" y="1374"/>
                    </a:lnTo>
                    <a:lnTo>
                      <a:pt x="2156" y="1375"/>
                    </a:lnTo>
                    <a:lnTo>
                      <a:pt x="2167" y="1358"/>
                    </a:lnTo>
                    <a:lnTo>
                      <a:pt x="2171" y="1361"/>
                    </a:lnTo>
                    <a:lnTo>
                      <a:pt x="2171" y="1375"/>
                    </a:lnTo>
                    <a:lnTo>
                      <a:pt x="2166" y="1385"/>
                    </a:lnTo>
                    <a:lnTo>
                      <a:pt x="2148" y="1397"/>
                    </a:lnTo>
                    <a:lnTo>
                      <a:pt x="2143" y="1415"/>
                    </a:lnTo>
                    <a:lnTo>
                      <a:pt x="2149" y="1428"/>
                    </a:lnTo>
                    <a:lnTo>
                      <a:pt x="2162" y="1422"/>
                    </a:lnTo>
                    <a:lnTo>
                      <a:pt x="2171" y="1415"/>
                    </a:lnTo>
                    <a:lnTo>
                      <a:pt x="2186" y="1416"/>
                    </a:lnTo>
                    <a:lnTo>
                      <a:pt x="2192" y="1432"/>
                    </a:lnTo>
                    <a:lnTo>
                      <a:pt x="2187" y="1445"/>
                    </a:lnTo>
                    <a:lnTo>
                      <a:pt x="2187" y="1487"/>
                    </a:lnTo>
                    <a:lnTo>
                      <a:pt x="2178" y="1499"/>
                    </a:lnTo>
                    <a:lnTo>
                      <a:pt x="2181" y="1522"/>
                    </a:lnTo>
                    <a:lnTo>
                      <a:pt x="2187" y="1534"/>
                    </a:lnTo>
                    <a:lnTo>
                      <a:pt x="2181" y="1550"/>
                    </a:lnTo>
                    <a:lnTo>
                      <a:pt x="2170" y="1550"/>
                    </a:lnTo>
                    <a:lnTo>
                      <a:pt x="2164" y="1540"/>
                    </a:lnTo>
                    <a:lnTo>
                      <a:pt x="2161" y="1563"/>
                    </a:lnTo>
                    <a:lnTo>
                      <a:pt x="2161" y="1606"/>
                    </a:lnTo>
                    <a:lnTo>
                      <a:pt x="2168" y="1621"/>
                    </a:lnTo>
                    <a:lnTo>
                      <a:pt x="2168" y="1606"/>
                    </a:lnTo>
                    <a:lnTo>
                      <a:pt x="2182" y="1601"/>
                    </a:lnTo>
                    <a:lnTo>
                      <a:pt x="2205" y="1616"/>
                    </a:lnTo>
                    <a:lnTo>
                      <a:pt x="2218" y="1628"/>
                    </a:lnTo>
                    <a:lnTo>
                      <a:pt x="2225" y="1625"/>
                    </a:lnTo>
                    <a:lnTo>
                      <a:pt x="2230" y="1625"/>
                    </a:lnTo>
                    <a:lnTo>
                      <a:pt x="2227" y="1647"/>
                    </a:lnTo>
                    <a:lnTo>
                      <a:pt x="2236" y="1671"/>
                    </a:lnTo>
                    <a:lnTo>
                      <a:pt x="2243" y="1686"/>
                    </a:lnTo>
                    <a:lnTo>
                      <a:pt x="2251" y="1706"/>
                    </a:lnTo>
                    <a:lnTo>
                      <a:pt x="2267" y="1717"/>
                    </a:lnTo>
                    <a:lnTo>
                      <a:pt x="2279" y="1713"/>
                    </a:lnTo>
                    <a:lnTo>
                      <a:pt x="2279" y="1719"/>
                    </a:lnTo>
                    <a:lnTo>
                      <a:pt x="2285" y="1727"/>
                    </a:lnTo>
                    <a:lnTo>
                      <a:pt x="2274" y="1743"/>
                    </a:lnTo>
                    <a:lnTo>
                      <a:pt x="2264" y="1776"/>
                    </a:lnTo>
                    <a:lnTo>
                      <a:pt x="2256" y="1799"/>
                    </a:lnTo>
                    <a:lnTo>
                      <a:pt x="2253" y="1811"/>
                    </a:lnTo>
                    <a:lnTo>
                      <a:pt x="2238" y="1822"/>
                    </a:lnTo>
                    <a:lnTo>
                      <a:pt x="2234" y="1814"/>
                    </a:lnTo>
                    <a:lnTo>
                      <a:pt x="2235" y="1800"/>
                    </a:lnTo>
                    <a:lnTo>
                      <a:pt x="2225" y="1787"/>
                    </a:lnTo>
                    <a:lnTo>
                      <a:pt x="2207" y="1776"/>
                    </a:lnTo>
                    <a:lnTo>
                      <a:pt x="2172" y="1733"/>
                    </a:lnTo>
                    <a:lnTo>
                      <a:pt x="2161" y="1724"/>
                    </a:lnTo>
                    <a:lnTo>
                      <a:pt x="2144" y="1721"/>
                    </a:lnTo>
                    <a:lnTo>
                      <a:pt x="2119" y="1701"/>
                    </a:lnTo>
                    <a:lnTo>
                      <a:pt x="2092" y="1691"/>
                    </a:lnTo>
                    <a:lnTo>
                      <a:pt x="2094" y="1682"/>
                    </a:lnTo>
                    <a:lnTo>
                      <a:pt x="2101" y="1682"/>
                    </a:lnTo>
                    <a:lnTo>
                      <a:pt x="2097" y="1679"/>
                    </a:lnTo>
                    <a:lnTo>
                      <a:pt x="2079" y="1675"/>
                    </a:lnTo>
                    <a:lnTo>
                      <a:pt x="2057" y="1658"/>
                    </a:lnTo>
                    <a:lnTo>
                      <a:pt x="2043" y="1652"/>
                    </a:lnTo>
                    <a:lnTo>
                      <a:pt x="2011" y="1622"/>
                    </a:lnTo>
                    <a:lnTo>
                      <a:pt x="1993" y="1617"/>
                    </a:lnTo>
                    <a:lnTo>
                      <a:pt x="1965" y="1603"/>
                    </a:lnTo>
                    <a:lnTo>
                      <a:pt x="1956" y="1603"/>
                    </a:lnTo>
                    <a:lnTo>
                      <a:pt x="1936" y="1589"/>
                    </a:lnTo>
                    <a:lnTo>
                      <a:pt x="1922" y="1590"/>
                    </a:lnTo>
                    <a:lnTo>
                      <a:pt x="1869" y="1587"/>
                    </a:lnTo>
                    <a:lnTo>
                      <a:pt x="1865" y="1581"/>
                    </a:lnTo>
                    <a:lnTo>
                      <a:pt x="1848" y="1573"/>
                    </a:lnTo>
                    <a:lnTo>
                      <a:pt x="1834" y="1573"/>
                    </a:lnTo>
                    <a:lnTo>
                      <a:pt x="1829" y="1577"/>
                    </a:lnTo>
                    <a:lnTo>
                      <a:pt x="1828" y="1587"/>
                    </a:lnTo>
                    <a:lnTo>
                      <a:pt x="1823" y="1595"/>
                    </a:lnTo>
                    <a:lnTo>
                      <a:pt x="1802" y="1609"/>
                    </a:lnTo>
                    <a:lnTo>
                      <a:pt x="1804" y="1617"/>
                    </a:lnTo>
                    <a:lnTo>
                      <a:pt x="1810" y="1635"/>
                    </a:lnTo>
                    <a:lnTo>
                      <a:pt x="1823" y="1655"/>
                    </a:lnTo>
                    <a:lnTo>
                      <a:pt x="1833" y="1690"/>
                    </a:lnTo>
                    <a:lnTo>
                      <a:pt x="1832" y="1682"/>
                    </a:lnTo>
                    <a:lnTo>
                      <a:pt x="1837" y="1684"/>
                    </a:lnTo>
                    <a:lnTo>
                      <a:pt x="1832" y="1718"/>
                    </a:lnTo>
                    <a:lnTo>
                      <a:pt x="1829" y="1724"/>
                    </a:lnTo>
                    <a:lnTo>
                      <a:pt x="1810" y="1746"/>
                    </a:lnTo>
                    <a:lnTo>
                      <a:pt x="1779" y="1750"/>
                    </a:lnTo>
                    <a:lnTo>
                      <a:pt x="1778" y="1765"/>
                    </a:lnTo>
                    <a:lnTo>
                      <a:pt x="1783" y="1773"/>
                    </a:lnTo>
                    <a:lnTo>
                      <a:pt x="1784" y="1783"/>
                    </a:lnTo>
                    <a:lnTo>
                      <a:pt x="1773" y="1799"/>
                    </a:lnTo>
                    <a:lnTo>
                      <a:pt x="1761" y="1805"/>
                    </a:lnTo>
                    <a:lnTo>
                      <a:pt x="1747" y="1798"/>
                    </a:lnTo>
                    <a:lnTo>
                      <a:pt x="1736" y="1787"/>
                    </a:lnTo>
                    <a:lnTo>
                      <a:pt x="1736" y="1770"/>
                    </a:lnTo>
                    <a:lnTo>
                      <a:pt x="1741" y="1759"/>
                    </a:lnTo>
                    <a:lnTo>
                      <a:pt x="1747" y="1750"/>
                    </a:lnTo>
                    <a:lnTo>
                      <a:pt x="1754" y="1745"/>
                    </a:lnTo>
                    <a:lnTo>
                      <a:pt x="1732" y="1713"/>
                    </a:lnTo>
                    <a:lnTo>
                      <a:pt x="1735" y="1705"/>
                    </a:lnTo>
                    <a:lnTo>
                      <a:pt x="1724" y="1703"/>
                    </a:lnTo>
                    <a:lnTo>
                      <a:pt x="1684" y="1721"/>
                    </a:lnTo>
                    <a:lnTo>
                      <a:pt x="1675" y="1737"/>
                    </a:lnTo>
                    <a:lnTo>
                      <a:pt x="1660" y="1743"/>
                    </a:lnTo>
                    <a:lnTo>
                      <a:pt x="1640" y="1773"/>
                    </a:lnTo>
                    <a:lnTo>
                      <a:pt x="1628" y="1775"/>
                    </a:lnTo>
                    <a:lnTo>
                      <a:pt x="1622" y="1766"/>
                    </a:lnTo>
                    <a:lnTo>
                      <a:pt x="1606" y="1762"/>
                    </a:lnTo>
                    <a:lnTo>
                      <a:pt x="1587" y="1767"/>
                    </a:lnTo>
                    <a:lnTo>
                      <a:pt x="1570" y="1757"/>
                    </a:lnTo>
                    <a:lnTo>
                      <a:pt x="1547" y="1772"/>
                    </a:lnTo>
                    <a:lnTo>
                      <a:pt x="1536" y="1771"/>
                    </a:lnTo>
                    <a:lnTo>
                      <a:pt x="1512" y="1792"/>
                    </a:lnTo>
                    <a:lnTo>
                      <a:pt x="1508" y="1802"/>
                    </a:lnTo>
                    <a:lnTo>
                      <a:pt x="1506" y="1822"/>
                    </a:lnTo>
                    <a:lnTo>
                      <a:pt x="1504" y="1831"/>
                    </a:lnTo>
                    <a:lnTo>
                      <a:pt x="1495" y="1831"/>
                    </a:lnTo>
                    <a:lnTo>
                      <a:pt x="1487" y="1824"/>
                    </a:lnTo>
                    <a:lnTo>
                      <a:pt x="1478" y="1813"/>
                    </a:lnTo>
                    <a:lnTo>
                      <a:pt x="1474" y="1816"/>
                    </a:lnTo>
                    <a:lnTo>
                      <a:pt x="1467" y="1821"/>
                    </a:lnTo>
                    <a:lnTo>
                      <a:pt x="1456" y="1807"/>
                    </a:lnTo>
                    <a:lnTo>
                      <a:pt x="1456" y="1779"/>
                    </a:lnTo>
                    <a:lnTo>
                      <a:pt x="1450" y="1773"/>
                    </a:lnTo>
                    <a:lnTo>
                      <a:pt x="1450" y="1766"/>
                    </a:lnTo>
                    <a:lnTo>
                      <a:pt x="1457" y="1751"/>
                    </a:lnTo>
                    <a:lnTo>
                      <a:pt x="1458" y="1737"/>
                    </a:lnTo>
                    <a:lnTo>
                      <a:pt x="1452" y="1724"/>
                    </a:lnTo>
                    <a:lnTo>
                      <a:pt x="1447" y="1722"/>
                    </a:lnTo>
                    <a:lnTo>
                      <a:pt x="1446" y="1730"/>
                    </a:lnTo>
                    <a:lnTo>
                      <a:pt x="1442" y="1730"/>
                    </a:lnTo>
                    <a:lnTo>
                      <a:pt x="1444" y="1721"/>
                    </a:lnTo>
                    <a:lnTo>
                      <a:pt x="1451" y="1716"/>
                    </a:lnTo>
                    <a:lnTo>
                      <a:pt x="1477" y="1713"/>
                    </a:lnTo>
                    <a:lnTo>
                      <a:pt x="1488" y="1707"/>
                    </a:lnTo>
                    <a:lnTo>
                      <a:pt x="1490" y="1705"/>
                    </a:lnTo>
                    <a:lnTo>
                      <a:pt x="1484" y="1707"/>
                    </a:lnTo>
                    <a:lnTo>
                      <a:pt x="1467" y="1712"/>
                    </a:lnTo>
                    <a:lnTo>
                      <a:pt x="1460" y="1711"/>
                    </a:lnTo>
                    <a:lnTo>
                      <a:pt x="1445" y="1712"/>
                    </a:lnTo>
                    <a:lnTo>
                      <a:pt x="1423" y="1723"/>
                    </a:lnTo>
                    <a:lnTo>
                      <a:pt x="1424" y="1730"/>
                    </a:lnTo>
                    <a:lnTo>
                      <a:pt x="1415" y="1734"/>
                    </a:lnTo>
                    <a:lnTo>
                      <a:pt x="1413" y="1738"/>
                    </a:lnTo>
                    <a:lnTo>
                      <a:pt x="1417" y="1751"/>
                    </a:lnTo>
                    <a:lnTo>
                      <a:pt x="1417" y="1759"/>
                    </a:lnTo>
                    <a:lnTo>
                      <a:pt x="1406" y="1765"/>
                    </a:lnTo>
                    <a:lnTo>
                      <a:pt x="1397" y="1760"/>
                    </a:lnTo>
                    <a:lnTo>
                      <a:pt x="1393" y="1751"/>
                    </a:lnTo>
                    <a:lnTo>
                      <a:pt x="1398" y="1743"/>
                    </a:lnTo>
                    <a:lnTo>
                      <a:pt x="1391" y="1743"/>
                    </a:lnTo>
                    <a:lnTo>
                      <a:pt x="1369" y="1767"/>
                    </a:lnTo>
                    <a:lnTo>
                      <a:pt x="1377" y="1766"/>
                    </a:lnTo>
                    <a:lnTo>
                      <a:pt x="1381" y="1775"/>
                    </a:lnTo>
                    <a:lnTo>
                      <a:pt x="1381" y="1783"/>
                    </a:lnTo>
                    <a:lnTo>
                      <a:pt x="1380" y="1793"/>
                    </a:lnTo>
                    <a:lnTo>
                      <a:pt x="1371" y="1800"/>
                    </a:lnTo>
                    <a:lnTo>
                      <a:pt x="1366" y="1803"/>
                    </a:lnTo>
                    <a:lnTo>
                      <a:pt x="1361" y="1789"/>
                    </a:lnTo>
                    <a:lnTo>
                      <a:pt x="1354" y="1777"/>
                    </a:lnTo>
                    <a:lnTo>
                      <a:pt x="1326" y="1786"/>
                    </a:lnTo>
                    <a:lnTo>
                      <a:pt x="1328" y="1789"/>
                    </a:lnTo>
                    <a:lnTo>
                      <a:pt x="1291" y="1807"/>
                    </a:lnTo>
                    <a:lnTo>
                      <a:pt x="1288" y="1804"/>
                    </a:lnTo>
                    <a:lnTo>
                      <a:pt x="1282" y="1807"/>
                    </a:lnTo>
                    <a:lnTo>
                      <a:pt x="1254" y="1832"/>
                    </a:lnTo>
                    <a:lnTo>
                      <a:pt x="1181" y="1880"/>
                    </a:lnTo>
                    <a:lnTo>
                      <a:pt x="1172" y="1880"/>
                    </a:lnTo>
                    <a:lnTo>
                      <a:pt x="1171" y="1895"/>
                    </a:lnTo>
                    <a:lnTo>
                      <a:pt x="1175" y="1897"/>
                    </a:lnTo>
                    <a:lnTo>
                      <a:pt x="1166" y="1905"/>
                    </a:lnTo>
                    <a:lnTo>
                      <a:pt x="1144" y="1908"/>
                    </a:lnTo>
                    <a:lnTo>
                      <a:pt x="1135" y="1916"/>
                    </a:lnTo>
                    <a:lnTo>
                      <a:pt x="1129" y="1913"/>
                    </a:lnTo>
                    <a:lnTo>
                      <a:pt x="1123" y="1927"/>
                    </a:lnTo>
                    <a:lnTo>
                      <a:pt x="1114" y="1958"/>
                    </a:lnTo>
                    <a:lnTo>
                      <a:pt x="1111" y="1970"/>
                    </a:lnTo>
                    <a:lnTo>
                      <a:pt x="1113" y="1996"/>
                    </a:lnTo>
                    <a:lnTo>
                      <a:pt x="1106" y="2008"/>
                    </a:lnTo>
                    <a:lnTo>
                      <a:pt x="1090" y="2017"/>
                    </a:lnTo>
                    <a:lnTo>
                      <a:pt x="1079" y="2015"/>
                    </a:lnTo>
                    <a:lnTo>
                      <a:pt x="1058" y="2024"/>
                    </a:lnTo>
                    <a:lnTo>
                      <a:pt x="1053" y="2044"/>
                    </a:lnTo>
                    <a:lnTo>
                      <a:pt x="1048" y="2030"/>
                    </a:lnTo>
                    <a:lnTo>
                      <a:pt x="1047" y="2015"/>
                    </a:lnTo>
                    <a:lnTo>
                      <a:pt x="1033" y="2023"/>
                    </a:lnTo>
                    <a:lnTo>
                      <a:pt x="1024" y="2023"/>
                    </a:lnTo>
                    <a:lnTo>
                      <a:pt x="1015" y="2017"/>
                    </a:lnTo>
                    <a:lnTo>
                      <a:pt x="1004" y="1997"/>
                    </a:lnTo>
                    <a:lnTo>
                      <a:pt x="1000" y="1985"/>
                    </a:lnTo>
                    <a:lnTo>
                      <a:pt x="978" y="1960"/>
                    </a:lnTo>
                    <a:lnTo>
                      <a:pt x="968" y="1950"/>
                    </a:lnTo>
                    <a:lnTo>
                      <a:pt x="963" y="1935"/>
                    </a:lnTo>
                    <a:lnTo>
                      <a:pt x="962" y="1921"/>
                    </a:lnTo>
                    <a:lnTo>
                      <a:pt x="973" y="1920"/>
                    </a:lnTo>
                    <a:lnTo>
                      <a:pt x="981" y="1910"/>
                    </a:lnTo>
                    <a:lnTo>
                      <a:pt x="984" y="1896"/>
                    </a:lnTo>
                    <a:lnTo>
                      <a:pt x="999" y="1891"/>
                    </a:lnTo>
                    <a:lnTo>
                      <a:pt x="1054" y="1880"/>
                    </a:lnTo>
                    <a:lnTo>
                      <a:pt x="1046" y="1863"/>
                    </a:lnTo>
                    <a:lnTo>
                      <a:pt x="1044" y="1845"/>
                    </a:lnTo>
                    <a:lnTo>
                      <a:pt x="1041" y="1826"/>
                    </a:lnTo>
                    <a:lnTo>
                      <a:pt x="1031" y="1832"/>
                    </a:lnTo>
                    <a:lnTo>
                      <a:pt x="1021" y="1814"/>
                    </a:lnTo>
                    <a:lnTo>
                      <a:pt x="1015" y="1809"/>
                    </a:lnTo>
                    <a:lnTo>
                      <a:pt x="1015" y="1792"/>
                    </a:lnTo>
                    <a:lnTo>
                      <a:pt x="1004" y="1783"/>
                    </a:lnTo>
                    <a:lnTo>
                      <a:pt x="978" y="1776"/>
                    </a:lnTo>
                    <a:lnTo>
                      <a:pt x="955" y="1776"/>
                    </a:lnTo>
                    <a:lnTo>
                      <a:pt x="930" y="1773"/>
                    </a:lnTo>
                    <a:lnTo>
                      <a:pt x="919" y="1777"/>
                    </a:lnTo>
                    <a:lnTo>
                      <a:pt x="909" y="1775"/>
                    </a:lnTo>
                    <a:lnTo>
                      <a:pt x="868" y="1754"/>
                    </a:lnTo>
                    <a:lnTo>
                      <a:pt x="870" y="1764"/>
                    </a:lnTo>
                    <a:lnTo>
                      <a:pt x="917" y="1805"/>
                    </a:lnTo>
                    <a:lnTo>
                      <a:pt x="917" y="1838"/>
                    </a:lnTo>
                    <a:lnTo>
                      <a:pt x="919" y="1853"/>
                    </a:lnTo>
                    <a:lnTo>
                      <a:pt x="914" y="1873"/>
                    </a:lnTo>
                    <a:lnTo>
                      <a:pt x="915" y="1890"/>
                    </a:lnTo>
                    <a:lnTo>
                      <a:pt x="901" y="1939"/>
                    </a:lnTo>
                    <a:lnTo>
                      <a:pt x="901" y="1953"/>
                    </a:lnTo>
                    <a:lnTo>
                      <a:pt x="902" y="1970"/>
                    </a:lnTo>
                    <a:lnTo>
                      <a:pt x="907" y="1975"/>
                    </a:lnTo>
                    <a:lnTo>
                      <a:pt x="919" y="1975"/>
                    </a:lnTo>
                    <a:lnTo>
                      <a:pt x="929" y="1982"/>
                    </a:lnTo>
                    <a:lnTo>
                      <a:pt x="938" y="2002"/>
                    </a:lnTo>
                    <a:lnTo>
                      <a:pt x="938" y="2013"/>
                    </a:lnTo>
                    <a:lnTo>
                      <a:pt x="933" y="2026"/>
                    </a:lnTo>
                    <a:lnTo>
                      <a:pt x="936" y="2037"/>
                    </a:lnTo>
                    <a:lnTo>
                      <a:pt x="933" y="2056"/>
                    </a:lnTo>
                    <a:lnTo>
                      <a:pt x="922" y="2072"/>
                    </a:lnTo>
                    <a:lnTo>
                      <a:pt x="915" y="2096"/>
                    </a:lnTo>
                    <a:lnTo>
                      <a:pt x="922" y="2114"/>
                    </a:lnTo>
                    <a:lnTo>
                      <a:pt x="918" y="2149"/>
                    </a:lnTo>
                    <a:lnTo>
                      <a:pt x="908" y="2134"/>
                    </a:lnTo>
                    <a:lnTo>
                      <a:pt x="906" y="2123"/>
                    </a:lnTo>
                    <a:lnTo>
                      <a:pt x="898" y="2114"/>
                    </a:lnTo>
                    <a:lnTo>
                      <a:pt x="890" y="2115"/>
                    </a:lnTo>
                    <a:lnTo>
                      <a:pt x="877" y="2126"/>
                    </a:lnTo>
                    <a:lnTo>
                      <a:pt x="885" y="2111"/>
                    </a:lnTo>
                    <a:lnTo>
                      <a:pt x="886" y="2099"/>
                    </a:lnTo>
                    <a:lnTo>
                      <a:pt x="869" y="2085"/>
                    </a:lnTo>
                    <a:lnTo>
                      <a:pt x="860" y="2080"/>
                    </a:lnTo>
                    <a:lnTo>
                      <a:pt x="837" y="2080"/>
                    </a:lnTo>
                    <a:lnTo>
                      <a:pt x="816" y="2062"/>
                    </a:lnTo>
                    <a:lnTo>
                      <a:pt x="807" y="2072"/>
                    </a:lnTo>
                    <a:lnTo>
                      <a:pt x="804" y="2083"/>
                    </a:lnTo>
                    <a:lnTo>
                      <a:pt x="788" y="2099"/>
                    </a:lnTo>
                    <a:lnTo>
                      <a:pt x="779" y="2114"/>
                    </a:lnTo>
                    <a:lnTo>
                      <a:pt x="768" y="2126"/>
                    </a:lnTo>
                    <a:lnTo>
                      <a:pt x="743" y="2136"/>
                    </a:lnTo>
                    <a:lnTo>
                      <a:pt x="735" y="2136"/>
                    </a:lnTo>
                    <a:lnTo>
                      <a:pt x="723" y="2144"/>
                    </a:lnTo>
                    <a:lnTo>
                      <a:pt x="716" y="2159"/>
                    </a:lnTo>
                    <a:lnTo>
                      <a:pt x="704" y="2170"/>
                    </a:lnTo>
                    <a:lnTo>
                      <a:pt x="693" y="2180"/>
                    </a:lnTo>
                    <a:lnTo>
                      <a:pt x="681" y="2184"/>
                    </a:lnTo>
                    <a:lnTo>
                      <a:pt x="681" y="2197"/>
                    </a:lnTo>
                    <a:lnTo>
                      <a:pt x="683" y="2223"/>
                    </a:lnTo>
                    <a:lnTo>
                      <a:pt x="696" y="2246"/>
                    </a:lnTo>
                    <a:lnTo>
                      <a:pt x="707" y="2261"/>
                    </a:lnTo>
                    <a:lnTo>
                      <a:pt x="714" y="2276"/>
                    </a:lnTo>
                    <a:lnTo>
                      <a:pt x="727" y="2308"/>
                    </a:lnTo>
                    <a:lnTo>
                      <a:pt x="730" y="2316"/>
                    </a:lnTo>
                    <a:lnTo>
                      <a:pt x="739" y="2330"/>
                    </a:lnTo>
                    <a:lnTo>
                      <a:pt x="739" y="2336"/>
                    </a:lnTo>
                    <a:lnTo>
                      <a:pt x="720" y="2324"/>
                    </a:lnTo>
                    <a:lnTo>
                      <a:pt x="714" y="2326"/>
                    </a:lnTo>
                    <a:lnTo>
                      <a:pt x="686" y="2315"/>
                    </a:lnTo>
                    <a:lnTo>
                      <a:pt x="687" y="2321"/>
                    </a:lnTo>
                    <a:lnTo>
                      <a:pt x="684" y="2325"/>
                    </a:lnTo>
                    <a:lnTo>
                      <a:pt x="671" y="2322"/>
                    </a:lnTo>
                    <a:lnTo>
                      <a:pt x="653" y="2314"/>
                    </a:lnTo>
                    <a:lnTo>
                      <a:pt x="634" y="2300"/>
                    </a:lnTo>
                    <a:lnTo>
                      <a:pt x="619" y="2298"/>
                    </a:lnTo>
                    <a:lnTo>
                      <a:pt x="610" y="2290"/>
                    </a:lnTo>
                    <a:lnTo>
                      <a:pt x="595" y="2304"/>
                    </a:lnTo>
                    <a:lnTo>
                      <a:pt x="587" y="2317"/>
                    </a:lnTo>
                    <a:lnTo>
                      <a:pt x="584" y="2297"/>
                    </a:lnTo>
                    <a:lnTo>
                      <a:pt x="599" y="2288"/>
                    </a:lnTo>
                    <a:lnTo>
                      <a:pt x="586" y="2283"/>
                    </a:lnTo>
                    <a:lnTo>
                      <a:pt x="570" y="2279"/>
                    </a:lnTo>
                    <a:lnTo>
                      <a:pt x="567" y="2266"/>
                    </a:lnTo>
                    <a:lnTo>
                      <a:pt x="549" y="2255"/>
                    </a:lnTo>
                    <a:lnTo>
                      <a:pt x="531" y="2246"/>
                    </a:lnTo>
                    <a:lnTo>
                      <a:pt x="520" y="2244"/>
                    </a:lnTo>
                    <a:lnTo>
                      <a:pt x="517" y="2265"/>
                    </a:lnTo>
                    <a:lnTo>
                      <a:pt x="509" y="2276"/>
                    </a:lnTo>
                    <a:lnTo>
                      <a:pt x="499" y="2279"/>
                    </a:lnTo>
                    <a:lnTo>
                      <a:pt x="501" y="2289"/>
                    </a:lnTo>
                    <a:lnTo>
                      <a:pt x="508" y="2304"/>
                    </a:lnTo>
                    <a:lnTo>
                      <a:pt x="516" y="2309"/>
                    </a:lnTo>
                    <a:lnTo>
                      <a:pt x="527" y="2332"/>
                    </a:lnTo>
                    <a:lnTo>
                      <a:pt x="543" y="2349"/>
                    </a:lnTo>
                    <a:lnTo>
                      <a:pt x="574" y="2336"/>
                    </a:lnTo>
                    <a:lnTo>
                      <a:pt x="580" y="2352"/>
                    </a:lnTo>
                    <a:lnTo>
                      <a:pt x="587" y="2399"/>
                    </a:lnTo>
                    <a:lnTo>
                      <a:pt x="592" y="2407"/>
                    </a:lnTo>
                    <a:lnTo>
                      <a:pt x="575" y="2400"/>
                    </a:lnTo>
                    <a:lnTo>
                      <a:pt x="560" y="2410"/>
                    </a:lnTo>
                    <a:lnTo>
                      <a:pt x="557" y="2417"/>
                    </a:lnTo>
                    <a:lnTo>
                      <a:pt x="557" y="2421"/>
                    </a:lnTo>
                    <a:lnTo>
                      <a:pt x="543" y="2413"/>
                    </a:lnTo>
                    <a:lnTo>
                      <a:pt x="533" y="2411"/>
                    </a:lnTo>
                    <a:lnTo>
                      <a:pt x="501" y="2395"/>
                    </a:lnTo>
                    <a:lnTo>
                      <a:pt x="484" y="2390"/>
                    </a:lnTo>
                    <a:lnTo>
                      <a:pt x="482" y="2383"/>
                    </a:lnTo>
                    <a:lnTo>
                      <a:pt x="474" y="2372"/>
                    </a:lnTo>
                    <a:lnTo>
                      <a:pt x="466" y="2364"/>
                    </a:lnTo>
                    <a:lnTo>
                      <a:pt x="460" y="2354"/>
                    </a:lnTo>
                    <a:lnTo>
                      <a:pt x="450" y="2348"/>
                    </a:lnTo>
                    <a:lnTo>
                      <a:pt x="444" y="2354"/>
                    </a:lnTo>
                    <a:lnTo>
                      <a:pt x="433" y="2356"/>
                    </a:lnTo>
                    <a:lnTo>
                      <a:pt x="415" y="2342"/>
                    </a:lnTo>
                    <a:lnTo>
                      <a:pt x="409" y="2330"/>
                    </a:lnTo>
                    <a:lnTo>
                      <a:pt x="396" y="2337"/>
                    </a:lnTo>
                    <a:lnTo>
                      <a:pt x="398" y="2329"/>
                    </a:lnTo>
                    <a:lnTo>
                      <a:pt x="408" y="2319"/>
                    </a:lnTo>
                    <a:lnTo>
                      <a:pt x="406" y="2299"/>
                    </a:lnTo>
                    <a:lnTo>
                      <a:pt x="408" y="2282"/>
                    </a:lnTo>
                    <a:lnTo>
                      <a:pt x="397" y="2272"/>
                    </a:lnTo>
                    <a:lnTo>
                      <a:pt x="398" y="2257"/>
                    </a:lnTo>
                    <a:lnTo>
                      <a:pt x="380" y="2222"/>
                    </a:lnTo>
                    <a:lnTo>
                      <a:pt x="385" y="2213"/>
                    </a:lnTo>
                    <a:lnTo>
                      <a:pt x="398" y="2209"/>
                    </a:lnTo>
                    <a:lnTo>
                      <a:pt x="402" y="2187"/>
                    </a:lnTo>
                    <a:lnTo>
                      <a:pt x="404" y="2161"/>
                    </a:lnTo>
                    <a:lnTo>
                      <a:pt x="402" y="2150"/>
                    </a:lnTo>
                    <a:lnTo>
                      <a:pt x="395" y="2142"/>
                    </a:lnTo>
                    <a:lnTo>
                      <a:pt x="388" y="2122"/>
                    </a:lnTo>
                    <a:lnTo>
                      <a:pt x="384" y="2116"/>
                    </a:lnTo>
                    <a:lnTo>
                      <a:pt x="368" y="2114"/>
                    </a:lnTo>
                    <a:lnTo>
                      <a:pt x="363" y="2101"/>
                    </a:lnTo>
                    <a:lnTo>
                      <a:pt x="353" y="2100"/>
                    </a:lnTo>
                    <a:lnTo>
                      <a:pt x="336" y="2094"/>
                    </a:lnTo>
                    <a:lnTo>
                      <a:pt x="336" y="2087"/>
                    </a:lnTo>
                    <a:lnTo>
                      <a:pt x="338" y="2078"/>
                    </a:lnTo>
                    <a:lnTo>
                      <a:pt x="336" y="2073"/>
                    </a:lnTo>
                    <a:lnTo>
                      <a:pt x="318" y="2071"/>
                    </a:lnTo>
                    <a:lnTo>
                      <a:pt x="285" y="2041"/>
                    </a:lnTo>
                    <a:lnTo>
                      <a:pt x="291" y="2035"/>
                    </a:lnTo>
                    <a:lnTo>
                      <a:pt x="275" y="2020"/>
                    </a:lnTo>
                    <a:lnTo>
                      <a:pt x="272" y="2004"/>
                    </a:lnTo>
                    <a:lnTo>
                      <a:pt x="264" y="1992"/>
                    </a:lnTo>
                    <a:lnTo>
                      <a:pt x="248" y="1987"/>
                    </a:lnTo>
                    <a:lnTo>
                      <a:pt x="256" y="1980"/>
                    </a:lnTo>
                    <a:lnTo>
                      <a:pt x="275" y="1976"/>
                    </a:lnTo>
                    <a:lnTo>
                      <a:pt x="295" y="1987"/>
                    </a:lnTo>
                    <a:lnTo>
                      <a:pt x="296" y="1999"/>
                    </a:lnTo>
                    <a:lnTo>
                      <a:pt x="306" y="2013"/>
                    </a:lnTo>
                    <a:lnTo>
                      <a:pt x="334" y="2033"/>
                    </a:lnTo>
                    <a:lnTo>
                      <a:pt x="338" y="2030"/>
                    </a:lnTo>
                    <a:lnTo>
                      <a:pt x="342" y="2020"/>
                    </a:lnTo>
                    <a:lnTo>
                      <a:pt x="350" y="2035"/>
                    </a:lnTo>
                    <a:lnTo>
                      <a:pt x="359" y="2042"/>
                    </a:lnTo>
                    <a:lnTo>
                      <a:pt x="365" y="2036"/>
                    </a:lnTo>
                    <a:lnTo>
                      <a:pt x="370" y="2039"/>
                    </a:lnTo>
                    <a:lnTo>
                      <a:pt x="375" y="2033"/>
                    </a:lnTo>
                    <a:lnTo>
                      <a:pt x="381" y="2034"/>
                    </a:lnTo>
                    <a:lnTo>
                      <a:pt x="384" y="2047"/>
                    </a:lnTo>
                    <a:lnTo>
                      <a:pt x="387" y="2060"/>
                    </a:lnTo>
                    <a:lnTo>
                      <a:pt x="402" y="2053"/>
                    </a:lnTo>
                    <a:lnTo>
                      <a:pt x="420" y="2058"/>
                    </a:lnTo>
                    <a:lnTo>
                      <a:pt x="427" y="2068"/>
                    </a:lnTo>
                    <a:lnTo>
                      <a:pt x="439" y="2068"/>
                    </a:lnTo>
                    <a:lnTo>
                      <a:pt x="447" y="2078"/>
                    </a:lnTo>
                    <a:lnTo>
                      <a:pt x="479" y="2087"/>
                    </a:lnTo>
                    <a:lnTo>
                      <a:pt x="494" y="2094"/>
                    </a:lnTo>
                    <a:lnTo>
                      <a:pt x="522" y="2096"/>
                    </a:lnTo>
                    <a:lnTo>
                      <a:pt x="548" y="2106"/>
                    </a:lnTo>
                    <a:lnTo>
                      <a:pt x="557" y="2116"/>
                    </a:lnTo>
                    <a:lnTo>
                      <a:pt x="576" y="2120"/>
                    </a:lnTo>
                    <a:lnTo>
                      <a:pt x="624" y="2123"/>
                    </a:lnTo>
                    <a:lnTo>
                      <a:pt x="637" y="2117"/>
                    </a:lnTo>
                    <a:lnTo>
                      <a:pt x="649" y="2115"/>
                    </a:lnTo>
                    <a:lnTo>
                      <a:pt x="693" y="2095"/>
                    </a:lnTo>
                    <a:lnTo>
                      <a:pt x="703" y="2085"/>
                    </a:lnTo>
                    <a:lnTo>
                      <a:pt x="712" y="2079"/>
                    </a:lnTo>
                    <a:lnTo>
                      <a:pt x="731" y="2057"/>
                    </a:lnTo>
                    <a:lnTo>
                      <a:pt x="752" y="2023"/>
                    </a:lnTo>
                    <a:lnTo>
                      <a:pt x="761" y="1998"/>
                    </a:lnTo>
                    <a:lnTo>
                      <a:pt x="764" y="1975"/>
                    </a:lnTo>
                    <a:lnTo>
                      <a:pt x="755" y="1970"/>
                    </a:lnTo>
                    <a:lnTo>
                      <a:pt x="752" y="1966"/>
                    </a:lnTo>
                    <a:lnTo>
                      <a:pt x="751" y="1944"/>
                    </a:lnTo>
                    <a:lnTo>
                      <a:pt x="746" y="1929"/>
                    </a:lnTo>
                    <a:lnTo>
                      <a:pt x="746" y="1907"/>
                    </a:lnTo>
                    <a:lnTo>
                      <a:pt x="735" y="1892"/>
                    </a:lnTo>
                    <a:lnTo>
                      <a:pt x="724" y="1886"/>
                    </a:lnTo>
                    <a:lnTo>
                      <a:pt x="718" y="1890"/>
                    </a:lnTo>
                    <a:lnTo>
                      <a:pt x="709" y="1883"/>
                    </a:lnTo>
                    <a:lnTo>
                      <a:pt x="710" y="1873"/>
                    </a:lnTo>
                    <a:lnTo>
                      <a:pt x="704" y="1869"/>
                    </a:lnTo>
                    <a:lnTo>
                      <a:pt x="693" y="1854"/>
                    </a:lnTo>
                    <a:lnTo>
                      <a:pt x="689" y="1845"/>
                    </a:lnTo>
                    <a:lnTo>
                      <a:pt x="683" y="1841"/>
                    </a:lnTo>
                    <a:lnTo>
                      <a:pt x="676" y="1835"/>
                    </a:lnTo>
                    <a:lnTo>
                      <a:pt x="681" y="1848"/>
                    </a:lnTo>
                    <a:lnTo>
                      <a:pt x="672" y="1851"/>
                    </a:lnTo>
                    <a:lnTo>
                      <a:pt x="650" y="1835"/>
                    </a:lnTo>
                    <a:lnTo>
                      <a:pt x="642" y="1825"/>
                    </a:lnTo>
                    <a:lnTo>
                      <a:pt x="639" y="1834"/>
                    </a:lnTo>
                    <a:lnTo>
                      <a:pt x="635" y="1827"/>
                    </a:lnTo>
                    <a:lnTo>
                      <a:pt x="632" y="1815"/>
                    </a:lnTo>
                    <a:lnTo>
                      <a:pt x="619" y="1800"/>
                    </a:lnTo>
                    <a:lnTo>
                      <a:pt x="627" y="1818"/>
                    </a:lnTo>
                    <a:lnTo>
                      <a:pt x="606" y="1811"/>
                    </a:lnTo>
                    <a:lnTo>
                      <a:pt x="599" y="1800"/>
                    </a:lnTo>
                    <a:lnTo>
                      <a:pt x="596" y="1793"/>
                    </a:lnTo>
                    <a:lnTo>
                      <a:pt x="589" y="1783"/>
                    </a:lnTo>
                    <a:lnTo>
                      <a:pt x="558" y="1751"/>
                    </a:lnTo>
                    <a:lnTo>
                      <a:pt x="542" y="1739"/>
                    </a:lnTo>
                    <a:lnTo>
                      <a:pt x="535" y="1730"/>
                    </a:lnTo>
                    <a:lnTo>
                      <a:pt x="509" y="1712"/>
                    </a:lnTo>
                    <a:lnTo>
                      <a:pt x="500" y="1701"/>
                    </a:lnTo>
                    <a:lnTo>
                      <a:pt x="466" y="1682"/>
                    </a:lnTo>
                    <a:lnTo>
                      <a:pt x="461" y="1678"/>
                    </a:lnTo>
                    <a:lnTo>
                      <a:pt x="427" y="1669"/>
                    </a:lnTo>
                    <a:lnTo>
                      <a:pt x="429" y="1675"/>
                    </a:lnTo>
                    <a:lnTo>
                      <a:pt x="427" y="1679"/>
                    </a:lnTo>
                    <a:lnTo>
                      <a:pt x="420" y="1679"/>
                    </a:lnTo>
                    <a:lnTo>
                      <a:pt x="403" y="1670"/>
                    </a:lnTo>
                    <a:lnTo>
                      <a:pt x="369" y="1662"/>
                    </a:lnTo>
                    <a:lnTo>
                      <a:pt x="354" y="1655"/>
                    </a:lnTo>
                    <a:lnTo>
                      <a:pt x="350" y="1662"/>
                    </a:lnTo>
                    <a:lnTo>
                      <a:pt x="333" y="1664"/>
                    </a:lnTo>
                    <a:lnTo>
                      <a:pt x="326" y="1670"/>
                    </a:lnTo>
                    <a:lnTo>
                      <a:pt x="322" y="1660"/>
                    </a:lnTo>
                    <a:lnTo>
                      <a:pt x="317" y="1657"/>
                    </a:lnTo>
                    <a:lnTo>
                      <a:pt x="320" y="1644"/>
                    </a:lnTo>
                    <a:lnTo>
                      <a:pt x="317" y="1641"/>
                    </a:lnTo>
                    <a:lnTo>
                      <a:pt x="299" y="1657"/>
                    </a:lnTo>
                    <a:lnTo>
                      <a:pt x="302" y="1637"/>
                    </a:lnTo>
                    <a:lnTo>
                      <a:pt x="293" y="1644"/>
                    </a:lnTo>
                    <a:lnTo>
                      <a:pt x="294" y="1633"/>
                    </a:lnTo>
                    <a:lnTo>
                      <a:pt x="291" y="1632"/>
                    </a:lnTo>
                    <a:lnTo>
                      <a:pt x="283" y="1632"/>
                    </a:lnTo>
                    <a:lnTo>
                      <a:pt x="268" y="1638"/>
                    </a:lnTo>
                    <a:lnTo>
                      <a:pt x="271" y="1631"/>
                    </a:lnTo>
                    <a:lnTo>
                      <a:pt x="269" y="1625"/>
                    </a:lnTo>
                    <a:lnTo>
                      <a:pt x="267" y="1617"/>
                    </a:lnTo>
                    <a:lnTo>
                      <a:pt x="251" y="1619"/>
                    </a:lnTo>
                    <a:lnTo>
                      <a:pt x="257" y="1589"/>
                    </a:lnTo>
                    <a:lnTo>
                      <a:pt x="261" y="1603"/>
                    </a:lnTo>
                    <a:lnTo>
                      <a:pt x="267" y="1606"/>
                    </a:lnTo>
                    <a:lnTo>
                      <a:pt x="273" y="1606"/>
                    </a:lnTo>
                    <a:lnTo>
                      <a:pt x="279" y="1614"/>
                    </a:lnTo>
                    <a:lnTo>
                      <a:pt x="290" y="1612"/>
                    </a:lnTo>
                    <a:lnTo>
                      <a:pt x="299" y="1616"/>
                    </a:lnTo>
                    <a:lnTo>
                      <a:pt x="307" y="1600"/>
                    </a:lnTo>
                    <a:lnTo>
                      <a:pt x="309" y="1589"/>
                    </a:lnTo>
                    <a:lnTo>
                      <a:pt x="290" y="1583"/>
                    </a:lnTo>
                    <a:lnTo>
                      <a:pt x="283" y="1585"/>
                    </a:lnTo>
                    <a:lnTo>
                      <a:pt x="275" y="1579"/>
                    </a:lnTo>
                    <a:lnTo>
                      <a:pt x="274" y="1573"/>
                    </a:lnTo>
                    <a:lnTo>
                      <a:pt x="259" y="1565"/>
                    </a:lnTo>
                    <a:lnTo>
                      <a:pt x="242" y="1558"/>
                    </a:lnTo>
                    <a:lnTo>
                      <a:pt x="248" y="1567"/>
                    </a:lnTo>
                    <a:lnTo>
                      <a:pt x="247" y="1582"/>
                    </a:lnTo>
                    <a:lnTo>
                      <a:pt x="239" y="1583"/>
                    </a:lnTo>
                    <a:lnTo>
                      <a:pt x="235" y="1579"/>
                    </a:lnTo>
                    <a:lnTo>
                      <a:pt x="232" y="1587"/>
                    </a:lnTo>
                    <a:lnTo>
                      <a:pt x="235" y="1598"/>
                    </a:lnTo>
                    <a:lnTo>
                      <a:pt x="231" y="1604"/>
                    </a:lnTo>
                    <a:lnTo>
                      <a:pt x="221" y="1604"/>
                    </a:lnTo>
                    <a:lnTo>
                      <a:pt x="210" y="1593"/>
                    </a:lnTo>
                    <a:lnTo>
                      <a:pt x="191" y="1583"/>
                    </a:lnTo>
                    <a:lnTo>
                      <a:pt x="189" y="1584"/>
                    </a:lnTo>
                    <a:lnTo>
                      <a:pt x="192" y="1589"/>
                    </a:lnTo>
                    <a:lnTo>
                      <a:pt x="191" y="1600"/>
                    </a:lnTo>
                    <a:lnTo>
                      <a:pt x="187" y="1612"/>
                    </a:lnTo>
                    <a:lnTo>
                      <a:pt x="185" y="1617"/>
                    </a:lnTo>
                    <a:lnTo>
                      <a:pt x="172" y="1621"/>
                    </a:lnTo>
                    <a:lnTo>
                      <a:pt x="150" y="1606"/>
                    </a:lnTo>
                    <a:lnTo>
                      <a:pt x="144" y="1637"/>
                    </a:lnTo>
                    <a:lnTo>
                      <a:pt x="138" y="1644"/>
                    </a:lnTo>
                    <a:lnTo>
                      <a:pt x="106" y="1664"/>
                    </a:lnTo>
                    <a:lnTo>
                      <a:pt x="103" y="1669"/>
                    </a:lnTo>
                    <a:lnTo>
                      <a:pt x="102" y="1680"/>
                    </a:lnTo>
                    <a:lnTo>
                      <a:pt x="101" y="1684"/>
                    </a:lnTo>
                    <a:lnTo>
                      <a:pt x="92" y="1692"/>
                    </a:lnTo>
                    <a:lnTo>
                      <a:pt x="90" y="1694"/>
                    </a:lnTo>
                    <a:lnTo>
                      <a:pt x="59" y="1721"/>
                    </a:lnTo>
                    <a:lnTo>
                      <a:pt x="69" y="1725"/>
                    </a:lnTo>
                    <a:lnTo>
                      <a:pt x="69" y="1730"/>
                    </a:lnTo>
                    <a:lnTo>
                      <a:pt x="58" y="1759"/>
                    </a:lnTo>
                    <a:lnTo>
                      <a:pt x="57" y="1768"/>
                    </a:lnTo>
                    <a:lnTo>
                      <a:pt x="59" y="1794"/>
                    </a:lnTo>
                    <a:lnTo>
                      <a:pt x="64" y="1814"/>
                    </a:lnTo>
                    <a:lnTo>
                      <a:pt x="69" y="1821"/>
                    </a:lnTo>
                    <a:lnTo>
                      <a:pt x="79" y="1827"/>
                    </a:lnTo>
                    <a:lnTo>
                      <a:pt x="92" y="1830"/>
                    </a:lnTo>
                    <a:lnTo>
                      <a:pt x="107" y="1837"/>
                    </a:lnTo>
                    <a:lnTo>
                      <a:pt x="127" y="1875"/>
                    </a:lnTo>
                    <a:lnTo>
                      <a:pt x="137" y="1890"/>
                    </a:lnTo>
                    <a:lnTo>
                      <a:pt x="140" y="1912"/>
                    </a:lnTo>
                    <a:lnTo>
                      <a:pt x="122" y="1949"/>
                    </a:lnTo>
                    <a:lnTo>
                      <a:pt x="103" y="1992"/>
                    </a:lnTo>
                    <a:lnTo>
                      <a:pt x="97" y="2005"/>
                    </a:lnTo>
                    <a:lnTo>
                      <a:pt x="99" y="2026"/>
                    </a:lnTo>
                    <a:lnTo>
                      <a:pt x="108" y="2046"/>
                    </a:lnTo>
                    <a:lnTo>
                      <a:pt x="116" y="2063"/>
                    </a:lnTo>
                    <a:lnTo>
                      <a:pt x="118" y="2082"/>
                    </a:lnTo>
                    <a:lnTo>
                      <a:pt x="133" y="2109"/>
                    </a:lnTo>
                    <a:lnTo>
                      <a:pt x="144" y="2143"/>
                    </a:lnTo>
                    <a:lnTo>
                      <a:pt x="146" y="2160"/>
                    </a:lnTo>
                    <a:lnTo>
                      <a:pt x="148" y="2175"/>
                    </a:lnTo>
                    <a:lnTo>
                      <a:pt x="134" y="2187"/>
                    </a:lnTo>
                    <a:lnTo>
                      <a:pt x="132" y="2209"/>
                    </a:lnTo>
                    <a:lnTo>
                      <a:pt x="127" y="2225"/>
                    </a:lnTo>
                    <a:lnTo>
                      <a:pt x="130" y="2235"/>
                    </a:lnTo>
                    <a:lnTo>
                      <a:pt x="132" y="2254"/>
                    </a:lnTo>
                    <a:lnTo>
                      <a:pt x="126" y="2265"/>
                    </a:lnTo>
                    <a:lnTo>
                      <a:pt x="127" y="2286"/>
                    </a:lnTo>
                    <a:lnTo>
                      <a:pt x="143" y="2289"/>
                    </a:lnTo>
                    <a:lnTo>
                      <a:pt x="151" y="2306"/>
                    </a:lnTo>
                    <a:lnTo>
                      <a:pt x="149" y="2327"/>
                    </a:lnTo>
                    <a:lnTo>
                      <a:pt x="156" y="2343"/>
                    </a:lnTo>
                    <a:lnTo>
                      <a:pt x="172" y="2358"/>
                    </a:lnTo>
                    <a:lnTo>
                      <a:pt x="173" y="2378"/>
                    </a:lnTo>
                    <a:lnTo>
                      <a:pt x="167" y="2396"/>
                    </a:lnTo>
                    <a:lnTo>
                      <a:pt x="157" y="2411"/>
                    </a:lnTo>
                    <a:lnTo>
                      <a:pt x="153" y="2427"/>
                    </a:lnTo>
                    <a:lnTo>
                      <a:pt x="159" y="2445"/>
                    </a:lnTo>
                    <a:lnTo>
                      <a:pt x="167" y="2458"/>
                    </a:lnTo>
                    <a:lnTo>
                      <a:pt x="197" y="2481"/>
                    </a:lnTo>
                    <a:lnTo>
                      <a:pt x="202" y="2498"/>
                    </a:lnTo>
                    <a:lnTo>
                      <a:pt x="212" y="2515"/>
                    </a:lnTo>
                    <a:lnTo>
                      <a:pt x="216" y="2509"/>
                    </a:lnTo>
                    <a:lnTo>
                      <a:pt x="215" y="2548"/>
                    </a:lnTo>
                    <a:lnTo>
                      <a:pt x="199" y="2586"/>
                    </a:lnTo>
                    <a:lnTo>
                      <a:pt x="186" y="2606"/>
                    </a:lnTo>
                    <a:lnTo>
                      <a:pt x="134" y="2675"/>
                    </a:lnTo>
                    <a:lnTo>
                      <a:pt x="96" y="2718"/>
                    </a:lnTo>
                    <a:lnTo>
                      <a:pt x="46" y="2767"/>
                    </a:lnTo>
                    <a:lnTo>
                      <a:pt x="10" y="2794"/>
                    </a:lnTo>
                    <a:lnTo>
                      <a:pt x="33" y="2798"/>
                    </a:lnTo>
                    <a:lnTo>
                      <a:pt x="44" y="2785"/>
                    </a:lnTo>
                    <a:lnTo>
                      <a:pt x="63" y="2776"/>
                    </a:lnTo>
                    <a:lnTo>
                      <a:pt x="64" y="2783"/>
                    </a:lnTo>
                    <a:lnTo>
                      <a:pt x="63" y="2788"/>
                    </a:lnTo>
                    <a:lnTo>
                      <a:pt x="63" y="2805"/>
                    </a:lnTo>
                    <a:lnTo>
                      <a:pt x="58" y="2798"/>
                    </a:lnTo>
                    <a:lnTo>
                      <a:pt x="54" y="2797"/>
                    </a:lnTo>
                    <a:lnTo>
                      <a:pt x="54" y="2811"/>
                    </a:lnTo>
                    <a:lnTo>
                      <a:pt x="59" y="2820"/>
                    </a:lnTo>
                    <a:lnTo>
                      <a:pt x="64" y="2821"/>
                    </a:lnTo>
                    <a:lnTo>
                      <a:pt x="70" y="2824"/>
                    </a:lnTo>
                    <a:lnTo>
                      <a:pt x="87" y="2838"/>
                    </a:lnTo>
                    <a:lnTo>
                      <a:pt x="99" y="2838"/>
                    </a:lnTo>
                    <a:lnTo>
                      <a:pt x="117" y="2833"/>
                    </a:lnTo>
                    <a:lnTo>
                      <a:pt x="128" y="2837"/>
                    </a:lnTo>
                    <a:lnTo>
                      <a:pt x="137" y="2844"/>
                    </a:lnTo>
                    <a:lnTo>
                      <a:pt x="137" y="2854"/>
                    </a:lnTo>
                    <a:lnTo>
                      <a:pt x="143" y="2858"/>
                    </a:lnTo>
                    <a:lnTo>
                      <a:pt x="150" y="2859"/>
                    </a:lnTo>
                    <a:lnTo>
                      <a:pt x="151" y="2863"/>
                    </a:lnTo>
                    <a:lnTo>
                      <a:pt x="145" y="2868"/>
                    </a:lnTo>
                    <a:lnTo>
                      <a:pt x="137" y="2868"/>
                    </a:lnTo>
                    <a:lnTo>
                      <a:pt x="110" y="2860"/>
                    </a:lnTo>
                    <a:lnTo>
                      <a:pt x="91" y="2859"/>
                    </a:lnTo>
                    <a:lnTo>
                      <a:pt x="85" y="2865"/>
                    </a:lnTo>
                    <a:lnTo>
                      <a:pt x="83" y="2873"/>
                    </a:lnTo>
                    <a:lnTo>
                      <a:pt x="68" y="2881"/>
                    </a:lnTo>
                    <a:lnTo>
                      <a:pt x="60" y="2876"/>
                    </a:lnTo>
                    <a:lnTo>
                      <a:pt x="54" y="2879"/>
                    </a:lnTo>
                    <a:lnTo>
                      <a:pt x="51" y="2889"/>
                    </a:lnTo>
                    <a:lnTo>
                      <a:pt x="44" y="2892"/>
                    </a:lnTo>
                    <a:lnTo>
                      <a:pt x="38" y="2886"/>
                    </a:lnTo>
                    <a:lnTo>
                      <a:pt x="31" y="2883"/>
                    </a:lnTo>
                    <a:lnTo>
                      <a:pt x="27" y="2891"/>
                    </a:lnTo>
                    <a:lnTo>
                      <a:pt x="30" y="2907"/>
                    </a:lnTo>
                    <a:lnTo>
                      <a:pt x="37" y="2908"/>
                    </a:lnTo>
                    <a:lnTo>
                      <a:pt x="42" y="2914"/>
                    </a:lnTo>
                    <a:lnTo>
                      <a:pt x="44" y="2922"/>
                    </a:lnTo>
                    <a:lnTo>
                      <a:pt x="41" y="2930"/>
                    </a:lnTo>
                    <a:lnTo>
                      <a:pt x="30" y="2941"/>
                    </a:lnTo>
                    <a:lnTo>
                      <a:pt x="21" y="2956"/>
                    </a:lnTo>
                    <a:lnTo>
                      <a:pt x="15" y="2970"/>
                    </a:lnTo>
                    <a:lnTo>
                      <a:pt x="19" y="2983"/>
                    </a:lnTo>
                    <a:lnTo>
                      <a:pt x="16" y="3002"/>
                    </a:lnTo>
                    <a:lnTo>
                      <a:pt x="17" y="3008"/>
                    </a:lnTo>
                    <a:lnTo>
                      <a:pt x="20" y="3013"/>
                    </a:lnTo>
                    <a:lnTo>
                      <a:pt x="20" y="3019"/>
                    </a:lnTo>
                    <a:lnTo>
                      <a:pt x="17" y="3026"/>
                    </a:lnTo>
                    <a:lnTo>
                      <a:pt x="9" y="3035"/>
                    </a:lnTo>
                    <a:lnTo>
                      <a:pt x="4" y="3038"/>
                    </a:lnTo>
                    <a:lnTo>
                      <a:pt x="1" y="3046"/>
                    </a:lnTo>
                    <a:lnTo>
                      <a:pt x="5" y="3053"/>
                    </a:lnTo>
                    <a:lnTo>
                      <a:pt x="14" y="3054"/>
                    </a:lnTo>
                    <a:lnTo>
                      <a:pt x="27" y="3053"/>
                    </a:lnTo>
                    <a:lnTo>
                      <a:pt x="38" y="3070"/>
                    </a:lnTo>
                    <a:lnTo>
                      <a:pt x="37" y="3086"/>
                    </a:lnTo>
                    <a:lnTo>
                      <a:pt x="27" y="3086"/>
                    </a:lnTo>
                    <a:lnTo>
                      <a:pt x="19" y="3075"/>
                    </a:lnTo>
                    <a:lnTo>
                      <a:pt x="10" y="3068"/>
                    </a:lnTo>
                    <a:lnTo>
                      <a:pt x="10" y="3083"/>
                    </a:lnTo>
                    <a:lnTo>
                      <a:pt x="6" y="3090"/>
                    </a:lnTo>
                    <a:lnTo>
                      <a:pt x="0" y="3105"/>
                    </a:lnTo>
                    <a:lnTo>
                      <a:pt x="1" y="3112"/>
                    </a:lnTo>
                    <a:lnTo>
                      <a:pt x="6" y="3118"/>
                    </a:lnTo>
                    <a:lnTo>
                      <a:pt x="10" y="3126"/>
                    </a:lnTo>
                    <a:lnTo>
                      <a:pt x="17" y="3129"/>
                    </a:lnTo>
                    <a:lnTo>
                      <a:pt x="21" y="3137"/>
                    </a:lnTo>
                    <a:lnTo>
                      <a:pt x="22" y="3145"/>
                    </a:lnTo>
                    <a:lnTo>
                      <a:pt x="17" y="3169"/>
                    </a:lnTo>
                    <a:lnTo>
                      <a:pt x="14" y="3176"/>
                    </a:lnTo>
                    <a:lnTo>
                      <a:pt x="22" y="3179"/>
                    </a:lnTo>
                    <a:lnTo>
                      <a:pt x="29" y="3183"/>
                    </a:lnTo>
                    <a:lnTo>
                      <a:pt x="29" y="3191"/>
                    </a:lnTo>
                    <a:lnTo>
                      <a:pt x="42" y="3213"/>
                    </a:lnTo>
                    <a:lnTo>
                      <a:pt x="44" y="3222"/>
                    </a:lnTo>
                    <a:lnTo>
                      <a:pt x="48" y="3229"/>
                    </a:lnTo>
                    <a:lnTo>
                      <a:pt x="48" y="3245"/>
                    </a:lnTo>
                    <a:lnTo>
                      <a:pt x="47" y="3252"/>
                    </a:lnTo>
                    <a:lnTo>
                      <a:pt x="49" y="3260"/>
                    </a:lnTo>
                    <a:lnTo>
                      <a:pt x="65" y="3257"/>
                    </a:lnTo>
                    <a:lnTo>
                      <a:pt x="73" y="3261"/>
                    </a:lnTo>
                    <a:lnTo>
                      <a:pt x="76" y="3268"/>
                    </a:lnTo>
                    <a:lnTo>
                      <a:pt x="92" y="3266"/>
                    </a:lnTo>
                    <a:lnTo>
                      <a:pt x="101" y="3267"/>
                    </a:lnTo>
                    <a:lnTo>
                      <a:pt x="113" y="3276"/>
                    </a:lnTo>
                    <a:lnTo>
                      <a:pt x="111" y="3296"/>
                    </a:lnTo>
                    <a:lnTo>
                      <a:pt x="126" y="3288"/>
                    </a:lnTo>
                    <a:lnTo>
                      <a:pt x="133" y="3287"/>
                    </a:lnTo>
                    <a:lnTo>
                      <a:pt x="139" y="3282"/>
                    </a:lnTo>
                    <a:lnTo>
                      <a:pt x="155" y="3280"/>
                    </a:lnTo>
                    <a:lnTo>
                      <a:pt x="162" y="3282"/>
                    </a:lnTo>
                    <a:lnTo>
                      <a:pt x="170" y="3287"/>
                    </a:lnTo>
                    <a:lnTo>
                      <a:pt x="176" y="3292"/>
                    </a:lnTo>
                    <a:lnTo>
                      <a:pt x="185" y="3305"/>
                    </a:lnTo>
                    <a:lnTo>
                      <a:pt x="193" y="3306"/>
                    </a:lnTo>
                    <a:lnTo>
                      <a:pt x="194" y="3317"/>
                    </a:lnTo>
                    <a:lnTo>
                      <a:pt x="192" y="3325"/>
                    </a:lnTo>
                    <a:lnTo>
                      <a:pt x="192" y="3333"/>
                    </a:lnTo>
                    <a:lnTo>
                      <a:pt x="197" y="3341"/>
                    </a:lnTo>
                    <a:lnTo>
                      <a:pt x="199" y="3348"/>
                    </a:lnTo>
                    <a:lnTo>
                      <a:pt x="198" y="3355"/>
                    </a:lnTo>
                    <a:lnTo>
                      <a:pt x="196" y="3363"/>
                    </a:lnTo>
                    <a:lnTo>
                      <a:pt x="189" y="3368"/>
                    </a:lnTo>
                    <a:lnTo>
                      <a:pt x="187" y="3376"/>
                    </a:lnTo>
                    <a:lnTo>
                      <a:pt x="189" y="3384"/>
                    </a:lnTo>
                    <a:lnTo>
                      <a:pt x="202" y="3395"/>
                    </a:lnTo>
                    <a:lnTo>
                      <a:pt x="205" y="3411"/>
                    </a:lnTo>
                    <a:lnTo>
                      <a:pt x="216" y="3433"/>
                    </a:lnTo>
                    <a:lnTo>
                      <a:pt x="221" y="3439"/>
                    </a:lnTo>
                    <a:lnTo>
                      <a:pt x="236" y="3448"/>
                    </a:lnTo>
                    <a:lnTo>
                      <a:pt x="241" y="3454"/>
                    </a:lnTo>
                    <a:lnTo>
                      <a:pt x="242" y="3462"/>
                    </a:lnTo>
                    <a:lnTo>
                      <a:pt x="241" y="3470"/>
                    </a:lnTo>
                    <a:lnTo>
                      <a:pt x="245" y="3477"/>
                    </a:lnTo>
                    <a:lnTo>
                      <a:pt x="268" y="3475"/>
                    </a:lnTo>
                    <a:lnTo>
                      <a:pt x="274" y="3479"/>
                    </a:lnTo>
                    <a:lnTo>
                      <a:pt x="282" y="3482"/>
                    </a:lnTo>
                    <a:lnTo>
                      <a:pt x="279" y="3489"/>
                    </a:lnTo>
                    <a:lnTo>
                      <a:pt x="284" y="3495"/>
                    </a:lnTo>
                    <a:lnTo>
                      <a:pt x="294" y="3497"/>
                    </a:lnTo>
                    <a:lnTo>
                      <a:pt x="295" y="3510"/>
                    </a:lnTo>
                    <a:lnTo>
                      <a:pt x="288" y="3515"/>
                    </a:lnTo>
                    <a:lnTo>
                      <a:pt x="284" y="3522"/>
                    </a:lnTo>
                    <a:lnTo>
                      <a:pt x="272" y="3532"/>
                    </a:lnTo>
                    <a:lnTo>
                      <a:pt x="264" y="3537"/>
                    </a:lnTo>
                    <a:lnTo>
                      <a:pt x="247" y="3535"/>
                    </a:lnTo>
                    <a:lnTo>
                      <a:pt x="235" y="3524"/>
                    </a:lnTo>
                    <a:lnTo>
                      <a:pt x="228" y="3524"/>
                    </a:lnTo>
                    <a:lnTo>
                      <a:pt x="220" y="3527"/>
                    </a:lnTo>
                    <a:lnTo>
                      <a:pt x="219" y="3535"/>
                    </a:lnTo>
                    <a:lnTo>
                      <a:pt x="212" y="3538"/>
                    </a:lnTo>
                    <a:lnTo>
                      <a:pt x="213" y="3546"/>
                    </a:lnTo>
                    <a:lnTo>
                      <a:pt x="224" y="3557"/>
                    </a:lnTo>
                    <a:lnTo>
                      <a:pt x="226" y="3564"/>
                    </a:lnTo>
                    <a:lnTo>
                      <a:pt x="224" y="3573"/>
                    </a:lnTo>
                    <a:lnTo>
                      <a:pt x="229" y="3578"/>
                    </a:lnTo>
                    <a:lnTo>
                      <a:pt x="228" y="3586"/>
                    </a:lnTo>
                    <a:lnTo>
                      <a:pt x="235" y="3590"/>
                    </a:lnTo>
                    <a:lnTo>
                      <a:pt x="237" y="3597"/>
                    </a:lnTo>
                    <a:lnTo>
                      <a:pt x="236" y="3606"/>
                    </a:lnTo>
                    <a:lnTo>
                      <a:pt x="241" y="3627"/>
                    </a:lnTo>
                    <a:lnTo>
                      <a:pt x="241" y="3627"/>
                    </a:lnTo>
                    <a:lnTo>
                      <a:pt x="247" y="3633"/>
                    </a:lnTo>
                    <a:lnTo>
                      <a:pt x="255" y="3635"/>
                    </a:lnTo>
                    <a:lnTo>
                      <a:pt x="262" y="3632"/>
                    </a:lnTo>
                    <a:lnTo>
                      <a:pt x="267" y="3626"/>
                    </a:lnTo>
                    <a:lnTo>
                      <a:pt x="269" y="3617"/>
                    </a:lnTo>
                    <a:lnTo>
                      <a:pt x="277" y="3612"/>
                    </a:lnTo>
                    <a:lnTo>
                      <a:pt x="293" y="3616"/>
                    </a:lnTo>
                    <a:lnTo>
                      <a:pt x="301" y="3616"/>
                    </a:lnTo>
                    <a:lnTo>
                      <a:pt x="317" y="3611"/>
                    </a:lnTo>
                    <a:lnTo>
                      <a:pt x="333" y="3613"/>
                    </a:lnTo>
                    <a:lnTo>
                      <a:pt x="349" y="3610"/>
                    </a:lnTo>
                    <a:lnTo>
                      <a:pt x="361" y="3619"/>
                    </a:lnTo>
                    <a:lnTo>
                      <a:pt x="366" y="3627"/>
                    </a:lnTo>
                    <a:lnTo>
                      <a:pt x="366" y="3635"/>
                    </a:lnTo>
                    <a:lnTo>
                      <a:pt x="379" y="3647"/>
                    </a:lnTo>
                    <a:lnTo>
                      <a:pt x="384" y="3653"/>
                    </a:lnTo>
                    <a:lnTo>
                      <a:pt x="384" y="3662"/>
                    </a:lnTo>
                    <a:lnTo>
                      <a:pt x="375" y="3666"/>
                    </a:lnTo>
                    <a:lnTo>
                      <a:pt x="368" y="3667"/>
                    </a:lnTo>
                    <a:lnTo>
                      <a:pt x="371" y="3675"/>
                    </a:lnTo>
                    <a:lnTo>
                      <a:pt x="371" y="3682"/>
                    </a:lnTo>
                    <a:lnTo>
                      <a:pt x="375" y="3698"/>
                    </a:lnTo>
                    <a:lnTo>
                      <a:pt x="382" y="3703"/>
                    </a:lnTo>
                    <a:lnTo>
                      <a:pt x="390" y="3705"/>
                    </a:lnTo>
                    <a:lnTo>
                      <a:pt x="406" y="3710"/>
                    </a:lnTo>
                    <a:lnTo>
                      <a:pt x="413" y="3707"/>
                    </a:lnTo>
                    <a:lnTo>
                      <a:pt x="422" y="3707"/>
                    </a:lnTo>
                    <a:lnTo>
                      <a:pt x="424" y="3715"/>
                    </a:lnTo>
                    <a:lnTo>
                      <a:pt x="435" y="3726"/>
                    </a:lnTo>
                    <a:lnTo>
                      <a:pt x="442" y="3753"/>
                    </a:lnTo>
                    <a:lnTo>
                      <a:pt x="440" y="3762"/>
                    </a:lnTo>
                    <a:lnTo>
                      <a:pt x="442" y="3769"/>
                    </a:lnTo>
                    <a:lnTo>
                      <a:pt x="449" y="3774"/>
                    </a:lnTo>
                    <a:lnTo>
                      <a:pt x="456" y="3779"/>
                    </a:lnTo>
                    <a:lnTo>
                      <a:pt x="463" y="3775"/>
                    </a:lnTo>
                    <a:lnTo>
                      <a:pt x="471" y="3774"/>
                    </a:lnTo>
                    <a:lnTo>
                      <a:pt x="479" y="3775"/>
                    </a:lnTo>
                    <a:lnTo>
                      <a:pt x="490" y="3787"/>
                    </a:lnTo>
                    <a:lnTo>
                      <a:pt x="499" y="3784"/>
                    </a:lnTo>
                    <a:lnTo>
                      <a:pt x="506" y="3788"/>
                    </a:lnTo>
                    <a:lnTo>
                      <a:pt x="531" y="3780"/>
                    </a:lnTo>
                    <a:lnTo>
                      <a:pt x="546" y="3773"/>
                    </a:lnTo>
                    <a:lnTo>
                      <a:pt x="553" y="3775"/>
                    </a:lnTo>
                    <a:lnTo>
                      <a:pt x="558" y="3782"/>
                    </a:lnTo>
                    <a:lnTo>
                      <a:pt x="569" y="3804"/>
                    </a:lnTo>
                    <a:lnTo>
                      <a:pt x="580" y="3816"/>
                    </a:lnTo>
                    <a:lnTo>
                      <a:pt x="587" y="3816"/>
                    </a:lnTo>
                    <a:lnTo>
                      <a:pt x="591" y="3809"/>
                    </a:lnTo>
                    <a:lnTo>
                      <a:pt x="600" y="3809"/>
                    </a:lnTo>
                    <a:lnTo>
                      <a:pt x="605" y="3815"/>
                    </a:lnTo>
                    <a:lnTo>
                      <a:pt x="612" y="3816"/>
                    </a:lnTo>
                    <a:lnTo>
                      <a:pt x="619" y="3820"/>
                    </a:lnTo>
                    <a:lnTo>
                      <a:pt x="626" y="3826"/>
                    </a:lnTo>
                    <a:lnTo>
                      <a:pt x="642" y="3825"/>
                    </a:lnTo>
                    <a:lnTo>
                      <a:pt x="655" y="3834"/>
                    </a:lnTo>
                    <a:lnTo>
                      <a:pt x="662" y="3833"/>
                    </a:lnTo>
                    <a:lnTo>
                      <a:pt x="675" y="3844"/>
                    </a:lnTo>
                    <a:lnTo>
                      <a:pt x="683" y="3845"/>
                    </a:lnTo>
                    <a:lnTo>
                      <a:pt x="692" y="3845"/>
                    </a:lnTo>
                    <a:lnTo>
                      <a:pt x="698" y="3850"/>
                    </a:lnTo>
                    <a:lnTo>
                      <a:pt x="691" y="3854"/>
                    </a:lnTo>
                    <a:lnTo>
                      <a:pt x="699" y="3877"/>
                    </a:lnTo>
                    <a:lnTo>
                      <a:pt x="691" y="3892"/>
                    </a:lnTo>
                    <a:lnTo>
                      <a:pt x="675" y="3896"/>
                    </a:lnTo>
                    <a:lnTo>
                      <a:pt x="680" y="3902"/>
                    </a:lnTo>
                    <a:lnTo>
                      <a:pt x="688" y="3904"/>
                    </a:lnTo>
                    <a:lnTo>
                      <a:pt x="693" y="3911"/>
                    </a:lnTo>
                    <a:lnTo>
                      <a:pt x="676" y="3916"/>
                    </a:lnTo>
                    <a:lnTo>
                      <a:pt x="673" y="3922"/>
                    </a:lnTo>
                    <a:lnTo>
                      <a:pt x="672" y="3930"/>
                    </a:lnTo>
                    <a:lnTo>
                      <a:pt x="677" y="3936"/>
                    </a:lnTo>
                    <a:lnTo>
                      <a:pt x="680" y="3944"/>
                    </a:lnTo>
                    <a:lnTo>
                      <a:pt x="678" y="3952"/>
                    </a:lnTo>
                    <a:lnTo>
                      <a:pt x="686" y="3956"/>
                    </a:lnTo>
                    <a:lnTo>
                      <a:pt x="682" y="3972"/>
                    </a:lnTo>
                    <a:lnTo>
                      <a:pt x="675" y="3995"/>
                    </a:lnTo>
                    <a:lnTo>
                      <a:pt x="667" y="3999"/>
                    </a:lnTo>
                    <a:lnTo>
                      <a:pt x="653" y="3995"/>
                    </a:lnTo>
                    <a:lnTo>
                      <a:pt x="644" y="3997"/>
                    </a:lnTo>
                    <a:lnTo>
                      <a:pt x="629" y="3989"/>
                    </a:lnTo>
                    <a:lnTo>
                      <a:pt x="623" y="3994"/>
                    </a:lnTo>
                    <a:lnTo>
                      <a:pt x="614" y="4008"/>
                    </a:lnTo>
                    <a:lnTo>
                      <a:pt x="600" y="4014"/>
                    </a:lnTo>
                    <a:lnTo>
                      <a:pt x="592" y="4029"/>
                    </a:lnTo>
                    <a:lnTo>
                      <a:pt x="594" y="4037"/>
                    </a:lnTo>
                    <a:lnTo>
                      <a:pt x="594" y="4052"/>
                    </a:lnTo>
                    <a:lnTo>
                      <a:pt x="607" y="4047"/>
                    </a:lnTo>
                    <a:lnTo>
                      <a:pt x="617" y="4048"/>
                    </a:lnTo>
                    <a:lnTo>
                      <a:pt x="623" y="4043"/>
                    </a:lnTo>
                    <a:lnTo>
                      <a:pt x="638" y="4041"/>
                    </a:lnTo>
                    <a:lnTo>
                      <a:pt x="644" y="4043"/>
                    </a:lnTo>
                    <a:lnTo>
                      <a:pt x="645" y="4049"/>
                    </a:lnTo>
                    <a:lnTo>
                      <a:pt x="653" y="4051"/>
                    </a:lnTo>
                    <a:lnTo>
                      <a:pt x="655" y="4053"/>
                    </a:lnTo>
                    <a:lnTo>
                      <a:pt x="654" y="4058"/>
                    </a:lnTo>
                    <a:lnTo>
                      <a:pt x="644" y="4058"/>
                    </a:lnTo>
                    <a:lnTo>
                      <a:pt x="632" y="4063"/>
                    </a:lnTo>
                    <a:lnTo>
                      <a:pt x="616" y="4073"/>
                    </a:lnTo>
                    <a:lnTo>
                      <a:pt x="605" y="4076"/>
                    </a:lnTo>
                    <a:lnTo>
                      <a:pt x="605" y="4081"/>
                    </a:lnTo>
                    <a:lnTo>
                      <a:pt x="610" y="4086"/>
                    </a:lnTo>
                    <a:lnTo>
                      <a:pt x="605" y="4089"/>
                    </a:lnTo>
                    <a:lnTo>
                      <a:pt x="594" y="4086"/>
                    </a:lnTo>
                    <a:lnTo>
                      <a:pt x="569" y="4090"/>
                    </a:lnTo>
                    <a:lnTo>
                      <a:pt x="567" y="4100"/>
                    </a:lnTo>
                    <a:lnTo>
                      <a:pt x="575" y="4107"/>
                    </a:lnTo>
                    <a:lnTo>
                      <a:pt x="587" y="4112"/>
                    </a:lnTo>
                    <a:lnTo>
                      <a:pt x="597" y="4126"/>
                    </a:lnTo>
                    <a:lnTo>
                      <a:pt x="607" y="4135"/>
                    </a:lnTo>
                    <a:lnTo>
                      <a:pt x="605" y="4137"/>
                    </a:lnTo>
                    <a:lnTo>
                      <a:pt x="591" y="4133"/>
                    </a:lnTo>
                    <a:lnTo>
                      <a:pt x="585" y="4143"/>
                    </a:lnTo>
                    <a:lnTo>
                      <a:pt x="579" y="4143"/>
                    </a:lnTo>
                    <a:lnTo>
                      <a:pt x="567" y="4160"/>
                    </a:lnTo>
                    <a:lnTo>
                      <a:pt x="557" y="4172"/>
                    </a:lnTo>
                    <a:lnTo>
                      <a:pt x="548" y="4191"/>
                    </a:lnTo>
                    <a:lnTo>
                      <a:pt x="535" y="4192"/>
                    </a:lnTo>
                    <a:lnTo>
                      <a:pt x="519" y="4189"/>
                    </a:lnTo>
                    <a:lnTo>
                      <a:pt x="516" y="4194"/>
                    </a:lnTo>
                    <a:lnTo>
                      <a:pt x="516" y="4200"/>
                    </a:lnTo>
                    <a:lnTo>
                      <a:pt x="506" y="4205"/>
                    </a:lnTo>
                    <a:lnTo>
                      <a:pt x="519" y="4210"/>
                    </a:lnTo>
                    <a:lnTo>
                      <a:pt x="531" y="4220"/>
                    </a:lnTo>
                    <a:lnTo>
                      <a:pt x="536" y="4235"/>
                    </a:lnTo>
                    <a:lnTo>
                      <a:pt x="546" y="4246"/>
                    </a:lnTo>
                    <a:lnTo>
                      <a:pt x="556" y="4247"/>
                    </a:lnTo>
                    <a:lnTo>
                      <a:pt x="560" y="4242"/>
                    </a:lnTo>
                    <a:lnTo>
                      <a:pt x="565" y="4250"/>
                    </a:lnTo>
                    <a:lnTo>
                      <a:pt x="580" y="4262"/>
                    </a:lnTo>
                    <a:lnTo>
                      <a:pt x="623" y="4280"/>
                    </a:lnTo>
                    <a:lnTo>
                      <a:pt x="649" y="4301"/>
                    </a:lnTo>
                    <a:lnTo>
                      <a:pt x="656" y="4313"/>
                    </a:lnTo>
                    <a:lnTo>
                      <a:pt x="662" y="4321"/>
                    </a:lnTo>
                    <a:lnTo>
                      <a:pt x="671" y="4323"/>
                    </a:lnTo>
                    <a:lnTo>
                      <a:pt x="683" y="4336"/>
                    </a:lnTo>
                    <a:lnTo>
                      <a:pt x="698" y="4331"/>
                    </a:lnTo>
                    <a:lnTo>
                      <a:pt x="707" y="4329"/>
                    </a:lnTo>
                    <a:lnTo>
                      <a:pt x="714" y="4332"/>
                    </a:lnTo>
                    <a:lnTo>
                      <a:pt x="723" y="4331"/>
                    </a:lnTo>
                    <a:lnTo>
                      <a:pt x="737" y="4336"/>
                    </a:lnTo>
                    <a:lnTo>
                      <a:pt x="743" y="4342"/>
                    </a:lnTo>
                    <a:lnTo>
                      <a:pt x="759" y="4344"/>
                    </a:lnTo>
                    <a:lnTo>
                      <a:pt x="782" y="4354"/>
                    </a:lnTo>
                    <a:lnTo>
                      <a:pt x="791" y="4355"/>
                    </a:lnTo>
                    <a:lnTo>
                      <a:pt x="815" y="4353"/>
                    </a:lnTo>
                    <a:lnTo>
                      <a:pt x="831" y="4358"/>
                    </a:lnTo>
                    <a:lnTo>
                      <a:pt x="847" y="4358"/>
                    </a:lnTo>
                    <a:lnTo>
                      <a:pt x="854" y="4363"/>
                    </a:lnTo>
                    <a:lnTo>
                      <a:pt x="858" y="4368"/>
                    </a:lnTo>
                    <a:lnTo>
                      <a:pt x="896" y="4390"/>
                    </a:lnTo>
                    <a:lnTo>
                      <a:pt x="898" y="4398"/>
                    </a:lnTo>
                    <a:lnTo>
                      <a:pt x="906" y="4402"/>
                    </a:lnTo>
                    <a:lnTo>
                      <a:pt x="914" y="4399"/>
                    </a:lnTo>
                    <a:lnTo>
                      <a:pt x="920" y="4395"/>
                    </a:lnTo>
                    <a:lnTo>
                      <a:pt x="935" y="4388"/>
                    </a:lnTo>
                    <a:lnTo>
                      <a:pt x="944" y="4388"/>
                    </a:lnTo>
                    <a:lnTo>
                      <a:pt x="950" y="4393"/>
                    </a:lnTo>
                    <a:lnTo>
                      <a:pt x="957" y="4392"/>
                    </a:lnTo>
                    <a:lnTo>
                      <a:pt x="973" y="4395"/>
                    </a:lnTo>
                    <a:lnTo>
                      <a:pt x="978" y="4401"/>
                    </a:lnTo>
                    <a:lnTo>
                      <a:pt x="985" y="4404"/>
                    </a:lnTo>
                    <a:lnTo>
                      <a:pt x="993" y="4404"/>
                    </a:lnTo>
                    <a:lnTo>
                      <a:pt x="1000" y="4408"/>
                    </a:lnTo>
                    <a:lnTo>
                      <a:pt x="1004" y="4415"/>
                    </a:lnTo>
                    <a:lnTo>
                      <a:pt x="1000" y="4430"/>
                    </a:lnTo>
                    <a:lnTo>
                      <a:pt x="1012" y="4440"/>
                    </a:lnTo>
                    <a:lnTo>
                      <a:pt x="1028" y="4445"/>
                    </a:lnTo>
                    <a:lnTo>
                      <a:pt x="1035" y="4450"/>
                    </a:lnTo>
                    <a:lnTo>
                      <a:pt x="1040" y="4453"/>
                    </a:lnTo>
                    <a:lnTo>
                      <a:pt x="1048" y="4458"/>
                    </a:lnTo>
                    <a:lnTo>
                      <a:pt x="1055" y="4458"/>
                    </a:lnTo>
                    <a:lnTo>
                      <a:pt x="1067" y="4469"/>
                    </a:lnTo>
                    <a:lnTo>
                      <a:pt x="1071" y="4477"/>
                    </a:lnTo>
                    <a:lnTo>
                      <a:pt x="1079" y="4477"/>
                    </a:lnTo>
                    <a:lnTo>
                      <a:pt x="1084" y="4493"/>
                    </a:lnTo>
                    <a:lnTo>
                      <a:pt x="1087" y="4500"/>
                    </a:lnTo>
                    <a:lnTo>
                      <a:pt x="1095" y="4500"/>
                    </a:lnTo>
                    <a:lnTo>
                      <a:pt x="1111" y="4504"/>
                    </a:lnTo>
                    <a:lnTo>
                      <a:pt x="1119" y="4501"/>
                    </a:lnTo>
                    <a:lnTo>
                      <a:pt x="1124" y="4496"/>
                    </a:lnTo>
                    <a:lnTo>
                      <a:pt x="1130" y="4481"/>
                    </a:lnTo>
                    <a:lnTo>
                      <a:pt x="1138" y="4477"/>
                    </a:lnTo>
                    <a:lnTo>
                      <a:pt x="1145" y="4473"/>
                    </a:lnTo>
                    <a:lnTo>
                      <a:pt x="1148" y="4466"/>
                    </a:lnTo>
                    <a:lnTo>
                      <a:pt x="1154" y="4456"/>
                    </a:lnTo>
                    <a:lnTo>
                      <a:pt x="1144" y="4451"/>
                    </a:lnTo>
                    <a:lnTo>
                      <a:pt x="1132" y="4423"/>
                    </a:lnTo>
                    <a:lnTo>
                      <a:pt x="1113" y="4391"/>
                    </a:lnTo>
                    <a:lnTo>
                      <a:pt x="1105" y="4380"/>
                    </a:lnTo>
                    <a:lnTo>
                      <a:pt x="1101" y="4366"/>
                    </a:lnTo>
                    <a:lnTo>
                      <a:pt x="1101" y="4344"/>
                    </a:lnTo>
                    <a:lnTo>
                      <a:pt x="1108" y="4317"/>
                    </a:lnTo>
                    <a:lnTo>
                      <a:pt x="1106" y="4305"/>
                    </a:lnTo>
                    <a:lnTo>
                      <a:pt x="1097" y="4326"/>
                    </a:lnTo>
                    <a:lnTo>
                      <a:pt x="1094" y="4320"/>
                    </a:lnTo>
                    <a:lnTo>
                      <a:pt x="1091" y="4302"/>
                    </a:lnTo>
                    <a:lnTo>
                      <a:pt x="1081" y="4285"/>
                    </a:lnTo>
                    <a:lnTo>
                      <a:pt x="1069" y="4268"/>
                    </a:lnTo>
                    <a:lnTo>
                      <a:pt x="1059" y="4268"/>
                    </a:lnTo>
                    <a:lnTo>
                      <a:pt x="1054" y="4253"/>
                    </a:lnTo>
                    <a:lnTo>
                      <a:pt x="1063" y="4240"/>
                    </a:lnTo>
                    <a:lnTo>
                      <a:pt x="1064" y="4229"/>
                    </a:lnTo>
                    <a:lnTo>
                      <a:pt x="1071" y="4218"/>
                    </a:lnTo>
                    <a:lnTo>
                      <a:pt x="1075" y="4218"/>
                    </a:lnTo>
                    <a:lnTo>
                      <a:pt x="1076" y="4215"/>
                    </a:lnTo>
                    <a:lnTo>
                      <a:pt x="1079" y="4207"/>
                    </a:lnTo>
                    <a:lnTo>
                      <a:pt x="1089" y="4198"/>
                    </a:lnTo>
                    <a:lnTo>
                      <a:pt x="1095" y="4162"/>
                    </a:lnTo>
                    <a:lnTo>
                      <a:pt x="1102" y="4165"/>
                    </a:lnTo>
                    <a:lnTo>
                      <a:pt x="1106" y="4144"/>
                    </a:lnTo>
                    <a:lnTo>
                      <a:pt x="1107" y="4133"/>
                    </a:lnTo>
                    <a:lnTo>
                      <a:pt x="1098" y="4117"/>
                    </a:lnTo>
                    <a:lnTo>
                      <a:pt x="1110" y="4121"/>
                    </a:lnTo>
                    <a:lnTo>
                      <a:pt x="1121" y="4121"/>
                    </a:lnTo>
                    <a:lnTo>
                      <a:pt x="1119" y="4128"/>
                    </a:lnTo>
                    <a:lnTo>
                      <a:pt x="1126" y="4139"/>
                    </a:lnTo>
                    <a:lnTo>
                      <a:pt x="1130" y="4154"/>
                    </a:lnTo>
                    <a:lnTo>
                      <a:pt x="1138" y="4154"/>
                    </a:lnTo>
                    <a:lnTo>
                      <a:pt x="1143" y="4151"/>
                    </a:lnTo>
                    <a:lnTo>
                      <a:pt x="1148" y="4151"/>
                    </a:lnTo>
                    <a:lnTo>
                      <a:pt x="1160" y="4123"/>
                    </a:lnTo>
                    <a:lnTo>
                      <a:pt x="1166" y="4119"/>
                    </a:lnTo>
                    <a:lnTo>
                      <a:pt x="1159" y="4117"/>
                    </a:lnTo>
                    <a:lnTo>
                      <a:pt x="1155" y="4111"/>
                    </a:lnTo>
                    <a:lnTo>
                      <a:pt x="1149" y="4107"/>
                    </a:lnTo>
                    <a:lnTo>
                      <a:pt x="1140" y="4107"/>
                    </a:lnTo>
                    <a:lnTo>
                      <a:pt x="1133" y="4105"/>
                    </a:lnTo>
                    <a:lnTo>
                      <a:pt x="1130" y="4099"/>
                    </a:lnTo>
                    <a:lnTo>
                      <a:pt x="1137" y="4091"/>
                    </a:lnTo>
                    <a:lnTo>
                      <a:pt x="1138" y="4084"/>
                    </a:lnTo>
                    <a:lnTo>
                      <a:pt x="1145" y="4081"/>
                    </a:lnTo>
                    <a:lnTo>
                      <a:pt x="1154" y="4087"/>
                    </a:lnTo>
                    <a:lnTo>
                      <a:pt x="1166" y="4084"/>
                    </a:lnTo>
                    <a:lnTo>
                      <a:pt x="1157" y="4027"/>
                    </a:lnTo>
                    <a:lnTo>
                      <a:pt x="1150" y="4025"/>
                    </a:lnTo>
                    <a:lnTo>
                      <a:pt x="1145" y="4019"/>
                    </a:lnTo>
                    <a:lnTo>
                      <a:pt x="1143" y="4010"/>
                    </a:lnTo>
                    <a:lnTo>
                      <a:pt x="1139" y="4004"/>
                    </a:lnTo>
                    <a:lnTo>
                      <a:pt x="1133" y="3998"/>
                    </a:lnTo>
                    <a:lnTo>
                      <a:pt x="1126" y="3998"/>
                    </a:lnTo>
                    <a:lnTo>
                      <a:pt x="1108" y="4000"/>
                    </a:lnTo>
                    <a:lnTo>
                      <a:pt x="1095" y="3997"/>
                    </a:lnTo>
                    <a:lnTo>
                      <a:pt x="1094" y="4005"/>
                    </a:lnTo>
                    <a:lnTo>
                      <a:pt x="1081" y="3993"/>
                    </a:lnTo>
                    <a:lnTo>
                      <a:pt x="1081" y="3986"/>
                    </a:lnTo>
                    <a:lnTo>
                      <a:pt x="1076" y="3978"/>
                    </a:lnTo>
                    <a:lnTo>
                      <a:pt x="1081" y="3971"/>
                    </a:lnTo>
                    <a:lnTo>
                      <a:pt x="1076" y="3965"/>
                    </a:lnTo>
                    <a:lnTo>
                      <a:pt x="1076" y="3957"/>
                    </a:lnTo>
                    <a:lnTo>
                      <a:pt x="1047" y="3947"/>
                    </a:lnTo>
                    <a:lnTo>
                      <a:pt x="1058" y="3903"/>
                    </a:lnTo>
                    <a:lnTo>
                      <a:pt x="1071" y="3896"/>
                    </a:lnTo>
                    <a:lnTo>
                      <a:pt x="1076" y="3888"/>
                    </a:lnTo>
                    <a:lnTo>
                      <a:pt x="1074" y="3881"/>
                    </a:lnTo>
                    <a:lnTo>
                      <a:pt x="1063" y="3870"/>
                    </a:lnTo>
                    <a:lnTo>
                      <a:pt x="1073" y="3825"/>
                    </a:lnTo>
                    <a:lnTo>
                      <a:pt x="1086" y="3816"/>
                    </a:lnTo>
                    <a:lnTo>
                      <a:pt x="1091" y="3810"/>
                    </a:lnTo>
                    <a:lnTo>
                      <a:pt x="1090" y="3801"/>
                    </a:lnTo>
                    <a:lnTo>
                      <a:pt x="1092" y="3794"/>
                    </a:lnTo>
                    <a:lnTo>
                      <a:pt x="1092" y="3787"/>
                    </a:lnTo>
                    <a:lnTo>
                      <a:pt x="1096" y="3778"/>
                    </a:lnTo>
                    <a:lnTo>
                      <a:pt x="1101" y="3772"/>
                    </a:lnTo>
                    <a:lnTo>
                      <a:pt x="1107" y="3777"/>
                    </a:lnTo>
                    <a:lnTo>
                      <a:pt x="1111" y="3784"/>
                    </a:lnTo>
                    <a:lnTo>
                      <a:pt x="1123" y="3794"/>
                    </a:lnTo>
                    <a:lnTo>
                      <a:pt x="1140" y="3831"/>
                    </a:lnTo>
                    <a:lnTo>
                      <a:pt x="1149" y="3833"/>
                    </a:lnTo>
                    <a:lnTo>
                      <a:pt x="1175" y="3816"/>
                    </a:lnTo>
                    <a:lnTo>
                      <a:pt x="1172" y="3807"/>
                    </a:lnTo>
                    <a:lnTo>
                      <a:pt x="1169" y="3800"/>
                    </a:lnTo>
                    <a:lnTo>
                      <a:pt x="1165" y="3775"/>
                    </a:lnTo>
                    <a:lnTo>
                      <a:pt x="1157" y="3762"/>
                    </a:lnTo>
                    <a:lnTo>
                      <a:pt x="1166" y="3763"/>
                    </a:lnTo>
                    <a:lnTo>
                      <a:pt x="1173" y="3760"/>
                    </a:lnTo>
                    <a:lnTo>
                      <a:pt x="1193" y="3746"/>
                    </a:lnTo>
                    <a:lnTo>
                      <a:pt x="1200" y="3742"/>
                    </a:lnTo>
                    <a:lnTo>
                      <a:pt x="1205" y="3736"/>
                    </a:lnTo>
                    <a:lnTo>
                      <a:pt x="1205" y="3728"/>
                    </a:lnTo>
                    <a:lnTo>
                      <a:pt x="1205" y="3719"/>
                    </a:lnTo>
                    <a:lnTo>
                      <a:pt x="1213" y="3718"/>
                    </a:lnTo>
                    <a:lnTo>
                      <a:pt x="1221" y="3719"/>
                    </a:lnTo>
                    <a:lnTo>
                      <a:pt x="1229" y="3715"/>
                    </a:lnTo>
                    <a:lnTo>
                      <a:pt x="1234" y="3709"/>
                    </a:lnTo>
                    <a:lnTo>
                      <a:pt x="1241" y="3705"/>
                    </a:lnTo>
                    <a:lnTo>
                      <a:pt x="1248" y="3703"/>
                    </a:lnTo>
                    <a:lnTo>
                      <a:pt x="1253" y="3697"/>
                    </a:lnTo>
                    <a:lnTo>
                      <a:pt x="1261" y="3692"/>
                    </a:lnTo>
                    <a:lnTo>
                      <a:pt x="1266" y="3686"/>
                    </a:lnTo>
                    <a:lnTo>
                      <a:pt x="1267" y="3678"/>
                    </a:lnTo>
                    <a:lnTo>
                      <a:pt x="1274" y="3672"/>
                    </a:lnTo>
                    <a:lnTo>
                      <a:pt x="1289" y="3669"/>
                    </a:lnTo>
                    <a:lnTo>
                      <a:pt x="1305" y="3669"/>
                    </a:lnTo>
                    <a:lnTo>
                      <a:pt x="1306" y="3677"/>
                    </a:lnTo>
                    <a:lnTo>
                      <a:pt x="1310" y="3685"/>
                    </a:lnTo>
                    <a:lnTo>
                      <a:pt x="1326" y="3681"/>
                    </a:lnTo>
                    <a:lnTo>
                      <a:pt x="1331" y="3687"/>
                    </a:lnTo>
                    <a:lnTo>
                      <a:pt x="1336" y="3680"/>
                    </a:lnTo>
                    <a:lnTo>
                      <a:pt x="1338" y="3671"/>
                    </a:lnTo>
                    <a:lnTo>
                      <a:pt x="1343" y="3665"/>
                    </a:lnTo>
                    <a:lnTo>
                      <a:pt x="1350" y="3665"/>
                    </a:lnTo>
                    <a:lnTo>
                      <a:pt x="1358" y="3662"/>
                    </a:lnTo>
                    <a:lnTo>
                      <a:pt x="1366" y="3662"/>
                    </a:lnTo>
                    <a:lnTo>
                      <a:pt x="1371" y="3678"/>
                    </a:lnTo>
                    <a:lnTo>
                      <a:pt x="1376" y="3685"/>
                    </a:lnTo>
                    <a:lnTo>
                      <a:pt x="1385" y="3681"/>
                    </a:lnTo>
                    <a:lnTo>
                      <a:pt x="1392" y="3681"/>
                    </a:lnTo>
                    <a:lnTo>
                      <a:pt x="1399" y="3683"/>
                    </a:lnTo>
                    <a:lnTo>
                      <a:pt x="1415" y="3680"/>
                    </a:lnTo>
                    <a:lnTo>
                      <a:pt x="1423" y="3681"/>
                    </a:lnTo>
                    <a:lnTo>
                      <a:pt x="1430" y="3685"/>
                    </a:lnTo>
                    <a:lnTo>
                      <a:pt x="1436" y="3691"/>
                    </a:lnTo>
                    <a:lnTo>
                      <a:pt x="1442" y="3705"/>
                    </a:lnTo>
                    <a:lnTo>
                      <a:pt x="1463" y="3718"/>
                    </a:lnTo>
                    <a:lnTo>
                      <a:pt x="1468" y="3724"/>
                    </a:lnTo>
                    <a:lnTo>
                      <a:pt x="1471" y="3732"/>
                    </a:lnTo>
                    <a:lnTo>
                      <a:pt x="1482" y="3745"/>
                    </a:lnTo>
                    <a:lnTo>
                      <a:pt x="1481" y="3752"/>
                    </a:lnTo>
                    <a:lnTo>
                      <a:pt x="1482" y="3761"/>
                    </a:lnTo>
                    <a:lnTo>
                      <a:pt x="1487" y="3767"/>
                    </a:lnTo>
                    <a:lnTo>
                      <a:pt x="1494" y="3764"/>
                    </a:lnTo>
                    <a:lnTo>
                      <a:pt x="1494" y="3757"/>
                    </a:lnTo>
                    <a:lnTo>
                      <a:pt x="1493" y="3748"/>
                    </a:lnTo>
                    <a:lnTo>
                      <a:pt x="1494" y="3741"/>
                    </a:lnTo>
                    <a:lnTo>
                      <a:pt x="1489" y="3734"/>
                    </a:lnTo>
                    <a:lnTo>
                      <a:pt x="1494" y="3728"/>
                    </a:lnTo>
                    <a:lnTo>
                      <a:pt x="1503" y="3726"/>
                    </a:lnTo>
                    <a:lnTo>
                      <a:pt x="1505" y="3734"/>
                    </a:lnTo>
                    <a:lnTo>
                      <a:pt x="1511" y="3739"/>
                    </a:lnTo>
                    <a:lnTo>
                      <a:pt x="1514" y="3747"/>
                    </a:lnTo>
                    <a:lnTo>
                      <a:pt x="1520" y="3752"/>
                    </a:lnTo>
                    <a:lnTo>
                      <a:pt x="1536" y="3757"/>
                    </a:lnTo>
                    <a:lnTo>
                      <a:pt x="1549" y="3766"/>
                    </a:lnTo>
                    <a:lnTo>
                      <a:pt x="1558" y="3763"/>
                    </a:lnTo>
                    <a:lnTo>
                      <a:pt x="1578" y="3750"/>
                    </a:lnTo>
                    <a:lnTo>
                      <a:pt x="1578" y="3741"/>
                    </a:lnTo>
                    <a:lnTo>
                      <a:pt x="1584" y="3737"/>
                    </a:lnTo>
                    <a:lnTo>
                      <a:pt x="1590" y="3732"/>
                    </a:lnTo>
                    <a:lnTo>
                      <a:pt x="1598" y="3731"/>
                    </a:lnTo>
                    <a:lnTo>
                      <a:pt x="1606" y="3734"/>
                    </a:lnTo>
                    <a:lnTo>
                      <a:pt x="1606" y="3725"/>
                    </a:lnTo>
                    <a:lnTo>
                      <a:pt x="1614" y="3725"/>
                    </a:lnTo>
                    <a:lnTo>
                      <a:pt x="1622" y="3728"/>
                    </a:lnTo>
                    <a:lnTo>
                      <a:pt x="1629" y="3723"/>
                    </a:lnTo>
                    <a:lnTo>
                      <a:pt x="1637" y="3728"/>
                    </a:lnTo>
                    <a:lnTo>
                      <a:pt x="1648" y="3739"/>
                    </a:lnTo>
                    <a:lnTo>
                      <a:pt x="1662" y="3730"/>
                    </a:lnTo>
                    <a:lnTo>
                      <a:pt x="1666" y="3723"/>
                    </a:lnTo>
                    <a:lnTo>
                      <a:pt x="1682" y="3723"/>
                    </a:lnTo>
                    <a:lnTo>
                      <a:pt x="1689" y="3719"/>
                    </a:lnTo>
                    <a:lnTo>
                      <a:pt x="1704" y="3725"/>
                    </a:lnTo>
                    <a:lnTo>
                      <a:pt x="1709" y="3731"/>
                    </a:lnTo>
                    <a:lnTo>
                      <a:pt x="1710" y="3747"/>
                    </a:lnTo>
                    <a:lnTo>
                      <a:pt x="1716" y="3753"/>
                    </a:lnTo>
                    <a:lnTo>
                      <a:pt x="1721" y="3760"/>
                    </a:lnTo>
                    <a:lnTo>
                      <a:pt x="1737" y="3757"/>
                    </a:lnTo>
                    <a:lnTo>
                      <a:pt x="1752" y="3761"/>
                    </a:lnTo>
                    <a:lnTo>
                      <a:pt x="1752" y="3761"/>
                    </a:lnTo>
                    <a:lnTo>
                      <a:pt x="1754" y="3772"/>
                    </a:lnTo>
                    <a:lnTo>
                      <a:pt x="1772" y="3771"/>
                    </a:lnTo>
                    <a:lnTo>
                      <a:pt x="1778" y="3766"/>
                    </a:lnTo>
                    <a:lnTo>
                      <a:pt x="1785" y="3751"/>
                    </a:lnTo>
                    <a:lnTo>
                      <a:pt x="1790" y="3745"/>
                    </a:lnTo>
                    <a:lnTo>
                      <a:pt x="1796" y="3747"/>
                    </a:lnTo>
                    <a:lnTo>
                      <a:pt x="1807" y="3760"/>
                    </a:lnTo>
                    <a:lnTo>
                      <a:pt x="1824" y="3761"/>
                    </a:lnTo>
                    <a:lnTo>
                      <a:pt x="1839" y="3757"/>
                    </a:lnTo>
                    <a:lnTo>
                      <a:pt x="1847" y="3752"/>
                    </a:lnTo>
                    <a:lnTo>
                      <a:pt x="1863" y="3747"/>
                    </a:lnTo>
                    <a:lnTo>
                      <a:pt x="1874" y="3709"/>
                    </a:lnTo>
                    <a:lnTo>
                      <a:pt x="1877" y="3702"/>
                    </a:lnTo>
                    <a:lnTo>
                      <a:pt x="1872" y="3696"/>
                    </a:lnTo>
                    <a:lnTo>
                      <a:pt x="1870" y="3692"/>
                    </a:lnTo>
                    <a:lnTo>
                      <a:pt x="1856" y="3691"/>
                    </a:lnTo>
                    <a:lnTo>
                      <a:pt x="1840" y="3689"/>
                    </a:lnTo>
                    <a:lnTo>
                      <a:pt x="1834" y="3682"/>
                    </a:lnTo>
                    <a:lnTo>
                      <a:pt x="1831" y="3677"/>
                    </a:lnTo>
                    <a:lnTo>
                      <a:pt x="1813" y="3674"/>
                    </a:lnTo>
                    <a:lnTo>
                      <a:pt x="1806" y="3671"/>
                    </a:lnTo>
                    <a:lnTo>
                      <a:pt x="1807" y="3662"/>
                    </a:lnTo>
                    <a:lnTo>
                      <a:pt x="1802" y="3655"/>
                    </a:lnTo>
                    <a:lnTo>
                      <a:pt x="1786" y="3653"/>
                    </a:lnTo>
                    <a:lnTo>
                      <a:pt x="1788" y="3644"/>
                    </a:lnTo>
                    <a:lnTo>
                      <a:pt x="1795" y="3642"/>
                    </a:lnTo>
                    <a:lnTo>
                      <a:pt x="1807" y="3632"/>
                    </a:lnTo>
                    <a:lnTo>
                      <a:pt x="1823" y="3626"/>
                    </a:lnTo>
                    <a:lnTo>
                      <a:pt x="1837" y="3617"/>
                    </a:lnTo>
                    <a:lnTo>
                      <a:pt x="1840" y="3611"/>
                    </a:lnTo>
                    <a:lnTo>
                      <a:pt x="1842" y="3602"/>
                    </a:lnTo>
                    <a:lnTo>
                      <a:pt x="1823" y="3575"/>
                    </a:lnTo>
                    <a:lnTo>
                      <a:pt x="1831" y="3572"/>
                    </a:lnTo>
                    <a:lnTo>
                      <a:pt x="1838" y="3565"/>
                    </a:lnTo>
                    <a:lnTo>
                      <a:pt x="1839" y="3558"/>
                    </a:lnTo>
                    <a:lnTo>
                      <a:pt x="1845" y="3553"/>
                    </a:lnTo>
                    <a:lnTo>
                      <a:pt x="1854" y="3552"/>
                    </a:lnTo>
                    <a:lnTo>
                      <a:pt x="1863" y="3553"/>
                    </a:lnTo>
                    <a:lnTo>
                      <a:pt x="1870" y="3552"/>
                    </a:lnTo>
                    <a:lnTo>
                      <a:pt x="1877" y="3554"/>
                    </a:lnTo>
                    <a:lnTo>
                      <a:pt x="1893" y="3554"/>
                    </a:lnTo>
                    <a:lnTo>
                      <a:pt x="1902" y="3551"/>
                    </a:lnTo>
                    <a:lnTo>
                      <a:pt x="1904" y="3543"/>
                    </a:lnTo>
                    <a:lnTo>
                      <a:pt x="1901" y="3537"/>
                    </a:lnTo>
                    <a:lnTo>
                      <a:pt x="1886" y="3529"/>
                    </a:lnTo>
                    <a:lnTo>
                      <a:pt x="1854" y="3524"/>
                    </a:lnTo>
                    <a:lnTo>
                      <a:pt x="1850" y="3518"/>
                    </a:lnTo>
                    <a:lnTo>
                      <a:pt x="1852" y="3509"/>
                    </a:lnTo>
                    <a:lnTo>
                      <a:pt x="1859" y="3509"/>
                    </a:lnTo>
                    <a:lnTo>
                      <a:pt x="1866" y="3506"/>
                    </a:lnTo>
                    <a:lnTo>
                      <a:pt x="1871" y="3499"/>
                    </a:lnTo>
                    <a:lnTo>
                      <a:pt x="1865" y="3494"/>
                    </a:lnTo>
                    <a:lnTo>
                      <a:pt x="1858" y="3498"/>
                    </a:lnTo>
                    <a:lnTo>
                      <a:pt x="1842" y="3498"/>
                    </a:lnTo>
                    <a:lnTo>
                      <a:pt x="1842" y="3489"/>
                    </a:lnTo>
                    <a:lnTo>
                      <a:pt x="1844" y="3482"/>
                    </a:lnTo>
                    <a:lnTo>
                      <a:pt x="1849" y="3476"/>
                    </a:lnTo>
                    <a:lnTo>
                      <a:pt x="1838" y="3463"/>
                    </a:lnTo>
                    <a:lnTo>
                      <a:pt x="1854" y="3463"/>
                    </a:lnTo>
                    <a:lnTo>
                      <a:pt x="1859" y="3457"/>
                    </a:lnTo>
                    <a:lnTo>
                      <a:pt x="1867" y="3457"/>
                    </a:lnTo>
                    <a:lnTo>
                      <a:pt x="1872" y="3463"/>
                    </a:lnTo>
                    <a:lnTo>
                      <a:pt x="1880" y="3462"/>
                    </a:lnTo>
                    <a:lnTo>
                      <a:pt x="1888" y="3463"/>
                    </a:lnTo>
                    <a:lnTo>
                      <a:pt x="1896" y="3461"/>
                    </a:lnTo>
                    <a:lnTo>
                      <a:pt x="1920" y="3461"/>
                    </a:lnTo>
                    <a:lnTo>
                      <a:pt x="1925" y="3468"/>
                    </a:lnTo>
                    <a:lnTo>
                      <a:pt x="1935" y="3456"/>
                    </a:lnTo>
                    <a:lnTo>
                      <a:pt x="1942" y="3452"/>
                    </a:lnTo>
                    <a:lnTo>
                      <a:pt x="1958" y="3454"/>
                    </a:lnTo>
                    <a:lnTo>
                      <a:pt x="1966" y="3449"/>
                    </a:lnTo>
                    <a:lnTo>
                      <a:pt x="1973" y="3446"/>
                    </a:lnTo>
                    <a:lnTo>
                      <a:pt x="1987" y="3436"/>
                    </a:lnTo>
                    <a:lnTo>
                      <a:pt x="1994" y="3439"/>
                    </a:lnTo>
                    <a:lnTo>
                      <a:pt x="2000" y="3444"/>
                    </a:lnTo>
                    <a:lnTo>
                      <a:pt x="2008" y="3444"/>
                    </a:lnTo>
                    <a:lnTo>
                      <a:pt x="2010" y="3436"/>
                    </a:lnTo>
                    <a:lnTo>
                      <a:pt x="2027" y="3432"/>
                    </a:lnTo>
                    <a:lnTo>
                      <a:pt x="2033" y="3428"/>
                    </a:lnTo>
                    <a:lnTo>
                      <a:pt x="2042" y="3427"/>
                    </a:lnTo>
                    <a:lnTo>
                      <a:pt x="2049" y="3424"/>
                    </a:lnTo>
                    <a:lnTo>
                      <a:pt x="2057" y="3424"/>
                    </a:lnTo>
                    <a:lnTo>
                      <a:pt x="2064" y="3427"/>
                    </a:lnTo>
                    <a:lnTo>
                      <a:pt x="2069" y="3419"/>
                    </a:lnTo>
                    <a:lnTo>
                      <a:pt x="2070" y="3412"/>
                    </a:lnTo>
                    <a:lnTo>
                      <a:pt x="2074" y="3403"/>
                    </a:lnTo>
                    <a:lnTo>
                      <a:pt x="2081" y="3400"/>
                    </a:lnTo>
                    <a:lnTo>
                      <a:pt x="2089" y="3398"/>
                    </a:lnTo>
                    <a:lnTo>
                      <a:pt x="2096" y="3402"/>
                    </a:lnTo>
                    <a:lnTo>
                      <a:pt x="2114" y="3396"/>
                    </a:lnTo>
                    <a:lnTo>
                      <a:pt x="2114" y="3397"/>
                    </a:lnTo>
                    <a:lnTo>
                      <a:pt x="2151" y="3387"/>
                    </a:lnTo>
                    <a:lnTo>
                      <a:pt x="2183" y="3384"/>
                    </a:lnTo>
                    <a:lnTo>
                      <a:pt x="2211" y="3375"/>
                    </a:lnTo>
                    <a:lnTo>
                      <a:pt x="2218" y="3369"/>
                    </a:lnTo>
                    <a:lnTo>
                      <a:pt x="2226" y="3370"/>
                    </a:lnTo>
                    <a:lnTo>
                      <a:pt x="2234" y="3368"/>
                    </a:lnTo>
                    <a:lnTo>
                      <a:pt x="2238" y="3362"/>
                    </a:lnTo>
                    <a:lnTo>
                      <a:pt x="2238" y="3353"/>
                    </a:lnTo>
                    <a:lnTo>
                      <a:pt x="2238" y="3346"/>
                    </a:lnTo>
                    <a:lnTo>
                      <a:pt x="2247" y="3347"/>
                    </a:lnTo>
                    <a:lnTo>
                      <a:pt x="2254" y="3344"/>
                    </a:lnTo>
                    <a:lnTo>
                      <a:pt x="2259" y="3338"/>
                    </a:lnTo>
                    <a:lnTo>
                      <a:pt x="2265" y="3333"/>
                    </a:lnTo>
                    <a:lnTo>
                      <a:pt x="2274" y="3333"/>
                    </a:lnTo>
                    <a:lnTo>
                      <a:pt x="2279" y="3326"/>
                    </a:lnTo>
                    <a:lnTo>
                      <a:pt x="2286" y="3326"/>
                    </a:lnTo>
                    <a:lnTo>
                      <a:pt x="2293" y="3332"/>
                    </a:lnTo>
                    <a:lnTo>
                      <a:pt x="2300" y="3330"/>
                    </a:lnTo>
                    <a:lnTo>
                      <a:pt x="2307" y="3333"/>
                    </a:lnTo>
                    <a:lnTo>
                      <a:pt x="2316" y="3331"/>
                    </a:lnTo>
                    <a:lnTo>
                      <a:pt x="2323" y="3335"/>
                    </a:lnTo>
                    <a:lnTo>
                      <a:pt x="2328" y="3341"/>
                    </a:lnTo>
                    <a:lnTo>
                      <a:pt x="2342" y="3349"/>
                    </a:lnTo>
                    <a:lnTo>
                      <a:pt x="2349" y="3346"/>
                    </a:lnTo>
                    <a:lnTo>
                      <a:pt x="2355" y="3341"/>
                    </a:lnTo>
                    <a:lnTo>
                      <a:pt x="2371" y="3338"/>
                    </a:lnTo>
                    <a:lnTo>
                      <a:pt x="2379" y="3341"/>
                    </a:lnTo>
                    <a:lnTo>
                      <a:pt x="2385" y="3347"/>
                    </a:lnTo>
                    <a:lnTo>
                      <a:pt x="2388" y="3354"/>
                    </a:lnTo>
                    <a:lnTo>
                      <a:pt x="2390" y="3370"/>
                    </a:lnTo>
                    <a:lnTo>
                      <a:pt x="2388" y="3379"/>
                    </a:lnTo>
                    <a:lnTo>
                      <a:pt x="2391" y="3386"/>
                    </a:lnTo>
                    <a:lnTo>
                      <a:pt x="2403" y="3397"/>
                    </a:lnTo>
                    <a:lnTo>
                      <a:pt x="2399" y="3403"/>
                    </a:lnTo>
                    <a:lnTo>
                      <a:pt x="2401" y="3420"/>
                    </a:lnTo>
                    <a:lnTo>
                      <a:pt x="2396" y="3427"/>
                    </a:lnTo>
                    <a:lnTo>
                      <a:pt x="2391" y="3433"/>
                    </a:lnTo>
                    <a:lnTo>
                      <a:pt x="2394" y="3440"/>
                    </a:lnTo>
                    <a:lnTo>
                      <a:pt x="2397" y="3448"/>
                    </a:lnTo>
                    <a:lnTo>
                      <a:pt x="2413" y="3444"/>
                    </a:lnTo>
                    <a:lnTo>
                      <a:pt x="2420" y="3449"/>
                    </a:lnTo>
                    <a:lnTo>
                      <a:pt x="2428" y="3448"/>
                    </a:lnTo>
                    <a:lnTo>
                      <a:pt x="2431" y="3439"/>
                    </a:lnTo>
                    <a:lnTo>
                      <a:pt x="2439" y="3439"/>
                    </a:lnTo>
                    <a:lnTo>
                      <a:pt x="2446" y="3441"/>
                    </a:lnTo>
                    <a:lnTo>
                      <a:pt x="2449" y="3433"/>
                    </a:lnTo>
                    <a:lnTo>
                      <a:pt x="2449" y="3425"/>
                    </a:lnTo>
                    <a:lnTo>
                      <a:pt x="2456" y="3427"/>
                    </a:lnTo>
                    <a:lnTo>
                      <a:pt x="2460" y="3434"/>
                    </a:lnTo>
                    <a:lnTo>
                      <a:pt x="2462" y="3443"/>
                    </a:lnTo>
                    <a:lnTo>
                      <a:pt x="2467" y="3448"/>
                    </a:lnTo>
                    <a:lnTo>
                      <a:pt x="2465" y="3455"/>
                    </a:lnTo>
                    <a:lnTo>
                      <a:pt x="2463" y="3463"/>
                    </a:lnTo>
                    <a:lnTo>
                      <a:pt x="2479" y="3465"/>
                    </a:lnTo>
                    <a:lnTo>
                      <a:pt x="2477" y="3457"/>
                    </a:lnTo>
                    <a:lnTo>
                      <a:pt x="2472" y="3451"/>
                    </a:lnTo>
                    <a:lnTo>
                      <a:pt x="2479" y="3448"/>
                    </a:lnTo>
                    <a:lnTo>
                      <a:pt x="2495" y="3451"/>
                    </a:lnTo>
                    <a:lnTo>
                      <a:pt x="2503" y="3456"/>
                    </a:lnTo>
                    <a:lnTo>
                      <a:pt x="2508" y="3462"/>
                    </a:lnTo>
                    <a:lnTo>
                      <a:pt x="2516" y="3466"/>
                    </a:lnTo>
                    <a:lnTo>
                      <a:pt x="2523" y="3466"/>
                    </a:lnTo>
                    <a:lnTo>
                      <a:pt x="2527" y="3459"/>
                    </a:lnTo>
                    <a:lnTo>
                      <a:pt x="2535" y="3455"/>
                    </a:lnTo>
                    <a:lnTo>
                      <a:pt x="2537" y="3463"/>
                    </a:lnTo>
                    <a:lnTo>
                      <a:pt x="2537" y="3471"/>
                    </a:lnTo>
                    <a:lnTo>
                      <a:pt x="2528" y="3473"/>
                    </a:lnTo>
                    <a:lnTo>
                      <a:pt x="2522" y="3478"/>
                    </a:lnTo>
                    <a:lnTo>
                      <a:pt x="2517" y="3486"/>
                    </a:lnTo>
                    <a:lnTo>
                      <a:pt x="2515" y="3493"/>
                    </a:lnTo>
                    <a:lnTo>
                      <a:pt x="2516" y="3502"/>
                    </a:lnTo>
                    <a:lnTo>
                      <a:pt x="2521" y="3508"/>
                    </a:lnTo>
                    <a:lnTo>
                      <a:pt x="2528" y="3508"/>
                    </a:lnTo>
                    <a:lnTo>
                      <a:pt x="2533" y="3502"/>
                    </a:lnTo>
                    <a:lnTo>
                      <a:pt x="2548" y="3495"/>
                    </a:lnTo>
                    <a:lnTo>
                      <a:pt x="2555" y="3498"/>
                    </a:lnTo>
                    <a:lnTo>
                      <a:pt x="2564" y="3498"/>
                    </a:lnTo>
                    <a:lnTo>
                      <a:pt x="2570" y="3503"/>
                    </a:lnTo>
                    <a:lnTo>
                      <a:pt x="2578" y="3503"/>
                    </a:lnTo>
                    <a:lnTo>
                      <a:pt x="2575" y="3495"/>
                    </a:lnTo>
                    <a:lnTo>
                      <a:pt x="2580" y="3489"/>
                    </a:lnTo>
                    <a:lnTo>
                      <a:pt x="2589" y="3488"/>
                    </a:lnTo>
                    <a:lnTo>
                      <a:pt x="2598" y="3477"/>
                    </a:lnTo>
                    <a:lnTo>
                      <a:pt x="2614" y="3475"/>
                    </a:lnTo>
                    <a:lnTo>
                      <a:pt x="2627" y="3463"/>
                    </a:lnTo>
                    <a:lnTo>
                      <a:pt x="2633" y="3449"/>
                    </a:lnTo>
                    <a:lnTo>
                      <a:pt x="2639" y="3444"/>
                    </a:lnTo>
                    <a:lnTo>
                      <a:pt x="2648" y="3445"/>
                    </a:lnTo>
                    <a:lnTo>
                      <a:pt x="2664" y="3441"/>
                    </a:lnTo>
                    <a:lnTo>
                      <a:pt x="2671" y="3439"/>
                    </a:lnTo>
                    <a:lnTo>
                      <a:pt x="2675" y="3432"/>
                    </a:lnTo>
                    <a:lnTo>
                      <a:pt x="2691" y="3430"/>
                    </a:lnTo>
                    <a:lnTo>
                      <a:pt x="2704" y="3422"/>
                    </a:lnTo>
                    <a:lnTo>
                      <a:pt x="2708" y="3429"/>
                    </a:lnTo>
                    <a:lnTo>
                      <a:pt x="2709" y="3436"/>
                    </a:lnTo>
                    <a:lnTo>
                      <a:pt x="2704" y="3444"/>
                    </a:lnTo>
                    <a:lnTo>
                      <a:pt x="2697" y="3446"/>
                    </a:lnTo>
                    <a:lnTo>
                      <a:pt x="2689" y="3446"/>
                    </a:lnTo>
                    <a:lnTo>
                      <a:pt x="2688" y="345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28" name="Freeform 133"/>
              <p:cNvSpPr>
                <a:spLocks noChangeAspect="1"/>
              </p:cNvSpPr>
              <p:nvPr/>
            </p:nvSpPr>
            <p:spPr bwMode="gray">
              <a:xfrm>
                <a:off x="2730" y="1750"/>
                <a:ext cx="36" cy="27"/>
              </a:xfrm>
              <a:custGeom>
                <a:avLst/>
                <a:gdLst/>
                <a:ahLst/>
                <a:cxnLst>
                  <a:cxn ang="0">
                    <a:pos x="0" y="118"/>
                  </a:cxn>
                  <a:cxn ang="0">
                    <a:pos x="2" y="114"/>
                  </a:cxn>
                  <a:cxn ang="0">
                    <a:pos x="12" y="107"/>
                  </a:cxn>
                  <a:cxn ang="0">
                    <a:pos x="14" y="102"/>
                  </a:cxn>
                  <a:cxn ang="0">
                    <a:pos x="19" y="87"/>
                  </a:cxn>
                  <a:cxn ang="0">
                    <a:pos x="21" y="76"/>
                  </a:cxn>
                  <a:cxn ang="0">
                    <a:pos x="25" y="70"/>
                  </a:cxn>
                  <a:cxn ang="0">
                    <a:pos x="46" y="69"/>
                  </a:cxn>
                  <a:cxn ang="0">
                    <a:pos x="55" y="63"/>
                  </a:cxn>
                  <a:cxn ang="0">
                    <a:pos x="67" y="48"/>
                  </a:cxn>
                  <a:cxn ang="0">
                    <a:pos x="77" y="32"/>
                  </a:cxn>
                  <a:cxn ang="0">
                    <a:pos x="82" y="15"/>
                  </a:cxn>
                  <a:cxn ang="0">
                    <a:pos x="83" y="0"/>
                  </a:cxn>
                  <a:cxn ang="0">
                    <a:pos x="79" y="27"/>
                  </a:cxn>
                  <a:cxn ang="0">
                    <a:pos x="71" y="46"/>
                  </a:cxn>
                  <a:cxn ang="0">
                    <a:pos x="65" y="55"/>
                  </a:cxn>
                  <a:cxn ang="0">
                    <a:pos x="57" y="64"/>
                  </a:cxn>
                  <a:cxn ang="0">
                    <a:pos x="61" y="71"/>
                  </a:cxn>
                  <a:cxn ang="0">
                    <a:pos x="67" y="70"/>
                  </a:cxn>
                  <a:cxn ang="0">
                    <a:pos x="76" y="75"/>
                  </a:cxn>
                  <a:cxn ang="0">
                    <a:pos x="87" y="75"/>
                  </a:cxn>
                  <a:cxn ang="0">
                    <a:pos x="89" y="66"/>
                  </a:cxn>
                  <a:cxn ang="0">
                    <a:pos x="89" y="49"/>
                  </a:cxn>
                  <a:cxn ang="0">
                    <a:pos x="93" y="44"/>
                  </a:cxn>
                  <a:cxn ang="0">
                    <a:pos x="93" y="41"/>
                  </a:cxn>
                  <a:cxn ang="0">
                    <a:pos x="103" y="38"/>
                  </a:cxn>
                  <a:cxn ang="0">
                    <a:pos x="109" y="43"/>
                  </a:cxn>
                  <a:cxn ang="0">
                    <a:pos x="116" y="46"/>
                  </a:cxn>
                  <a:cxn ang="0">
                    <a:pos x="122" y="50"/>
                  </a:cxn>
                  <a:cxn ang="0">
                    <a:pos x="130" y="54"/>
                  </a:cxn>
                  <a:cxn ang="0">
                    <a:pos x="147" y="57"/>
                  </a:cxn>
                  <a:cxn ang="0">
                    <a:pos x="163" y="55"/>
                  </a:cxn>
                  <a:cxn ang="0">
                    <a:pos x="169" y="59"/>
                  </a:cxn>
                  <a:cxn ang="0">
                    <a:pos x="180" y="82"/>
                  </a:cxn>
                  <a:cxn ang="0">
                    <a:pos x="174" y="97"/>
                  </a:cxn>
                  <a:cxn ang="0">
                    <a:pos x="174" y="114"/>
                  </a:cxn>
                  <a:cxn ang="0">
                    <a:pos x="177" y="124"/>
                  </a:cxn>
                  <a:cxn ang="0">
                    <a:pos x="153" y="127"/>
                  </a:cxn>
                  <a:cxn ang="0">
                    <a:pos x="126" y="133"/>
                  </a:cxn>
                  <a:cxn ang="0">
                    <a:pos x="78" y="134"/>
                  </a:cxn>
                  <a:cxn ang="0">
                    <a:pos x="14" y="123"/>
                  </a:cxn>
                  <a:cxn ang="0">
                    <a:pos x="0" y="118"/>
                  </a:cxn>
                </a:cxnLst>
                <a:rect l="0" t="0" r="r" b="b"/>
                <a:pathLst>
                  <a:path w="180" h="134">
                    <a:moveTo>
                      <a:pt x="0" y="118"/>
                    </a:moveTo>
                    <a:lnTo>
                      <a:pt x="2" y="114"/>
                    </a:lnTo>
                    <a:lnTo>
                      <a:pt x="12" y="107"/>
                    </a:lnTo>
                    <a:lnTo>
                      <a:pt x="14" y="102"/>
                    </a:lnTo>
                    <a:lnTo>
                      <a:pt x="19" y="87"/>
                    </a:lnTo>
                    <a:lnTo>
                      <a:pt x="21" y="76"/>
                    </a:lnTo>
                    <a:lnTo>
                      <a:pt x="25" y="70"/>
                    </a:lnTo>
                    <a:lnTo>
                      <a:pt x="46" y="69"/>
                    </a:lnTo>
                    <a:lnTo>
                      <a:pt x="55" y="63"/>
                    </a:lnTo>
                    <a:lnTo>
                      <a:pt x="67" y="48"/>
                    </a:lnTo>
                    <a:lnTo>
                      <a:pt x="77" y="32"/>
                    </a:lnTo>
                    <a:lnTo>
                      <a:pt x="82" y="15"/>
                    </a:lnTo>
                    <a:lnTo>
                      <a:pt x="83" y="0"/>
                    </a:lnTo>
                    <a:lnTo>
                      <a:pt x="79" y="27"/>
                    </a:lnTo>
                    <a:lnTo>
                      <a:pt x="71" y="46"/>
                    </a:lnTo>
                    <a:lnTo>
                      <a:pt x="65" y="55"/>
                    </a:lnTo>
                    <a:lnTo>
                      <a:pt x="57" y="64"/>
                    </a:lnTo>
                    <a:lnTo>
                      <a:pt x="61" y="71"/>
                    </a:lnTo>
                    <a:lnTo>
                      <a:pt x="67" y="70"/>
                    </a:lnTo>
                    <a:lnTo>
                      <a:pt x="76" y="75"/>
                    </a:lnTo>
                    <a:lnTo>
                      <a:pt x="87" y="75"/>
                    </a:lnTo>
                    <a:lnTo>
                      <a:pt x="89" y="66"/>
                    </a:lnTo>
                    <a:lnTo>
                      <a:pt x="89" y="49"/>
                    </a:lnTo>
                    <a:lnTo>
                      <a:pt x="93" y="44"/>
                    </a:lnTo>
                    <a:lnTo>
                      <a:pt x="93" y="41"/>
                    </a:lnTo>
                    <a:lnTo>
                      <a:pt x="103" y="38"/>
                    </a:lnTo>
                    <a:lnTo>
                      <a:pt x="109" y="43"/>
                    </a:lnTo>
                    <a:lnTo>
                      <a:pt x="116" y="46"/>
                    </a:lnTo>
                    <a:lnTo>
                      <a:pt x="122" y="50"/>
                    </a:lnTo>
                    <a:lnTo>
                      <a:pt x="130" y="54"/>
                    </a:lnTo>
                    <a:lnTo>
                      <a:pt x="147" y="57"/>
                    </a:lnTo>
                    <a:lnTo>
                      <a:pt x="163" y="55"/>
                    </a:lnTo>
                    <a:lnTo>
                      <a:pt x="169" y="59"/>
                    </a:lnTo>
                    <a:lnTo>
                      <a:pt x="180" y="82"/>
                    </a:lnTo>
                    <a:lnTo>
                      <a:pt x="174" y="97"/>
                    </a:lnTo>
                    <a:lnTo>
                      <a:pt x="174" y="114"/>
                    </a:lnTo>
                    <a:lnTo>
                      <a:pt x="177" y="124"/>
                    </a:lnTo>
                    <a:lnTo>
                      <a:pt x="153" y="127"/>
                    </a:lnTo>
                    <a:lnTo>
                      <a:pt x="126" y="133"/>
                    </a:lnTo>
                    <a:lnTo>
                      <a:pt x="78" y="134"/>
                    </a:lnTo>
                    <a:lnTo>
                      <a:pt x="14" y="123"/>
                    </a:lnTo>
                    <a:lnTo>
                      <a:pt x="0" y="1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</p:grpSp>
        <p:grpSp>
          <p:nvGrpSpPr>
            <p:cNvPr id="51" name="Group 135"/>
            <p:cNvGrpSpPr>
              <a:grpSpLocks noChangeAspect="1"/>
            </p:cNvGrpSpPr>
            <p:nvPr/>
          </p:nvGrpSpPr>
          <p:grpSpPr bwMode="gray">
            <a:xfrm>
              <a:off x="6352012" y="3373319"/>
              <a:ext cx="648777" cy="644324"/>
              <a:chOff x="2802" y="1979"/>
              <a:chExt cx="408" cy="369"/>
            </a:xfrm>
            <a:grpFill/>
          </p:grpSpPr>
          <p:sp>
            <p:nvSpPr>
              <p:cNvPr id="296" name="Freeform 136"/>
              <p:cNvSpPr>
                <a:spLocks noChangeAspect="1"/>
              </p:cNvSpPr>
              <p:nvPr/>
            </p:nvSpPr>
            <p:spPr bwMode="gray">
              <a:xfrm>
                <a:off x="2899" y="2082"/>
                <a:ext cx="19" cy="23"/>
              </a:xfrm>
              <a:custGeom>
                <a:avLst/>
                <a:gdLst/>
                <a:ahLst/>
                <a:cxnLst>
                  <a:cxn ang="0">
                    <a:pos x="39" y="96"/>
                  </a:cxn>
                  <a:cxn ang="0">
                    <a:pos x="45" y="93"/>
                  </a:cxn>
                  <a:cxn ang="0">
                    <a:pos x="55" y="83"/>
                  </a:cxn>
                  <a:cxn ang="0">
                    <a:pos x="58" y="78"/>
                  </a:cxn>
                  <a:cxn ang="0">
                    <a:pos x="53" y="75"/>
                  </a:cxn>
                  <a:cxn ang="0">
                    <a:pos x="58" y="68"/>
                  </a:cxn>
                  <a:cxn ang="0">
                    <a:pos x="72" y="62"/>
                  </a:cxn>
                  <a:cxn ang="0">
                    <a:pos x="79" y="62"/>
                  </a:cxn>
                  <a:cxn ang="0">
                    <a:pos x="77" y="59"/>
                  </a:cxn>
                  <a:cxn ang="0">
                    <a:pos x="74" y="53"/>
                  </a:cxn>
                  <a:cxn ang="0">
                    <a:pos x="77" y="48"/>
                  </a:cxn>
                  <a:cxn ang="0">
                    <a:pos x="87" y="42"/>
                  </a:cxn>
                  <a:cxn ang="0">
                    <a:pos x="91" y="38"/>
                  </a:cxn>
                  <a:cxn ang="0">
                    <a:pos x="91" y="34"/>
                  </a:cxn>
                  <a:cxn ang="0">
                    <a:pos x="88" y="25"/>
                  </a:cxn>
                  <a:cxn ang="0">
                    <a:pos x="85" y="19"/>
                  </a:cxn>
                  <a:cxn ang="0">
                    <a:pos x="77" y="15"/>
                  </a:cxn>
                  <a:cxn ang="0">
                    <a:pos x="81" y="10"/>
                  </a:cxn>
                  <a:cxn ang="0">
                    <a:pos x="85" y="9"/>
                  </a:cxn>
                  <a:cxn ang="0">
                    <a:pos x="84" y="4"/>
                  </a:cxn>
                  <a:cxn ang="0">
                    <a:pos x="77" y="0"/>
                  </a:cxn>
                  <a:cxn ang="0">
                    <a:pos x="72" y="4"/>
                  </a:cxn>
                  <a:cxn ang="0">
                    <a:pos x="58" y="14"/>
                  </a:cxn>
                  <a:cxn ang="0">
                    <a:pos x="41" y="29"/>
                  </a:cxn>
                  <a:cxn ang="0">
                    <a:pos x="27" y="54"/>
                  </a:cxn>
                  <a:cxn ang="0">
                    <a:pos x="25" y="58"/>
                  </a:cxn>
                  <a:cxn ang="0">
                    <a:pos x="17" y="73"/>
                  </a:cxn>
                  <a:cxn ang="0">
                    <a:pos x="11" y="85"/>
                  </a:cxn>
                  <a:cxn ang="0">
                    <a:pos x="1" y="106"/>
                  </a:cxn>
                  <a:cxn ang="0">
                    <a:pos x="2" y="113"/>
                  </a:cxn>
                  <a:cxn ang="0">
                    <a:pos x="16" y="116"/>
                  </a:cxn>
                  <a:cxn ang="0">
                    <a:pos x="21" y="113"/>
                  </a:cxn>
                  <a:cxn ang="0">
                    <a:pos x="27" y="101"/>
                  </a:cxn>
                  <a:cxn ang="0">
                    <a:pos x="31" y="100"/>
                  </a:cxn>
                </a:cxnLst>
                <a:rect l="0" t="0" r="r" b="b"/>
                <a:pathLst>
                  <a:path w="95" h="116">
                    <a:moveTo>
                      <a:pt x="32" y="102"/>
                    </a:moveTo>
                    <a:lnTo>
                      <a:pt x="39" y="96"/>
                    </a:lnTo>
                    <a:lnTo>
                      <a:pt x="44" y="95"/>
                    </a:lnTo>
                    <a:lnTo>
                      <a:pt x="45" y="93"/>
                    </a:lnTo>
                    <a:lnTo>
                      <a:pt x="52" y="88"/>
                    </a:lnTo>
                    <a:lnTo>
                      <a:pt x="55" y="83"/>
                    </a:lnTo>
                    <a:lnTo>
                      <a:pt x="58" y="83"/>
                    </a:lnTo>
                    <a:lnTo>
                      <a:pt x="58" y="78"/>
                    </a:lnTo>
                    <a:lnTo>
                      <a:pt x="53" y="75"/>
                    </a:lnTo>
                    <a:lnTo>
                      <a:pt x="53" y="75"/>
                    </a:lnTo>
                    <a:lnTo>
                      <a:pt x="55" y="69"/>
                    </a:lnTo>
                    <a:lnTo>
                      <a:pt x="58" y="68"/>
                    </a:lnTo>
                    <a:lnTo>
                      <a:pt x="59" y="63"/>
                    </a:lnTo>
                    <a:lnTo>
                      <a:pt x="72" y="62"/>
                    </a:lnTo>
                    <a:lnTo>
                      <a:pt x="77" y="63"/>
                    </a:lnTo>
                    <a:lnTo>
                      <a:pt x="79" y="62"/>
                    </a:lnTo>
                    <a:lnTo>
                      <a:pt x="80" y="62"/>
                    </a:lnTo>
                    <a:lnTo>
                      <a:pt x="77" y="59"/>
                    </a:lnTo>
                    <a:lnTo>
                      <a:pt x="72" y="56"/>
                    </a:lnTo>
                    <a:lnTo>
                      <a:pt x="74" y="53"/>
                    </a:lnTo>
                    <a:lnTo>
                      <a:pt x="77" y="52"/>
                    </a:lnTo>
                    <a:lnTo>
                      <a:pt x="77" y="48"/>
                    </a:lnTo>
                    <a:lnTo>
                      <a:pt x="82" y="47"/>
                    </a:lnTo>
                    <a:lnTo>
                      <a:pt x="87" y="42"/>
                    </a:lnTo>
                    <a:lnTo>
                      <a:pt x="90" y="42"/>
                    </a:lnTo>
                    <a:lnTo>
                      <a:pt x="91" y="38"/>
                    </a:lnTo>
                    <a:lnTo>
                      <a:pt x="95" y="36"/>
                    </a:lnTo>
                    <a:lnTo>
                      <a:pt x="91" y="34"/>
                    </a:lnTo>
                    <a:lnTo>
                      <a:pt x="92" y="30"/>
                    </a:lnTo>
                    <a:lnTo>
                      <a:pt x="88" y="25"/>
                    </a:lnTo>
                    <a:lnTo>
                      <a:pt x="90" y="21"/>
                    </a:lnTo>
                    <a:lnTo>
                      <a:pt x="85" y="19"/>
                    </a:lnTo>
                    <a:lnTo>
                      <a:pt x="84" y="15"/>
                    </a:lnTo>
                    <a:lnTo>
                      <a:pt x="77" y="15"/>
                    </a:lnTo>
                    <a:lnTo>
                      <a:pt x="77" y="13"/>
                    </a:lnTo>
                    <a:lnTo>
                      <a:pt x="81" y="10"/>
                    </a:lnTo>
                    <a:lnTo>
                      <a:pt x="81" y="9"/>
                    </a:lnTo>
                    <a:lnTo>
                      <a:pt x="85" y="9"/>
                    </a:lnTo>
                    <a:lnTo>
                      <a:pt x="85" y="7"/>
                    </a:lnTo>
                    <a:lnTo>
                      <a:pt x="84" y="4"/>
                    </a:lnTo>
                    <a:lnTo>
                      <a:pt x="79" y="4"/>
                    </a:lnTo>
                    <a:lnTo>
                      <a:pt x="77" y="0"/>
                    </a:lnTo>
                    <a:lnTo>
                      <a:pt x="75" y="0"/>
                    </a:lnTo>
                    <a:lnTo>
                      <a:pt x="72" y="4"/>
                    </a:lnTo>
                    <a:lnTo>
                      <a:pt x="55" y="4"/>
                    </a:lnTo>
                    <a:lnTo>
                      <a:pt x="58" y="14"/>
                    </a:lnTo>
                    <a:lnTo>
                      <a:pt x="48" y="21"/>
                    </a:lnTo>
                    <a:lnTo>
                      <a:pt x="41" y="29"/>
                    </a:lnTo>
                    <a:lnTo>
                      <a:pt x="33" y="53"/>
                    </a:lnTo>
                    <a:lnTo>
                      <a:pt x="27" y="54"/>
                    </a:lnTo>
                    <a:lnTo>
                      <a:pt x="27" y="58"/>
                    </a:lnTo>
                    <a:lnTo>
                      <a:pt x="25" y="58"/>
                    </a:lnTo>
                    <a:lnTo>
                      <a:pt x="22" y="63"/>
                    </a:lnTo>
                    <a:lnTo>
                      <a:pt x="17" y="73"/>
                    </a:lnTo>
                    <a:lnTo>
                      <a:pt x="16" y="77"/>
                    </a:lnTo>
                    <a:lnTo>
                      <a:pt x="11" y="85"/>
                    </a:lnTo>
                    <a:lnTo>
                      <a:pt x="6" y="99"/>
                    </a:lnTo>
                    <a:lnTo>
                      <a:pt x="1" y="106"/>
                    </a:lnTo>
                    <a:lnTo>
                      <a:pt x="0" y="111"/>
                    </a:lnTo>
                    <a:lnTo>
                      <a:pt x="2" y="113"/>
                    </a:lnTo>
                    <a:lnTo>
                      <a:pt x="14" y="112"/>
                    </a:lnTo>
                    <a:lnTo>
                      <a:pt x="16" y="116"/>
                    </a:lnTo>
                    <a:lnTo>
                      <a:pt x="18" y="116"/>
                    </a:lnTo>
                    <a:lnTo>
                      <a:pt x="21" y="113"/>
                    </a:lnTo>
                    <a:lnTo>
                      <a:pt x="26" y="115"/>
                    </a:lnTo>
                    <a:lnTo>
                      <a:pt x="27" y="101"/>
                    </a:lnTo>
                    <a:lnTo>
                      <a:pt x="29" y="99"/>
                    </a:lnTo>
                    <a:lnTo>
                      <a:pt x="31" y="100"/>
                    </a:lnTo>
                    <a:lnTo>
                      <a:pt x="32" y="10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grpSp>
            <p:nvGrpSpPr>
              <p:cNvPr id="297" name="Group 137"/>
              <p:cNvGrpSpPr>
                <a:grpSpLocks noChangeAspect="1"/>
              </p:cNvGrpSpPr>
              <p:nvPr/>
            </p:nvGrpSpPr>
            <p:grpSpPr bwMode="gray">
              <a:xfrm>
                <a:off x="2889" y="2101"/>
                <a:ext cx="17" cy="51"/>
                <a:chOff x="2889" y="2101"/>
                <a:chExt cx="17" cy="51"/>
              </a:xfrm>
              <a:grpFill/>
            </p:grpSpPr>
            <p:sp>
              <p:nvSpPr>
                <p:cNvPr id="322" name="Freeform 138"/>
                <p:cNvSpPr>
                  <a:spLocks noChangeAspect="1"/>
                </p:cNvSpPr>
                <p:nvPr/>
              </p:nvSpPr>
              <p:spPr bwMode="gray">
                <a:xfrm>
                  <a:off x="2897" y="2111"/>
                  <a:ext cx="8" cy="16"/>
                </a:xfrm>
                <a:custGeom>
                  <a:avLst/>
                  <a:gdLst/>
                  <a:ahLst/>
                  <a:cxnLst>
                    <a:cxn ang="0">
                      <a:pos x="30" y="66"/>
                    </a:cxn>
                    <a:cxn ang="0">
                      <a:pos x="32" y="64"/>
                    </a:cxn>
                    <a:cxn ang="0">
                      <a:pos x="33" y="55"/>
                    </a:cxn>
                    <a:cxn ang="0">
                      <a:pos x="36" y="49"/>
                    </a:cxn>
                    <a:cxn ang="0">
                      <a:pos x="33" y="40"/>
                    </a:cxn>
                    <a:cxn ang="0">
                      <a:pos x="35" y="29"/>
                    </a:cxn>
                    <a:cxn ang="0">
                      <a:pos x="36" y="21"/>
                    </a:cxn>
                    <a:cxn ang="0">
                      <a:pos x="37" y="12"/>
                    </a:cxn>
                    <a:cxn ang="0">
                      <a:pos x="37" y="10"/>
                    </a:cxn>
                    <a:cxn ang="0">
                      <a:pos x="37" y="10"/>
                    </a:cxn>
                    <a:cxn ang="0">
                      <a:pos x="33" y="10"/>
                    </a:cxn>
                    <a:cxn ang="0">
                      <a:pos x="30" y="7"/>
                    </a:cxn>
                    <a:cxn ang="0">
                      <a:pos x="28" y="0"/>
                    </a:cxn>
                    <a:cxn ang="0">
                      <a:pos x="24" y="1"/>
                    </a:cxn>
                    <a:cxn ang="0">
                      <a:pos x="16" y="0"/>
                    </a:cxn>
                    <a:cxn ang="0">
                      <a:pos x="12" y="1"/>
                    </a:cxn>
                    <a:cxn ang="0">
                      <a:pos x="10" y="3"/>
                    </a:cxn>
                    <a:cxn ang="0">
                      <a:pos x="10" y="13"/>
                    </a:cxn>
                    <a:cxn ang="0">
                      <a:pos x="4" y="19"/>
                    </a:cxn>
                    <a:cxn ang="0">
                      <a:pos x="4" y="34"/>
                    </a:cxn>
                    <a:cxn ang="0">
                      <a:pos x="6" y="39"/>
                    </a:cxn>
                    <a:cxn ang="0">
                      <a:pos x="5" y="45"/>
                    </a:cxn>
                    <a:cxn ang="0">
                      <a:pos x="15" y="44"/>
                    </a:cxn>
                    <a:cxn ang="0">
                      <a:pos x="19" y="45"/>
                    </a:cxn>
                    <a:cxn ang="0">
                      <a:pos x="19" y="48"/>
                    </a:cxn>
                    <a:cxn ang="0">
                      <a:pos x="17" y="49"/>
                    </a:cxn>
                    <a:cxn ang="0">
                      <a:pos x="11" y="50"/>
                    </a:cxn>
                    <a:cxn ang="0">
                      <a:pos x="8" y="53"/>
                    </a:cxn>
                    <a:cxn ang="0">
                      <a:pos x="6" y="56"/>
                    </a:cxn>
                    <a:cxn ang="0">
                      <a:pos x="4" y="65"/>
                    </a:cxn>
                    <a:cxn ang="0">
                      <a:pos x="0" y="69"/>
                    </a:cxn>
                    <a:cxn ang="0">
                      <a:pos x="0" y="75"/>
                    </a:cxn>
                    <a:cxn ang="0">
                      <a:pos x="4" y="80"/>
                    </a:cxn>
                    <a:cxn ang="0">
                      <a:pos x="4" y="76"/>
                    </a:cxn>
                    <a:cxn ang="0">
                      <a:pos x="16" y="75"/>
                    </a:cxn>
                    <a:cxn ang="0">
                      <a:pos x="26" y="66"/>
                    </a:cxn>
                    <a:cxn ang="0">
                      <a:pos x="30" y="66"/>
                    </a:cxn>
                  </a:cxnLst>
                  <a:rect l="0" t="0" r="r" b="b"/>
                  <a:pathLst>
                    <a:path w="37" h="80">
                      <a:moveTo>
                        <a:pt x="30" y="66"/>
                      </a:moveTo>
                      <a:lnTo>
                        <a:pt x="32" y="64"/>
                      </a:lnTo>
                      <a:lnTo>
                        <a:pt x="33" y="55"/>
                      </a:lnTo>
                      <a:lnTo>
                        <a:pt x="36" y="49"/>
                      </a:lnTo>
                      <a:lnTo>
                        <a:pt x="33" y="40"/>
                      </a:lnTo>
                      <a:lnTo>
                        <a:pt x="35" y="29"/>
                      </a:lnTo>
                      <a:lnTo>
                        <a:pt x="36" y="21"/>
                      </a:lnTo>
                      <a:lnTo>
                        <a:pt x="37" y="12"/>
                      </a:lnTo>
                      <a:lnTo>
                        <a:pt x="37" y="10"/>
                      </a:lnTo>
                      <a:lnTo>
                        <a:pt x="37" y="10"/>
                      </a:lnTo>
                      <a:lnTo>
                        <a:pt x="33" y="10"/>
                      </a:lnTo>
                      <a:lnTo>
                        <a:pt x="30" y="7"/>
                      </a:lnTo>
                      <a:lnTo>
                        <a:pt x="28" y="0"/>
                      </a:lnTo>
                      <a:lnTo>
                        <a:pt x="24" y="1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10" y="3"/>
                      </a:lnTo>
                      <a:lnTo>
                        <a:pt x="10" y="13"/>
                      </a:lnTo>
                      <a:lnTo>
                        <a:pt x="4" y="19"/>
                      </a:lnTo>
                      <a:lnTo>
                        <a:pt x="4" y="34"/>
                      </a:lnTo>
                      <a:lnTo>
                        <a:pt x="6" y="39"/>
                      </a:lnTo>
                      <a:lnTo>
                        <a:pt x="5" y="45"/>
                      </a:lnTo>
                      <a:lnTo>
                        <a:pt x="15" y="44"/>
                      </a:lnTo>
                      <a:lnTo>
                        <a:pt x="19" y="45"/>
                      </a:lnTo>
                      <a:lnTo>
                        <a:pt x="19" y="48"/>
                      </a:lnTo>
                      <a:lnTo>
                        <a:pt x="17" y="49"/>
                      </a:lnTo>
                      <a:lnTo>
                        <a:pt x="11" y="50"/>
                      </a:lnTo>
                      <a:lnTo>
                        <a:pt x="8" y="53"/>
                      </a:lnTo>
                      <a:lnTo>
                        <a:pt x="6" y="56"/>
                      </a:lnTo>
                      <a:lnTo>
                        <a:pt x="4" y="65"/>
                      </a:lnTo>
                      <a:lnTo>
                        <a:pt x="0" y="69"/>
                      </a:lnTo>
                      <a:lnTo>
                        <a:pt x="0" y="75"/>
                      </a:lnTo>
                      <a:lnTo>
                        <a:pt x="4" y="80"/>
                      </a:lnTo>
                      <a:lnTo>
                        <a:pt x="4" y="76"/>
                      </a:lnTo>
                      <a:lnTo>
                        <a:pt x="16" y="75"/>
                      </a:lnTo>
                      <a:lnTo>
                        <a:pt x="26" y="66"/>
                      </a:lnTo>
                      <a:lnTo>
                        <a:pt x="30" y="6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23" name="Freeform 139"/>
                <p:cNvSpPr>
                  <a:spLocks noChangeAspect="1"/>
                </p:cNvSpPr>
                <p:nvPr/>
              </p:nvSpPr>
              <p:spPr bwMode="gray">
                <a:xfrm>
                  <a:off x="2889" y="2124"/>
                  <a:ext cx="4" cy="5"/>
                </a:xfrm>
                <a:custGeom>
                  <a:avLst/>
                  <a:gdLst/>
                  <a:ahLst/>
                  <a:cxnLst>
                    <a:cxn ang="0">
                      <a:pos x="1" y="24"/>
                    </a:cxn>
                    <a:cxn ang="0">
                      <a:pos x="8" y="21"/>
                    </a:cxn>
                    <a:cxn ang="0">
                      <a:pos x="7" y="16"/>
                    </a:cxn>
                    <a:cxn ang="0">
                      <a:pos x="18" y="5"/>
                    </a:cxn>
                    <a:cxn ang="0">
                      <a:pos x="14" y="0"/>
                    </a:cxn>
                    <a:cxn ang="0">
                      <a:pos x="0" y="14"/>
                    </a:cxn>
                    <a:cxn ang="0">
                      <a:pos x="1" y="24"/>
                    </a:cxn>
                  </a:cxnLst>
                  <a:rect l="0" t="0" r="r" b="b"/>
                  <a:pathLst>
                    <a:path w="18" h="24">
                      <a:moveTo>
                        <a:pt x="1" y="24"/>
                      </a:moveTo>
                      <a:lnTo>
                        <a:pt x="8" y="21"/>
                      </a:lnTo>
                      <a:lnTo>
                        <a:pt x="7" y="16"/>
                      </a:lnTo>
                      <a:lnTo>
                        <a:pt x="18" y="5"/>
                      </a:lnTo>
                      <a:lnTo>
                        <a:pt x="14" y="0"/>
                      </a:lnTo>
                      <a:lnTo>
                        <a:pt x="0" y="14"/>
                      </a:lnTo>
                      <a:lnTo>
                        <a:pt x="1" y="2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24" name="Freeform 140"/>
                <p:cNvSpPr>
                  <a:spLocks noChangeAspect="1"/>
                </p:cNvSpPr>
                <p:nvPr/>
              </p:nvSpPr>
              <p:spPr bwMode="gray">
                <a:xfrm>
                  <a:off x="2890" y="2101"/>
                  <a:ext cx="16" cy="51"/>
                </a:xfrm>
                <a:custGeom>
                  <a:avLst/>
                  <a:gdLst/>
                  <a:ahLst/>
                  <a:cxnLst>
                    <a:cxn ang="0">
                      <a:pos x="45" y="242"/>
                    </a:cxn>
                    <a:cxn ang="0">
                      <a:pos x="55" y="178"/>
                    </a:cxn>
                    <a:cxn ang="0">
                      <a:pos x="70" y="140"/>
                    </a:cxn>
                    <a:cxn ang="0">
                      <a:pos x="71" y="119"/>
                    </a:cxn>
                    <a:cxn ang="0">
                      <a:pos x="65" y="115"/>
                    </a:cxn>
                    <a:cxn ang="0">
                      <a:pos x="43" y="125"/>
                    </a:cxn>
                    <a:cxn ang="0">
                      <a:pos x="39" y="124"/>
                    </a:cxn>
                    <a:cxn ang="0">
                      <a:pos x="43" y="114"/>
                    </a:cxn>
                    <a:cxn ang="0">
                      <a:pos x="47" y="102"/>
                    </a:cxn>
                    <a:cxn ang="0">
                      <a:pos x="56" y="98"/>
                    </a:cxn>
                    <a:cxn ang="0">
                      <a:pos x="58" y="94"/>
                    </a:cxn>
                    <a:cxn ang="0">
                      <a:pos x="44" y="94"/>
                    </a:cxn>
                    <a:cxn ang="0">
                      <a:pos x="43" y="83"/>
                    </a:cxn>
                    <a:cxn ang="0">
                      <a:pos x="49" y="62"/>
                    </a:cxn>
                    <a:cxn ang="0">
                      <a:pos x="51" y="50"/>
                    </a:cxn>
                    <a:cxn ang="0">
                      <a:pos x="63" y="50"/>
                    </a:cxn>
                    <a:cxn ang="0">
                      <a:pos x="69" y="56"/>
                    </a:cxn>
                    <a:cxn ang="0">
                      <a:pos x="76" y="59"/>
                    </a:cxn>
                    <a:cxn ang="0">
                      <a:pos x="81" y="33"/>
                    </a:cxn>
                    <a:cxn ang="0">
                      <a:pos x="80" y="22"/>
                    </a:cxn>
                    <a:cxn ang="0">
                      <a:pos x="81" y="13"/>
                    </a:cxn>
                    <a:cxn ang="0">
                      <a:pos x="80" y="1"/>
                    </a:cxn>
                    <a:cxn ang="0">
                      <a:pos x="76" y="2"/>
                    </a:cxn>
                    <a:cxn ang="0">
                      <a:pos x="70" y="14"/>
                    </a:cxn>
                    <a:cxn ang="0">
                      <a:pos x="65" y="17"/>
                    </a:cxn>
                    <a:cxn ang="0">
                      <a:pos x="51" y="14"/>
                    </a:cxn>
                    <a:cxn ang="0">
                      <a:pos x="47" y="17"/>
                    </a:cxn>
                    <a:cxn ang="0">
                      <a:pos x="39" y="41"/>
                    </a:cxn>
                    <a:cxn ang="0">
                      <a:pos x="29" y="80"/>
                    </a:cxn>
                    <a:cxn ang="0">
                      <a:pos x="13" y="113"/>
                    </a:cxn>
                    <a:cxn ang="0">
                      <a:pos x="6" y="129"/>
                    </a:cxn>
                    <a:cxn ang="0">
                      <a:pos x="0" y="137"/>
                    </a:cxn>
                    <a:cxn ang="0">
                      <a:pos x="4" y="148"/>
                    </a:cxn>
                    <a:cxn ang="0">
                      <a:pos x="39" y="251"/>
                    </a:cxn>
                  </a:cxnLst>
                  <a:rect l="0" t="0" r="r" b="b"/>
                  <a:pathLst>
                    <a:path w="81" h="251">
                      <a:moveTo>
                        <a:pt x="44" y="248"/>
                      </a:moveTo>
                      <a:lnTo>
                        <a:pt x="45" y="242"/>
                      </a:lnTo>
                      <a:lnTo>
                        <a:pt x="49" y="232"/>
                      </a:lnTo>
                      <a:lnTo>
                        <a:pt x="55" y="178"/>
                      </a:lnTo>
                      <a:lnTo>
                        <a:pt x="61" y="158"/>
                      </a:lnTo>
                      <a:lnTo>
                        <a:pt x="70" y="140"/>
                      </a:lnTo>
                      <a:lnTo>
                        <a:pt x="67" y="132"/>
                      </a:lnTo>
                      <a:lnTo>
                        <a:pt x="71" y="119"/>
                      </a:lnTo>
                      <a:lnTo>
                        <a:pt x="69" y="115"/>
                      </a:lnTo>
                      <a:lnTo>
                        <a:pt x="65" y="115"/>
                      </a:lnTo>
                      <a:lnTo>
                        <a:pt x="55" y="124"/>
                      </a:lnTo>
                      <a:lnTo>
                        <a:pt x="43" y="125"/>
                      </a:lnTo>
                      <a:lnTo>
                        <a:pt x="43" y="129"/>
                      </a:lnTo>
                      <a:lnTo>
                        <a:pt x="39" y="124"/>
                      </a:lnTo>
                      <a:lnTo>
                        <a:pt x="39" y="118"/>
                      </a:lnTo>
                      <a:lnTo>
                        <a:pt x="43" y="114"/>
                      </a:lnTo>
                      <a:lnTo>
                        <a:pt x="45" y="105"/>
                      </a:lnTo>
                      <a:lnTo>
                        <a:pt x="47" y="102"/>
                      </a:lnTo>
                      <a:lnTo>
                        <a:pt x="50" y="99"/>
                      </a:lnTo>
                      <a:lnTo>
                        <a:pt x="56" y="98"/>
                      </a:lnTo>
                      <a:lnTo>
                        <a:pt x="58" y="97"/>
                      </a:lnTo>
                      <a:lnTo>
                        <a:pt x="58" y="94"/>
                      </a:lnTo>
                      <a:lnTo>
                        <a:pt x="54" y="93"/>
                      </a:lnTo>
                      <a:lnTo>
                        <a:pt x="44" y="94"/>
                      </a:lnTo>
                      <a:lnTo>
                        <a:pt x="45" y="88"/>
                      </a:lnTo>
                      <a:lnTo>
                        <a:pt x="43" y="83"/>
                      </a:lnTo>
                      <a:lnTo>
                        <a:pt x="43" y="68"/>
                      </a:lnTo>
                      <a:lnTo>
                        <a:pt x="49" y="62"/>
                      </a:lnTo>
                      <a:lnTo>
                        <a:pt x="49" y="52"/>
                      </a:lnTo>
                      <a:lnTo>
                        <a:pt x="51" y="50"/>
                      </a:lnTo>
                      <a:lnTo>
                        <a:pt x="55" y="49"/>
                      </a:lnTo>
                      <a:lnTo>
                        <a:pt x="63" y="50"/>
                      </a:lnTo>
                      <a:lnTo>
                        <a:pt x="67" y="49"/>
                      </a:lnTo>
                      <a:lnTo>
                        <a:pt x="69" y="56"/>
                      </a:lnTo>
                      <a:lnTo>
                        <a:pt x="72" y="59"/>
                      </a:lnTo>
                      <a:lnTo>
                        <a:pt x="76" y="59"/>
                      </a:lnTo>
                      <a:lnTo>
                        <a:pt x="76" y="39"/>
                      </a:lnTo>
                      <a:lnTo>
                        <a:pt x="81" y="33"/>
                      </a:lnTo>
                      <a:lnTo>
                        <a:pt x="78" y="27"/>
                      </a:lnTo>
                      <a:lnTo>
                        <a:pt x="80" y="22"/>
                      </a:lnTo>
                      <a:lnTo>
                        <a:pt x="78" y="17"/>
                      </a:lnTo>
                      <a:lnTo>
                        <a:pt x="81" y="13"/>
                      </a:lnTo>
                      <a:lnTo>
                        <a:pt x="81" y="3"/>
                      </a:lnTo>
                      <a:lnTo>
                        <a:pt x="80" y="1"/>
                      </a:lnTo>
                      <a:lnTo>
                        <a:pt x="78" y="0"/>
                      </a:lnTo>
                      <a:lnTo>
                        <a:pt x="76" y="2"/>
                      </a:lnTo>
                      <a:lnTo>
                        <a:pt x="75" y="16"/>
                      </a:lnTo>
                      <a:lnTo>
                        <a:pt x="70" y="14"/>
                      </a:lnTo>
                      <a:lnTo>
                        <a:pt x="67" y="17"/>
                      </a:lnTo>
                      <a:lnTo>
                        <a:pt x="65" y="17"/>
                      </a:lnTo>
                      <a:lnTo>
                        <a:pt x="63" y="13"/>
                      </a:lnTo>
                      <a:lnTo>
                        <a:pt x="51" y="14"/>
                      </a:lnTo>
                      <a:lnTo>
                        <a:pt x="49" y="12"/>
                      </a:lnTo>
                      <a:lnTo>
                        <a:pt x="47" y="17"/>
                      </a:lnTo>
                      <a:lnTo>
                        <a:pt x="47" y="27"/>
                      </a:lnTo>
                      <a:lnTo>
                        <a:pt x="39" y="41"/>
                      </a:lnTo>
                      <a:lnTo>
                        <a:pt x="38" y="49"/>
                      </a:lnTo>
                      <a:lnTo>
                        <a:pt x="29" y="80"/>
                      </a:lnTo>
                      <a:lnTo>
                        <a:pt x="22" y="104"/>
                      </a:lnTo>
                      <a:lnTo>
                        <a:pt x="13" y="113"/>
                      </a:lnTo>
                      <a:lnTo>
                        <a:pt x="17" y="118"/>
                      </a:lnTo>
                      <a:lnTo>
                        <a:pt x="6" y="129"/>
                      </a:lnTo>
                      <a:lnTo>
                        <a:pt x="7" y="134"/>
                      </a:lnTo>
                      <a:lnTo>
                        <a:pt x="0" y="137"/>
                      </a:lnTo>
                      <a:lnTo>
                        <a:pt x="1" y="142"/>
                      </a:lnTo>
                      <a:lnTo>
                        <a:pt x="4" y="148"/>
                      </a:lnTo>
                      <a:lnTo>
                        <a:pt x="23" y="206"/>
                      </a:lnTo>
                      <a:lnTo>
                        <a:pt x="39" y="251"/>
                      </a:lnTo>
                      <a:lnTo>
                        <a:pt x="44" y="24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298" name="Freeform 141"/>
              <p:cNvSpPr>
                <a:spLocks noChangeAspect="1"/>
              </p:cNvSpPr>
              <p:nvPr/>
            </p:nvSpPr>
            <p:spPr bwMode="gray">
              <a:xfrm>
                <a:off x="3027" y="2143"/>
                <a:ext cx="19" cy="19"/>
              </a:xfrm>
              <a:custGeom>
                <a:avLst/>
                <a:gdLst/>
                <a:ahLst/>
                <a:cxnLst>
                  <a:cxn ang="0">
                    <a:pos x="96" y="95"/>
                  </a:cxn>
                  <a:cxn ang="0">
                    <a:pos x="94" y="84"/>
                  </a:cxn>
                  <a:cxn ang="0">
                    <a:pos x="90" y="81"/>
                  </a:cxn>
                  <a:cxn ang="0">
                    <a:pos x="86" y="73"/>
                  </a:cxn>
                  <a:cxn ang="0">
                    <a:pos x="81" y="52"/>
                  </a:cxn>
                  <a:cxn ang="0">
                    <a:pos x="73" y="48"/>
                  </a:cxn>
                  <a:cxn ang="0">
                    <a:pos x="62" y="47"/>
                  </a:cxn>
                  <a:cxn ang="0">
                    <a:pos x="64" y="42"/>
                  </a:cxn>
                  <a:cxn ang="0">
                    <a:pos x="67" y="39"/>
                  </a:cxn>
                  <a:cxn ang="0">
                    <a:pos x="73" y="36"/>
                  </a:cxn>
                  <a:cxn ang="0">
                    <a:pos x="85" y="33"/>
                  </a:cxn>
                  <a:cxn ang="0">
                    <a:pos x="92" y="26"/>
                  </a:cxn>
                  <a:cxn ang="0">
                    <a:pos x="92" y="22"/>
                  </a:cxn>
                  <a:cxn ang="0">
                    <a:pos x="90" y="18"/>
                  </a:cxn>
                  <a:cxn ang="0">
                    <a:pos x="79" y="11"/>
                  </a:cxn>
                  <a:cxn ang="0">
                    <a:pos x="78" y="6"/>
                  </a:cxn>
                  <a:cxn ang="0">
                    <a:pos x="79" y="5"/>
                  </a:cxn>
                  <a:cxn ang="0">
                    <a:pos x="67" y="1"/>
                  </a:cxn>
                  <a:cxn ang="0">
                    <a:pos x="53" y="0"/>
                  </a:cxn>
                  <a:cxn ang="0">
                    <a:pos x="38" y="6"/>
                  </a:cxn>
                  <a:cxn ang="0">
                    <a:pos x="26" y="23"/>
                  </a:cxn>
                  <a:cxn ang="0">
                    <a:pos x="16" y="43"/>
                  </a:cxn>
                  <a:cxn ang="0">
                    <a:pos x="0" y="59"/>
                  </a:cxn>
                  <a:cxn ang="0">
                    <a:pos x="4" y="61"/>
                  </a:cxn>
                  <a:cxn ang="0">
                    <a:pos x="26" y="65"/>
                  </a:cxn>
                  <a:cxn ang="0">
                    <a:pos x="46" y="73"/>
                  </a:cxn>
                  <a:cxn ang="0">
                    <a:pos x="53" y="80"/>
                  </a:cxn>
                  <a:cxn ang="0">
                    <a:pos x="63" y="95"/>
                  </a:cxn>
                  <a:cxn ang="0">
                    <a:pos x="96" y="95"/>
                  </a:cxn>
                </a:cxnLst>
                <a:rect l="0" t="0" r="r" b="b"/>
                <a:pathLst>
                  <a:path w="96" h="95">
                    <a:moveTo>
                      <a:pt x="96" y="95"/>
                    </a:moveTo>
                    <a:lnTo>
                      <a:pt x="94" y="84"/>
                    </a:lnTo>
                    <a:lnTo>
                      <a:pt x="90" y="81"/>
                    </a:lnTo>
                    <a:lnTo>
                      <a:pt x="86" y="73"/>
                    </a:lnTo>
                    <a:lnTo>
                      <a:pt x="81" y="52"/>
                    </a:lnTo>
                    <a:lnTo>
                      <a:pt x="73" y="48"/>
                    </a:lnTo>
                    <a:lnTo>
                      <a:pt x="62" y="47"/>
                    </a:lnTo>
                    <a:lnTo>
                      <a:pt x="64" y="42"/>
                    </a:lnTo>
                    <a:lnTo>
                      <a:pt x="67" y="39"/>
                    </a:lnTo>
                    <a:lnTo>
                      <a:pt x="73" y="36"/>
                    </a:lnTo>
                    <a:lnTo>
                      <a:pt x="85" y="33"/>
                    </a:lnTo>
                    <a:lnTo>
                      <a:pt x="92" y="26"/>
                    </a:lnTo>
                    <a:lnTo>
                      <a:pt x="92" y="22"/>
                    </a:lnTo>
                    <a:lnTo>
                      <a:pt x="90" y="18"/>
                    </a:lnTo>
                    <a:lnTo>
                      <a:pt x="79" y="11"/>
                    </a:lnTo>
                    <a:lnTo>
                      <a:pt x="78" y="6"/>
                    </a:lnTo>
                    <a:lnTo>
                      <a:pt x="79" y="5"/>
                    </a:lnTo>
                    <a:lnTo>
                      <a:pt x="67" y="1"/>
                    </a:lnTo>
                    <a:lnTo>
                      <a:pt x="53" y="0"/>
                    </a:lnTo>
                    <a:lnTo>
                      <a:pt x="38" y="6"/>
                    </a:lnTo>
                    <a:lnTo>
                      <a:pt x="26" y="23"/>
                    </a:lnTo>
                    <a:lnTo>
                      <a:pt x="16" y="43"/>
                    </a:lnTo>
                    <a:lnTo>
                      <a:pt x="0" y="59"/>
                    </a:lnTo>
                    <a:lnTo>
                      <a:pt x="4" y="61"/>
                    </a:lnTo>
                    <a:lnTo>
                      <a:pt x="26" y="65"/>
                    </a:lnTo>
                    <a:lnTo>
                      <a:pt x="46" y="73"/>
                    </a:lnTo>
                    <a:lnTo>
                      <a:pt x="53" y="80"/>
                    </a:lnTo>
                    <a:lnTo>
                      <a:pt x="63" y="95"/>
                    </a:lnTo>
                    <a:lnTo>
                      <a:pt x="96" y="9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grpSp>
            <p:nvGrpSpPr>
              <p:cNvPr id="299" name="Group 142"/>
              <p:cNvGrpSpPr>
                <a:grpSpLocks noChangeAspect="1"/>
              </p:cNvGrpSpPr>
              <p:nvPr/>
            </p:nvGrpSpPr>
            <p:grpSpPr bwMode="gray">
              <a:xfrm>
                <a:off x="2896" y="2116"/>
                <a:ext cx="231" cy="189"/>
                <a:chOff x="2896" y="2116"/>
                <a:chExt cx="231" cy="189"/>
              </a:xfrm>
              <a:grpFill/>
            </p:grpSpPr>
            <p:sp>
              <p:nvSpPr>
                <p:cNvPr id="320" name="Freeform 143"/>
                <p:cNvSpPr>
                  <a:spLocks noChangeAspect="1"/>
                </p:cNvSpPr>
                <p:nvPr/>
              </p:nvSpPr>
              <p:spPr bwMode="gray">
                <a:xfrm>
                  <a:off x="2896" y="2116"/>
                  <a:ext cx="231" cy="189"/>
                </a:xfrm>
                <a:custGeom>
                  <a:avLst/>
                  <a:gdLst/>
                  <a:ahLst/>
                  <a:cxnLst>
                    <a:cxn ang="0">
                      <a:pos x="9706" y="2910"/>
                    </a:cxn>
                    <a:cxn ang="0">
                      <a:pos x="10455" y="3296"/>
                    </a:cxn>
                    <a:cxn ang="0">
                      <a:pos x="10697" y="3824"/>
                    </a:cxn>
                    <a:cxn ang="0">
                      <a:pos x="11100" y="4189"/>
                    </a:cxn>
                    <a:cxn ang="0">
                      <a:pos x="11258" y="4460"/>
                    </a:cxn>
                    <a:cxn ang="0">
                      <a:pos x="11663" y="4798"/>
                    </a:cxn>
                    <a:cxn ang="0">
                      <a:pos x="11788" y="5234"/>
                    </a:cxn>
                    <a:cxn ang="0">
                      <a:pos x="11824" y="5695"/>
                    </a:cxn>
                    <a:cxn ang="0">
                      <a:pos x="12147" y="6336"/>
                    </a:cxn>
                    <a:cxn ang="0">
                      <a:pos x="12348" y="6619"/>
                    </a:cxn>
                    <a:cxn ang="0">
                      <a:pos x="13158" y="7915"/>
                    </a:cxn>
                    <a:cxn ang="0">
                      <a:pos x="15424" y="10363"/>
                    </a:cxn>
                    <a:cxn ang="0">
                      <a:pos x="10244" y="11935"/>
                    </a:cxn>
                    <a:cxn ang="0">
                      <a:pos x="9104" y="12745"/>
                    </a:cxn>
                    <a:cxn ang="0">
                      <a:pos x="7168" y="12457"/>
                    </a:cxn>
                    <a:cxn ang="0">
                      <a:pos x="6570" y="12466"/>
                    </a:cxn>
                    <a:cxn ang="0">
                      <a:pos x="6524" y="12554"/>
                    </a:cxn>
                    <a:cxn ang="0">
                      <a:pos x="6474" y="12661"/>
                    </a:cxn>
                    <a:cxn ang="0">
                      <a:pos x="6461" y="12671"/>
                    </a:cxn>
                    <a:cxn ang="0">
                      <a:pos x="6442" y="12664"/>
                    </a:cxn>
                    <a:cxn ang="0">
                      <a:pos x="6434" y="12672"/>
                    </a:cxn>
                    <a:cxn ang="0">
                      <a:pos x="6449" y="12718"/>
                    </a:cxn>
                    <a:cxn ang="0">
                      <a:pos x="6493" y="12822"/>
                    </a:cxn>
                    <a:cxn ang="0">
                      <a:pos x="6493" y="12849"/>
                    </a:cxn>
                    <a:cxn ang="0">
                      <a:pos x="6127" y="13229"/>
                    </a:cxn>
                    <a:cxn ang="0">
                      <a:pos x="5877" y="12675"/>
                    </a:cxn>
                    <a:cxn ang="0">
                      <a:pos x="5396" y="12043"/>
                    </a:cxn>
                    <a:cxn ang="0">
                      <a:pos x="4967" y="11398"/>
                    </a:cxn>
                    <a:cxn ang="0">
                      <a:pos x="4842" y="10911"/>
                    </a:cxn>
                    <a:cxn ang="0">
                      <a:pos x="4559" y="10532"/>
                    </a:cxn>
                    <a:cxn ang="0">
                      <a:pos x="4050" y="10087"/>
                    </a:cxn>
                    <a:cxn ang="0">
                      <a:pos x="3642" y="9870"/>
                    </a:cxn>
                    <a:cxn ang="0">
                      <a:pos x="3359" y="8893"/>
                    </a:cxn>
                    <a:cxn ang="0">
                      <a:pos x="3366" y="8593"/>
                    </a:cxn>
                    <a:cxn ang="0">
                      <a:pos x="3225" y="8044"/>
                    </a:cxn>
                    <a:cxn ang="0">
                      <a:pos x="3034" y="7550"/>
                    </a:cxn>
                    <a:cxn ang="0">
                      <a:pos x="2492" y="6909"/>
                    </a:cxn>
                    <a:cxn ang="0">
                      <a:pos x="2243" y="6803"/>
                    </a:cxn>
                    <a:cxn ang="0">
                      <a:pos x="2042" y="6580"/>
                    </a:cxn>
                    <a:cxn ang="0">
                      <a:pos x="1833" y="5901"/>
                    </a:cxn>
                    <a:cxn ang="0">
                      <a:pos x="1507" y="5504"/>
                    </a:cxn>
                    <a:cxn ang="0">
                      <a:pos x="1117" y="4757"/>
                    </a:cxn>
                    <a:cxn ang="0">
                      <a:pos x="724" y="4245"/>
                    </a:cxn>
                    <a:cxn ang="0">
                      <a:pos x="242" y="3599"/>
                    </a:cxn>
                    <a:cxn ang="0">
                      <a:pos x="0" y="3649"/>
                    </a:cxn>
                    <a:cxn ang="0">
                      <a:pos x="249" y="2682"/>
                    </a:cxn>
                    <a:cxn ang="0">
                      <a:pos x="1352" y="2467"/>
                    </a:cxn>
                    <a:cxn ang="0">
                      <a:pos x="2171" y="1850"/>
                    </a:cxn>
                    <a:cxn ang="0">
                      <a:pos x="1840" y="685"/>
                    </a:cxn>
                    <a:cxn ang="0">
                      <a:pos x="3424" y="0"/>
                    </a:cxn>
                    <a:cxn ang="0">
                      <a:pos x="6284" y="1324"/>
                    </a:cxn>
                    <a:cxn ang="0">
                      <a:pos x="6826" y="2203"/>
                    </a:cxn>
                  </a:cxnLst>
                  <a:rect l="0" t="0" r="r" b="b"/>
                  <a:pathLst>
                    <a:path w="15957" h="13229">
                      <a:moveTo>
                        <a:pt x="9071" y="2723"/>
                      </a:moveTo>
                      <a:lnTo>
                        <a:pt x="9131" y="2757"/>
                      </a:lnTo>
                      <a:lnTo>
                        <a:pt x="9432" y="2810"/>
                      </a:lnTo>
                      <a:lnTo>
                        <a:pt x="9706" y="2910"/>
                      </a:lnTo>
                      <a:lnTo>
                        <a:pt x="9809" y="2999"/>
                      </a:lnTo>
                      <a:lnTo>
                        <a:pt x="9934" y="3216"/>
                      </a:lnTo>
                      <a:lnTo>
                        <a:pt x="10393" y="3219"/>
                      </a:lnTo>
                      <a:lnTo>
                        <a:pt x="10455" y="3296"/>
                      </a:lnTo>
                      <a:lnTo>
                        <a:pt x="10504" y="3434"/>
                      </a:lnTo>
                      <a:lnTo>
                        <a:pt x="10545" y="3497"/>
                      </a:lnTo>
                      <a:lnTo>
                        <a:pt x="10573" y="3599"/>
                      </a:lnTo>
                      <a:lnTo>
                        <a:pt x="10697" y="3824"/>
                      </a:lnTo>
                      <a:lnTo>
                        <a:pt x="10817" y="3869"/>
                      </a:lnTo>
                      <a:lnTo>
                        <a:pt x="10903" y="4039"/>
                      </a:lnTo>
                      <a:lnTo>
                        <a:pt x="11097" y="4175"/>
                      </a:lnTo>
                      <a:lnTo>
                        <a:pt x="11100" y="4189"/>
                      </a:lnTo>
                      <a:lnTo>
                        <a:pt x="11062" y="4232"/>
                      </a:lnTo>
                      <a:lnTo>
                        <a:pt x="11097" y="4290"/>
                      </a:lnTo>
                      <a:lnTo>
                        <a:pt x="11134" y="4426"/>
                      </a:lnTo>
                      <a:lnTo>
                        <a:pt x="11258" y="4460"/>
                      </a:lnTo>
                      <a:lnTo>
                        <a:pt x="11313" y="4512"/>
                      </a:lnTo>
                      <a:lnTo>
                        <a:pt x="11537" y="4658"/>
                      </a:lnTo>
                      <a:lnTo>
                        <a:pt x="11613" y="4723"/>
                      </a:lnTo>
                      <a:lnTo>
                        <a:pt x="11663" y="4798"/>
                      </a:lnTo>
                      <a:lnTo>
                        <a:pt x="11680" y="4839"/>
                      </a:lnTo>
                      <a:lnTo>
                        <a:pt x="11658" y="4977"/>
                      </a:lnTo>
                      <a:lnTo>
                        <a:pt x="11764" y="5127"/>
                      </a:lnTo>
                      <a:lnTo>
                        <a:pt x="11788" y="5234"/>
                      </a:lnTo>
                      <a:lnTo>
                        <a:pt x="11781" y="5294"/>
                      </a:lnTo>
                      <a:lnTo>
                        <a:pt x="11711" y="5381"/>
                      </a:lnTo>
                      <a:lnTo>
                        <a:pt x="11715" y="5546"/>
                      </a:lnTo>
                      <a:lnTo>
                        <a:pt x="11824" y="5695"/>
                      </a:lnTo>
                      <a:lnTo>
                        <a:pt x="12016" y="5908"/>
                      </a:lnTo>
                      <a:lnTo>
                        <a:pt x="12063" y="6177"/>
                      </a:lnTo>
                      <a:lnTo>
                        <a:pt x="12135" y="6264"/>
                      </a:lnTo>
                      <a:lnTo>
                        <a:pt x="12147" y="6336"/>
                      </a:lnTo>
                      <a:lnTo>
                        <a:pt x="12184" y="6371"/>
                      </a:lnTo>
                      <a:lnTo>
                        <a:pt x="12207" y="6448"/>
                      </a:lnTo>
                      <a:lnTo>
                        <a:pt x="12243" y="6448"/>
                      </a:lnTo>
                      <a:lnTo>
                        <a:pt x="12348" y="6619"/>
                      </a:lnTo>
                      <a:lnTo>
                        <a:pt x="12423" y="6638"/>
                      </a:lnTo>
                      <a:lnTo>
                        <a:pt x="12480" y="6842"/>
                      </a:lnTo>
                      <a:lnTo>
                        <a:pt x="12935" y="7241"/>
                      </a:lnTo>
                      <a:lnTo>
                        <a:pt x="13158" y="7915"/>
                      </a:lnTo>
                      <a:lnTo>
                        <a:pt x="15429" y="8331"/>
                      </a:lnTo>
                      <a:lnTo>
                        <a:pt x="15576" y="8167"/>
                      </a:lnTo>
                      <a:lnTo>
                        <a:pt x="15957" y="8740"/>
                      </a:lnTo>
                      <a:lnTo>
                        <a:pt x="15424" y="10363"/>
                      </a:lnTo>
                      <a:lnTo>
                        <a:pt x="13158" y="11166"/>
                      </a:lnTo>
                      <a:lnTo>
                        <a:pt x="11049" y="11512"/>
                      </a:lnTo>
                      <a:lnTo>
                        <a:pt x="10746" y="11729"/>
                      </a:lnTo>
                      <a:lnTo>
                        <a:pt x="10244" y="11935"/>
                      </a:lnTo>
                      <a:lnTo>
                        <a:pt x="9691" y="12918"/>
                      </a:lnTo>
                      <a:lnTo>
                        <a:pt x="9503" y="13060"/>
                      </a:lnTo>
                      <a:lnTo>
                        <a:pt x="9370" y="13076"/>
                      </a:lnTo>
                      <a:lnTo>
                        <a:pt x="9104" y="12745"/>
                      </a:lnTo>
                      <a:lnTo>
                        <a:pt x="8174" y="12657"/>
                      </a:lnTo>
                      <a:lnTo>
                        <a:pt x="8036" y="12551"/>
                      </a:lnTo>
                      <a:lnTo>
                        <a:pt x="7547" y="12502"/>
                      </a:lnTo>
                      <a:lnTo>
                        <a:pt x="7168" y="12457"/>
                      </a:lnTo>
                      <a:lnTo>
                        <a:pt x="6859" y="12543"/>
                      </a:lnTo>
                      <a:lnTo>
                        <a:pt x="6711" y="12286"/>
                      </a:lnTo>
                      <a:lnTo>
                        <a:pt x="6580" y="12452"/>
                      </a:lnTo>
                      <a:lnTo>
                        <a:pt x="6570" y="12466"/>
                      </a:lnTo>
                      <a:lnTo>
                        <a:pt x="6560" y="12481"/>
                      </a:lnTo>
                      <a:lnTo>
                        <a:pt x="6551" y="12499"/>
                      </a:lnTo>
                      <a:lnTo>
                        <a:pt x="6542" y="12517"/>
                      </a:lnTo>
                      <a:lnTo>
                        <a:pt x="6524" y="12554"/>
                      </a:lnTo>
                      <a:lnTo>
                        <a:pt x="6507" y="12592"/>
                      </a:lnTo>
                      <a:lnTo>
                        <a:pt x="6492" y="12625"/>
                      </a:lnTo>
                      <a:lnTo>
                        <a:pt x="6480" y="12652"/>
                      </a:lnTo>
                      <a:lnTo>
                        <a:pt x="6474" y="12661"/>
                      </a:lnTo>
                      <a:lnTo>
                        <a:pt x="6468" y="12668"/>
                      </a:lnTo>
                      <a:lnTo>
                        <a:pt x="6466" y="12670"/>
                      </a:lnTo>
                      <a:lnTo>
                        <a:pt x="6464" y="12671"/>
                      </a:lnTo>
                      <a:lnTo>
                        <a:pt x="6461" y="12671"/>
                      </a:lnTo>
                      <a:lnTo>
                        <a:pt x="6460" y="12670"/>
                      </a:lnTo>
                      <a:lnTo>
                        <a:pt x="6452" y="12667"/>
                      </a:lnTo>
                      <a:lnTo>
                        <a:pt x="6447" y="12665"/>
                      </a:lnTo>
                      <a:lnTo>
                        <a:pt x="6442" y="12664"/>
                      </a:lnTo>
                      <a:lnTo>
                        <a:pt x="6439" y="12665"/>
                      </a:lnTo>
                      <a:lnTo>
                        <a:pt x="6436" y="12666"/>
                      </a:lnTo>
                      <a:lnTo>
                        <a:pt x="6435" y="12669"/>
                      </a:lnTo>
                      <a:lnTo>
                        <a:pt x="6434" y="12672"/>
                      </a:lnTo>
                      <a:lnTo>
                        <a:pt x="6434" y="12676"/>
                      </a:lnTo>
                      <a:lnTo>
                        <a:pt x="6437" y="12688"/>
                      </a:lnTo>
                      <a:lnTo>
                        <a:pt x="6442" y="12702"/>
                      </a:lnTo>
                      <a:lnTo>
                        <a:pt x="6449" y="12718"/>
                      </a:lnTo>
                      <a:lnTo>
                        <a:pt x="6457" y="12735"/>
                      </a:lnTo>
                      <a:lnTo>
                        <a:pt x="6474" y="12773"/>
                      </a:lnTo>
                      <a:lnTo>
                        <a:pt x="6488" y="12807"/>
                      </a:lnTo>
                      <a:lnTo>
                        <a:pt x="6493" y="12822"/>
                      </a:lnTo>
                      <a:lnTo>
                        <a:pt x="6495" y="12835"/>
                      </a:lnTo>
                      <a:lnTo>
                        <a:pt x="6495" y="12841"/>
                      </a:lnTo>
                      <a:lnTo>
                        <a:pt x="6495" y="12845"/>
                      </a:lnTo>
                      <a:lnTo>
                        <a:pt x="6493" y="12849"/>
                      </a:lnTo>
                      <a:lnTo>
                        <a:pt x="6490" y="12851"/>
                      </a:lnTo>
                      <a:lnTo>
                        <a:pt x="6442" y="13138"/>
                      </a:lnTo>
                      <a:lnTo>
                        <a:pt x="6289" y="13180"/>
                      </a:lnTo>
                      <a:lnTo>
                        <a:pt x="6127" y="13229"/>
                      </a:lnTo>
                      <a:lnTo>
                        <a:pt x="6092" y="13137"/>
                      </a:lnTo>
                      <a:lnTo>
                        <a:pt x="6092" y="13002"/>
                      </a:lnTo>
                      <a:lnTo>
                        <a:pt x="5928" y="12707"/>
                      </a:lnTo>
                      <a:lnTo>
                        <a:pt x="5877" y="12675"/>
                      </a:lnTo>
                      <a:lnTo>
                        <a:pt x="5820" y="12590"/>
                      </a:lnTo>
                      <a:lnTo>
                        <a:pt x="5760" y="12346"/>
                      </a:lnTo>
                      <a:lnTo>
                        <a:pt x="5511" y="12104"/>
                      </a:lnTo>
                      <a:lnTo>
                        <a:pt x="5396" y="12043"/>
                      </a:lnTo>
                      <a:lnTo>
                        <a:pt x="5329" y="11966"/>
                      </a:lnTo>
                      <a:lnTo>
                        <a:pt x="5175" y="11749"/>
                      </a:lnTo>
                      <a:lnTo>
                        <a:pt x="5026" y="11439"/>
                      </a:lnTo>
                      <a:lnTo>
                        <a:pt x="4967" y="11398"/>
                      </a:lnTo>
                      <a:lnTo>
                        <a:pt x="4943" y="11357"/>
                      </a:lnTo>
                      <a:lnTo>
                        <a:pt x="4900" y="11197"/>
                      </a:lnTo>
                      <a:lnTo>
                        <a:pt x="4893" y="11035"/>
                      </a:lnTo>
                      <a:lnTo>
                        <a:pt x="4842" y="10911"/>
                      </a:lnTo>
                      <a:lnTo>
                        <a:pt x="4758" y="10766"/>
                      </a:lnTo>
                      <a:lnTo>
                        <a:pt x="4661" y="10672"/>
                      </a:lnTo>
                      <a:lnTo>
                        <a:pt x="4617" y="10581"/>
                      </a:lnTo>
                      <a:lnTo>
                        <a:pt x="4559" y="10532"/>
                      </a:lnTo>
                      <a:lnTo>
                        <a:pt x="4443" y="10363"/>
                      </a:lnTo>
                      <a:lnTo>
                        <a:pt x="4361" y="10288"/>
                      </a:lnTo>
                      <a:lnTo>
                        <a:pt x="4157" y="10146"/>
                      </a:lnTo>
                      <a:lnTo>
                        <a:pt x="4050" y="10087"/>
                      </a:lnTo>
                      <a:lnTo>
                        <a:pt x="4015" y="10102"/>
                      </a:lnTo>
                      <a:lnTo>
                        <a:pt x="3932" y="10071"/>
                      </a:lnTo>
                      <a:lnTo>
                        <a:pt x="3740" y="9952"/>
                      </a:lnTo>
                      <a:lnTo>
                        <a:pt x="3642" y="9870"/>
                      </a:lnTo>
                      <a:lnTo>
                        <a:pt x="3582" y="9793"/>
                      </a:lnTo>
                      <a:lnTo>
                        <a:pt x="3491" y="9608"/>
                      </a:lnTo>
                      <a:lnTo>
                        <a:pt x="3451" y="9466"/>
                      </a:lnTo>
                      <a:lnTo>
                        <a:pt x="3359" y="8893"/>
                      </a:lnTo>
                      <a:lnTo>
                        <a:pt x="3309" y="8803"/>
                      </a:lnTo>
                      <a:lnTo>
                        <a:pt x="3299" y="8728"/>
                      </a:lnTo>
                      <a:lnTo>
                        <a:pt x="3333" y="8694"/>
                      </a:lnTo>
                      <a:lnTo>
                        <a:pt x="3366" y="8593"/>
                      </a:lnTo>
                      <a:lnTo>
                        <a:pt x="3383" y="8406"/>
                      </a:lnTo>
                      <a:lnTo>
                        <a:pt x="3326" y="8203"/>
                      </a:lnTo>
                      <a:lnTo>
                        <a:pt x="3283" y="8114"/>
                      </a:lnTo>
                      <a:lnTo>
                        <a:pt x="3225" y="8044"/>
                      </a:lnTo>
                      <a:lnTo>
                        <a:pt x="3174" y="7927"/>
                      </a:lnTo>
                      <a:lnTo>
                        <a:pt x="3141" y="7785"/>
                      </a:lnTo>
                      <a:lnTo>
                        <a:pt x="3091" y="7700"/>
                      </a:lnTo>
                      <a:lnTo>
                        <a:pt x="3034" y="7550"/>
                      </a:lnTo>
                      <a:lnTo>
                        <a:pt x="2859" y="7241"/>
                      </a:lnTo>
                      <a:lnTo>
                        <a:pt x="2650" y="7038"/>
                      </a:lnTo>
                      <a:lnTo>
                        <a:pt x="2518" y="6946"/>
                      </a:lnTo>
                      <a:lnTo>
                        <a:pt x="2492" y="6909"/>
                      </a:lnTo>
                      <a:lnTo>
                        <a:pt x="2451" y="6902"/>
                      </a:lnTo>
                      <a:lnTo>
                        <a:pt x="2435" y="6861"/>
                      </a:lnTo>
                      <a:lnTo>
                        <a:pt x="2326" y="6803"/>
                      </a:lnTo>
                      <a:lnTo>
                        <a:pt x="2243" y="6803"/>
                      </a:lnTo>
                      <a:lnTo>
                        <a:pt x="2193" y="6818"/>
                      </a:lnTo>
                      <a:lnTo>
                        <a:pt x="2135" y="6791"/>
                      </a:lnTo>
                      <a:lnTo>
                        <a:pt x="2108" y="6692"/>
                      </a:lnTo>
                      <a:lnTo>
                        <a:pt x="2042" y="6580"/>
                      </a:lnTo>
                      <a:lnTo>
                        <a:pt x="1949" y="6472"/>
                      </a:lnTo>
                      <a:lnTo>
                        <a:pt x="1949" y="6336"/>
                      </a:lnTo>
                      <a:lnTo>
                        <a:pt x="1965" y="6312"/>
                      </a:lnTo>
                      <a:lnTo>
                        <a:pt x="1833" y="5901"/>
                      </a:lnTo>
                      <a:lnTo>
                        <a:pt x="1757" y="5789"/>
                      </a:lnTo>
                      <a:lnTo>
                        <a:pt x="1665" y="5616"/>
                      </a:lnTo>
                      <a:lnTo>
                        <a:pt x="1549" y="5562"/>
                      </a:lnTo>
                      <a:lnTo>
                        <a:pt x="1507" y="5504"/>
                      </a:lnTo>
                      <a:lnTo>
                        <a:pt x="1483" y="5405"/>
                      </a:lnTo>
                      <a:lnTo>
                        <a:pt x="1326" y="5202"/>
                      </a:lnTo>
                      <a:lnTo>
                        <a:pt x="1198" y="4866"/>
                      </a:lnTo>
                      <a:lnTo>
                        <a:pt x="1117" y="4757"/>
                      </a:lnTo>
                      <a:lnTo>
                        <a:pt x="1016" y="4682"/>
                      </a:lnTo>
                      <a:lnTo>
                        <a:pt x="841" y="4447"/>
                      </a:lnTo>
                      <a:lnTo>
                        <a:pt x="824" y="4372"/>
                      </a:lnTo>
                      <a:lnTo>
                        <a:pt x="724" y="4245"/>
                      </a:lnTo>
                      <a:lnTo>
                        <a:pt x="625" y="4019"/>
                      </a:lnTo>
                      <a:lnTo>
                        <a:pt x="434" y="3656"/>
                      </a:lnTo>
                      <a:lnTo>
                        <a:pt x="357" y="3599"/>
                      </a:lnTo>
                      <a:lnTo>
                        <a:pt x="242" y="3599"/>
                      </a:lnTo>
                      <a:lnTo>
                        <a:pt x="125" y="3581"/>
                      </a:lnTo>
                      <a:lnTo>
                        <a:pt x="101" y="3565"/>
                      </a:lnTo>
                      <a:lnTo>
                        <a:pt x="34" y="3581"/>
                      </a:lnTo>
                      <a:lnTo>
                        <a:pt x="0" y="3649"/>
                      </a:lnTo>
                      <a:lnTo>
                        <a:pt x="159" y="3246"/>
                      </a:lnTo>
                      <a:lnTo>
                        <a:pt x="168" y="2943"/>
                      </a:lnTo>
                      <a:lnTo>
                        <a:pt x="192" y="2825"/>
                      </a:lnTo>
                      <a:lnTo>
                        <a:pt x="249" y="2682"/>
                      </a:lnTo>
                      <a:lnTo>
                        <a:pt x="242" y="2477"/>
                      </a:lnTo>
                      <a:lnTo>
                        <a:pt x="276" y="2595"/>
                      </a:lnTo>
                      <a:lnTo>
                        <a:pt x="1117" y="2702"/>
                      </a:lnTo>
                      <a:lnTo>
                        <a:pt x="1352" y="2467"/>
                      </a:lnTo>
                      <a:lnTo>
                        <a:pt x="1366" y="2419"/>
                      </a:lnTo>
                      <a:lnTo>
                        <a:pt x="1567" y="2061"/>
                      </a:lnTo>
                      <a:lnTo>
                        <a:pt x="2145" y="1974"/>
                      </a:lnTo>
                      <a:lnTo>
                        <a:pt x="2171" y="1850"/>
                      </a:lnTo>
                      <a:lnTo>
                        <a:pt x="2255" y="1618"/>
                      </a:lnTo>
                      <a:lnTo>
                        <a:pt x="2560" y="1448"/>
                      </a:lnTo>
                      <a:lnTo>
                        <a:pt x="2569" y="1429"/>
                      </a:lnTo>
                      <a:lnTo>
                        <a:pt x="1840" y="685"/>
                      </a:lnTo>
                      <a:lnTo>
                        <a:pt x="1731" y="590"/>
                      </a:lnTo>
                      <a:lnTo>
                        <a:pt x="2281" y="464"/>
                      </a:lnTo>
                      <a:lnTo>
                        <a:pt x="3197" y="281"/>
                      </a:lnTo>
                      <a:lnTo>
                        <a:pt x="3424" y="0"/>
                      </a:lnTo>
                      <a:lnTo>
                        <a:pt x="4576" y="321"/>
                      </a:lnTo>
                      <a:lnTo>
                        <a:pt x="5434" y="970"/>
                      </a:lnTo>
                      <a:lnTo>
                        <a:pt x="6203" y="1265"/>
                      </a:lnTo>
                      <a:lnTo>
                        <a:pt x="6284" y="1324"/>
                      </a:lnTo>
                      <a:lnTo>
                        <a:pt x="6395" y="1591"/>
                      </a:lnTo>
                      <a:lnTo>
                        <a:pt x="6793" y="1625"/>
                      </a:lnTo>
                      <a:lnTo>
                        <a:pt x="6826" y="1659"/>
                      </a:lnTo>
                      <a:lnTo>
                        <a:pt x="6826" y="2203"/>
                      </a:lnTo>
                      <a:lnTo>
                        <a:pt x="6859" y="2247"/>
                      </a:lnTo>
                      <a:lnTo>
                        <a:pt x="7719" y="2641"/>
                      </a:lnTo>
                      <a:lnTo>
                        <a:pt x="9071" y="272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21" name="Freeform 144"/>
                <p:cNvSpPr>
                  <a:spLocks noChangeAspect="1"/>
                </p:cNvSpPr>
                <p:nvPr/>
              </p:nvSpPr>
              <p:spPr bwMode="gray">
                <a:xfrm>
                  <a:off x="2896" y="2116"/>
                  <a:ext cx="231" cy="189"/>
                </a:xfrm>
                <a:custGeom>
                  <a:avLst/>
                  <a:gdLst/>
                  <a:ahLst/>
                  <a:cxnLst>
                    <a:cxn ang="0">
                      <a:pos x="9706" y="2910"/>
                    </a:cxn>
                    <a:cxn ang="0">
                      <a:pos x="10455" y="3296"/>
                    </a:cxn>
                    <a:cxn ang="0">
                      <a:pos x="10697" y="3824"/>
                    </a:cxn>
                    <a:cxn ang="0">
                      <a:pos x="11100" y="4189"/>
                    </a:cxn>
                    <a:cxn ang="0">
                      <a:pos x="11258" y="4460"/>
                    </a:cxn>
                    <a:cxn ang="0">
                      <a:pos x="11663" y="4798"/>
                    </a:cxn>
                    <a:cxn ang="0">
                      <a:pos x="11788" y="5234"/>
                    </a:cxn>
                    <a:cxn ang="0">
                      <a:pos x="11824" y="5695"/>
                    </a:cxn>
                    <a:cxn ang="0">
                      <a:pos x="12147" y="6336"/>
                    </a:cxn>
                    <a:cxn ang="0">
                      <a:pos x="12348" y="6619"/>
                    </a:cxn>
                    <a:cxn ang="0">
                      <a:pos x="13158" y="7915"/>
                    </a:cxn>
                    <a:cxn ang="0">
                      <a:pos x="15424" y="10363"/>
                    </a:cxn>
                    <a:cxn ang="0">
                      <a:pos x="10244" y="11935"/>
                    </a:cxn>
                    <a:cxn ang="0">
                      <a:pos x="9104" y="12745"/>
                    </a:cxn>
                    <a:cxn ang="0">
                      <a:pos x="7168" y="12457"/>
                    </a:cxn>
                    <a:cxn ang="0">
                      <a:pos x="6570" y="12466"/>
                    </a:cxn>
                    <a:cxn ang="0">
                      <a:pos x="6524" y="12554"/>
                    </a:cxn>
                    <a:cxn ang="0">
                      <a:pos x="6474" y="12661"/>
                    </a:cxn>
                    <a:cxn ang="0">
                      <a:pos x="6461" y="12671"/>
                    </a:cxn>
                    <a:cxn ang="0">
                      <a:pos x="6442" y="12664"/>
                    </a:cxn>
                    <a:cxn ang="0">
                      <a:pos x="6434" y="12672"/>
                    </a:cxn>
                    <a:cxn ang="0">
                      <a:pos x="6449" y="12718"/>
                    </a:cxn>
                    <a:cxn ang="0">
                      <a:pos x="6493" y="12822"/>
                    </a:cxn>
                    <a:cxn ang="0">
                      <a:pos x="6493" y="12849"/>
                    </a:cxn>
                    <a:cxn ang="0">
                      <a:pos x="6127" y="13229"/>
                    </a:cxn>
                    <a:cxn ang="0">
                      <a:pos x="5877" y="12675"/>
                    </a:cxn>
                    <a:cxn ang="0">
                      <a:pos x="5396" y="12043"/>
                    </a:cxn>
                    <a:cxn ang="0">
                      <a:pos x="4967" y="11398"/>
                    </a:cxn>
                    <a:cxn ang="0">
                      <a:pos x="4842" y="10911"/>
                    </a:cxn>
                    <a:cxn ang="0">
                      <a:pos x="4559" y="10532"/>
                    </a:cxn>
                    <a:cxn ang="0">
                      <a:pos x="4050" y="10087"/>
                    </a:cxn>
                    <a:cxn ang="0">
                      <a:pos x="3642" y="9870"/>
                    </a:cxn>
                    <a:cxn ang="0">
                      <a:pos x="3359" y="8893"/>
                    </a:cxn>
                    <a:cxn ang="0">
                      <a:pos x="3366" y="8593"/>
                    </a:cxn>
                    <a:cxn ang="0">
                      <a:pos x="3225" y="8044"/>
                    </a:cxn>
                    <a:cxn ang="0">
                      <a:pos x="3034" y="7550"/>
                    </a:cxn>
                    <a:cxn ang="0">
                      <a:pos x="2492" y="6909"/>
                    </a:cxn>
                    <a:cxn ang="0">
                      <a:pos x="2243" y="6803"/>
                    </a:cxn>
                    <a:cxn ang="0">
                      <a:pos x="2042" y="6580"/>
                    </a:cxn>
                    <a:cxn ang="0">
                      <a:pos x="1833" y="5901"/>
                    </a:cxn>
                    <a:cxn ang="0">
                      <a:pos x="1507" y="5504"/>
                    </a:cxn>
                    <a:cxn ang="0">
                      <a:pos x="1117" y="4757"/>
                    </a:cxn>
                    <a:cxn ang="0">
                      <a:pos x="724" y="4245"/>
                    </a:cxn>
                    <a:cxn ang="0">
                      <a:pos x="242" y="3599"/>
                    </a:cxn>
                    <a:cxn ang="0">
                      <a:pos x="0" y="3649"/>
                    </a:cxn>
                    <a:cxn ang="0">
                      <a:pos x="249" y="2682"/>
                    </a:cxn>
                    <a:cxn ang="0">
                      <a:pos x="1352" y="2467"/>
                    </a:cxn>
                    <a:cxn ang="0">
                      <a:pos x="2171" y="1850"/>
                    </a:cxn>
                    <a:cxn ang="0">
                      <a:pos x="1840" y="685"/>
                    </a:cxn>
                    <a:cxn ang="0">
                      <a:pos x="3424" y="0"/>
                    </a:cxn>
                    <a:cxn ang="0">
                      <a:pos x="6284" y="1324"/>
                    </a:cxn>
                    <a:cxn ang="0">
                      <a:pos x="6826" y="2203"/>
                    </a:cxn>
                  </a:cxnLst>
                  <a:rect l="0" t="0" r="r" b="b"/>
                  <a:pathLst>
                    <a:path w="15957" h="13229">
                      <a:moveTo>
                        <a:pt x="9071" y="2723"/>
                      </a:moveTo>
                      <a:lnTo>
                        <a:pt x="9131" y="2757"/>
                      </a:lnTo>
                      <a:lnTo>
                        <a:pt x="9432" y="2810"/>
                      </a:lnTo>
                      <a:lnTo>
                        <a:pt x="9706" y="2910"/>
                      </a:lnTo>
                      <a:lnTo>
                        <a:pt x="9809" y="2999"/>
                      </a:lnTo>
                      <a:lnTo>
                        <a:pt x="9934" y="3216"/>
                      </a:lnTo>
                      <a:lnTo>
                        <a:pt x="10393" y="3219"/>
                      </a:lnTo>
                      <a:lnTo>
                        <a:pt x="10455" y="3296"/>
                      </a:lnTo>
                      <a:lnTo>
                        <a:pt x="10504" y="3434"/>
                      </a:lnTo>
                      <a:lnTo>
                        <a:pt x="10545" y="3497"/>
                      </a:lnTo>
                      <a:lnTo>
                        <a:pt x="10573" y="3599"/>
                      </a:lnTo>
                      <a:lnTo>
                        <a:pt x="10697" y="3824"/>
                      </a:lnTo>
                      <a:lnTo>
                        <a:pt x="10817" y="3869"/>
                      </a:lnTo>
                      <a:lnTo>
                        <a:pt x="10903" y="4039"/>
                      </a:lnTo>
                      <a:lnTo>
                        <a:pt x="11097" y="4175"/>
                      </a:lnTo>
                      <a:lnTo>
                        <a:pt x="11100" y="4189"/>
                      </a:lnTo>
                      <a:lnTo>
                        <a:pt x="11062" y="4232"/>
                      </a:lnTo>
                      <a:lnTo>
                        <a:pt x="11097" y="4290"/>
                      </a:lnTo>
                      <a:lnTo>
                        <a:pt x="11134" y="4426"/>
                      </a:lnTo>
                      <a:lnTo>
                        <a:pt x="11258" y="4460"/>
                      </a:lnTo>
                      <a:lnTo>
                        <a:pt x="11313" y="4512"/>
                      </a:lnTo>
                      <a:lnTo>
                        <a:pt x="11537" y="4658"/>
                      </a:lnTo>
                      <a:lnTo>
                        <a:pt x="11613" y="4723"/>
                      </a:lnTo>
                      <a:lnTo>
                        <a:pt x="11663" y="4798"/>
                      </a:lnTo>
                      <a:lnTo>
                        <a:pt x="11680" y="4839"/>
                      </a:lnTo>
                      <a:lnTo>
                        <a:pt x="11658" y="4977"/>
                      </a:lnTo>
                      <a:lnTo>
                        <a:pt x="11764" y="5127"/>
                      </a:lnTo>
                      <a:lnTo>
                        <a:pt x="11788" y="5234"/>
                      </a:lnTo>
                      <a:lnTo>
                        <a:pt x="11781" y="5294"/>
                      </a:lnTo>
                      <a:lnTo>
                        <a:pt x="11711" y="5381"/>
                      </a:lnTo>
                      <a:lnTo>
                        <a:pt x="11715" y="5546"/>
                      </a:lnTo>
                      <a:lnTo>
                        <a:pt x="11824" y="5695"/>
                      </a:lnTo>
                      <a:lnTo>
                        <a:pt x="12016" y="5908"/>
                      </a:lnTo>
                      <a:lnTo>
                        <a:pt x="12063" y="6177"/>
                      </a:lnTo>
                      <a:lnTo>
                        <a:pt x="12135" y="6264"/>
                      </a:lnTo>
                      <a:lnTo>
                        <a:pt x="12147" y="6336"/>
                      </a:lnTo>
                      <a:lnTo>
                        <a:pt x="12184" y="6371"/>
                      </a:lnTo>
                      <a:lnTo>
                        <a:pt x="12207" y="6448"/>
                      </a:lnTo>
                      <a:lnTo>
                        <a:pt x="12243" y="6448"/>
                      </a:lnTo>
                      <a:lnTo>
                        <a:pt x="12348" y="6619"/>
                      </a:lnTo>
                      <a:lnTo>
                        <a:pt x="12423" y="6638"/>
                      </a:lnTo>
                      <a:lnTo>
                        <a:pt x="12480" y="6842"/>
                      </a:lnTo>
                      <a:lnTo>
                        <a:pt x="12935" y="7241"/>
                      </a:lnTo>
                      <a:lnTo>
                        <a:pt x="13158" y="7915"/>
                      </a:lnTo>
                      <a:lnTo>
                        <a:pt x="15429" y="8331"/>
                      </a:lnTo>
                      <a:lnTo>
                        <a:pt x="15576" y="8167"/>
                      </a:lnTo>
                      <a:lnTo>
                        <a:pt x="15957" y="8740"/>
                      </a:lnTo>
                      <a:lnTo>
                        <a:pt x="15424" y="10363"/>
                      </a:lnTo>
                      <a:lnTo>
                        <a:pt x="13158" y="11166"/>
                      </a:lnTo>
                      <a:lnTo>
                        <a:pt x="11049" y="11512"/>
                      </a:lnTo>
                      <a:lnTo>
                        <a:pt x="10746" y="11729"/>
                      </a:lnTo>
                      <a:lnTo>
                        <a:pt x="10244" y="11935"/>
                      </a:lnTo>
                      <a:lnTo>
                        <a:pt x="9691" y="12918"/>
                      </a:lnTo>
                      <a:lnTo>
                        <a:pt x="9503" y="13060"/>
                      </a:lnTo>
                      <a:lnTo>
                        <a:pt x="9370" y="13076"/>
                      </a:lnTo>
                      <a:lnTo>
                        <a:pt x="9104" y="12745"/>
                      </a:lnTo>
                      <a:lnTo>
                        <a:pt x="8174" y="12657"/>
                      </a:lnTo>
                      <a:lnTo>
                        <a:pt x="8036" y="12551"/>
                      </a:lnTo>
                      <a:lnTo>
                        <a:pt x="7547" y="12502"/>
                      </a:lnTo>
                      <a:lnTo>
                        <a:pt x="7168" y="12457"/>
                      </a:lnTo>
                      <a:lnTo>
                        <a:pt x="6859" y="12543"/>
                      </a:lnTo>
                      <a:lnTo>
                        <a:pt x="6711" y="12286"/>
                      </a:lnTo>
                      <a:lnTo>
                        <a:pt x="6580" y="12452"/>
                      </a:lnTo>
                      <a:lnTo>
                        <a:pt x="6570" y="12466"/>
                      </a:lnTo>
                      <a:lnTo>
                        <a:pt x="6560" y="12481"/>
                      </a:lnTo>
                      <a:lnTo>
                        <a:pt x="6551" y="12499"/>
                      </a:lnTo>
                      <a:lnTo>
                        <a:pt x="6542" y="12517"/>
                      </a:lnTo>
                      <a:lnTo>
                        <a:pt x="6524" y="12554"/>
                      </a:lnTo>
                      <a:lnTo>
                        <a:pt x="6507" y="12592"/>
                      </a:lnTo>
                      <a:lnTo>
                        <a:pt x="6492" y="12625"/>
                      </a:lnTo>
                      <a:lnTo>
                        <a:pt x="6480" y="12652"/>
                      </a:lnTo>
                      <a:lnTo>
                        <a:pt x="6474" y="12661"/>
                      </a:lnTo>
                      <a:lnTo>
                        <a:pt x="6468" y="12668"/>
                      </a:lnTo>
                      <a:lnTo>
                        <a:pt x="6466" y="12670"/>
                      </a:lnTo>
                      <a:lnTo>
                        <a:pt x="6464" y="12671"/>
                      </a:lnTo>
                      <a:lnTo>
                        <a:pt x="6461" y="12671"/>
                      </a:lnTo>
                      <a:lnTo>
                        <a:pt x="6460" y="12670"/>
                      </a:lnTo>
                      <a:lnTo>
                        <a:pt x="6452" y="12667"/>
                      </a:lnTo>
                      <a:lnTo>
                        <a:pt x="6447" y="12665"/>
                      </a:lnTo>
                      <a:lnTo>
                        <a:pt x="6442" y="12664"/>
                      </a:lnTo>
                      <a:lnTo>
                        <a:pt x="6439" y="12665"/>
                      </a:lnTo>
                      <a:lnTo>
                        <a:pt x="6436" y="12666"/>
                      </a:lnTo>
                      <a:lnTo>
                        <a:pt x="6435" y="12669"/>
                      </a:lnTo>
                      <a:lnTo>
                        <a:pt x="6434" y="12672"/>
                      </a:lnTo>
                      <a:lnTo>
                        <a:pt x="6434" y="12676"/>
                      </a:lnTo>
                      <a:lnTo>
                        <a:pt x="6437" y="12688"/>
                      </a:lnTo>
                      <a:lnTo>
                        <a:pt x="6442" y="12702"/>
                      </a:lnTo>
                      <a:lnTo>
                        <a:pt x="6449" y="12718"/>
                      </a:lnTo>
                      <a:lnTo>
                        <a:pt x="6457" y="12735"/>
                      </a:lnTo>
                      <a:lnTo>
                        <a:pt x="6474" y="12773"/>
                      </a:lnTo>
                      <a:lnTo>
                        <a:pt x="6488" y="12807"/>
                      </a:lnTo>
                      <a:lnTo>
                        <a:pt x="6493" y="12822"/>
                      </a:lnTo>
                      <a:lnTo>
                        <a:pt x="6495" y="12835"/>
                      </a:lnTo>
                      <a:lnTo>
                        <a:pt x="6495" y="12841"/>
                      </a:lnTo>
                      <a:lnTo>
                        <a:pt x="6495" y="12845"/>
                      </a:lnTo>
                      <a:lnTo>
                        <a:pt x="6493" y="12849"/>
                      </a:lnTo>
                      <a:lnTo>
                        <a:pt x="6490" y="12851"/>
                      </a:lnTo>
                      <a:lnTo>
                        <a:pt x="6442" y="13138"/>
                      </a:lnTo>
                      <a:lnTo>
                        <a:pt x="6289" y="13180"/>
                      </a:lnTo>
                      <a:lnTo>
                        <a:pt x="6127" y="13229"/>
                      </a:lnTo>
                      <a:lnTo>
                        <a:pt x="6092" y="13137"/>
                      </a:lnTo>
                      <a:lnTo>
                        <a:pt x="6092" y="13002"/>
                      </a:lnTo>
                      <a:lnTo>
                        <a:pt x="5928" y="12707"/>
                      </a:lnTo>
                      <a:lnTo>
                        <a:pt x="5877" y="12675"/>
                      </a:lnTo>
                      <a:lnTo>
                        <a:pt x="5820" y="12590"/>
                      </a:lnTo>
                      <a:lnTo>
                        <a:pt x="5760" y="12346"/>
                      </a:lnTo>
                      <a:lnTo>
                        <a:pt x="5511" y="12104"/>
                      </a:lnTo>
                      <a:lnTo>
                        <a:pt x="5396" y="12043"/>
                      </a:lnTo>
                      <a:lnTo>
                        <a:pt x="5329" y="11966"/>
                      </a:lnTo>
                      <a:lnTo>
                        <a:pt x="5175" y="11749"/>
                      </a:lnTo>
                      <a:lnTo>
                        <a:pt x="5026" y="11439"/>
                      </a:lnTo>
                      <a:lnTo>
                        <a:pt x="4967" y="11398"/>
                      </a:lnTo>
                      <a:lnTo>
                        <a:pt x="4943" y="11357"/>
                      </a:lnTo>
                      <a:lnTo>
                        <a:pt x="4900" y="11197"/>
                      </a:lnTo>
                      <a:lnTo>
                        <a:pt x="4893" y="11035"/>
                      </a:lnTo>
                      <a:lnTo>
                        <a:pt x="4842" y="10911"/>
                      </a:lnTo>
                      <a:lnTo>
                        <a:pt x="4758" y="10766"/>
                      </a:lnTo>
                      <a:lnTo>
                        <a:pt x="4661" y="10672"/>
                      </a:lnTo>
                      <a:lnTo>
                        <a:pt x="4617" y="10581"/>
                      </a:lnTo>
                      <a:lnTo>
                        <a:pt x="4559" y="10532"/>
                      </a:lnTo>
                      <a:lnTo>
                        <a:pt x="4443" y="10363"/>
                      </a:lnTo>
                      <a:lnTo>
                        <a:pt x="4361" y="10288"/>
                      </a:lnTo>
                      <a:lnTo>
                        <a:pt x="4157" y="10146"/>
                      </a:lnTo>
                      <a:lnTo>
                        <a:pt x="4050" y="10087"/>
                      </a:lnTo>
                      <a:lnTo>
                        <a:pt x="4015" y="10102"/>
                      </a:lnTo>
                      <a:lnTo>
                        <a:pt x="3932" y="10071"/>
                      </a:lnTo>
                      <a:lnTo>
                        <a:pt x="3740" y="9952"/>
                      </a:lnTo>
                      <a:lnTo>
                        <a:pt x="3642" y="9870"/>
                      </a:lnTo>
                      <a:lnTo>
                        <a:pt x="3582" y="9793"/>
                      </a:lnTo>
                      <a:lnTo>
                        <a:pt x="3491" y="9608"/>
                      </a:lnTo>
                      <a:lnTo>
                        <a:pt x="3451" y="9466"/>
                      </a:lnTo>
                      <a:lnTo>
                        <a:pt x="3359" y="8893"/>
                      </a:lnTo>
                      <a:lnTo>
                        <a:pt x="3309" y="8803"/>
                      </a:lnTo>
                      <a:lnTo>
                        <a:pt x="3299" y="8728"/>
                      </a:lnTo>
                      <a:lnTo>
                        <a:pt x="3333" y="8694"/>
                      </a:lnTo>
                      <a:lnTo>
                        <a:pt x="3366" y="8593"/>
                      </a:lnTo>
                      <a:lnTo>
                        <a:pt x="3383" y="8406"/>
                      </a:lnTo>
                      <a:lnTo>
                        <a:pt x="3326" y="8203"/>
                      </a:lnTo>
                      <a:lnTo>
                        <a:pt x="3283" y="8114"/>
                      </a:lnTo>
                      <a:lnTo>
                        <a:pt x="3225" y="8044"/>
                      </a:lnTo>
                      <a:lnTo>
                        <a:pt x="3174" y="7927"/>
                      </a:lnTo>
                      <a:lnTo>
                        <a:pt x="3141" y="7785"/>
                      </a:lnTo>
                      <a:lnTo>
                        <a:pt x="3091" y="7700"/>
                      </a:lnTo>
                      <a:lnTo>
                        <a:pt x="3034" y="7550"/>
                      </a:lnTo>
                      <a:lnTo>
                        <a:pt x="2859" y="7241"/>
                      </a:lnTo>
                      <a:lnTo>
                        <a:pt x="2650" y="7038"/>
                      </a:lnTo>
                      <a:lnTo>
                        <a:pt x="2518" y="6946"/>
                      </a:lnTo>
                      <a:lnTo>
                        <a:pt x="2492" y="6909"/>
                      </a:lnTo>
                      <a:lnTo>
                        <a:pt x="2451" y="6902"/>
                      </a:lnTo>
                      <a:lnTo>
                        <a:pt x="2435" y="6861"/>
                      </a:lnTo>
                      <a:lnTo>
                        <a:pt x="2326" y="6803"/>
                      </a:lnTo>
                      <a:lnTo>
                        <a:pt x="2243" y="6803"/>
                      </a:lnTo>
                      <a:lnTo>
                        <a:pt x="2193" y="6818"/>
                      </a:lnTo>
                      <a:lnTo>
                        <a:pt x="2135" y="6791"/>
                      </a:lnTo>
                      <a:lnTo>
                        <a:pt x="2108" y="6692"/>
                      </a:lnTo>
                      <a:lnTo>
                        <a:pt x="2042" y="6580"/>
                      </a:lnTo>
                      <a:lnTo>
                        <a:pt x="1949" y="6472"/>
                      </a:lnTo>
                      <a:lnTo>
                        <a:pt x="1949" y="6336"/>
                      </a:lnTo>
                      <a:lnTo>
                        <a:pt x="1965" y="6312"/>
                      </a:lnTo>
                      <a:lnTo>
                        <a:pt x="1833" y="5901"/>
                      </a:lnTo>
                      <a:lnTo>
                        <a:pt x="1757" y="5789"/>
                      </a:lnTo>
                      <a:lnTo>
                        <a:pt x="1665" y="5616"/>
                      </a:lnTo>
                      <a:lnTo>
                        <a:pt x="1549" y="5562"/>
                      </a:lnTo>
                      <a:lnTo>
                        <a:pt x="1507" y="5504"/>
                      </a:lnTo>
                      <a:lnTo>
                        <a:pt x="1483" y="5405"/>
                      </a:lnTo>
                      <a:lnTo>
                        <a:pt x="1326" y="5202"/>
                      </a:lnTo>
                      <a:lnTo>
                        <a:pt x="1198" y="4866"/>
                      </a:lnTo>
                      <a:lnTo>
                        <a:pt x="1117" y="4757"/>
                      </a:lnTo>
                      <a:lnTo>
                        <a:pt x="1016" y="4682"/>
                      </a:lnTo>
                      <a:lnTo>
                        <a:pt x="841" y="4447"/>
                      </a:lnTo>
                      <a:lnTo>
                        <a:pt x="824" y="4372"/>
                      </a:lnTo>
                      <a:lnTo>
                        <a:pt x="724" y="4245"/>
                      </a:lnTo>
                      <a:lnTo>
                        <a:pt x="625" y="4019"/>
                      </a:lnTo>
                      <a:lnTo>
                        <a:pt x="434" y="3656"/>
                      </a:lnTo>
                      <a:lnTo>
                        <a:pt x="357" y="3599"/>
                      </a:lnTo>
                      <a:lnTo>
                        <a:pt x="242" y="3599"/>
                      </a:lnTo>
                      <a:lnTo>
                        <a:pt x="125" y="3581"/>
                      </a:lnTo>
                      <a:lnTo>
                        <a:pt x="101" y="3565"/>
                      </a:lnTo>
                      <a:lnTo>
                        <a:pt x="34" y="3581"/>
                      </a:lnTo>
                      <a:lnTo>
                        <a:pt x="0" y="3649"/>
                      </a:lnTo>
                      <a:lnTo>
                        <a:pt x="159" y="3246"/>
                      </a:lnTo>
                      <a:lnTo>
                        <a:pt x="168" y="2943"/>
                      </a:lnTo>
                      <a:lnTo>
                        <a:pt x="192" y="2825"/>
                      </a:lnTo>
                      <a:lnTo>
                        <a:pt x="249" y="2682"/>
                      </a:lnTo>
                      <a:lnTo>
                        <a:pt x="242" y="2477"/>
                      </a:lnTo>
                      <a:lnTo>
                        <a:pt x="276" y="2595"/>
                      </a:lnTo>
                      <a:lnTo>
                        <a:pt x="1117" y="2702"/>
                      </a:lnTo>
                      <a:lnTo>
                        <a:pt x="1352" y="2467"/>
                      </a:lnTo>
                      <a:lnTo>
                        <a:pt x="1366" y="2419"/>
                      </a:lnTo>
                      <a:lnTo>
                        <a:pt x="1567" y="2061"/>
                      </a:lnTo>
                      <a:lnTo>
                        <a:pt x="2145" y="1974"/>
                      </a:lnTo>
                      <a:lnTo>
                        <a:pt x="2171" y="1850"/>
                      </a:lnTo>
                      <a:lnTo>
                        <a:pt x="2255" y="1618"/>
                      </a:lnTo>
                      <a:lnTo>
                        <a:pt x="2560" y="1448"/>
                      </a:lnTo>
                      <a:lnTo>
                        <a:pt x="2569" y="1429"/>
                      </a:lnTo>
                      <a:lnTo>
                        <a:pt x="1840" y="685"/>
                      </a:lnTo>
                      <a:lnTo>
                        <a:pt x="1731" y="590"/>
                      </a:lnTo>
                      <a:lnTo>
                        <a:pt x="2281" y="464"/>
                      </a:lnTo>
                      <a:lnTo>
                        <a:pt x="3197" y="281"/>
                      </a:lnTo>
                      <a:lnTo>
                        <a:pt x="3424" y="0"/>
                      </a:lnTo>
                      <a:lnTo>
                        <a:pt x="4576" y="321"/>
                      </a:lnTo>
                      <a:lnTo>
                        <a:pt x="5434" y="970"/>
                      </a:lnTo>
                      <a:lnTo>
                        <a:pt x="6203" y="1265"/>
                      </a:lnTo>
                      <a:lnTo>
                        <a:pt x="6284" y="1324"/>
                      </a:lnTo>
                      <a:lnTo>
                        <a:pt x="6395" y="1591"/>
                      </a:lnTo>
                      <a:lnTo>
                        <a:pt x="6793" y="1625"/>
                      </a:lnTo>
                      <a:lnTo>
                        <a:pt x="6826" y="1659"/>
                      </a:lnTo>
                      <a:lnTo>
                        <a:pt x="6826" y="2203"/>
                      </a:lnTo>
                      <a:lnTo>
                        <a:pt x="6859" y="2247"/>
                      </a:lnTo>
                      <a:lnTo>
                        <a:pt x="7719" y="2641"/>
                      </a:lnTo>
                      <a:lnTo>
                        <a:pt x="9071" y="2723"/>
                      </a:lnTo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  <p:grpSp>
            <p:nvGrpSpPr>
              <p:cNvPr id="300" name="Group 145"/>
              <p:cNvGrpSpPr>
                <a:grpSpLocks noChangeAspect="1"/>
              </p:cNvGrpSpPr>
              <p:nvPr/>
            </p:nvGrpSpPr>
            <p:grpSpPr bwMode="gray">
              <a:xfrm>
                <a:off x="2984" y="2276"/>
                <a:ext cx="114" cy="72"/>
                <a:chOff x="2984" y="2276"/>
                <a:chExt cx="114" cy="72"/>
              </a:xfrm>
              <a:grpFill/>
            </p:grpSpPr>
            <p:sp>
              <p:nvSpPr>
                <p:cNvPr id="318" name="Freeform 146"/>
                <p:cNvSpPr>
                  <a:spLocks noChangeAspect="1"/>
                </p:cNvSpPr>
                <p:nvPr/>
              </p:nvSpPr>
              <p:spPr bwMode="gray">
                <a:xfrm>
                  <a:off x="2984" y="2276"/>
                  <a:ext cx="114" cy="72"/>
                </a:xfrm>
                <a:custGeom>
                  <a:avLst/>
                  <a:gdLst/>
                  <a:ahLst/>
                  <a:cxnLst>
                    <a:cxn ang="0">
                      <a:pos x="14868" y="4199"/>
                    </a:cxn>
                    <a:cxn ang="0">
                      <a:pos x="14514" y="5031"/>
                    </a:cxn>
                    <a:cxn ang="0">
                      <a:pos x="14466" y="5374"/>
                    </a:cxn>
                    <a:cxn ang="0">
                      <a:pos x="14027" y="5466"/>
                    </a:cxn>
                    <a:cxn ang="0">
                      <a:pos x="13073" y="5967"/>
                    </a:cxn>
                    <a:cxn ang="0">
                      <a:pos x="12036" y="6264"/>
                    </a:cxn>
                    <a:cxn ang="0">
                      <a:pos x="10929" y="6593"/>
                    </a:cxn>
                    <a:cxn ang="0">
                      <a:pos x="9740" y="7051"/>
                    </a:cxn>
                    <a:cxn ang="0">
                      <a:pos x="9205" y="7739"/>
                    </a:cxn>
                    <a:cxn ang="0">
                      <a:pos x="8905" y="7936"/>
                    </a:cxn>
                    <a:cxn ang="0">
                      <a:pos x="7539" y="8146"/>
                    </a:cxn>
                    <a:cxn ang="0">
                      <a:pos x="6784" y="8623"/>
                    </a:cxn>
                    <a:cxn ang="0">
                      <a:pos x="5672" y="8733"/>
                    </a:cxn>
                    <a:cxn ang="0">
                      <a:pos x="4779" y="8801"/>
                    </a:cxn>
                    <a:cxn ang="0">
                      <a:pos x="3686" y="9598"/>
                    </a:cxn>
                    <a:cxn ang="0">
                      <a:pos x="2368" y="9909"/>
                    </a:cxn>
                    <a:cxn ang="0">
                      <a:pos x="1652" y="9818"/>
                    </a:cxn>
                    <a:cxn ang="0">
                      <a:pos x="898" y="9087"/>
                    </a:cxn>
                    <a:cxn ang="0">
                      <a:pos x="716" y="7955"/>
                    </a:cxn>
                    <a:cxn ang="0">
                      <a:pos x="482" y="6794"/>
                    </a:cxn>
                    <a:cxn ang="0">
                      <a:pos x="320" y="6215"/>
                    </a:cxn>
                    <a:cxn ang="0">
                      <a:pos x="67" y="5752"/>
                    </a:cxn>
                    <a:cxn ang="0">
                      <a:pos x="86" y="5552"/>
                    </a:cxn>
                    <a:cxn ang="0">
                      <a:pos x="201" y="5007"/>
                    </a:cxn>
                    <a:cxn ang="0">
                      <a:pos x="153" y="4142"/>
                    </a:cxn>
                    <a:cxn ang="0">
                      <a:pos x="850" y="3308"/>
                    </a:cxn>
                    <a:cxn ang="0">
                      <a:pos x="854" y="3271"/>
                    </a:cxn>
                    <a:cxn ang="0">
                      <a:pos x="847" y="3234"/>
                    </a:cxn>
                    <a:cxn ang="0">
                      <a:pos x="825" y="3184"/>
                    </a:cxn>
                    <a:cxn ang="0">
                      <a:pos x="777" y="3110"/>
                    </a:cxn>
                    <a:cxn ang="0">
                      <a:pos x="741" y="3050"/>
                    </a:cxn>
                    <a:cxn ang="0">
                      <a:pos x="727" y="3014"/>
                    </a:cxn>
                    <a:cxn ang="0">
                      <a:pos x="722" y="2979"/>
                    </a:cxn>
                    <a:cxn ang="0">
                      <a:pos x="730" y="2945"/>
                    </a:cxn>
                    <a:cxn ang="0">
                      <a:pos x="1266" y="2241"/>
                    </a:cxn>
                    <a:cxn ang="0">
                      <a:pos x="3858" y="2689"/>
                    </a:cxn>
                    <a:cxn ang="0">
                      <a:pos x="6615" y="3737"/>
                    </a:cxn>
                    <a:cxn ang="0">
                      <a:pos x="6718" y="3700"/>
                    </a:cxn>
                    <a:cxn ang="0">
                      <a:pos x="6894" y="3652"/>
                    </a:cxn>
                    <a:cxn ang="0">
                      <a:pos x="6943" y="3637"/>
                    </a:cxn>
                    <a:cxn ang="0">
                      <a:pos x="6990" y="3616"/>
                    </a:cxn>
                    <a:cxn ang="0">
                      <a:pos x="7033" y="3591"/>
                    </a:cxn>
                    <a:cxn ang="0">
                      <a:pos x="7072" y="3559"/>
                    </a:cxn>
                    <a:cxn ang="0">
                      <a:pos x="7105" y="3519"/>
                    </a:cxn>
                    <a:cxn ang="0">
                      <a:pos x="9312" y="1068"/>
                    </a:cxn>
                    <a:cxn ang="0">
                      <a:pos x="10014" y="620"/>
                    </a:cxn>
                    <a:cxn ang="0">
                      <a:pos x="10264" y="564"/>
                    </a:cxn>
                    <a:cxn ang="0">
                      <a:pos x="10633" y="503"/>
                    </a:cxn>
                    <a:cxn ang="0">
                      <a:pos x="11090" y="440"/>
                    </a:cxn>
                    <a:cxn ang="0">
                      <a:pos x="11961" y="328"/>
                    </a:cxn>
                    <a:cxn ang="0">
                      <a:pos x="12844" y="217"/>
                    </a:cxn>
                    <a:cxn ang="0">
                      <a:pos x="13320" y="152"/>
                    </a:cxn>
                    <a:cxn ang="0">
                      <a:pos x="13716" y="91"/>
                    </a:cxn>
                    <a:cxn ang="0">
                      <a:pos x="14003" y="35"/>
                    </a:cxn>
                    <a:cxn ang="0">
                      <a:pos x="15675" y="3780"/>
                    </a:cxn>
                  </a:cxnLst>
                  <a:rect l="0" t="0" r="r" b="b"/>
                  <a:pathLst>
                    <a:path w="15675" h="9942">
                      <a:moveTo>
                        <a:pt x="15675" y="3780"/>
                      </a:moveTo>
                      <a:lnTo>
                        <a:pt x="15169" y="3985"/>
                      </a:lnTo>
                      <a:lnTo>
                        <a:pt x="14868" y="4199"/>
                      </a:lnTo>
                      <a:lnTo>
                        <a:pt x="14648" y="4443"/>
                      </a:lnTo>
                      <a:lnTo>
                        <a:pt x="14447" y="4864"/>
                      </a:lnTo>
                      <a:lnTo>
                        <a:pt x="14514" y="5031"/>
                      </a:lnTo>
                      <a:lnTo>
                        <a:pt x="14543" y="5260"/>
                      </a:lnTo>
                      <a:lnTo>
                        <a:pt x="14538" y="5308"/>
                      </a:lnTo>
                      <a:lnTo>
                        <a:pt x="14466" y="5374"/>
                      </a:lnTo>
                      <a:lnTo>
                        <a:pt x="14385" y="5418"/>
                      </a:lnTo>
                      <a:lnTo>
                        <a:pt x="14190" y="5385"/>
                      </a:lnTo>
                      <a:lnTo>
                        <a:pt x="14027" y="5466"/>
                      </a:lnTo>
                      <a:lnTo>
                        <a:pt x="13627" y="5576"/>
                      </a:lnTo>
                      <a:lnTo>
                        <a:pt x="13364" y="5843"/>
                      </a:lnTo>
                      <a:lnTo>
                        <a:pt x="13073" y="5967"/>
                      </a:lnTo>
                      <a:lnTo>
                        <a:pt x="12652" y="6020"/>
                      </a:lnTo>
                      <a:lnTo>
                        <a:pt x="12404" y="6082"/>
                      </a:lnTo>
                      <a:lnTo>
                        <a:pt x="12036" y="6264"/>
                      </a:lnTo>
                      <a:lnTo>
                        <a:pt x="11764" y="6336"/>
                      </a:lnTo>
                      <a:lnTo>
                        <a:pt x="11211" y="6574"/>
                      </a:lnTo>
                      <a:lnTo>
                        <a:pt x="10929" y="6593"/>
                      </a:lnTo>
                      <a:lnTo>
                        <a:pt x="10470" y="6679"/>
                      </a:lnTo>
                      <a:lnTo>
                        <a:pt x="9988" y="6908"/>
                      </a:lnTo>
                      <a:lnTo>
                        <a:pt x="9740" y="7051"/>
                      </a:lnTo>
                      <a:lnTo>
                        <a:pt x="9645" y="7262"/>
                      </a:lnTo>
                      <a:lnTo>
                        <a:pt x="9521" y="7448"/>
                      </a:lnTo>
                      <a:lnTo>
                        <a:pt x="9205" y="7739"/>
                      </a:lnTo>
                      <a:lnTo>
                        <a:pt x="9072" y="7825"/>
                      </a:lnTo>
                      <a:lnTo>
                        <a:pt x="9020" y="7897"/>
                      </a:lnTo>
                      <a:lnTo>
                        <a:pt x="8905" y="7936"/>
                      </a:lnTo>
                      <a:lnTo>
                        <a:pt x="8198" y="7906"/>
                      </a:lnTo>
                      <a:lnTo>
                        <a:pt x="7845" y="7951"/>
                      </a:lnTo>
                      <a:lnTo>
                        <a:pt x="7539" y="8146"/>
                      </a:lnTo>
                      <a:lnTo>
                        <a:pt x="7391" y="8347"/>
                      </a:lnTo>
                      <a:lnTo>
                        <a:pt x="6962" y="8585"/>
                      </a:lnTo>
                      <a:lnTo>
                        <a:pt x="6784" y="8623"/>
                      </a:lnTo>
                      <a:lnTo>
                        <a:pt x="6259" y="8776"/>
                      </a:lnTo>
                      <a:lnTo>
                        <a:pt x="5978" y="8801"/>
                      </a:lnTo>
                      <a:lnTo>
                        <a:pt x="5672" y="8733"/>
                      </a:lnTo>
                      <a:lnTo>
                        <a:pt x="5353" y="8786"/>
                      </a:lnTo>
                      <a:lnTo>
                        <a:pt x="5109" y="8762"/>
                      </a:lnTo>
                      <a:lnTo>
                        <a:pt x="4779" y="8801"/>
                      </a:lnTo>
                      <a:lnTo>
                        <a:pt x="4497" y="8977"/>
                      </a:lnTo>
                      <a:lnTo>
                        <a:pt x="4292" y="9321"/>
                      </a:lnTo>
                      <a:lnTo>
                        <a:pt x="3686" y="9598"/>
                      </a:lnTo>
                      <a:lnTo>
                        <a:pt x="3405" y="9771"/>
                      </a:lnTo>
                      <a:lnTo>
                        <a:pt x="2769" y="9785"/>
                      </a:lnTo>
                      <a:lnTo>
                        <a:pt x="2368" y="9909"/>
                      </a:lnTo>
                      <a:lnTo>
                        <a:pt x="2149" y="9890"/>
                      </a:lnTo>
                      <a:lnTo>
                        <a:pt x="1934" y="9942"/>
                      </a:lnTo>
                      <a:lnTo>
                        <a:pt x="1652" y="9818"/>
                      </a:lnTo>
                      <a:lnTo>
                        <a:pt x="1309" y="9832"/>
                      </a:lnTo>
                      <a:lnTo>
                        <a:pt x="1180" y="9435"/>
                      </a:lnTo>
                      <a:lnTo>
                        <a:pt x="898" y="9087"/>
                      </a:lnTo>
                      <a:lnTo>
                        <a:pt x="898" y="8356"/>
                      </a:lnTo>
                      <a:lnTo>
                        <a:pt x="865" y="8108"/>
                      </a:lnTo>
                      <a:lnTo>
                        <a:pt x="716" y="7955"/>
                      </a:lnTo>
                      <a:lnTo>
                        <a:pt x="635" y="7758"/>
                      </a:lnTo>
                      <a:lnTo>
                        <a:pt x="535" y="7310"/>
                      </a:lnTo>
                      <a:lnTo>
                        <a:pt x="482" y="6794"/>
                      </a:lnTo>
                      <a:lnTo>
                        <a:pt x="401" y="6584"/>
                      </a:lnTo>
                      <a:lnTo>
                        <a:pt x="320" y="6450"/>
                      </a:lnTo>
                      <a:lnTo>
                        <a:pt x="320" y="6215"/>
                      </a:lnTo>
                      <a:lnTo>
                        <a:pt x="86" y="5886"/>
                      </a:lnTo>
                      <a:lnTo>
                        <a:pt x="0" y="5814"/>
                      </a:lnTo>
                      <a:lnTo>
                        <a:pt x="67" y="5752"/>
                      </a:lnTo>
                      <a:lnTo>
                        <a:pt x="134" y="5767"/>
                      </a:lnTo>
                      <a:lnTo>
                        <a:pt x="134" y="5666"/>
                      </a:lnTo>
                      <a:lnTo>
                        <a:pt x="86" y="5552"/>
                      </a:lnTo>
                      <a:lnTo>
                        <a:pt x="86" y="5303"/>
                      </a:lnTo>
                      <a:lnTo>
                        <a:pt x="34" y="5155"/>
                      </a:lnTo>
                      <a:lnTo>
                        <a:pt x="201" y="5007"/>
                      </a:lnTo>
                      <a:lnTo>
                        <a:pt x="234" y="4888"/>
                      </a:lnTo>
                      <a:lnTo>
                        <a:pt x="201" y="4438"/>
                      </a:lnTo>
                      <a:lnTo>
                        <a:pt x="153" y="4142"/>
                      </a:lnTo>
                      <a:lnTo>
                        <a:pt x="101" y="4075"/>
                      </a:lnTo>
                      <a:lnTo>
                        <a:pt x="710" y="3760"/>
                      </a:lnTo>
                      <a:lnTo>
                        <a:pt x="850" y="3308"/>
                      </a:lnTo>
                      <a:lnTo>
                        <a:pt x="853" y="3295"/>
                      </a:lnTo>
                      <a:lnTo>
                        <a:pt x="854" y="3283"/>
                      </a:lnTo>
                      <a:lnTo>
                        <a:pt x="854" y="3271"/>
                      </a:lnTo>
                      <a:lnTo>
                        <a:pt x="853" y="3258"/>
                      </a:lnTo>
                      <a:lnTo>
                        <a:pt x="850" y="3246"/>
                      </a:lnTo>
                      <a:lnTo>
                        <a:pt x="847" y="3234"/>
                      </a:lnTo>
                      <a:lnTo>
                        <a:pt x="843" y="3222"/>
                      </a:lnTo>
                      <a:lnTo>
                        <a:pt x="838" y="3209"/>
                      </a:lnTo>
                      <a:lnTo>
                        <a:pt x="825" y="3184"/>
                      </a:lnTo>
                      <a:lnTo>
                        <a:pt x="809" y="3159"/>
                      </a:lnTo>
                      <a:lnTo>
                        <a:pt x="793" y="3135"/>
                      </a:lnTo>
                      <a:lnTo>
                        <a:pt x="777" y="3110"/>
                      </a:lnTo>
                      <a:lnTo>
                        <a:pt x="761" y="3086"/>
                      </a:lnTo>
                      <a:lnTo>
                        <a:pt x="747" y="3061"/>
                      </a:lnTo>
                      <a:lnTo>
                        <a:pt x="741" y="3050"/>
                      </a:lnTo>
                      <a:lnTo>
                        <a:pt x="736" y="3038"/>
                      </a:lnTo>
                      <a:lnTo>
                        <a:pt x="731" y="3026"/>
                      </a:lnTo>
                      <a:lnTo>
                        <a:pt x="727" y="3014"/>
                      </a:lnTo>
                      <a:lnTo>
                        <a:pt x="724" y="3002"/>
                      </a:lnTo>
                      <a:lnTo>
                        <a:pt x="722" y="2991"/>
                      </a:lnTo>
                      <a:lnTo>
                        <a:pt x="722" y="2979"/>
                      </a:lnTo>
                      <a:lnTo>
                        <a:pt x="723" y="2967"/>
                      </a:lnTo>
                      <a:lnTo>
                        <a:pt x="725" y="2956"/>
                      </a:lnTo>
                      <a:lnTo>
                        <a:pt x="730" y="2945"/>
                      </a:lnTo>
                      <a:lnTo>
                        <a:pt x="735" y="2934"/>
                      </a:lnTo>
                      <a:lnTo>
                        <a:pt x="743" y="2922"/>
                      </a:lnTo>
                      <a:lnTo>
                        <a:pt x="1266" y="2241"/>
                      </a:lnTo>
                      <a:lnTo>
                        <a:pt x="1614" y="2657"/>
                      </a:lnTo>
                      <a:lnTo>
                        <a:pt x="2120" y="2602"/>
                      </a:lnTo>
                      <a:lnTo>
                        <a:pt x="3858" y="2689"/>
                      </a:lnTo>
                      <a:lnTo>
                        <a:pt x="4187" y="2967"/>
                      </a:lnTo>
                      <a:lnTo>
                        <a:pt x="6020" y="3083"/>
                      </a:lnTo>
                      <a:lnTo>
                        <a:pt x="6615" y="3737"/>
                      </a:lnTo>
                      <a:lnTo>
                        <a:pt x="6648" y="3723"/>
                      </a:lnTo>
                      <a:lnTo>
                        <a:pt x="6683" y="3710"/>
                      </a:lnTo>
                      <a:lnTo>
                        <a:pt x="6718" y="3700"/>
                      </a:lnTo>
                      <a:lnTo>
                        <a:pt x="6754" y="3690"/>
                      </a:lnTo>
                      <a:lnTo>
                        <a:pt x="6825" y="3671"/>
                      </a:lnTo>
                      <a:lnTo>
                        <a:pt x="6894" y="3652"/>
                      </a:lnTo>
                      <a:lnTo>
                        <a:pt x="6910" y="3648"/>
                      </a:lnTo>
                      <a:lnTo>
                        <a:pt x="6927" y="3642"/>
                      </a:lnTo>
                      <a:lnTo>
                        <a:pt x="6943" y="3637"/>
                      </a:lnTo>
                      <a:lnTo>
                        <a:pt x="6959" y="3630"/>
                      </a:lnTo>
                      <a:lnTo>
                        <a:pt x="6974" y="3624"/>
                      </a:lnTo>
                      <a:lnTo>
                        <a:pt x="6990" y="3616"/>
                      </a:lnTo>
                      <a:lnTo>
                        <a:pt x="7005" y="3609"/>
                      </a:lnTo>
                      <a:lnTo>
                        <a:pt x="7019" y="3600"/>
                      </a:lnTo>
                      <a:lnTo>
                        <a:pt x="7033" y="3591"/>
                      </a:lnTo>
                      <a:lnTo>
                        <a:pt x="7047" y="3582"/>
                      </a:lnTo>
                      <a:lnTo>
                        <a:pt x="7059" y="3571"/>
                      </a:lnTo>
                      <a:lnTo>
                        <a:pt x="7072" y="3559"/>
                      </a:lnTo>
                      <a:lnTo>
                        <a:pt x="7084" y="3547"/>
                      </a:lnTo>
                      <a:lnTo>
                        <a:pt x="7095" y="3534"/>
                      </a:lnTo>
                      <a:lnTo>
                        <a:pt x="7105" y="3519"/>
                      </a:lnTo>
                      <a:lnTo>
                        <a:pt x="7116" y="3504"/>
                      </a:lnTo>
                      <a:lnTo>
                        <a:pt x="8300" y="1543"/>
                      </a:lnTo>
                      <a:lnTo>
                        <a:pt x="9312" y="1068"/>
                      </a:lnTo>
                      <a:lnTo>
                        <a:pt x="9929" y="654"/>
                      </a:lnTo>
                      <a:lnTo>
                        <a:pt x="9962" y="638"/>
                      </a:lnTo>
                      <a:lnTo>
                        <a:pt x="10014" y="620"/>
                      </a:lnTo>
                      <a:lnTo>
                        <a:pt x="10082" y="602"/>
                      </a:lnTo>
                      <a:lnTo>
                        <a:pt x="10166" y="583"/>
                      </a:lnTo>
                      <a:lnTo>
                        <a:pt x="10264" y="564"/>
                      </a:lnTo>
                      <a:lnTo>
                        <a:pt x="10375" y="544"/>
                      </a:lnTo>
                      <a:lnTo>
                        <a:pt x="10498" y="524"/>
                      </a:lnTo>
                      <a:lnTo>
                        <a:pt x="10633" y="503"/>
                      </a:lnTo>
                      <a:lnTo>
                        <a:pt x="10777" y="483"/>
                      </a:lnTo>
                      <a:lnTo>
                        <a:pt x="10930" y="461"/>
                      </a:lnTo>
                      <a:lnTo>
                        <a:pt x="11090" y="440"/>
                      </a:lnTo>
                      <a:lnTo>
                        <a:pt x="11257" y="417"/>
                      </a:lnTo>
                      <a:lnTo>
                        <a:pt x="11603" y="373"/>
                      </a:lnTo>
                      <a:lnTo>
                        <a:pt x="11961" y="328"/>
                      </a:lnTo>
                      <a:lnTo>
                        <a:pt x="12321" y="284"/>
                      </a:lnTo>
                      <a:lnTo>
                        <a:pt x="12673" y="238"/>
                      </a:lnTo>
                      <a:lnTo>
                        <a:pt x="12844" y="217"/>
                      </a:lnTo>
                      <a:lnTo>
                        <a:pt x="13010" y="195"/>
                      </a:lnTo>
                      <a:lnTo>
                        <a:pt x="13168" y="174"/>
                      </a:lnTo>
                      <a:lnTo>
                        <a:pt x="13320" y="152"/>
                      </a:lnTo>
                      <a:lnTo>
                        <a:pt x="13462" y="131"/>
                      </a:lnTo>
                      <a:lnTo>
                        <a:pt x="13595" y="111"/>
                      </a:lnTo>
                      <a:lnTo>
                        <a:pt x="13716" y="91"/>
                      </a:lnTo>
                      <a:lnTo>
                        <a:pt x="13826" y="72"/>
                      </a:lnTo>
                      <a:lnTo>
                        <a:pt x="13921" y="53"/>
                      </a:lnTo>
                      <a:lnTo>
                        <a:pt x="14003" y="35"/>
                      </a:lnTo>
                      <a:lnTo>
                        <a:pt x="14069" y="17"/>
                      </a:lnTo>
                      <a:lnTo>
                        <a:pt x="14118" y="0"/>
                      </a:lnTo>
                      <a:lnTo>
                        <a:pt x="15675" y="378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19" name="Freeform 147"/>
                <p:cNvSpPr>
                  <a:spLocks noChangeAspect="1"/>
                </p:cNvSpPr>
                <p:nvPr/>
              </p:nvSpPr>
              <p:spPr bwMode="gray">
                <a:xfrm>
                  <a:off x="2984" y="2276"/>
                  <a:ext cx="114" cy="72"/>
                </a:xfrm>
                <a:custGeom>
                  <a:avLst/>
                  <a:gdLst/>
                  <a:ahLst/>
                  <a:cxnLst>
                    <a:cxn ang="0">
                      <a:pos x="14868" y="4199"/>
                    </a:cxn>
                    <a:cxn ang="0">
                      <a:pos x="14514" y="5031"/>
                    </a:cxn>
                    <a:cxn ang="0">
                      <a:pos x="14466" y="5374"/>
                    </a:cxn>
                    <a:cxn ang="0">
                      <a:pos x="14027" y="5466"/>
                    </a:cxn>
                    <a:cxn ang="0">
                      <a:pos x="13073" y="5967"/>
                    </a:cxn>
                    <a:cxn ang="0">
                      <a:pos x="12036" y="6264"/>
                    </a:cxn>
                    <a:cxn ang="0">
                      <a:pos x="10929" y="6593"/>
                    </a:cxn>
                    <a:cxn ang="0">
                      <a:pos x="9740" y="7051"/>
                    </a:cxn>
                    <a:cxn ang="0">
                      <a:pos x="9205" y="7739"/>
                    </a:cxn>
                    <a:cxn ang="0">
                      <a:pos x="8905" y="7936"/>
                    </a:cxn>
                    <a:cxn ang="0">
                      <a:pos x="7539" y="8146"/>
                    </a:cxn>
                    <a:cxn ang="0">
                      <a:pos x="6784" y="8623"/>
                    </a:cxn>
                    <a:cxn ang="0">
                      <a:pos x="5672" y="8733"/>
                    </a:cxn>
                    <a:cxn ang="0">
                      <a:pos x="4779" y="8801"/>
                    </a:cxn>
                    <a:cxn ang="0">
                      <a:pos x="3686" y="9598"/>
                    </a:cxn>
                    <a:cxn ang="0">
                      <a:pos x="2368" y="9909"/>
                    </a:cxn>
                    <a:cxn ang="0">
                      <a:pos x="1652" y="9818"/>
                    </a:cxn>
                    <a:cxn ang="0">
                      <a:pos x="898" y="9087"/>
                    </a:cxn>
                    <a:cxn ang="0">
                      <a:pos x="716" y="7955"/>
                    </a:cxn>
                    <a:cxn ang="0">
                      <a:pos x="482" y="6794"/>
                    </a:cxn>
                    <a:cxn ang="0">
                      <a:pos x="320" y="6215"/>
                    </a:cxn>
                    <a:cxn ang="0">
                      <a:pos x="67" y="5752"/>
                    </a:cxn>
                    <a:cxn ang="0">
                      <a:pos x="86" y="5552"/>
                    </a:cxn>
                    <a:cxn ang="0">
                      <a:pos x="201" y="5007"/>
                    </a:cxn>
                    <a:cxn ang="0">
                      <a:pos x="153" y="4142"/>
                    </a:cxn>
                    <a:cxn ang="0">
                      <a:pos x="850" y="3308"/>
                    </a:cxn>
                    <a:cxn ang="0">
                      <a:pos x="854" y="3271"/>
                    </a:cxn>
                    <a:cxn ang="0">
                      <a:pos x="847" y="3234"/>
                    </a:cxn>
                    <a:cxn ang="0">
                      <a:pos x="825" y="3184"/>
                    </a:cxn>
                    <a:cxn ang="0">
                      <a:pos x="777" y="3110"/>
                    </a:cxn>
                    <a:cxn ang="0">
                      <a:pos x="741" y="3050"/>
                    </a:cxn>
                    <a:cxn ang="0">
                      <a:pos x="727" y="3014"/>
                    </a:cxn>
                    <a:cxn ang="0">
                      <a:pos x="722" y="2979"/>
                    </a:cxn>
                    <a:cxn ang="0">
                      <a:pos x="730" y="2945"/>
                    </a:cxn>
                    <a:cxn ang="0">
                      <a:pos x="1266" y="2241"/>
                    </a:cxn>
                    <a:cxn ang="0">
                      <a:pos x="3858" y="2689"/>
                    </a:cxn>
                    <a:cxn ang="0">
                      <a:pos x="6615" y="3737"/>
                    </a:cxn>
                    <a:cxn ang="0">
                      <a:pos x="6718" y="3700"/>
                    </a:cxn>
                    <a:cxn ang="0">
                      <a:pos x="6894" y="3652"/>
                    </a:cxn>
                    <a:cxn ang="0">
                      <a:pos x="6943" y="3637"/>
                    </a:cxn>
                    <a:cxn ang="0">
                      <a:pos x="6990" y="3616"/>
                    </a:cxn>
                    <a:cxn ang="0">
                      <a:pos x="7033" y="3591"/>
                    </a:cxn>
                    <a:cxn ang="0">
                      <a:pos x="7072" y="3559"/>
                    </a:cxn>
                    <a:cxn ang="0">
                      <a:pos x="7105" y="3519"/>
                    </a:cxn>
                    <a:cxn ang="0">
                      <a:pos x="9312" y="1068"/>
                    </a:cxn>
                    <a:cxn ang="0">
                      <a:pos x="10014" y="620"/>
                    </a:cxn>
                    <a:cxn ang="0">
                      <a:pos x="10264" y="564"/>
                    </a:cxn>
                    <a:cxn ang="0">
                      <a:pos x="10633" y="503"/>
                    </a:cxn>
                    <a:cxn ang="0">
                      <a:pos x="11090" y="440"/>
                    </a:cxn>
                    <a:cxn ang="0">
                      <a:pos x="11961" y="328"/>
                    </a:cxn>
                    <a:cxn ang="0">
                      <a:pos x="12844" y="217"/>
                    </a:cxn>
                    <a:cxn ang="0">
                      <a:pos x="13320" y="152"/>
                    </a:cxn>
                    <a:cxn ang="0">
                      <a:pos x="13716" y="91"/>
                    </a:cxn>
                    <a:cxn ang="0">
                      <a:pos x="14003" y="35"/>
                    </a:cxn>
                    <a:cxn ang="0">
                      <a:pos x="15675" y="3780"/>
                    </a:cxn>
                  </a:cxnLst>
                  <a:rect l="0" t="0" r="r" b="b"/>
                  <a:pathLst>
                    <a:path w="15675" h="9942">
                      <a:moveTo>
                        <a:pt x="15675" y="3780"/>
                      </a:moveTo>
                      <a:lnTo>
                        <a:pt x="15169" y="3985"/>
                      </a:lnTo>
                      <a:lnTo>
                        <a:pt x="14868" y="4199"/>
                      </a:lnTo>
                      <a:lnTo>
                        <a:pt x="14648" y="4443"/>
                      </a:lnTo>
                      <a:lnTo>
                        <a:pt x="14447" y="4864"/>
                      </a:lnTo>
                      <a:lnTo>
                        <a:pt x="14514" y="5031"/>
                      </a:lnTo>
                      <a:lnTo>
                        <a:pt x="14543" y="5260"/>
                      </a:lnTo>
                      <a:lnTo>
                        <a:pt x="14538" y="5308"/>
                      </a:lnTo>
                      <a:lnTo>
                        <a:pt x="14466" y="5374"/>
                      </a:lnTo>
                      <a:lnTo>
                        <a:pt x="14385" y="5418"/>
                      </a:lnTo>
                      <a:lnTo>
                        <a:pt x="14190" y="5385"/>
                      </a:lnTo>
                      <a:lnTo>
                        <a:pt x="14027" y="5466"/>
                      </a:lnTo>
                      <a:lnTo>
                        <a:pt x="13627" y="5576"/>
                      </a:lnTo>
                      <a:lnTo>
                        <a:pt x="13364" y="5843"/>
                      </a:lnTo>
                      <a:lnTo>
                        <a:pt x="13073" y="5967"/>
                      </a:lnTo>
                      <a:lnTo>
                        <a:pt x="12652" y="6020"/>
                      </a:lnTo>
                      <a:lnTo>
                        <a:pt x="12404" y="6082"/>
                      </a:lnTo>
                      <a:lnTo>
                        <a:pt x="12036" y="6264"/>
                      </a:lnTo>
                      <a:lnTo>
                        <a:pt x="11764" y="6336"/>
                      </a:lnTo>
                      <a:lnTo>
                        <a:pt x="11211" y="6574"/>
                      </a:lnTo>
                      <a:lnTo>
                        <a:pt x="10929" y="6593"/>
                      </a:lnTo>
                      <a:lnTo>
                        <a:pt x="10470" y="6679"/>
                      </a:lnTo>
                      <a:lnTo>
                        <a:pt x="9988" y="6908"/>
                      </a:lnTo>
                      <a:lnTo>
                        <a:pt x="9740" y="7051"/>
                      </a:lnTo>
                      <a:lnTo>
                        <a:pt x="9645" y="7262"/>
                      </a:lnTo>
                      <a:lnTo>
                        <a:pt x="9521" y="7448"/>
                      </a:lnTo>
                      <a:lnTo>
                        <a:pt x="9205" y="7739"/>
                      </a:lnTo>
                      <a:lnTo>
                        <a:pt x="9072" y="7825"/>
                      </a:lnTo>
                      <a:lnTo>
                        <a:pt x="9020" y="7897"/>
                      </a:lnTo>
                      <a:lnTo>
                        <a:pt x="8905" y="7936"/>
                      </a:lnTo>
                      <a:lnTo>
                        <a:pt x="8198" y="7906"/>
                      </a:lnTo>
                      <a:lnTo>
                        <a:pt x="7845" y="7951"/>
                      </a:lnTo>
                      <a:lnTo>
                        <a:pt x="7539" y="8146"/>
                      </a:lnTo>
                      <a:lnTo>
                        <a:pt x="7391" y="8347"/>
                      </a:lnTo>
                      <a:lnTo>
                        <a:pt x="6962" y="8585"/>
                      </a:lnTo>
                      <a:lnTo>
                        <a:pt x="6784" y="8623"/>
                      </a:lnTo>
                      <a:lnTo>
                        <a:pt x="6259" y="8776"/>
                      </a:lnTo>
                      <a:lnTo>
                        <a:pt x="5978" y="8801"/>
                      </a:lnTo>
                      <a:lnTo>
                        <a:pt x="5672" y="8733"/>
                      </a:lnTo>
                      <a:lnTo>
                        <a:pt x="5353" y="8786"/>
                      </a:lnTo>
                      <a:lnTo>
                        <a:pt x="5109" y="8762"/>
                      </a:lnTo>
                      <a:lnTo>
                        <a:pt x="4779" y="8801"/>
                      </a:lnTo>
                      <a:lnTo>
                        <a:pt x="4497" y="8977"/>
                      </a:lnTo>
                      <a:lnTo>
                        <a:pt x="4292" y="9321"/>
                      </a:lnTo>
                      <a:lnTo>
                        <a:pt x="3686" y="9598"/>
                      </a:lnTo>
                      <a:lnTo>
                        <a:pt x="3405" y="9771"/>
                      </a:lnTo>
                      <a:lnTo>
                        <a:pt x="2769" y="9785"/>
                      </a:lnTo>
                      <a:lnTo>
                        <a:pt x="2368" y="9909"/>
                      </a:lnTo>
                      <a:lnTo>
                        <a:pt x="2149" y="9890"/>
                      </a:lnTo>
                      <a:lnTo>
                        <a:pt x="1934" y="9942"/>
                      </a:lnTo>
                      <a:lnTo>
                        <a:pt x="1652" y="9818"/>
                      </a:lnTo>
                      <a:lnTo>
                        <a:pt x="1309" y="9832"/>
                      </a:lnTo>
                      <a:lnTo>
                        <a:pt x="1180" y="9435"/>
                      </a:lnTo>
                      <a:lnTo>
                        <a:pt x="898" y="9087"/>
                      </a:lnTo>
                      <a:lnTo>
                        <a:pt x="898" y="8356"/>
                      </a:lnTo>
                      <a:lnTo>
                        <a:pt x="865" y="8108"/>
                      </a:lnTo>
                      <a:lnTo>
                        <a:pt x="716" y="7955"/>
                      </a:lnTo>
                      <a:lnTo>
                        <a:pt x="635" y="7758"/>
                      </a:lnTo>
                      <a:lnTo>
                        <a:pt x="535" y="7310"/>
                      </a:lnTo>
                      <a:lnTo>
                        <a:pt x="482" y="6794"/>
                      </a:lnTo>
                      <a:lnTo>
                        <a:pt x="401" y="6584"/>
                      </a:lnTo>
                      <a:lnTo>
                        <a:pt x="320" y="6450"/>
                      </a:lnTo>
                      <a:lnTo>
                        <a:pt x="320" y="6215"/>
                      </a:lnTo>
                      <a:lnTo>
                        <a:pt x="86" y="5886"/>
                      </a:lnTo>
                      <a:lnTo>
                        <a:pt x="0" y="5814"/>
                      </a:lnTo>
                      <a:lnTo>
                        <a:pt x="67" y="5752"/>
                      </a:lnTo>
                      <a:lnTo>
                        <a:pt x="134" y="5767"/>
                      </a:lnTo>
                      <a:lnTo>
                        <a:pt x="134" y="5666"/>
                      </a:lnTo>
                      <a:lnTo>
                        <a:pt x="86" y="5552"/>
                      </a:lnTo>
                      <a:lnTo>
                        <a:pt x="86" y="5303"/>
                      </a:lnTo>
                      <a:lnTo>
                        <a:pt x="34" y="5155"/>
                      </a:lnTo>
                      <a:lnTo>
                        <a:pt x="201" y="5007"/>
                      </a:lnTo>
                      <a:lnTo>
                        <a:pt x="234" y="4888"/>
                      </a:lnTo>
                      <a:lnTo>
                        <a:pt x="201" y="4438"/>
                      </a:lnTo>
                      <a:lnTo>
                        <a:pt x="153" y="4142"/>
                      </a:lnTo>
                      <a:lnTo>
                        <a:pt x="101" y="4075"/>
                      </a:lnTo>
                      <a:lnTo>
                        <a:pt x="710" y="3760"/>
                      </a:lnTo>
                      <a:lnTo>
                        <a:pt x="850" y="3308"/>
                      </a:lnTo>
                      <a:lnTo>
                        <a:pt x="853" y="3295"/>
                      </a:lnTo>
                      <a:lnTo>
                        <a:pt x="854" y="3283"/>
                      </a:lnTo>
                      <a:lnTo>
                        <a:pt x="854" y="3271"/>
                      </a:lnTo>
                      <a:lnTo>
                        <a:pt x="853" y="3258"/>
                      </a:lnTo>
                      <a:lnTo>
                        <a:pt x="850" y="3246"/>
                      </a:lnTo>
                      <a:lnTo>
                        <a:pt x="847" y="3234"/>
                      </a:lnTo>
                      <a:lnTo>
                        <a:pt x="843" y="3222"/>
                      </a:lnTo>
                      <a:lnTo>
                        <a:pt x="838" y="3209"/>
                      </a:lnTo>
                      <a:lnTo>
                        <a:pt x="825" y="3184"/>
                      </a:lnTo>
                      <a:lnTo>
                        <a:pt x="809" y="3159"/>
                      </a:lnTo>
                      <a:lnTo>
                        <a:pt x="793" y="3135"/>
                      </a:lnTo>
                      <a:lnTo>
                        <a:pt x="777" y="3110"/>
                      </a:lnTo>
                      <a:lnTo>
                        <a:pt x="761" y="3086"/>
                      </a:lnTo>
                      <a:lnTo>
                        <a:pt x="747" y="3061"/>
                      </a:lnTo>
                      <a:lnTo>
                        <a:pt x="741" y="3050"/>
                      </a:lnTo>
                      <a:lnTo>
                        <a:pt x="736" y="3038"/>
                      </a:lnTo>
                      <a:lnTo>
                        <a:pt x="731" y="3026"/>
                      </a:lnTo>
                      <a:lnTo>
                        <a:pt x="727" y="3014"/>
                      </a:lnTo>
                      <a:lnTo>
                        <a:pt x="724" y="3002"/>
                      </a:lnTo>
                      <a:lnTo>
                        <a:pt x="722" y="2991"/>
                      </a:lnTo>
                      <a:lnTo>
                        <a:pt x="722" y="2979"/>
                      </a:lnTo>
                      <a:lnTo>
                        <a:pt x="723" y="2967"/>
                      </a:lnTo>
                      <a:lnTo>
                        <a:pt x="725" y="2956"/>
                      </a:lnTo>
                      <a:lnTo>
                        <a:pt x="730" y="2945"/>
                      </a:lnTo>
                      <a:lnTo>
                        <a:pt x="735" y="2934"/>
                      </a:lnTo>
                      <a:lnTo>
                        <a:pt x="743" y="2922"/>
                      </a:lnTo>
                      <a:lnTo>
                        <a:pt x="1266" y="2241"/>
                      </a:lnTo>
                      <a:lnTo>
                        <a:pt x="1614" y="2657"/>
                      </a:lnTo>
                      <a:lnTo>
                        <a:pt x="2120" y="2602"/>
                      </a:lnTo>
                      <a:lnTo>
                        <a:pt x="3858" y="2689"/>
                      </a:lnTo>
                      <a:lnTo>
                        <a:pt x="4187" y="2967"/>
                      </a:lnTo>
                      <a:lnTo>
                        <a:pt x="6020" y="3083"/>
                      </a:lnTo>
                      <a:lnTo>
                        <a:pt x="6615" y="3737"/>
                      </a:lnTo>
                      <a:lnTo>
                        <a:pt x="6648" y="3723"/>
                      </a:lnTo>
                      <a:lnTo>
                        <a:pt x="6683" y="3710"/>
                      </a:lnTo>
                      <a:lnTo>
                        <a:pt x="6718" y="3700"/>
                      </a:lnTo>
                      <a:lnTo>
                        <a:pt x="6754" y="3690"/>
                      </a:lnTo>
                      <a:lnTo>
                        <a:pt x="6825" y="3671"/>
                      </a:lnTo>
                      <a:lnTo>
                        <a:pt x="6894" y="3652"/>
                      </a:lnTo>
                      <a:lnTo>
                        <a:pt x="6910" y="3648"/>
                      </a:lnTo>
                      <a:lnTo>
                        <a:pt x="6927" y="3642"/>
                      </a:lnTo>
                      <a:lnTo>
                        <a:pt x="6943" y="3637"/>
                      </a:lnTo>
                      <a:lnTo>
                        <a:pt x="6959" y="3630"/>
                      </a:lnTo>
                      <a:lnTo>
                        <a:pt x="6974" y="3624"/>
                      </a:lnTo>
                      <a:lnTo>
                        <a:pt x="6990" y="3616"/>
                      </a:lnTo>
                      <a:lnTo>
                        <a:pt x="7005" y="3609"/>
                      </a:lnTo>
                      <a:lnTo>
                        <a:pt x="7019" y="3600"/>
                      </a:lnTo>
                      <a:lnTo>
                        <a:pt x="7033" y="3591"/>
                      </a:lnTo>
                      <a:lnTo>
                        <a:pt x="7047" y="3582"/>
                      </a:lnTo>
                      <a:lnTo>
                        <a:pt x="7059" y="3571"/>
                      </a:lnTo>
                      <a:lnTo>
                        <a:pt x="7072" y="3559"/>
                      </a:lnTo>
                      <a:lnTo>
                        <a:pt x="7084" y="3547"/>
                      </a:lnTo>
                      <a:lnTo>
                        <a:pt x="7095" y="3534"/>
                      </a:lnTo>
                      <a:lnTo>
                        <a:pt x="7105" y="3519"/>
                      </a:lnTo>
                      <a:lnTo>
                        <a:pt x="7116" y="3504"/>
                      </a:lnTo>
                      <a:lnTo>
                        <a:pt x="8300" y="1543"/>
                      </a:lnTo>
                      <a:lnTo>
                        <a:pt x="9312" y="1068"/>
                      </a:lnTo>
                      <a:lnTo>
                        <a:pt x="9929" y="654"/>
                      </a:lnTo>
                      <a:lnTo>
                        <a:pt x="9962" y="638"/>
                      </a:lnTo>
                      <a:lnTo>
                        <a:pt x="10014" y="620"/>
                      </a:lnTo>
                      <a:lnTo>
                        <a:pt x="10082" y="602"/>
                      </a:lnTo>
                      <a:lnTo>
                        <a:pt x="10166" y="583"/>
                      </a:lnTo>
                      <a:lnTo>
                        <a:pt x="10264" y="564"/>
                      </a:lnTo>
                      <a:lnTo>
                        <a:pt x="10375" y="544"/>
                      </a:lnTo>
                      <a:lnTo>
                        <a:pt x="10498" y="524"/>
                      </a:lnTo>
                      <a:lnTo>
                        <a:pt x="10633" y="503"/>
                      </a:lnTo>
                      <a:lnTo>
                        <a:pt x="10777" y="483"/>
                      </a:lnTo>
                      <a:lnTo>
                        <a:pt x="10930" y="461"/>
                      </a:lnTo>
                      <a:lnTo>
                        <a:pt x="11090" y="440"/>
                      </a:lnTo>
                      <a:lnTo>
                        <a:pt x="11257" y="417"/>
                      </a:lnTo>
                      <a:lnTo>
                        <a:pt x="11603" y="373"/>
                      </a:lnTo>
                      <a:lnTo>
                        <a:pt x="11961" y="328"/>
                      </a:lnTo>
                      <a:lnTo>
                        <a:pt x="12321" y="284"/>
                      </a:lnTo>
                      <a:lnTo>
                        <a:pt x="12673" y="238"/>
                      </a:lnTo>
                      <a:lnTo>
                        <a:pt x="12844" y="217"/>
                      </a:lnTo>
                      <a:lnTo>
                        <a:pt x="13010" y="195"/>
                      </a:lnTo>
                      <a:lnTo>
                        <a:pt x="13168" y="174"/>
                      </a:lnTo>
                      <a:lnTo>
                        <a:pt x="13320" y="152"/>
                      </a:lnTo>
                      <a:lnTo>
                        <a:pt x="13462" y="131"/>
                      </a:lnTo>
                      <a:lnTo>
                        <a:pt x="13595" y="111"/>
                      </a:lnTo>
                      <a:lnTo>
                        <a:pt x="13716" y="91"/>
                      </a:lnTo>
                      <a:lnTo>
                        <a:pt x="13826" y="72"/>
                      </a:lnTo>
                      <a:lnTo>
                        <a:pt x="13921" y="53"/>
                      </a:lnTo>
                      <a:lnTo>
                        <a:pt x="14003" y="35"/>
                      </a:lnTo>
                      <a:lnTo>
                        <a:pt x="14069" y="17"/>
                      </a:lnTo>
                      <a:lnTo>
                        <a:pt x="14118" y="0"/>
                      </a:lnTo>
                      <a:lnTo>
                        <a:pt x="15675" y="3780"/>
                      </a:lnTo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301" name="Freeform 148"/>
              <p:cNvSpPr>
                <a:spLocks noChangeAspect="1"/>
              </p:cNvSpPr>
              <p:nvPr/>
            </p:nvSpPr>
            <p:spPr bwMode="gray">
              <a:xfrm>
                <a:off x="3104" y="2214"/>
                <a:ext cx="3" cy="2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7" y="9"/>
                  </a:cxn>
                  <a:cxn ang="0">
                    <a:pos x="10" y="6"/>
                  </a:cxn>
                  <a:cxn ang="0">
                    <a:pos x="12" y="9"/>
                  </a:cxn>
                  <a:cxn ang="0">
                    <a:pos x="16" y="5"/>
                  </a:cxn>
                  <a:cxn ang="0">
                    <a:pos x="14" y="4"/>
                  </a:cxn>
                  <a:cxn ang="0">
                    <a:pos x="11" y="4"/>
                  </a:cxn>
                  <a:cxn ang="0">
                    <a:pos x="10" y="1"/>
                  </a:cxn>
                  <a:cxn ang="0">
                    <a:pos x="7" y="0"/>
                  </a:cxn>
                  <a:cxn ang="0">
                    <a:pos x="3" y="1"/>
                  </a:cxn>
                  <a:cxn ang="0">
                    <a:pos x="0" y="8"/>
                  </a:cxn>
                </a:cxnLst>
                <a:rect l="0" t="0" r="r" b="b"/>
                <a:pathLst>
                  <a:path w="16" h="9">
                    <a:moveTo>
                      <a:pt x="0" y="8"/>
                    </a:moveTo>
                    <a:lnTo>
                      <a:pt x="7" y="9"/>
                    </a:lnTo>
                    <a:lnTo>
                      <a:pt x="10" y="6"/>
                    </a:lnTo>
                    <a:lnTo>
                      <a:pt x="12" y="9"/>
                    </a:lnTo>
                    <a:lnTo>
                      <a:pt x="16" y="5"/>
                    </a:lnTo>
                    <a:lnTo>
                      <a:pt x="14" y="4"/>
                    </a:lnTo>
                    <a:lnTo>
                      <a:pt x="11" y="4"/>
                    </a:lnTo>
                    <a:lnTo>
                      <a:pt x="10" y="1"/>
                    </a:lnTo>
                    <a:lnTo>
                      <a:pt x="7" y="0"/>
                    </a:lnTo>
                    <a:lnTo>
                      <a:pt x="3" y="1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grpSp>
            <p:nvGrpSpPr>
              <p:cNvPr id="302" name="Group 149"/>
              <p:cNvGrpSpPr>
                <a:grpSpLocks noChangeAspect="1"/>
              </p:cNvGrpSpPr>
              <p:nvPr/>
            </p:nvGrpSpPr>
            <p:grpSpPr bwMode="gray">
              <a:xfrm>
                <a:off x="3086" y="2189"/>
                <a:ext cx="85" cy="114"/>
                <a:chOff x="3086" y="2189"/>
                <a:chExt cx="85" cy="114"/>
              </a:xfrm>
              <a:grpFill/>
            </p:grpSpPr>
            <p:sp>
              <p:nvSpPr>
                <p:cNvPr id="316" name="Freeform 150"/>
                <p:cNvSpPr>
                  <a:spLocks noChangeAspect="1"/>
                </p:cNvSpPr>
                <p:nvPr/>
              </p:nvSpPr>
              <p:spPr bwMode="gray">
                <a:xfrm>
                  <a:off x="3130" y="2189"/>
                  <a:ext cx="4" cy="8"/>
                </a:xfrm>
                <a:custGeom>
                  <a:avLst/>
                  <a:gdLst/>
                  <a:ahLst/>
                  <a:cxnLst>
                    <a:cxn ang="0">
                      <a:pos x="0" y="15"/>
                    </a:cxn>
                    <a:cxn ang="0">
                      <a:pos x="1" y="19"/>
                    </a:cxn>
                    <a:cxn ang="0">
                      <a:pos x="3" y="25"/>
                    </a:cxn>
                    <a:cxn ang="0">
                      <a:pos x="2" y="27"/>
                    </a:cxn>
                    <a:cxn ang="0">
                      <a:pos x="3" y="31"/>
                    </a:cxn>
                    <a:cxn ang="0">
                      <a:pos x="1" y="36"/>
                    </a:cxn>
                    <a:cxn ang="0">
                      <a:pos x="3" y="37"/>
                    </a:cxn>
                    <a:cxn ang="0">
                      <a:pos x="11" y="40"/>
                    </a:cxn>
                    <a:cxn ang="0">
                      <a:pos x="12" y="36"/>
                    </a:cxn>
                    <a:cxn ang="0">
                      <a:pos x="17" y="27"/>
                    </a:cxn>
                    <a:cxn ang="0">
                      <a:pos x="17" y="18"/>
                    </a:cxn>
                    <a:cxn ang="0">
                      <a:pos x="15" y="15"/>
                    </a:cxn>
                    <a:cxn ang="0">
                      <a:pos x="15" y="11"/>
                    </a:cxn>
                    <a:cxn ang="0">
                      <a:pos x="18" y="9"/>
                    </a:cxn>
                    <a:cxn ang="0">
                      <a:pos x="19" y="4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7" y="4"/>
                    </a:cxn>
                    <a:cxn ang="0">
                      <a:pos x="0" y="15"/>
                    </a:cxn>
                  </a:cxnLst>
                  <a:rect l="0" t="0" r="r" b="b"/>
                  <a:pathLst>
                    <a:path w="19" h="40">
                      <a:moveTo>
                        <a:pt x="0" y="15"/>
                      </a:moveTo>
                      <a:lnTo>
                        <a:pt x="1" y="19"/>
                      </a:lnTo>
                      <a:lnTo>
                        <a:pt x="3" y="25"/>
                      </a:lnTo>
                      <a:lnTo>
                        <a:pt x="2" y="27"/>
                      </a:lnTo>
                      <a:lnTo>
                        <a:pt x="3" y="31"/>
                      </a:lnTo>
                      <a:lnTo>
                        <a:pt x="1" y="36"/>
                      </a:lnTo>
                      <a:lnTo>
                        <a:pt x="3" y="37"/>
                      </a:lnTo>
                      <a:lnTo>
                        <a:pt x="11" y="40"/>
                      </a:lnTo>
                      <a:lnTo>
                        <a:pt x="12" y="36"/>
                      </a:lnTo>
                      <a:lnTo>
                        <a:pt x="17" y="27"/>
                      </a:lnTo>
                      <a:lnTo>
                        <a:pt x="17" y="18"/>
                      </a:lnTo>
                      <a:lnTo>
                        <a:pt x="15" y="15"/>
                      </a:lnTo>
                      <a:lnTo>
                        <a:pt x="15" y="11"/>
                      </a:lnTo>
                      <a:lnTo>
                        <a:pt x="18" y="9"/>
                      </a:lnTo>
                      <a:lnTo>
                        <a:pt x="19" y="4"/>
                      </a:lnTo>
                      <a:lnTo>
                        <a:pt x="15" y="0"/>
                      </a:lnTo>
                      <a:lnTo>
                        <a:pt x="9" y="4"/>
                      </a:lnTo>
                      <a:lnTo>
                        <a:pt x="7" y="4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17" name="Freeform 151"/>
                <p:cNvSpPr>
                  <a:spLocks noChangeAspect="1"/>
                </p:cNvSpPr>
                <p:nvPr/>
              </p:nvSpPr>
              <p:spPr bwMode="gray">
                <a:xfrm>
                  <a:off x="3086" y="2207"/>
                  <a:ext cx="85" cy="96"/>
                </a:xfrm>
                <a:custGeom>
                  <a:avLst/>
                  <a:gdLst/>
                  <a:ahLst/>
                  <a:cxnLst>
                    <a:cxn ang="0">
                      <a:pos x="203" y="0"/>
                    </a:cxn>
                    <a:cxn ang="0">
                      <a:pos x="187" y="59"/>
                    </a:cxn>
                    <a:cxn ang="0">
                      <a:pos x="203" y="170"/>
                    </a:cxn>
                    <a:cxn ang="0">
                      <a:pos x="0" y="345"/>
                    </a:cxn>
                    <a:cxn ang="0">
                      <a:pos x="83" y="474"/>
                    </a:cxn>
                    <a:cxn ang="0">
                      <a:pos x="107" y="466"/>
                    </a:cxn>
                    <a:cxn ang="0">
                      <a:pos x="137" y="459"/>
                    </a:cxn>
                    <a:cxn ang="0">
                      <a:pos x="154" y="464"/>
                    </a:cxn>
                    <a:cxn ang="0">
                      <a:pos x="165" y="460"/>
                    </a:cxn>
                    <a:cxn ang="0">
                      <a:pos x="179" y="447"/>
                    </a:cxn>
                    <a:cxn ang="0">
                      <a:pos x="180" y="436"/>
                    </a:cxn>
                    <a:cxn ang="0">
                      <a:pos x="186" y="425"/>
                    </a:cxn>
                    <a:cxn ang="0">
                      <a:pos x="224" y="407"/>
                    </a:cxn>
                    <a:cxn ang="0">
                      <a:pos x="241" y="404"/>
                    </a:cxn>
                    <a:cxn ang="0">
                      <a:pos x="253" y="382"/>
                    </a:cxn>
                    <a:cxn ang="0">
                      <a:pos x="262" y="361"/>
                    </a:cxn>
                    <a:cxn ang="0">
                      <a:pos x="278" y="352"/>
                    </a:cxn>
                    <a:cxn ang="0">
                      <a:pos x="289" y="348"/>
                    </a:cxn>
                    <a:cxn ang="0">
                      <a:pos x="309" y="346"/>
                    </a:cxn>
                    <a:cxn ang="0">
                      <a:pos x="319" y="337"/>
                    </a:cxn>
                    <a:cxn ang="0">
                      <a:pos x="314" y="325"/>
                    </a:cxn>
                    <a:cxn ang="0">
                      <a:pos x="312" y="303"/>
                    </a:cxn>
                    <a:cxn ang="0">
                      <a:pos x="314" y="285"/>
                    </a:cxn>
                    <a:cxn ang="0">
                      <a:pos x="335" y="256"/>
                    </a:cxn>
                    <a:cxn ang="0">
                      <a:pos x="342" y="255"/>
                    </a:cxn>
                    <a:cxn ang="0">
                      <a:pos x="347" y="262"/>
                    </a:cxn>
                    <a:cxn ang="0">
                      <a:pos x="355" y="261"/>
                    </a:cxn>
                    <a:cxn ang="0">
                      <a:pos x="369" y="239"/>
                    </a:cxn>
                    <a:cxn ang="0">
                      <a:pos x="382" y="216"/>
                    </a:cxn>
                    <a:cxn ang="0">
                      <a:pos x="416" y="178"/>
                    </a:cxn>
                    <a:cxn ang="0">
                      <a:pos x="422" y="161"/>
                    </a:cxn>
                    <a:cxn ang="0">
                      <a:pos x="427" y="143"/>
                    </a:cxn>
                    <a:cxn ang="0">
                      <a:pos x="419" y="137"/>
                    </a:cxn>
                    <a:cxn ang="0">
                      <a:pos x="406" y="131"/>
                    </a:cxn>
                    <a:cxn ang="0">
                      <a:pos x="391" y="111"/>
                    </a:cxn>
                    <a:cxn ang="0">
                      <a:pos x="382" y="103"/>
                    </a:cxn>
                    <a:cxn ang="0">
                      <a:pos x="375" y="92"/>
                    </a:cxn>
                    <a:cxn ang="0">
                      <a:pos x="366" y="79"/>
                    </a:cxn>
                    <a:cxn ang="0">
                      <a:pos x="347" y="73"/>
                    </a:cxn>
                    <a:cxn ang="0">
                      <a:pos x="315" y="63"/>
                    </a:cxn>
                    <a:cxn ang="0">
                      <a:pos x="285" y="51"/>
                    </a:cxn>
                    <a:cxn ang="0">
                      <a:pos x="266" y="40"/>
                    </a:cxn>
                    <a:cxn ang="0">
                      <a:pos x="252" y="23"/>
                    </a:cxn>
                    <a:cxn ang="0">
                      <a:pos x="241" y="12"/>
                    </a:cxn>
                  </a:cxnLst>
                  <a:rect l="0" t="0" r="r" b="b"/>
                  <a:pathLst>
                    <a:path w="427" h="482">
                      <a:moveTo>
                        <a:pt x="236" y="0"/>
                      </a:moveTo>
                      <a:lnTo>
                        <a:pt x="203" y="0"/>
                      </a:lnTo>
                      <a:lnTo>
                        <a:pt x="220" y="46"/>
                      </a:lnTo>
                      <a:lnTo>
                        <a:pt x="187" y="59"/>
                      </a:lnTo>
                      <a:lnTo>
                        <a:pt x="176" y="130"/>
                      </a:lnTo>
                      <a:lnTo>
                        <a:pt x="203" y="170"/>
                      </a:lnTo>
                      <a:lnTo>
                        <a:pt x="165" y="287"/>
                      </a:lnTo>
                      <a:lnTo>
                        <a:pt x="0" y="345"/>
                      </a:lnTo>
                      <a:lnTo>
                        <a:pt x="57" y="482"/>
                      </a:lnTo>
                      <a:lnTo>
                        <a:pt x="83" y="474"/>
                      </a:lnTo>
                      <a:lnTo>
                        <a:pt x="94" y="473"/>
                      </a:lnTo>
                      <a:lnTo>
                        <a:pt x="107" y="466"/>
                      </a:lnTo>
                      <a:lnTo>
                        <a:pt x="117" y="460"/>
                      </a:lnTo>
                      <a:lnTo>
                        <a:pt x="137" y="459"/>
                      </a:lnTo>
                      <a:lnTo>
                        <a:pt x="150" y="461"/>
                      </a:lnTo>
                      <a:lnTo>
                        <a:pt x="154" y="464"/>
                      </a:lnTo>
                      <a:lnTo>
                        <a:pt x="161" y="464"/>
                      </a:lnTo>
                      <a:lnTo>
                        <a:pt x="165" y="460"/>
                      </a:lnTo>
                      <a:lnTo>
                        <a:pt x="172" y="455"/>
                      </a:lnTo>
                      <a:lnTo>
                        <a:pt x="179" y="447"/>
                      </a:lnTo>
                      <a:lnTo>
                        <a:pt x="180" y="443"/>
                      </a:lnTo>
                      <a:lnTo>
                        <a:pt x="180" y="436"/>
                      </a:lnTo>
                      <a:lnTo>
                        <a:pt x="180" y="430"/>
                      </a:lnTo>
                      <a:lnTo>
                        <a:pt x="186" y="425"/>
                      </a:lnTo>
                      <a:lnTo>
                        <a:pt x="194" y="414"/>
                      </a:lnTo>
                      <a:lnTo>
                        <a:pt x="224" y="407"/>
                      </a:lnTo>
                      <a:lnTo>
                        <a:pt x="234" y="407"/>
                      </a:lnTo>
                      <a:lnTo>
                        <a:pt x="241" y="404"/>
                      </a:lnTo>
                      <a:lnTo>
                        <a:pt x="250" y="394"/>
                      </a:lnTo>
                      <a:lnTo>
                        <a:pt x="253" y="382"/>
                      </a:lnTo>
                      <a:lnTo>
                        <a:pt x="256" y="371"/>
                      </a:lnTo>
                      <a:lnTo>
                        <a:pt x="262" y="361"/>
                      </a:lnTo>
                      <a:lnTo>
                        <a:pt x="269" y="355"/>
                      </a:lnTo>
                      <a:lnTo>
                        <a:pt x="278" y="352"/>
                      </a:lnTo>
                      <a:lnTo>
                        <a:pt x="282" y="347"/>
                      </a:lnTo>
                      <a:lnTo>
                        <a:pt x="289" y="348"/>
                      </a:lnTo>
                      <a:lnTo>
                        <a:pt x="301" y="346"/>
                      </a:lnTo>
                      <a:lnTo>
                        <a:pt x="309" y="346"/>
                      </a:lnTo>
                      <a:lnTo>
                        <a:pt x="316" y="342"/>
                      </a:lnTo>
                      <a:lnTo>
                        <a:pt x="319" y="337"/>
                      </a:lnTo>
                      <a:lnTo>
                        <a:pt x="316" y="328"/>
                      </a:lnTo>
                      <a:lnTo>
                        <a:pt x="314" y="325"/>
                      </a:lnTo>
                      <a:lnTo>
                        <a:pt x="312" y="312"/>
                      </a:lnTo>
                      <a:lnTo>
                        <a:pt x="312" y="303"/>
                      </a:lnTo>
                      <a:lnTo>
                        <a:pt x="315" y="293"/>
                      </a:lnTo>
                      <a:lnTo>
                        <a:pt x="314" y="285"/>
                      </a:lnTo>
                      <a:lnTo>
                        <a:pt x="327" y="265"/>
                      </a:lnTo>
                      <a:lnTo>
                        <a:pt x="335" y="256"/>
                      </a:lnTo>
                      <a:lnTo>
                        <a:pt x="339" y="253"/>
                      </a:lnTo>
                      <a:lnTo>
                        <a:pt x="342" y="255"/>
                      </a:lnTo>
                      <a:lnTo>
                        <a:pt x="344" y="260"/>
                      </a:lnTo>
                      <a:lnTo>
                        <a:pt x="347" y="262"/>
                      </a:lnTo>
                      <a:lnTo>
                        <a:pt x="353" y="264"/>
                      </a:lnTo>
                      <a:lnTo>
                        <a:pt x="355" y="261"/>
                      </a:lnTo>
                      <a:lnTo>
                        <a:pt x="365" y="244"/>
                      </a:lnTo>
                      <a:lnTo>
                        <a:pt x="369" y="239"/>
                      </a:lnTo>
                      <a:lnTo>
                        <a:pt x="376" y="224"/>
                      </a:lnTo>
                      <a:lnTo>
                        <a:pt x="382" y="216"/>
                      </a:lnTo>
                      <a:lnTo>
                        <a:pt x="396" y="206"/>
                      </a:lnTo>
                      <a:lnTo>
                        <a:pt x="416" y="178"/>
                      </a:lnTo>
                      <a:lnTo>
                        <a:pt x="421" y="167"/>
                      </a:lnTo>
                      <a:lnTo>
                        <a:pt x="422" y="161"/>
                      </a:lnTo>
                      <a:lnTo>
                        <a:pt x="427" y="147"/>
                      </a:lnTo>
                      <a:lnTo>
                        <a:pt x="427" y="143"/>
                      </a:lnTo>
                      <a:lnTo>
                        <a:pt x="423" y="140"/>
                      </a:lnTo>
                      <a:lnTo>
                        <a:pt x="419" y="137"/>
                      </a:lnTo>
                      <a:lnTo>
                        <a:pt x="418" y="134"/>
                      </a:lnTo>
                      <a:lnTo>
                        <a:pt x="406" y="131"/>
                      </a:lnTo>
                      <a:lnTo>
                        <a:pt x="396" y="124"/>
                      </a:lnTo>
                      <a:lnTo>
                        <a:pt x="391" y="111"/>
                      </a:lnTo>
                      <a:lnTo>
                        <a:pt x="386" y="108"/>
                      </a:lnTo>
                      <a:lnTo>
                        <a:pt x="382" y="103"/>
                      </a:lnTo>
                      <a:lnTo>
                        <a:pt x="381" y="98"/>
                      </a:lnTo>
                      <a:lnTo>
                        <a:pt x="375" y="92"/>
                      </a:lnTo>
                      <a:lnTo>
                        <a:pt x="373" y="88"/>
                      </a:lnTo>
                      <a:lnTo>
                        <a:pt x="366" y="79"/>
                      </a:lnTo>
                      <a:lnTo>
                        <a:pt x="354" y="73"/>
                      </a:lnTo>
                      <a:lnTo>
                        <a:pt x="347" y="73"/>
                      </a:lnTo>
                      <a:lnTo>
                        <a:pt x="332" y="66"/>
                      </a:lnTo>
                      <a:lnTo>
                        <a:pt x="315" y="63"/>
                      </a:lnTo>
                      <a:lnTo>
                        <a:pt x="309" y="61"/>
                      </a:lnTo>
                      <a:lnTo>
                        <a:pt x="285" y="51"/>
                      </a:lnTo>
                      <a:lnTo>
                        <a:pt x="274" y="43"/>
                      </a:lnTo>
                      <a:lnTo>
                        <a:pt x="266" y="40"/>
                      </a:lnTo>
                      <a:lnTo>
                        <a:pt x="260" y="30"/>
                      </a:lnTo>
                      <a:lnTo>
                        <a:pt x="252" y="23"/>
                      </a:lnTo>
                      <a:lnTo>
                        <a:pt x="250" y="19"/>
                      </a:lnTo>
                      <a:lnTo>
                        <a:pt x="241" y="12"/>
                      </a:lnTo>
                      <a:lnTo>
                        <a:pt x="236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303" name="Freeform 152"/>
              <p:cNvSpPr>
                <a:spLocks noChangeAspect="1"/>
              </p:cNvSpPr>
              <p:nvPr/>
            </p:nvSpPr>
            <p:spPr bwMode="gray">
              <a:xfrm>
                <a:off x="3069" y="2190"/>
                <a:ext cx="1" cy="3"/>
              </a:xfrm>
              <a:custGeom>
                <a:avLst/>
                <a:gdLst/>
                <a:ahLst/>
                <a:cxnLst>
                  <a:cxn ang="0">
                    <a:pos x="8" y="3"/>
                  </a:cxn>
                  <a:cxn ang="0">
                    <a:pos x="0" y="0"/>
                  </a:cxn>
                  <a:cxn ang="0">
                    <a:pos x="0" y="11"/>
                  </a:cxn>
                  <a:cxn ang="0">
                    <a:pos x="3" y="19"/>
                  </a:cxn>
                  <a:cxn ang="0">
                    <a:pos x="8" y="17"/>
                  </a:cxn>
                  <a:cxn ang="0">
                    <a:pos x="8" y="3"/>
                  </a:cxn>
                </a:cxnLst>
                <a:rect l="0" t="0" r="r" b="b"/>
                <a:pathLst>
                  <a:path w="8" h="19">
                    <a:moveTo>
                      <a:pt x="8" y="3"/>
                    </a:moveTo>
                    <a:lnTo>
                      <a:pt x="0" y="0"/>
                    </a:lnTo>
                    <a:lnTo>
                      <a:pt x="0" y="11"/>
                    </a:lnTo>
                    <a:lnTo>
                      <a:pt x="3" y="19"/>
                    </a:lnTo>
                    <a:lnTo>
                      <a:pt x="8" y="17"/>
                    </a:lnTo>
                    <a:lnTo>
                      <a:pt x="8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grpSp>
            <p:nvGrpSpPr>
              <p:cNvPr id="304" name="Group 153"/>
              <p:cNvGrpSpPr>
                <a:grpSpLocks noChangeAspect="1"/>
              </p:cNvGrpSpPr>
              <p:nvPr/>
            </p:nvGrpSpPr>
            <p:grpSpPr bwMode="gray">
              <a:xfrm>
                <a:off x="3000" y="2012"/>
                <a:ext cx="210" cy="192"/>
                <a:chOff x="3000" y="2012"/>
                <a:chExt cx="210" cy="192"/>
              </a:xfrm>
              <a:grpFill/>
            </p:grpSpPr>
            <p:sp>
              <p:nvSpPr>
                <p:cNvPr id="314" name="Freeform 154"/>
                <p:cNvSpPr>
                  <a:spLocks noChangeAspect="1"/>
                </p:cNvSpPr>
                <p:nvPr/>
              </p:nvSpPr>
              <p:spPr bwMode="gray">
                <a:xfrm>
                  <a:off x="3122" y="2182"/>
                  <a:ext cx="10" cy="5"/>
                </a:xfrm>
                <a:custGeom>
                  <a:avLst/>
                  <a:gdLst/>
                  <a:ahLst/>
                  <a:cxnLst>
                    <a:cxn ang="0">
                      <a:pos x="50" y="2"/>
                    </a:cxn>
                    <a:cxn ang="0">
                      <a:pos x="45" y="0"/>
                    </a:cxn>
                    <a:cxn ang="0">
                      <a:pos x="27" y="2"/>
                    </a:cxn>
                    <a:cxn ang="0">
                      <a:pos x="23" y="10"/>
                    </a:cxn>
                    <a:cxn ang="0">
                      <a:pos x="12" y="18"/>
                    </a:cxn>
                    <a:cxn ang="0">
                      <a:pos x="0" y="22"/>
                    </a:cxn>
                    <a:cxn ang="0">
                      <a:pos x="1" y="26"/>
                    </a:cxn>
                    <a:cxn ang="0">
                      <a:pos x="27" y="19"/>
                    </a:cxn>
                    <a:cxn ang="0">
                      <a:pos x="50" y="2"/>
                    </a:cxn>
                  </a:cxnLst>
                  <a:rect l="0" t="0" r="r" b="b"/>
                  <a:pathLst>
                    <a:path w="50" h="26">
                      <a:moveTo>
                        <a:pt x="50" y="2"/>
                      </a:moveTo>
                      <a:lnTo>
                        <a:pt x="45" y="0"/>
                      </a:lnTo>
                      <a:lnTo>
                        <a:pt x="27" y="2"/>
                      </a:lnTo>
                      <a:lnTo>
                        <a:pt x="23" y="10"/>
                      </a:lnTo>
                      <a:lnTo>
                        <a:pt x="12" y="18"/>
                      </a:lnTo>
                      <a:lnTo>
                        <a:pt x="0" y="22"/>
                      </a:lnTo>
                      <a:lnTo>
                        <a:pt x="1" y="26"/>
                      </a:lnTo>
                      <a:lnTo>
                        <a:pt x="27" y="19"/>
                      </a:lnTo>
                      <a:lnTo>
                        <a:pt x="50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15" name="Freeform 155"/>
                <p:cNvSpPr>
                  <a:spLocks noChangeAspect="1"/>
                </p:cNvSpPr>
                <p:nvPr/>
              </p:nvSpPr>
              <p:spPr bwMode="gray">
                <a:xfrm>
                  <a:off x="3000" y="2012"/>
                  <a:ext cx="210" cy="192"/>
                </a:xfrm>
                <a:custGeom>
                  <a:avLst/>
                  <a:gdLst/>
                  <a:ahLst/>
                  <a:cxnLst>
                    <a:cxn ang="0">
                      <a:pos x="920" y="957"/>
                    </a:cxn>
                    <a:cxn ang="0">
                      <a:pos x="836" y="944"/>
                    </a:cxn>
                    <a:cxn ang="0">
                      <a:pos x="792" y="933"/>
                    </a:cxn>
                    <a:cxn ang="0">
                      <a:pos x="717" y="912"/>
                    </a:cxn>
                    <a:cxn ang="0">
                      <a:pos x="673" y="839"/>
                    </a:cxn>
                    <a:cxn ang="0">
                      <a:pos x="610" y="865"/>
                    </a:cxn>
                    <a:cxn ang="0">
                      <a:pos x="551" y="868"/>
                    </a:cxn>
                    <a:cxn ang="0">
                      <a:pos x="511" y="859"/>
                    </a:cxn>
                    <a:cxn ang="0">
                      <a:pos x="462" y="822"/>
                    </a:cxn>
                    <a:cxn ang="0">
                      <a:pos x="400" y="794"/>
                    </a:cxn>
                    <a:cxn ang="0">
                      <a:pos x="351" y="713"/>
                    </a:cxn>
                    <a:cxn ang="0">
                      <a:pos x="323" y="661"/>
                    </a:cxn>
                    <a:cxn ang="0">
                      <a:pos x="292" y="661"/>
                    </a:cxn>
                    <a:cxn ang="0">
                      <a:pos x="270" y="632"/>
                    </a:cxn>
                    <a:cxn ang="0">
                      <a:pos x="252" y="640"/>
                    </a:cxn>
                    <a:cxn ang="0">
                      <a:pos x="237" y="653"/>
                    </a:cxn>
                    <a:cxn ang="0">
                      <a:pos x="188" y="595"/>
                    </a:cxn>
                    <a:cxn ang="0">
                      <a:pos x="172" y="506"/>
                    </a:cxn>
                    <a:cxn ang="0">
                      <a:pos x="111" y="466"/>
                    </a:cxn>
                    <a:cxn ang="0">
                      <a:pos x="82" y="422"/>
                    </a:cxn>
                    <a:cxn ang="0">
                      <a:pos x="72" y="393"/>
                    </a:cxn>
                    <a:cxn ang="0">
                      <a:pos x="100" y="328"/>
                    </a:cxn>
                    <a:cxn ang="0">
                      <a:pos x="102" y="278"/>
                    </a:cxn>
                    <a:cxn ang="0">
                      <a:pos x="40" y="213"/>
                    </a:cxn>
                    <a:cxn ang="0">
                      <a:pos x="12" y="118"/>
                    </a:cxn>
                    <a:cxn ang="0">
                      <a:pos x="0" y="34"/>
                    </a:cxn>
                    <a:cxn ang="0">
                      <a:pos x="38" y="16"/>
                    </a:cxn>
                    <a:cxn ang="0">
                      <a:pos x="121" y="68"/>
                    </a:cxn>
                    <a:cxn ang="0">
                      <a:pos x="166" y="27"/>
                    </a:cxn>
                    <a:cxn ang="0">
                      <a:pos x="227" y="57"/>
                    </a:cxn>
                    <a:cxn ang="0">
                      <a:pos x="232" y="85"/>
                    </a:cxn>
                    <a:cxn ang="0">
                      <a:pos x="260" y="123"/>
                    </a:cxn>
                    <a:cxn ang="0">
                      <a:pos x="303" y="171"/>
                    </a:cxn>
                    <a:cxn ang="0">
                      <a:pos x="357" y="203"/>
                    </a:cxn>
                    <a:cxn ang="0">
                      <a:pos x="497" y="207"/>
                    </a:cxn>
                    <a:cxn ang="0">
                      <a:pos x="543" y="207"/>
                    </a:cxn>
                    <a:cxn ang="0">
                      <a:pos x="600" y="135"/>
                    </a:cxn>
                    <a:cxn ang="0">
                      <a:pos x="664" y="121"/>
                    </a:cxn>
                    <a:cxn ang="0">
                      <a:pos x="722" y="119"/>
                    </a:cxn>
                    <a:cxn ang="0">
                      <a:pos x="804" y="150"/>
                    </a:cxn>
                    <a:cxn ang="0">
                      <a:pos x="851" y="187"/>
                    </a:cxn>
                    <a:cxn ang="0">
                      <a:pos x="936" y="230"/>
                    </a:cxn>
                    <a:cxn ang="0">
                      <a:pos x="935" y="321"/>
                    </a:cxn>
                    <a:cxn ang="0">
                      <a:pos x="895" y="398"/>
                    </a:cxn>
                    <a:cxn ang="0">
                      <a:pos x="899" y="470"/>
                    </a:cxn>
                    <a:cxn ang="0">
                      <a:pos x="909" y="546"/>
                    </a:cxn>
                    <a:cxn ang="0">
                      <a:pos x="960" y="586"/>
                    </a:cxn>
                    <a:cxn ang="0">
                      <a:pos x="915" y="676"/>
                    </a:cxn>
                    <a:cxn ang="0">
                      <a:pos x="986" y="759"/>
                    </a:cxn>
                    <a:cxn ang="0">
                      <a:pos x="1023" y="829"/>
                    </a:cxn>
                    <a:cxn ang="0">
                      <a:pos x="1033" y="866"/>
                    </a:cxn>
                    <a:cxn ang="0">
                      <a:pos x="970" y="902"/>
                    </a:cxn>
                  </a:cxnLst>
                  <a:rect l="0" t="0" r="r" b="b"/>
                  <a:pathLst>
                    <a:path w="1049" h="961">
                      <a:moveTo>
                        <a:pt x="957" y="958"/>
                      </a:moveTo>
                      <a:lnTo>
                        <a:pt x="954" y="957"/>
                      </a:lnTo>
                      <a:lnTo>
                        <a:pt x="947" y="961"/>
                      </a:lnTo>
                      <a:lnTo>
                        <a:pt x="932" y="960"/>
                      </a:lnTo>
                      <a:lnTo>
                        <a:pt x="920" y="957"/>
                      </a:lnTo>
                      <a:lnTo>
                        <a:pt x="903" y="951"/>
                      </a:lnTo>
                      <a:lnTo>
                        <a:pt x="895" y="944"/>
                      </a:lnTo>
                      <a:lnTo>
                        <a:pt x="889" y="949"/>
                      </a:lnTo>
                      <a:lnTo>
                        <a:pt x="855" y="947"/>
                      </a:lnTo>
                      <a:lnTo>
                        <a:pt x="836" y="944"/>
                      </a:lnTo>
                      <a:lnTo>
                        <a:pt x="825" y="939"/>
                      </a:lnTo>
                      <a:lnTo>
                        <a:pt x="820" y="941"/>
                      </a:lnTo>
                      <a:lnTo>
                        <a:pt x="818" y="945"/>
                      </a:lnTo>
                      <a:lnTo>
                        <a:pt x="806" y="938"/>
                      </a:lnTo>
                      <a:lnTo>
                        <a:pt x="792" y="933"/>
                      </a:lnTo>
                      <a:lnTo>
                        <a:pt x="775" y="933"/>
                      </a:lnTo>
                      <a:lnTo>
                        <a:pt x="755" y="930"/>
                      </a:lnTo>
                      <a:lnTo>
                        <a:pt x="744" y="926"/>
                      </a:lnTo>
                      <a:lnTo>
                        <a:pt x="726" y="925"/>
                      </a:lnTo>
                      <a:lnTo>
                        <a:pt x="717" y="912"/>
                      </a:lnTo>
                      <a:lnTo>
                        <a:pt x="710" y="893"/>
                      </a:lnTo>
                      <a:lnTo>
                        <a:pt x="705" y="869"/>
                      </a:lnTo>
                      <a:lnTo>
                        <a:pt x="697" y="852"/>
                      </a:lnTo>
                      <a:lnTo>
                        <a:pt x="683" y="843"/>
                      </a:lnTo>
                      <a:lnTo>
                        <a:pt x="673" y="839"/>
                      </a:lnTo>
                      <a:lnTo>
                        <a:pt x="665" y="838"/>
                      </a:lnTo>
                      <a:lnTo>
                        <a:pt x="645" y="847"/>
                      </a:lnTo>
                      <a:lnTo>
                        <a:pt x="625" y="853"/>
                      </a:lnTo>
                      <a:lnTo>
                        <a:pt x="619" y="860"/>
                      </a:lnTo>
                      <a:lnTo>
                        <a:pt x="610" y="865"/>
                      </a:lnTo>
                      <a:lnTo>
                        <a:pt x="600" y="865"/>
                      </a:lnTo>
                      <a:lnTo>
                        <a:pt x="584" y="875"/>
                      </a:lnTo>
                      <a:lnTo>
                        <a:pt x="573" y="877"/>
                      </a:lnTo>
                      <a:lnTo>
                        <a:pt x="559" y="874"/>
                      </a:lnTo>
                      <a:lnTo>
                        <a:pt x="551" y="868"/>
                      </a:lnTo>
                      <a:lnTo>
                        <a:pt x="537" y="865"/>
                      </a:lnTo>
                      <a:lnTo>
                        <a:pt x="523" y="868"/>
                      </a:lnTo>
                      <a:lnTo>
                        <a:pt x="516" y="868"/>
                      </a:lnTo>
                      <a:lnTo>
                        <a:pt x="507" y="856"/>
                      </a:lnTo>
                      <a:lnTo>
                        <a:pt x="511" y="859"/>
                      </a:lnTo>
                      <a:lnTo>
                        <a:pt x="509" y="854"/>
                      </a:lnTo>
                      <a:lnTo>
                        <a:pt x="502" y="849"/>
                      </a:lnTo>
                      <a:lnTo>
                        <a:pt x="470" y="838"/>
                      </a:lnTo>
                      <a:lnTo>
                        <a:pt x="462" y="826"/>
                      </a:lnTo>
                      <a:lnTo>
                        <a:pt x="462" y="822"/>
                      </a:lnTo>
                      <a:lnTo>
                        <a:pt x="453" y="812"/>
                      </a:lnTo>
                      <a:lnTo>
                        <a:pt x="438" y="805"/>
                      </a:lnTo>
                      <a:lnTo>
                        <a:pt x="425" y="800"/>
                      </a:lnTo>
                      <a:lnTo>
                        <a:pt x="409" y="799"/>
                      </a:lnTo>
                      <a:lnTo>
                        <a:pt x="400" y="794"/>
                      </a:lnTo>
                      <a:lnTo>
                        <a:pt x="392" y="785"/>
                      </a:lnTo>
                      <a:lnTo>
                        <a:pt x="384" y="762"/>
                      </a:lnTo>
                      <a:lnTo>
                        <a:pt x="374" y="745"/>
                      </a:lnTo>
                      <a:lnTo>
                        <a:pt x="371" y="730"/>
                      </a:lnTo>
                      <a:lnTo>
                        <a:pt x="351" y="713"/>
                      </a:lnTo>
                      <a:lnTo>
                        <a:pt x="347" y="699"/>
                      </a:lnTo>
                      <a:lnTo>
                        <a:pt x="342" y="689"/>
                      </a:lnTo>
                      <a:lnTo>
                        <a:pt x="334" y="685"/>
                      </a:lnTo>
                      <a:lnTo>
                        <a:pt x="324" y="669"/>
                      </a:lnTo>
                      <a:lnTo>
                        <a:pt x="323" y="661"/>
                      </a:lnTo>
                      <a:lnTo>
                        <a:pt x="319" y="655"/>
                      </a:lnTo>
                      <a:lnTo>
                        <a:pt x="313" y="651"/>
                      </a:lnTo>
                      <a:lnTo>
                        <a:pt x="301" y="656"/>
                      </a:lnTo>
                      <a:lnTo>
                        <a:pt x="293" y="664"/>
                      </a:lnTo>
                      <a:lnTo>
                        <a:pt x="292" y="661"/>
                      </a:lnTo>
                      <a:lnTo>
                        <a:pt x="286" y="659"/>
                      </a:lnTo>
                      <a:lnTo>
                        <a:pt x="283" y="654"/>
                      </a:lnTo>
                      <a:lnTo>
                        <a:pt x="276" y="649"/>
                      </a:lnTo>
                      <a:lnTo>
                        <a:pt x="271" y="642"/>
                      </a:lnTo>
                      <a:lnTo>
                        <a:pt x="270" y="632"/>
                      </a:lnTo>
                      <a:lnTo>
                        <a:pt x="265" y="627"/>
                      </a:lnTo>
                      <a:lnTo>
                        <a:pt x="256" y="624"/>
                      </a:lnTo>
                      <a:lnTo>
                        <a:pt x="252" y="628"/>
                      </a:lnTo>
                      <a:lnTo>
                        <a:pt x="254" y="634"/>
                      </a:lnTo>
                      <a:lnTo>
                        <a:pt x="252" y="640"/>
                      </a:lnTo>
                      <a:lnTo>
                        <a:pt x="253" y="646"/>
                      </a:lnTo>
                      <a:lnTo>
                        <a:pt x="244" y="646"/>
                      </a:lnTo>
                      <a:lnTo>
                        <a:pt x="243" y="656"/>
                      </a:lnTo>
                      <a:lnTo>
                        <a:pt x="240" y="655"/>
                      </a:lnTo>
                      <a:lnTo>
                        <a:pt x="237" y="653"/>
                      </a:lnTo>
                      <a:lnTo>
                        <a:pt x="217" y="638"/>
                      </a:lnTo>
                      <a:lnTo>
                        <a:pt x="210" y="630"/>
                      </a:lnTo>
                      <a:lnTo>
                        <a:pt x="205" y="622"/>
                      </a:lnTo>
                      <a:lnTo>
                        <a:pt x="201" y="602"/>
                      </a:lnTo>
                      <a:lnTo>
                        <a:pt x="188" y="595"/>
                      </a:lnTo>
                      <a:lnTo>
                        <a:pt x="189" y="574"/>
                      </a:lnTo>
                      <a:lnTo>
                        <a:pt x="193" y="547"/>
                      </a:lnTo>
                      <a:lnTo>
                        <a:pt x="186" y="533"/>
                      </a:lnTo>
                      <a:lnTo>
                        <a:pt x="179" y="521"/>
                      </a:lnTo>
                      <a:lnTo>
                        <a:pt x="172" y="506"/>
                      </a:lnTo>
                      <a:lnTo>
                        <a:pt x="163" y="497"/>
                      </a:lnTo>
                      <a:lnTo>
                        <a:pt x="150" y="493"/>
                      </a:lnTo>
                      <a:lnTo>
                        <a:pt x="140" y="488"/>
                      </a:lnTo>
                      <a:lnTo>
                        <a:pt x="126" y="477"/>
                      </a:lnTo>
                      <a:lnTo>
                        <a:pt x="111" y="466"/>
                      </a:lnTo>
                      <a:lnTo>
                        <a:pt x="99" y="460"/>
                      </a:lnTo>
                      <a:lnTo>
                        <a:pt x="99" y="449"/>
                      </a:lnTo>
                      <a:lnTo>
                        <a:pt x="93" y="435"/>
                      </a:lnTo>
                      <a:lnTo>
                        <a:pt x="86" y="429"/>
                      </a:lnTo>
                      <a:lnTo>
                        <a:pt x="82" y="422"/>
                      </a:lnTo>
                      <a:lnTo>
                        <a:pt x="73" y="422"/>
                      </a:lnTo>
                      <a:lnTo>
                        <a:pt x="67" y="417"/>
                      </a:lnTo>
                      <a:lnTo>
                        <a:pt x="65" y="401"/>
                      </a:lnTo>
                      <a:lnTo>
                        <a:pt x="68" y="400"/>
                      </a:lnTo>
                      <a:lnTo>
                        <a:pt x="72" y="393"/>
                      </a:lnTo>
                      <a:lnTo>
                        <a:pt x="76" y="368"/>
                      </a:lnTo>
                      <a:lnTo>
                        <a:pt x="80" y="360"/>
                      </a:lnTo>
                      <a:lnTo>
                        <a:pt x="88" y="358"/>
                      </a:lnTo>
                      <a:lnTo>
                        <a:pt x="87" y="349"/>
                      </a:lnTo>
                      <a:lnTo>
                        <a:pt x="100" y="328"/>
                      </a:lnTo>
                      <a:lnTo>
                        <a:pt x="109" y="317"/>
                      </a:lnTo>
                      <a:lnTo>
                        <a:pt x="104" y="299"/>
                      </a:lnTo>
                      <a:lnTo>
                        <a:pt x="110" y="285"/>
                      </a:lnTo>
                      <a:lnTo>
                        <a:pt x="116" y="278"/>
                      </a:lnTo>
                      <a:lnTo>
                        <a:pt x="102" y="278"/>
                      </a:lnTo>
                      <a:lnTo>
                        <a:pt x="80" y="273"/>
                      </a:lnTo>
                      <a:lnTo>
                        <a:pt x="68" y="262"/>
                      </a:lnTo>
                      <a:lnTo>
                        <a:pt x="62" y="240"/>
                      </a:lnTo>
                      <a:lnTo>
                        <a:pt x="50" y="230"/>
                      </a:lnTo>
                      <a:lnTo>
                        <a:pt x="40" y="213"/>
                      </a:lnTo>
                      <a:lnTo>
                        <a:pt x="35" y="180"/>
                      </a:lnTo>
                      <a:lnTo>
                        <a:pt x="34" y="164"/>
                      </a:lnTo>
                      <a:lnTo>
                        <a:pt x="22" y="147"/>
                      </a:lnTo>
                      <a:lnTo>
                        <a:pt x="8" y="139"/>
                      </a:lnTo>
                      <a:lnTo>
                        <a:pt x="12" y="118"/>
                      </a:lnTo>
                      <a:lnTo>
                        <a:pt x="10" y="102"/>
                      </a:lnTo>
                      <a:lnTo>
                        <a:pt x="10" y="85"/>
                      </a:lnTo>
                      <a:lnTo>
                        <a:pt x="8" y="58"/>
                      </a:lnTo>
                      <a:lnTo>
                        <a:pt x="1" y="41"/>
                      </a:lnTo>
                      <a:lnTo>
                        <a:pt x="0" y="34"/>
                      </a:lnTo>
                      <a:lnTo>
                        <a:pt x="14" y="25"/>
                      </a:lnTo>
                      <a:lnTo>
                        <a:pt x="16" y="18"/>
                      </a:lnTo>
                      <a:lnTo>
                        <a:pt x="25" y="0"/>
                      </a:lnTo>
                      <a:lnTo>
                        <a:pt x="34" y="11"/>
                      </a:lnTo>
                      <a:lnTo>
                        <a:pt x="38" y="16"/>
                      </a:lnTo>
                      <a:lnTo>
                        <a:pt x="70" y="62"/>
                      </a:lnTo>
                      <a:lnTo>
                        <a:pt x="86" y="65"/>
                      </a:lnTo>
                      <a:lnTo>
                        <a:pt x="99" y="68"/>
                      </a:lnTo>
                      <a:lnTo>
                        <a:pt x="104" y="68"/>
                      </a:lnTo>
                      <a:lnTo>
                        <a:pt x="121" y="68"/>
                      </a:lnTo>
                      <a:lnTo>
                        <a:pt x="127" y="68"/>
                      </a:lnTo>
                      <a:lnTo>
                        <a:pt x="138" y="65"/>
                      </a:lnTo>
                      <a:lnTo>
                        <a:pt x="150" y="53"/>
                      </a:lnTo>
                      <a:lnTo>
                        <a:pt x="156" y="37"/>
                      </a:lnTo>
                      <a:lnTo>
                        <a:pt x="166" y="27"/>
                      </a:lnTo>
                      <a:lnTo>
                        <a:pt x="178" y="19"/>
                      </a:lnTo>
                      <a:lnTo>
                        <a:pt x="204" y="13"/>
                      </a:lnTo>
                      <a:lnTo>
                        <a:pt x="221" y="22"/>
                      </a:lnTo>
                      <a:lnTo>
                        <a:pt x="220" y="36"/>
                      </a:lnTo>
                      <a:lnTo>
                        <a:pt x="227" y="57"/>
                      </a:lnTo>
                      <a:lnTo>
                        <a:pt x="212" y="65"/>
                      </a:lnTo>
                      <a:lnTo>
                        <a:pt x="209" y="70"/>
                      </a:lnTo>
                      <a:lnTo>
                        <a:pt x="220" y="77"/>
                      </a:lnTo>
                      <a:lnTo>
                        <a:pt x="224" y="81"/>
                      </a:lnTo>
                      <a:lnTo>
                        <a:pt x="232" y="85"/>
                      </a:lnTo>
                      <a:lnTo>
                        <a:pt x="240" y="92"/>
                      </a:lnTo>
                      <a:lnTo>
                        <a:pt x="247" y="95"/>
                      </a:lnTo>
                      <a:lnTo>
                        <a:pt x="254" y="95"/>
                      </a:lnTo>
                      <a:lnTo>
                        <a:pt x="258" y="94"/>
                      </a:lnTo>
                      <a:lnTo>
                        <a:pt x="260" y="123"/>
                      </a:lnTo>
                      <a:lnTo>
                        <a:pt x="265" y="142"/>
                      </a:lnTo>
                      <a:lnTo>
                        <a:pt x="270" y="155"/>
                      </a:lnTo>
                      <a:lnTo>
                        <a:pt x="282" y="165"/>
                      </a:lnTo>
                      <a:lnTo>
                        <a:pt x="293" y="167"/>
                      </a:lnTo>
                      <a:lnTo>
                        <a:pt x="303" y="171"/>
                      </a:lnTo>
                      <a:lnTo>
                        <a:pt x="318" y="170"/>
                      </a:lnTo>
                      <a:lnTo>
                        <a:pt x="329" y="171"/>
                      </a:lnTo>
                      <a:lnTo>
                        <a:pt x="336" y="176"/>
                      </a:lnTo>
                      <a:lnTo>
                        <a:pt x="344" y="192"/>
                      </a:lnTo>
                      <a:lnTo>
                        <a:pt x="357" y="203"/>
                      </a:lnTo>
                      <a:lnTo>
                        <a:pt x="377" y="214"/>
                      </a:lnTo>
                      <a:lnTo>
                        <a:pt x="411" y="225"/>
                      </a:lnTo>
                      <a:lnTo>
                        <a:pt x="423" y="226"/>
                      </a:lnTo>
                      <a:lnTo>
                        <a:pt x="479" y="209"/>
                      </a:lnTo>
                      <a:lnTo>
                        <a:pt x="497" y="207"/>
                      </a:lnTo>
                      <a:lnTo>
                        <a:pt x="519" y="202"/>
                      </a:lnTo>
                      <a:lnTo>
                        <a:pt x="516" y="205"/>
                      </a:lnTo>
                      <a:lnTo>
                        <a:pt x="502" y="208"/>
                      </a:lnTo>
                      <a:lnTo>
                        <a:pt x="519" y="210"/>
                      </a:lnTo>
                      <a:lnTo>
                        <a:pt x="543" y="207"/>
                      </a:lnTo>
                      <a:lnTo>
                        <a:pt x="543" y="187"/>
                      </a:lnTo>
                      <a:lnTo>
                        <a:pt x="534" y="166"/>
                      </a:lnTo>
                      <a:lnTo>
                        <a:pt x="548" y="166"/>
                      </a:lnTo>
                      <a:lnTo>
                        <a:pt x="566" y="162"/>
                      </a:lnTo>
                      <a:lnTo>
                        <a:pt x="600" y="135"/>
                      </a:lnTo>
                      <a:lnTo>
                        <a:pt x="615" y="121"/>
                      </a:lnTo>
                      <a:lnTo>
                        <a:pt x="631" y="117"/>
                      </a:lnTo>
                      <a:lnTo>
                        <a:pt x="642" y="117"/>
                      </a:lnTo>
                      <a:lnTo>
                        <a:pt x="653" y="121"/>
                      </a:lnTo>
                      <a:lnTo>
                        <a:pt x="664" y="121"/>
                      </a:lnTo>
                      <a:lnTo>
                        <a:pt x="669" y="116"/>
                      </a:lnTo>
                      <a:lnTo>
                        <a:pt x="672" y="107"/>
                      </a:lnTo>
                      <a:lnTo>
                        <a:pt x="686" y="105"/>
                      </a:lnTo>
                      <a:lnTo>
                        <a:pt x="707" y="107"/>
                      </a:lnTo>
                      <a:lnTo>
                        <a:pt x="722" y="119"/>
                      </a:lnTo>
                      <a:lnTo>
                        <a:pt x="731" y="131"/>
                      </a:lnTo>
                      <a:lnTo>
                        <a:pt x="769" y="143"/>
                      </a:lnTo>
                      <a:lnTo>
                        <a:pt x="782" y="150"/>
                      </a:lnTo>
                      <a:lnTo>
                        <a:pt x="793" y="153"/>
                      </a:lnTo>
                      <a:lnTo>
                        <a:pt x="804" y="150"/>
                      </a:lnTo>
                      <a:lnTo>
                        <a:pt x="819" y="153"/>
                      </a:lnTo>
                      <a:lnTo>
                        <a:pt x="828" y="158"/>
                      </a:lnTo>
                      <a:lnTo>
                        <a:pt x="837" y="171"/>
                      </a:lnTo>
                      <a:lnTo>
                        <a:pt x="841" y="183"/>
                      </a:lnTo>
                      <a:lnTo>
                        <a:pt x="851" y="187"/>
                      </a:lnTo>
                      <a:lnTo>
                        <a:pt x="867" y="197"/>
                      </a:lnTo>
                      <a:lnTo>
                        <a:pt x="889" y="215"/>
                      </a:lnTo>
                      <a:lnTo>
                        <a:pt x="905" y="225"/>
                      </a:lnTo>
                      <a:lnTo>
                        <a:pt x="931" y="225"/>
                      </a:lnTo>
                      <a:lnTo>
                        <a:pt x="936" y="230"/>
                      </a:lnTo>
                      <a:lnTo>
                        <a:pt x="936" y="267"/>
                      </a:lnTo>
                      <a:lnTo>
                        <a:pt x="939" y="278"/>
                      </a:lnTo>
                      <a:lnTo>
                        <a:pt x="937" y="291"/>
                      </a:lnTo>
                      <a:lnTo>
                        <a:pt x="935" y="305"/>
                      </a:lnTo>
                      <a:lnTo>
                        <a:pt x="935" y="321"/>
                      </a:lnTo>
                      <a:lnTo>
                        <a:pt x="930" y="343"/>
                      </a:lnTo>
                      <a:lnTo>
                        <a:pt x="916" y="365"/>
                      </a:lnTo>
                      <a:lnTo>
                        <a:pt x="916" y="380"/>
                      </a:lnTo>
                      <a:lnTo>
                        <a:pt x="895" y="388"/>
                      </a:lnTo>
                      <a:lnTo>
                        <a:pt x="895" y="398"/>
                      </a:lnTo>
                      <a:lnTo>
                        <a:pt x="895" y="418"/>
                      </a:lnTo>
                      <a:lnTo>
                        <a:pt x="909" y="423"/>
                      </a:lnTo>
                      <a:lnTo>
                        <a:pt x="910" y="434"/>
                      </a:lnTo>
                      <a:lnTo>
                        <a:pt x="903" y="452"/>
                      </a:lnTo>
                      <a:lnTo>
                        <a:pt x="899" y="470"/>
                      </a:lnTo>
                      <a:lnTo>
                        <a:pt x="901" y="482"/>
                      </a:lnTo>
                      <a:lnTo>
                        <a:pt x="907" y="498"/>
                      </a:lnTo>
                      <a:lnTo>
                        <a:pt x="910" y="516"/>
                      </a:lnTo>
                      <a:lnTo>
                        <a:pt x="907" y="533"/>
                      </a:lnTo>
                      <a:lnTo>
                        <a:pt x="909" y="546"/>
                      </a:lnTo>
                      <a:lnTo>
                        <a:pt x="919" y="557"/>
                      </a:lnTo>
                      <a:lnTo>
                        <a:pt x="931" y="560"/>
                      </a:lnTo>
                      <a:lnTo>
                        <a:pt x="943" y="560"/>
                      </a:lnTo>
                      <a:lnTo>
                        <a:pt x="954" y="570"/>
                      </a:lnTo>
                      <a:lnTo>
                        <a:pt x="960" y="586"/>
                      </a:lnTo>
                      <a:lnTo>
                        <a:pt x="960" y="601"/>
                      </a:lnTo>
                      <a:lnTo>
                        <a:pt x="954" y="618"/>
                      </a:lnTo>
                      <a:lnTo>
                        <a:pt x="931" y="646"/>
                      </a:lnTo>
                      <a:lnTo>
                        <a:pt x="919" y="671"/>
                      </a:lnTo>
                      <a:lnTo>
                        <a:pt x="915" y="676"/>
                      </a:lnTo>
                      <a:lnTo>
                        <a:pt x="923" y="686"/>
                      </a:lnTo>
                      <a:lnTo>
                        <a:pt x="937" y="698"/>
                      </a:lnTo>
                      <a:lnTo>
                        <a:pt x="958" y="741"/>
                      </a:lnTo>
                      <a:lnTo>
                        <a:pt x="970" y="751"/>
                      </a:lnTo>
                      <a:lnTo>
                        <a:pt x="986" y="759"/>
                      </a:lnTo>
                      <a:lnTo>
                        <a:pt x="1013" y="768"/>
                      </a:lnTo>
                      <a:lnTo>
                        <a:pt x="1018" y="774"/>
                      </a:lnTo>
                      <a:lnTo>
                        <a:pt x="1023" y="800"/>
                      </a:lnTo>
                      <a:lnTo>
                        <a:pt x="1024" y="815"/>
                      </a:lnTo>
                      <a:lnTo>
                        <a:pt x="1023" y="829"/>
                      </a:lnTo>
                      <a:lnTo>
                        <a:pt x="1043" y="833"/>
                      </a:lnTo>
                      <a:lnTo>
                        <a:pt x="1048" y="838"/>
                      </a:lnTo>
                      <a:lnTo>
                        <a:pt x="1049" y="848"/>
                      </a:lnTo>
                      <a:lnTo>
                        <a:pt x="1046" y="854"/>
                      </a:lnTo>
                      <a:lnTo>
                        <a:pt x="1033" y="866"/>
                      </a:lnTo>
                      <a:lnTo>
                        <a:pt x="1021" y="869"/>
                      </a:lnTo>
                      <a:lnTo>
                        <a:pt x="1006" y="875"/>
                      </a:lnTo>
                      <a:lnTo>
                        <a:pt x="992" y="880"/>
                      </a:lnTo>
                      <a:lnTo>
                        <a:pt x="979" y="890"/>
                      </a:lnTo>
                      <a:lnTo>
                        <a:pt x="970" y="902"/>
                      </a:lnTo>
                      <a:lnTo>
                        <a:pt x="959" y="931"/>
                      </a:lnTo>
                      <a:lnTo>
                        <a:pt x="957" y="944"/>
                      </a:lnTo>
                      <a:lnTo>
                        <a:pt x="957" y="95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305" name="Freeform 156"/>
              <p:cNvSpPr>
                <a:spLocks noChangeAspect="1"/>
              </p:cNvSpPr>
              <p:nvPr/>
            </p:nvSpPr>
            <p:spPr bwMode="gray">
              <a:xfrm>
                <a:off x="2941" y="2045"/>
                <a:ext cx="107" cy="109"/>
              </a:xfrm>
              <a:custGeom>
                <a:avLst/>
                <a:gdLst/>
                <a:ahLst/>
                <a:cxnLst>
                  <a:cxn ang="0">
                    <a:pos x="527" y="500"/>
                  </a:cxn>
                  <a:cxn ang="0">
                    <a:pos x="510" y="490"/>
                  </a:cxn>
                  <a:cxn ang="0">
                    <a:pos x="505" y="494"/>
                  </a:cxn>
                  <a:cxn ang="0">
                    <a:pos x="479" y="489"/>
                  </a:cxn>
                  <a:cxn ang="0">
                    <a:pos x="452" y="512"/>
                  </a:cxn>
                  <a:cxn ang="0">
                    <a:pos x="426" y="548"/>
                  </a:cxn>
                  <a:cxn ang="0">
                    <a:pos x="265" y="515"/>
                  </a:cxn>
                  <a:cxn ang="0">
                    <a:pos x="263" y="472"/>
                  </a:cxn>
                  <a:cxn ang="0">
                    <a:pos x="232" y="467"/>
                  </a:cxn>
                  <a:cxn ang="0">
                    <a:pos x="218" y="444"/>
                  </a:cxn>
                  <a:cxn ang="0">
                    <a:pos x="100" y="376"/>
                  </a:cxn>
                  <a:cxn ang="0">
                    <a:pos x="0" y="278"/>
                  </a:cxn>
                  <a:cxn ang="0">
                    <a:pos x="58" y="237"/>
                  </a:cxn>
                  <a:cxn ang="0">
                    <a:pos x="95" y="220"/>
                  </a:cxn>
                  <a:cxn ang="0">
                    <a:pos x="111" y="209"/>
                  </a:cxn>
                  <a:cxn ang="0">
                    <a:pos x="133" y="180"/>
                  </a:cxn>
                  <a:cxn ang="0">
                    <a:pos x="140" y="73"/>
                  </a:cxn>
                  <a:cxn ang="0">
                    <a:pos x="189" y="31"/>
                  </a:cxn>
                  <a:cxn ang="0">
                    <a:pos x="229" y="0"/>
                  </a:cxn>
                  <a:cxn ang="0">
                    <a:pos x="279" y="10"/>
                  </a:cxn>
                  <a:cxn ang="0">
                    <a:pos x="306" y="20"/>
                  </a:cxn>
                  <a:cxn ang="0">
                    <a:pos x="329" y="14"/>
                  </a:cxn>
                  <a:cxn ang="0">
                    <a:pos x="344" y="64"/>
                  </a:cxn>
                  <a:cxn ang="0">
                    <a:pos x="362" y="96"/>
                  </a:cxn>
                  <a:cxn ang="0">
                    <a:pos x="396" y="112"/>
                  </a:cxn>
                  <a:cxn ang="0">
                    <a:pos x="404" y="119"/>
                  </a:cxn>
                  <a:cxn ang="0">
                    <a:pos x="403" y="152"/>
                  </a:cxn>
                  <a:cxn ang="0">
                    <a:pos x="381" y="184"/>
                  </a:cxn>
                  <a:cxn ang="0">
                    <a:pos x="374" y="195"/>
                  </a:cxn>
                  <a:cxn ang="0">
                    <a:pos x="366" y="227"/>
                  </a:cxn>
                  <a:cxn ang="0">
                    <a:pos x="359" y="236"/>
                  </a:cxn>
                  <a:cxn ang="0">
                    <a:pos x="367" y="256"/>
                  </a:cxn>
                  <a:cxn ang="0">
                    <a:pos x="380" y="264"/>
                  </a:cxn>
                  <a:cxn ang="0">
                    <a:pos x="393" y="283"/>
                  </a:cxn>
                  <a:cxn ang="0">
                    <a:pos x="405" y="301"/>
                  </a:cxn>
                  <a:cxn ang="0">
                    <a:pos x="432" y="322"/>
                  </a:cxn>
                  <a:cxn ang="0">
                    <a:pos x="457" y="331"/>
                  </a:cxn>
                  <a:cxn ang="0">
                    <a:pos x="473" y="355"/>
                  </a:cxn>
                  <a:cxn ang="0">
                    <a:pos x="487" y="381"/>
                  </a:cxn>
                  <a:cxn ang="0">
                    <a:pos x="482" y="429"/>
                  </a:cxn>
                  <a:cxn ang="0">
                    <a:pos x="499" y="456"/>
                  </a:cxn>
                  <a:cxn ang="0">
                    <a:pos x="511" y="472"/>
                  </a:cxn>
                  <a:cxn ang="0">
                    <a:pos x="534" y="489"/>
                  </a:cxn>
                </a:cxnLst>
                <a:rect l="0" t="0" r="r" b="b"/>
                <a:pathLst>
                  <a:path w="534" h="548">
                    <a:moveTo>
                      <a:pt x="534" y="489"/>
                    </a:moveTo>
                    <a:lnTo>
                      <a:pt x="527" y="500"/>
                    </a:lnTo>
                    <a:lnTo>
                      <a:pt x="520" y="495"/>
                    </a:lnTo>
                    <a:lnTo>
                      <a:pt x="510" y="490"/>
                    </a:lnTo>
                    <a:lnTo>
                      <a:pt x="507" y="491"/>
                    </a:lnTo>
                    <a:lnTo>
                      <a:pt x="505" y="494"/>
                    </a:lnTo>
                    <a:lnTo>
                      <a:pt x="493" y="490"/>
                    </a:lnTo>
                    <a:lnTo>
                      <a:pt x="479" y="489"/>
                    </a:lnTo>
                    <a:lnTo>
                      <a:pt x="463" y="495"/>
                    </a:lnTo>
                    <a:lnTo>
                      <a:pt x="452" y="512"/>
                    </a:lnTo>
                    <a:lnTo>
                      <a:pt x="442" y="532"/>
                    </a:lnTo>
                    <a:lnTo>
                      <a:pt x="426" y="548"/>
                    </a:lnTo>
                    <a:lnTo>
                      <a:pt x="328" y="543"/>
                    </a:lnTo>
                    <a:lnTo>
                      <a:pt x="265" y="515"/>
                    </a:lnTo>
                    <a:lnTo>
                      <a:pt x="263" y="511"/>
                    </a:lnTo>
                    <a:lnTo>
                      <a:pt x="263" y="472"/>
                    </a:lnTo>
                    <a:lnTo>
                      <a:pt x="261" y="469"/>
                    </a:lnTo>
                    <a:lnTo>
                      <a:pt x="232" y="467"/>
                    </a:lnTo>
                    <a:lnTo>
                      <a:pt x="224" y="449"/>
                    </a:lnTo>
                    <a:lnTo>
                      <a:pt x="218" y="444"/>
                    </a:lnTo>
                    <a:lnTo>
                      <a:pt x="162" y="423"/>
                    </a:lnTo>
                    <a:lnTo>
                      <a:pt x="100" y="376"/>
                    </a:lnTo>
                    <a:lnTo>
                      <a:pt x="16" y="353"/>
                    </a:lnTo>
                    <a:lnTo>
                      <a:pt x="0" y="278"/>
                    </a:lnTo>
                    <a:lnTo>
                      <a:pt x="43" y="248"/>
                    </a:lnTo>
                    <a:lnTo>
                      <a:pt x="58" y="237"/>
                    </a:lnTo>
                    <a:lnTo>
                      <a:pt x="73" y="232"/>
                    </a:lnTo>
                    <a:lnTo>
                      <a:pt x="95" y="220"/>
                    </a:lnTo>
                    <a:lnTo>
                      <a:pt x="107" y="213"/>
                    </a:lnTo>
                    <a:lnTo>
                      <a:pt x="111" y="209"/>
                    </a:lnTo>
                    <a:lnTo>
                      <a:pt x="123" y="204"/>
                    </a:lnTo>
                    <a:lnTo>
                      <a:pt x="133" y="180"/>
                    </a:lnTo>
                    <a:lnTo>
                      <a:pt x="136" y="143"/>
                    </a:lnTo>
                    <a:lnTo>
                      <a:pt x="140" y="73"/>
                    </a:lnTo>
                    <a:lnTo>
                      <a:pt x="171" y="60"/>
                    </a:lnTo>
                    <a:lnTo>
                      <a:pt x="189" y="31"/>
                    </a:lnTo>
                    <a:lnTo>
                      <a:pt x="204" y="22"/>
                    </a:lnTo>
                    <a:lnTo>
                      <a:pt x="229" y="0"/>
                    </a:lnTo>
                    <a:lnTo>
                      <a:pt x="249" y="9"/>
                    </a:lnTo>
                    <a:lnTo>
                      <a:pt x="279" y="10"/>
                    </a:lnTo>
                    <a:lnTo>
                      <a:pt x="297" y="9"/>
                    </a:lnTo>
                    <a:lnTo>
                      <a:pt x="306" y="20"/>
                    </a:lnTo>
                    <a:lnTo>
                      <a:pt x="322" y="22"/>
                    </a:lnTo>
                    <a:lnTo>
                      <a:pt x="329" y="14"/>
                    </a:lnTo>
                    <a:lnTo>
                      <a:pt x="334" y="47"/>
                    </a:lnTo>
                    <a:lnTo>
                      <a:pt x="344" y="64"/>
                    </a:lnTo>
                    <a:lnTo>
                      <a:pt x="356" y="74"/>
                    </a:lnTo>
                    <a:lnTo>
                      <a:pt x="362" y="96"/>
                    </a:lnTo>
                    <a:lnTo>
                      <a:pt x="374" y="107"/>
                    </a:lnTo>
                    <a:lnTo>
                      <a:pt x="396" y="112"/>
                    </a:lnTo>
                    <a:lnTo>
                      <a:pt x="410" y="112"/>
                    </a:lnTo>
                    <a:lnTo>
                      <a:pt x="404" y="119"/>
                    </a:lnTo>
                    <a:lnTo>
                      <a:pt x="398" y="133"/>
                    </a:lnTo>
                    <a:lnTo>
                      <a:pt x="403" y="152"/>
                    </a:lnTo>
                    <a:lnTo>
                      <a:pt x="394" y="162"/>
                    </a:lnTo>
                    <a:lnTo>
                      <a:pt x="381" y="184"/>
                    </a:lnTo>
                    <a:lnTo>
                      <a:pt x="382" y="192"/>
                    </a:lnTo>
                    <a:lnTo>
                      <a:pt x="374" y="195"/>
                    </a:lnTo>
                    <a:lnTo>
                      <a:pt x="370" y="202"/>
                    </a:lnTo>
                    <a:lnTo>
                      <a:pt x="366" y="227"/>
                    </a:lnTo>
                    <a:lnTo>
                      <a:pt x="362" y="234"/>
                    </a:lnTo>
                    <a:lnTo>
                      <a:pt x="359" y="236"/>
                    </a:lnTo>
                    <a:lnTo>
                      <a:pt x="361" y="251"/>
                    </a:lnTo>
                    <a:lnTo>
                      <a:pt x="367" y="256"/>
                    </a:lnTo>
                    <a:lnTo>
                      <a:pt x="376" y="256"/>
                    </a:lnTo>
                    <a:lnTo>
                      <a:pt x="380" y="264"/>
                    </a:lnTo>
                    <a:lnTo>
                      <a:pt x="387" y="269"/>
                    </a:lnTo>
                    <a:lnTo>
                      <a:pt x="393" y="283"/>
                    </a:lnTo>
                    <a:lnTo>
                      <a:pt x="393" y="294"/>
                    </a:lnTo>
                    <a:lnTo>
                      <a:pt x="405" y="301"/>
                    </a:lnTo>
                    <a:lnTo>
                      <a:pt x="420" y="311"/>
                    </a:lnTo>
                    <a:lnTo>
                      <a:pt x="432" y="322"/>
                    </a:lnTo>
                    <a:lnTo>
                      <a:pt x="444" y="327"/>
                    </a:lnTo>
                    <a:lnTo>
                      <a:pt x="457" y="331"/>
                    </a:lnTo>
                    <a:lnTo>
                      <a:pt x="466" y="340"/>
                    </a:lnTo>
                    <a:lnTo>
                      <a:pt x="473" y="355"/>
                    </a:lnTo>
                    <a:lnTo>
                      <a:pt x="480" y="367"/>
                    </a:lnTo>
                    <a:lnTo>
                      <a:pt x="487" y="381"/>
                    </a:lnTo>
                    <a:lnTo>
                      <a:pt x="483" y="408"/>
                    </a:lnTo>
                    <a:lnTo>
                      <a:pt x="482" y="429"/>
                    </a:lnTo>
                    <a:lnTo>
                      <a:pt x="495" y="436"/>
                    </a:lnTo>
                    <a:lnTo>
                      <a:pt x="499" y="456"/>
                    </a:lnTo>
                    <a:lnTo>
                      <a:pt x="504" y="464"/>
                    </a:lnTo>
                    <a:lnTo>
                      <a:pt x="511" y="472"/>
                    </a:lnTo>
                    <a:lnTo>
                      <a:pt x="531" y="487"/>
                    </a:lnTo>
                    <a:lnTo>
                      <a:pt x="534" y="48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06" name="Freeform 157"/>
              <p:cNvSpPr>
                <a:spLocks noChangeAspect="1"/>
              </p:cNvSpPr>
              <p:nvPr/>
            </p:nvSpPr>
            <p:spPr bwMode="gray">
              <a:xfrm>
                <a:off x="3072" y="2191"/>
                <a:ext cx="9" cy="20"/>
              </a:xfrm>
              <a:custGeom>
                <a:avLst/>
                <a:gdLst/>
                <a:ahLst/>
                <a:cxnLst>
                  <a:cxn ang="0">
                    <a:pos x="16" y="98"/>
                  </a:cxn>
                  <a:cxn ang="0">
                    <a:pos x="35" y="90"/>
                  </a:cxn>
                  <a:cxn ang="0">
                    <a:pos x="38" y="87"/>
                  </a:cxn>
                  <a:cxn ang="0">
                    <a:pos x="39" y="81"/>
                  </a:cxn>
                  <a:cxn ang="0">
                    <a:pos x="43" y="74"/>
                  </a:cxn>
                  <a:cxn ang="0">
                    <a:pos x="44" y="70"/>
                  </a:cxn>
                  <a:cxn ang="0">
                    <a:pos x="44" y="55"/>
                  </a:cxn>
                  <a:cxn ang="0">
                    <a:pos x="40" y="50"/>
                  </a:cxn>
                  <a:cxn ang="0">
                    <a:pos x="40" y="42"/>
                  </a:cxn>
                  <a:cxn ang="0">
                    <a:pos x="40" y="33"/>
                  </a:cxn>
                  <a:cxn ang="0">
                    <a:pos x="43" y="32"/>
                  </a:cxn>
                  <a:cxn ang="0">
                    <a:pos x="41" y="29"/>
                  </a:cxn>
                  <a:cxn ang="0">
                    <a:pos x="44" y="25"/>
                  </a:cxn>
                  <a:cxn ang="0">
                    <a:pos x="44" y="21"/>
                  </a:cxn>
                  <a:cxn ang="0">
                    <a:pos x="45" y="16"/>
                  </a:cxn>
                  <a:cxn ang="0">
                    <a:pos x="43" y="15"/>
                  </a:cxn>
                  <a:cxn ang="0">
                    <a:pos x="36" y="12"/>
                  </a:cxn>
                  <a:cxn ang="0">
                    <a:pos x="34" y="10"/>
                  </a:cxn>
                  <a:cxn ang="0">
                    <a:pos x="34" y="6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4"/>
                  </a:cxn>
                  <a:cxn ang="0">
                    <a:pos x="13" y="12"/>
                  </a:cxn>
                  <a:cxn ang="0">
                    <a:pos x="11" y="26"/>
                  </a:cxn>
                  <a:cxn ang="0">
                    <a:pos x="7" y="36"/>
                  </a:cxn>
                  <a:cxn ang="0">
                    <a:pos x="1" y="43"/>
                  </a:cxn>
                  <a:cxn ang="0">
                    <a:pos x="1" y="50"/>
                  </a:cxn>
                  <a:cxn ang="0">
                    <a:pos x="0" y="55"/>
                  </a:cxn>
                  <a:cxn ang="0">
                    <a:pos x="2" y="58"/>
                  </a:cxn>
                  <a:cxn ang="0">
                    <a:pos x="0" y="63"/>
                  </a:cxn>
                  <a:cxn ang="0">
                    <a:pos x="1" y="66"/>
                  </a:cxn>
                  <a:cxn ang="0">
                    <a:pos x="5" y="74"/>
                  </a:cxn>
                  <a:cxn ang="0">
                    <a:pos x="2" y="77"/>
                  </a:cxn>
                  <a:cxn ang="0">
                    <a:pos x="5" y="80"/>
                  </a:cxn>
                  <a:cxn ang="0">
                    <a:pos x="3" y="84"/>
                  </a:cxn>
                  <a:cxn ang="0">
                    <a:pos x="2" y="85"/>
                  </a:cxn>
                  <a:cxn ang="0">
                    <a:pos x="9" y="97"/>
                  </a:cxn>
                  <a:cxn ang="0">
                    <a:pos x="16" y="98"/>
                  </a:cxn>
                </a:cxnLst>
                <a:rect l="0" t="0" r="r" b="b"/>
                <a:pathLst>
                  <a:path w="45" h="98">
                    <a:moveTo>
                      <a:pt x="16" y="98"/>
                    </a:moveTo>
                    <a:lnTo>
                      <a:pt x="35" y="90"/>
                    </a:lnTo>
                    <a:lnTo>
                      <a:pt x="38" y="87"/>
                    </a:lnTo>
                    <a:lnTo>
                      <a:pt x="39" y="81"/>
                    </a:lnTo>
                    <a:lnTo>
                      <a:pt x="43" y="74"/>
                    </a:lnTo>
                    <a:lnTo>
                      <a:pt x="44" y="70"/>
                    </a:lnTo>
                    <a:lnTo>
                      <a:pt x="44" y="55"/>
                    </a:lnTo>
                    <a:lnTo>
                      <a:pt x="40" y="50"/>
                    </a:lnTo>
                    <a:lnTo>
                      <a:pt x="40" y="42"/>
                    </a:lnTo>
                    <a:lnTo>
                      <a:pt x="40" y="33"/>
                    </a:lnTo>
                    <a:lnTo>
                      <a:pt x="43" y="32"/>
                    </a:lnTo>
                    <a:lnTo>
                      <a:pt x="41" y="29"/>
                    </a:lnTo>
                    <a:lnTo>
                      <a:pt x="44" y="25"/>
                    </a:lnTo>
                    <a:lnTo>
                      <a:pt x="44" y="21"/>
                    </a:lnTo>
                    <a:lnTo>
                      <a:pt x="45" y="16"/>
                    </a:lnTo>
                    <a:lnTo>
                      <a:pt x="43" y="15"/>
                    </a:lnTo>
                    <a:lnTo>
                      <a:pt x="36" y="12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4"/>
                    </a:lnTo>
                    <a:lnTo>
                      <a:pt x="13" y="12"/>
                    </a:lnTo>
                    <a:lnTo>
                      <a:pt x="11" y="26"/>
                    </a:lnTo>
                    <a:lnTo>
                      <a:pt x="7" y="36"/>
                    </a:lnTo>
                    <a:lnTo>
                      <a:pt x="1" y="43"/>
                    </a:lnTo>
                    <a:lnTo>
                      <a:pt x="1" y="50"/>
                    </a:lnTo>
                    <a:lnTo>
                      <a:pt x="0" y="55"/>
                    </a:lnTo>
                    <a:lnTo>
                      <a:pt x="2" y="58"/>
                    </a:lnTo>
                    <a:lnTo>
                      <a:pt x="0" y="63"/>
                    </a:lnTo>
                    <a:lnTo>
                      <a:pt x="1" y="66"/>
                    </a:lnTo>
                    <a:lnTo>
                      <a:pt x="5" y="74"/>
                    </a:lnTo>
                    <a:lnTo>
                      <a:pt x="2" y="77"/>
                    </a:lnTo>
                    <a:lnTo>
                      <a:pt x="5" y="80"/>
                    </a:lnTo>
                    <a:lnTo>
                      <a:pt x="3" y="84"/>
                    </a:lnTo>
                    <a:lnTo>
                      <a:pt x="2" y="85"/>
                    </a:lnTo>
                    <a:lnTo>
                      <a:pt x="9" y="97"/>
                    </a:lnTo>
                    <a:lnTo>
                      <a:pt x="16" y="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07" name="Freeform 158"/>
              <p:cNvSpPr>
                <a:spLocks noChangeAspect="1"/>
              </p:cNvSpPr>
              <p:nvPr/>
            </p:nvSpPr>
            <p:spPr bwMode="gray">
              <a:xfrm>
                <a:off x="3075" y="2192"/>
                <a:ext cx="58" cy="43"/>
              </a:xfrm>
              <a:custGeom>
                <a:avLst/>
                <a:gdLst/>
                <a:ahLst/>
                <a:cxnLst>
                  <a:cxn ang="0">
                    <a:pos x="217" y="215"/>
                  </a:cxn>
                  <a:cxn ang="0">
                    <a:pos x="36" y="136"/>
                  </a:cxn>
                  <a:cxn ang="0">
                    <a:pos x="0" y="92"/>
                  </a:cxn>
                  <a:cxn ang="0">
                    <a:pos x="17" y="89"/>
                  </a:cxn>
                  <a:cxn ang="0">
                    <a:pos x="20" y="95"/>
                  </a:cxn>
                  <a:cxn ang="0">
                    <a:pos x="17" y="107"/>
                  </a:cxn>
                  <a:cxn ang="0">
                    <a:pos x="30" y="109"/>
                  </a:cxn>
                  <a:cxn ang="0">
                    <a:pos x="35" y="107"/>
                  </a:cxn>
                  <a:cxn ang="0">
                    <a:pos x="41" y="122"/>
                  </a:cxn>
                  <a:cxn ang="0">
                    <a:pos x="70" y="124"/>
                  </a:cxn>
                  <a:cxn ang="0">
                    <a:pos x="79" y="118"/>
                  </a:cxn>
                  <a:cxn ang="0">
                    <a:pos x="110" y="114"/>
                  </a:cxn>
                  <a:cxn ang="0">
                    <a:pos x="125" y="118"/>
                  </a:cxn>
                  <a:cxn ang="0">
                    <a:pos x="159" y="119"/>
                  </a:cxn>
                  <a:cxn ang="0">
                    <a:pos x="169" y="109"/>
                  </a:cxn>
                  <a:cxn ang="0">
                    <a:pos x="180" y="106"/>
                  </a:cxn>
                  <a:cxn ang="0">
                    <a:pos x="186" y="102"/>
                  </a:cxn>
                  <a:cxn ang="0">
                    <a:pos x="184" y="97"/>
                  </a:cxn>
                  <a:cxn ang="0">
                    <a:pos x="192" y="95"/>
                  </a:cxn>
                  <a:cxn ang="0">
                    <a:pos x="195" y="91"/>
                  </a:cxn>
                  <a:cxn ang="0">
                    <a:pos x="197" y="84"/>
                  </a:cxn>
                  <a:cxn ang="0">
                    <a:pos x="201" y="76"/>
                  </a:cxn>
                  <a:cxn ang="0">
                    <a:pos x="213" y="65"/>
                  </a:cxn>
                  <a:cxn ang="0">
                    <a:pos x="219" y="59"/>
                  </a:cxn>
                  <a:cxn ang="0">
                    <a:pos x="233" y="48"/>
                  </a:cxn>
                  <a:cxn ang="0">
                    <a:pos x="238" y="43"/>
                  </a:cxn>
                  <a:cxn ang="0">
                    <a:pos x="240" y="39"/>
                  </a:cxn>
                  <a:cxn ang="0">
                    <a:pos x="245" y="32"/>
                  </a:cxn>
                  <a:cxn ang="0">
                    <a:pos x="249" y="27"/>
                  </a:cxn>
                  <a:cxn ang="0">
                    <a:pos x="270" y="10"/>
                  </a:cxn>
                  <a:cxn ang="0">
                    <a:pos x="275" y="4"/>
                  </a:cxn>
                  <a:cxn ang="0">
                    <a:pos x="276" y="12"/>
                  </a:cxn>
                  <a:cxn ang="0">
                    <a:pos x="275" y="21"/>
                  </a:cxn>
                  <a:cxn ang="0">
                    <a:pos x="285" y="25"/>
                  </a:cxn>
                  <a:cxn ang="0">
                    <a:pos x="287" y="64"/>
                  </a:cxn>
                  <a:cxn ang="0">
                    <a:pos x="255" y="73"/>
                  </a:cxn>
                  <a:cxn ang="0">
                    <a:pos x="239" y="132"/>
                  </a:cxn>
                </a:cxnLst>
                <a:rect l="0" t="0" r="r" b="b"/>
                <a:pathLst>
                  <a:path w="288" h="215">
                    <a:moveTo>
                      <a:pt x="228" y="203"/>
                    </a:moveTo>
                    <a:lnTo>
                      <a:pt x="217" y="215"/>
                    </a:lnTo>
                    <a:lnTo>
                      <a:pt x="52" y="184"/>
                    </a:lnTo>
                    <a:lnTo>
                      <a:pt x="36" y="136"/>
                    </a:lnTo>
                    <a:lnTo>
                      <a:pt x="3" y="107"/>
                    </a:lnTo>
                    <a:lnTo>
                      <a:pt x="0" y="92"/>
                    </a:lnTo>
                    <a:lnTo>
                      <a:pt x="19" y="84"/>
                    </a:lnTo>
                    <a:lnTo>
                      <a:pt x="17" y="89"/>
                    </a:lnTo>
                    <a:lnTo>
                      <a:pt x="17" y="92"/>
                    </a:lnTo>
                    <a:lnTo>
                      <a:pt x="20" y="95"/>
                    </a:lnTo>
                    <a:lnTo>
                      <a:pt x="17" y="100"/>
                    </a:lnTo>
                    <a:lnTo>
                      <a:pt x="17" y="107"/>
                    </a:lnTo>
                    <a:lnTo>
                      <a:pt x="24" y="107"/>
                    </a:lnTo>
                    <a:lnTo>
                      <a:pt x="30" y="109"/>
                    </a:lnTo>
                    <a:lnTo>
                      <a:pt x="34" y="107"/>
                    </a:lnTo>
                    <a:lnTo>
                      <a:pt x="35" y="107"/>
                    </a:lnTo>
                    <a:lnTo>
                      <a:pt x="36" y="118"/>
                    </a:lnTo>
                    <a:lnTo>
                      <a:pt x="41" y="122"/>
                    </a:lnTo>
                    <a:lnTo>
                      <a:pt x="55" y="124"/>
                    </a:lnTo>
                    <a:lnTo>
                      <a:pt x="70" y="124"/>
                    </a:lnTo>
                    <a:lnTo>
                      <a:pt x="73" y="123"/>
                    </a:lnTo>
                    <a:lnTo>
                      <a:pt x="79" y="118"/>
                    </a:lnTo>
                    <a:lnTo>
                      <a:pt x="88" y="112"/>
                    </a:lnTo>
                    <a:lnTo>
                      <a:pt x="110" y="114"/>
                    </a:lnTo>
                    <a:lnTo>
                      <a:pt x="119" y="118"/>
                    </a:lnTo>
                    <a:lnTo>
                      <a:pt x="125" y="118"/>
                    </a:lnTo>
                    <a:lnTo>
                      <a:pt x="135" y="121"/>
                    </a:lnTo>
                    <a:lnTo>
                      <a:pt x="159" y="119"/>
                    </a:lnTo>
                    <a:lnTo>
                      <a:pt x="164" y="116"/>
                    </a:lnTo>
                    <a:lnTo>
                      <a:pt x="169" y="109"/>
                    </a:lnTo>
                    <a:lnTo>
                      <a:pt x="178" y="107"/>
                    </a:lnTo>
                    <a:lnTo>
                      <a:pt x="180" y="106"/>
                    </a:lnTo>
                    <a:lnTo>
                      <a:pt x="185" y="103"/>
                    </a:lnTo>
                    <a:lnTo>
                      <a:pt x="186" y="102"/>
                    </a:lnTo>
                    <a:lnTo>
                      <a:pt x="184" y="98"/>
                    </a:lnTo>
                    <a:lnTo>
                      <a:pt x="184" y="97"/>
                    </a:lnTo>
                    <a:lnTo>
                      <a:pt x="184" y="96"/>
                    </a:lnTo>
                    <a:lnTo>
                      <a:pt x="192" y="95"/>
                    </a:lnTo>
                    <a:lnTo>
                      <a:pt x="191" y="92"/>
                    </a:lnTo>
                    <a:lnTo>
                      <a:pt x="195" y="91"/>
                    </a:lnTo>
                    <a:lnTo>
                      <a:pt x="194" y="87"/>
                    </a:lnTo>
                    <a:lnTo>
                      <a:pt x="197" y="84"/>
                    </a:lnTo>
                    <a:lnTo>
                      <a:pt x="197" y="80"/>
                    </a:lnTo>
                    <a:lnTo>
                      <a:pt x="201" y="76"/>
                    </a:lnTo>
                    <a:lnTo>
                      <a:pt x="211" y="73"/>
                    </a:lnTo>
                    <a:lnTo>
                      <a:pt x="213" y="65"/>
                    </a:lnTo>
                    <a:lnTo>
                      <a:pt x="217" y="63"/>
                    </a:lnTo>
                    <a:lnTo>
                      <a:pt x="219" y="59"/>
                    </a:lnTo>
                    <a:lnTo>
                      <a:pt x="228" y="53"/>
                    </a:lnTo>
                    <a:lnTo>
                      <a:pt x="233" y="48"/>
                    </a:lnTo>
                    <a:lnTo>
                      <a:pt x="237" y="46"/>
                    </a:lnTo>
                    <a:lnTo>
                      <a:pt x="238" y="43"/>
                    </a:lnTo>
                    <a:lnTo>
                      <a:pt x="239" y="42"/>
                    </a:lnTo>
                    <a:lnTo>
                      <a:pt x="240" y="39"/>
                    </a:lnTo>
                    <a:lnTo>
                      <a:pt x="245" y="35"/>
                    </a:lnTo>
                    <a:lnTo>
                      <a:pt x="245" y="32"/>
                    </a:lnTo>
                    <a:lnTo>
                      <a:pt x="248" y="31"/>
                    </a:lnTo>
                    <a:lnTo>
                      <a:pt x="249" y="27"/>
                    </a:lnTo>
                    <a:lnTo>
                      <a:pt x="259" y="21"/>
                    </a:lnTo>
                    <a:lnTo>
                      <a:pt x="270" y="10"/>
                    </a:lnTo>
                    <a:lnTo>
                      <a:pt x="274" y="0"/>
                    </a:lnTo>
                    <a:lnTo>
                      <a:pt x="275" y="4"/>
                    </a:lnTo>
                    <a:lnTo>
                      <a:pt x="277" y="10"/>
                    </a:lnTo>
                    <a:lnTo>
                      <a:pt x="276" y="12"/>
                    </a:lnTo>
                    <a:lnTo>
                      <a:pt x="277" y="16"/>
                    </a:lnTo>
                    <a:lnTo>
                      <a:pt x="275" y="21"/>
                    </a:lnTo>
                    <a:lnTo>
                      <a:pt x="277" y="22"/>
                    </a:lnTo>
                    <a:lnTo>
                      <a:pt x="285" y="25"/>
                    </a:lnTo>
                    <a:lnTo>
                      <a:pt x="288" y="31"/>
                    </a:lnTo>
                    <a:lnTo>
                      <a:pt x="287" y="64"/>
                    </a:lnTo>
                    <a:lnTo>
                      <a:pt x="288" y="73"/>
                    </a:lnTo>
                    <a:lnTo>
                      <a:pt x="255" y="73"/>
                    </a:lnTo>
                    <a:lnTo>
                      <a:pt x="272" y="119"/>
                    </a:lnTo>
                    <a:lnTo>
                      <a:pt x="239" y="132"/>
                    </a:lnTo>
                    <a:lnTo>
                      <a:pt x="228" y="20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grpSp>
            <p:nvGrpSpPr>
              <p:cNvPr id="308" name="Group 159"/>
              <p:cNvGrpSpPr>
                <a:grpSpLocks noChangeAspect="1"/>
              </p:cNvGrpSpPr>
              <p:nvPr/>
            </p:nvGrpSpPr>
            <p:grpSpPr bwMode="gray">
              <a:xfrm>
                <a:off x="2802" y="1979"/>
                <a:ext cx="205" cy="88"/>
                <a:chOff x="2802" y="1979"/>
                <a:chExt cx="205" cy="88"/>
              </a:xfrm>
              <a:grpFill/>
            </p:grpSpPr>
            <p:sp>
              <p:nvSpPr>
                <p:cNvPr id="312" name="Freeform 160"/>
                <p:cNvSpPr>
                  <a:spLocks noChangeAspect="1"/>
                </p:cNvSpPr>
                <p:nvPr/>
              </p:nvSpPr>
              <p:spPr bwMode="gray">
                <a:xfrm>
                  <a:off x="2803" y="1979"/>
                  <a:ext cx="204" cy="88"/>
                </a:xfrm>
                <a:custGeom>
                  <a:avLst/>
                  <a:gdLst/>
                  <a:ahLst/>
                  <a:cxnLst>
                    <a:cxn ang="0">
                      <a:pos x="552" y="379"/>
                    </a:cxn>
                    <a:cxn ang="0">
                      <a:pos x="503" y="390"/>
                    </a:cxn>
                    <a:cxn ang="0">
                      <a:pos x="460" y="379"/>
                    </a:cxn>
                    <a:cxn ang="0">
                      <a:pos x="408" y="418"/>
                    </a:cxn>
                    <a:cxn ang="0">
                      <a:pos x="341" y="409"/>
                    </a:cxn>
                    <a:cxn ang="0">
                      <a:pos x="283" y="370"/>
                    </a:cxn>
                    <a:cxn ang="0">
                      <a:pos x="245" y="391"/>
                    </a:cxn>
                    <a:cxn ang="0">
                      <a:pos x="196" y="417"/>
                    </a:cxn>
                    <a:cxn ang="0">
                      <a:pos x="164" y="381"/>
                    </a:cxn>
                    <a:cxn ang="0">
                      <a:pos x="143" y="380"/>
                    </a:cxn>
                    <a:cxn ang="0">
                      <a:pos x="107" y="386"/>
                    </a:cxn>
                    <a:cxn ang="0">
                      <a:pos x="79" y="378"/>
                    </a:cxn>
                    <a:cxn ang="0">
                      <a:pos x="118" y="362"/>
                    </a:cxn>
                    <a:cxn ang="0">
                      <a:pos x="67" y="355"/>
                    </a:cxn>
                    <a:cxn ang="0">
                      <a:pos x="64" y="325"/>
                    </a:cxn>
                    <a:cxn ang="0">
                      <a:pos x="52" y="312"/>
                    </a:cxn>
                    <a:cxn ang="0">
                      <a:pos x="37" y="283"/>
                    </a:cxn>
                    <a:cxn ang="0">
                      <a:pos x="10" y="268"/>
                    </a:cxn>
                    <a:cxn ang="0">
                      <a:pos x="22" y="246"/>
                    </a:cxn>
                    <a:cxn ang="0">
                      <a:pos x="52" y="260"/>
                    </a:cxn>
                    <a:cxn ang="0">
                      <a:pos x="44" y="226"/>
                    </a:cxn>
                    <a:cxn ang="0">
                      <a:pos x="43" y="186"/>
                    </a:cxn>
                    <a:cxn ang="0">
                      <a:pos x="3" y="160"/>
                    </a:cxn>
                    <a:cxn ang="0">
                      <a:pos x="35" y="122"/>
                    </a:cxn>
                    <a:cxn ang="0">
                      <a:pos x="91" y="126"/>
                    </a:cxn>
                    <a:cxn ang="0">
                      <a:pos x="108" y="123"/>
                    </a:cxn>
                    <a:cxn ang="0">
                      <a:pos x="151" y="111"/>
                    </a:cxn>
                    <a:cxn ang="0">
                      <a:pos x="196" y="94"/>
                    </a:cxn>
                    <a:cxn ang="0">
                      <a:pos x="167" y="83"/>
                    </a:cxn>
                    <a:cxn ang="0">
                      <a:pos x="180" y="66"/>
                    </a:cxn>
                    <a:cxn ang="0">
                      <a:pos x="253" y="74"/>
                    </a:cxn>
                    <a:cxn ang="0">
                      <a:pos x="318" y="41"/>
                    </a:cxn>
                    <a:cxn ang="0">
                      <a:pos x="398" y="7"/>
                    </a:cxn>
                    <a:cxn ang="0">
                      <a:pos x="493" y="0"/>
                    </a:cxn>
                    <a:cxn ang="0">
                      <a:pos x="533" y="35"/>
                    </a:cxn>
                    <a:cxn ang="0">
                      <a:pos x="623" y="80"/>
                    </a:cxn>
                    <a:cxn ang="0">
                      <a:pos x="693" y="77"/>
                    </a:cxn>
                    <a:cxn ang="0">
                      <a:pos x="838" y="40"/>
                    </a:cxn>
                    <a:cxn ang="0">
                      <a:pos x="887" y="43"/>
                    </a:cxn>
                    <a:cxn ang="0">
                      <a:pos x="919" y="42"/>
                    </a:cxn>
                    <a:cxn ang="0">
                      <a:pos x="958" y="89"/>
                    </a:cxn>
                    <a:cxn ang="0">
                      <a:pos x="990" y="143"/>
                    </a:cxn>
                    <a:cxn ang="0">
                      <a:pos x="1001" y="186"/>
                    </a:cxn>
                    <a:cxn ang="0">
                      <a:pos x="997" y="263"/>
                    </a:cxn>
                    <a:cxn ang="0">
                      <a:pos x="1022" y="341"/>
                    </a:cxn>
                    <a:cxn ang="0">
                      <a:pos x="942" y="336"/>
                    </a:cxn>
                    <a:cxn ang="0">
                      <a:pos x="887" y="342"/>
                    </a:cxn>
                    <a:cxn ang="0">
                      <a:pos x="820" y="354"/>
                    </a:cxn>
                    <a:cxn ang="0">
                      <a:pos x="767" y="368"/>
                    </a:cxn>
                    <a:cxn ang="0">
                      <a:pos x="678" y="366"/>
                    </a:cxn>
                    <a:cxn ang="0">
                      <a:pos x="626" y="380"/>
                    </a:cxn>
                    <a:cxn ang="0">
                      <a:pos x="597" y="379"/>
                    </a:cxn>
                    <a:cxn ang="0">
                      <a:pos x="578" y="370"/>
                    </a:cxn>
                    <a:cxn ang="0">
                      <a:pos x="579" y="408"/>
                    </a:cxn>
                    <a:cxn ang="0">
                      <a:pos x="560" y="418"/>
                    </a:cxn>
                    <a:cxn ang="0">
                      <a:pos x="542" y="435"/>
                    </a:cxn>
                  </a:cxnLst>
                  <a:rect l="0" t="0" r="r" b="b"/>
                  <a:pathLst>
                    <a:path w="1022" h="439">
                      <a:moveTo>
                        <a:pt x="538" y="424"/>
                      </a:moveTo>
                      <a:lnTo>
                        <a:pt x="535" y="411"/>
                      </a:lnTo>
                      <a:lnTo>
                        <a:pt x="538" y="395"/>
                      </a:lnTo>
                      <a:lnTo>
                        <a:pt x="548" y="389"/>
                      </a:lnTo>
                      <a:lnTo>
                        <a:pt x="552" y="379"/>
                      </a:lnTo>
                      <a:lnTo>
                        <a:pt x="543" y="370"/>
                      </a:lnTo>
                      <a:lnTo>
                        <a:pt x="526" y="378"/>
                      </a:lnTo>
                      <a:lnTo>
                        <a:pt x="524" y="389"/>
                      </a:lnTo>
                      <a:lnTo>
                        <a:pt x="516" y="391"/>
                      </a:lnTo>
                      <a:lnTo>
                        <a:pt x="503" y="390"/>
                      </a:lnTo>
                      <a:lnTo>
                        <a:pt x="493" y="381"/>
                      </a:lnTo>
                      <a:lnTo>
                        <a:pt x="484" y="376"/>
                      </a:lnTo>
                      <a:lnTo>
                        <a:pt x="477" y="374"/>
                      </a:lnTo>
                      <a:lnTo>
                        <a:pt x="471" y="374"/>
                      </a:lnTo>
                      <a:lnTo>
                        <a:pt x="460" y="379"/>
                      </a:lnTo>
                      <a:lnTo>
                        <a:pt x="441" y="397"/>
                      </a:lnTo>
                      <a:lnTo>
                        <a:pt x="436" y="406"/>
                      </a:lnTo>
                      <a:lnTo>
                        <a:pt x="427" y="407"/>
                      </a:lnTo>
                      <a:lnTo>
                        <a:pt x="419" y="414"/>
                      </a:lnTo>
                      <a:lnTo>
                        <a:pt x="408" y="418"/>
                      </a:lnTo>
                      <a:lnTo>
                        <a:pt x="397" y="417"/>
                      </a:lnTo>
                      <a:lnTo>
                        <a:pt x="379" y="422"/>
                      </a:lnTo>
                      <a:lnTo>
                        <a:pt x="369" y="427"/>
                      </a:lnTo>
                      <a:lnTo>
                        <a:pt x="350" y="421"/>
                      </a:lnTo>
                      <a:lnTo>
                        <a:pt x="341" y="409"/>
                      </a:lnTo>
                      <a:lnTo>
                        <a:pt x="337" y="402"/>
                      </a:lnTo>
                      <a:lnTo>
                        <a:pt x="331" y="397"/>
                      </a:lnTo>
                      <a:lnTo>
                        <a:pt x="321" y="391"/>
                      </a:lnTo>
                      <a:lnTo>
                        <a:pt x="295" y="379"/>
                      </a:lnTo>
                      <a:lnTo>
                        <a:pt x="283" y="370"/>
                      </a:lnTo>
                      <a:lnTo>
                        <a:pt x="267" y="368"/>
                      </a:lnTo>
                      <a:lnTo>
                        <a:pt x="257" y="370"/>
                      </a:lnTo>
                      <a:lnTo>
                        <a:pt x="248" y="370"/>
                      </a:lnTo>
                      <a:lnTo>
                        <a:pt x="245" y="379"/>
                      </a:lnTo>
                      <a:lnTo>
                        <a:pt x="245" y="391"/>
                      </a:lnTo>
                      <a:lnTo>
                        <a:pt x="242" y="396"/>
                      </a:lnTo>
                      <a:lnTo>
                        <a:pt x="240" y="407"/>
                      </a:lnTo>
                      <a:lnTo>
                        <a:pt x="220" y="412"/>
                      </a:lnTo>
                      <a:lnTo>
                        <a:pt x="207" y="417"/>
                      </a:lnTo>
                      <a:lnTo>
                        <a:pt x="196" y="417"/>
                      </a:lnTo>
                      <a:lnTo>
                        <a:pt x="186" y="414"/>
                      </a:lnTo>
                      <a:lnTo>
                        <a:pt x="176" y="409"/>
                      </a:lnTo>
                      <a:lnTo>
                        <a:pt x="167" y="401"/>
                      </a:lnTo>
                      <a:lnTo>
                        <a:pt x="164" y="386"/>
                      </a:lnTo>
                      <a:lnTo>
                        <a:pt x="164" y="381"/>
                      </a:lnTo>
                      <a:lnTo>
                        <a:pt x="156" y="378"/>
                      </a:lnTo>
                      <a:lnTo>
                        <a:pt x="154" y="382"/>
                      </a:lnTo>
                      <a:lnTo>
                        <a:pt x="155" y="386"/>
                      </a:lnTo>
                      <a:lnTo>
                        <a:pt x="151" y="386"/>
                      </a:lnTo>
                      <a:lnTo>
                        <a:pt x="143" y="380"/>
                      </a:lnTo>
                      <a:lnTo>
                        <a:pt x="137" y="374"/>
                      </a:lnTo>
                      <a:lnTo>
                        <a:pt x="134" y="373"/>
                      </a:lnTo>
                      <a:lnTo>
                        <a:pt x="119" y="374"/>
                      </a:lnTo>
                      <a:lnTo>
                        <a:pt x="117" y="380"/>
                      </a:lnTo>
                      <a:lnTo>
                        <a:pt x="107" y="386"/>
                      </a:lnTo>
                      <a:lnTo>
                        <a:pt x="105" y="386"/>
                      </a:lnTo>
                      <a:lnTo>
                        <a:pt x="108" y="379"/>
                      </a:lnTo>
                      <a:lnTo>
                        <a:pt x="107" y="375"/>
                      </a:lnTo>
                      <a:lnTo>
                        <a:pt x="73" y="385"/>
                      </a:lnTo>
                      <a:lnTo>
                        <a:pt x="79" y="378"/>
                      </a:lnTo>
                      <a:lnTo>
                        <a:pt x="87" y="371"/>
                      </a:lnTo>
                      <a:lnTo>
                        <a:pt x="101" y="371"/>
                      </a:lnTo>
                      <a:lnTo>
                        <a:pt x="108" y="368"/>
                      </a:lnTo>
                      <a:lnTo>
                        <a:pt x="110" y="366"/>
                      </a:lnTo>
                      <a:lnTo>
                        <a:pt x="118" y="362"/>
                      </a:lnTo>
                      <a:lnTo>
                        <a:pt x="122" y="357"/>
                      </a:lnTo>
                      <a:lnTo>
                        <a:pt x="113" y="355"/>
                      </a:lnTo>
                      <a:lnTo>
                        <a:pt x="92" y="360"/>
                      </a:lnTo>
                      <a:lnTo>
                        <a:pt x="69" y="360"/>
                      </a:lnTo>
                      <a:lnTo>
                        <a:pt x="67" y="355"/>
                      </a:lnTo>
                      <a:lnTo>
                        <a:pt x="79" y="344"/>
                      </a:lnTo>
                      <a:lnTo>
                        <a:pt x="71" y="336"/>
                      </a:lnTo>
                      <a:lnTo>
                        <a:pt x="68" y="333"/>
                      </a:lnTo>
                      <a:lnTo>
                        <a:pt x="63" y="333"/>
                      </a:lnTo>
                      <a:lnTo>
                        <a:pt x="64" y="325"/>
                      </a:lnTo>
                      <a:lnTo>
                        <a:pt x="69" y="321"/>
                      </a:lnTo>
                      <a:lnTo>
                        <a:pt x="71" y="316"/>
                      </a:lnTo>
                      <a:lnTo>
                        <a:pt x="64" y="317"/>
                      </a:lnTo>
                      <a:lnTo>
                        <a:pt x="57" y="320"/>
                      </a:lnTo>
                      <a:lnTo>
                        <a:pt x="52" y="312"/>
                      </a:lnTo>
                      <a:lnTo>
                        <a:pt x="59" y="309"/>
                      </a:lnTo>
                      <a:lnTo>
                        <a:pt x="60" y="300"/>
                      </a:lnTo>
                      <a:lnTo>
                        <a:pt x="56" y="290"/>
                      </a:lnTo>
                      <a:lnTo>
                        <a:pt x="51" y="287"/>
                      </a:lnTo>
                      <a:lnTo>
                        <a:pt x="37" y="283"/>
                      </a:lnTo>
                      <a:lnTo>
                        <a:pt x="30" y="277"/>
                      </a:lnTo>
                      <a:lnTo>
                        <a:pt x="20" y="279"/>
                      </a:lnTo>
                      <a:lnTo>
                        <a:pt x="16" y="277"/>
                      </a:lnTo>
                      <a:lnTo>
                        <a:pt x="10" y="271"/>
                      </a:lnTo>
                      <a:lnTo>
                        <a:pt x="10" y="268"/>
                      </a:lnTo>
                      <a:lnTo>
                        <a:pt x="16" y="266"/>
                      </a:lnTo>
                      <a:lnTo>
                        <a:pt x="17" y="256"/>
                      </a:lnTo>
                      <a:lnTo>
                        <a:pt x="16" y="251"/>
                      </a:lnTo>
                      <a:lnTo>
                        <a:pt x="19" y="245"/>
                      </a:lnTo>
                      <a:lnTo>
                        <a:pt x="22" y="246"/>
                      </a:lnTo>
                      <a:lnTo>
                        <a:pt x="28" y="262"/>
                      </a:lnTo>
                      <a:lnTo>
                        <a:pt x="35" y="263"/>
                      </a:lnTo>
                      <a:lnTo>
                        <a:pt x="43" y="262"/>
                      </a:lnTo>
                      <a:lnTo>
                        <a:pt x="54" y="262"/>
                      </a:lnTo>
                      <a:lnTo>
                        <a:pt x="52" y="260"/>
                      </a:lnTo>
                      <a:lnTo>
                        <a:pt x="42" y="255"/>
                      </a:lnTo>
                      <a:lnTo>
                        <a:pt x="37" y="246"/>
                      </a:lnTo>
                      <a:lnTo>
                        <a:pt x="38" y="239"/>
                      </a:lnTo>
                      <a:lnTo>
                        <a:pt x="47" y="231"/>
                      </a:lnTo>
                      <a:lnTo>
                        <a:pt x="44" y="226"/>
                      </a:lnTo>
                      <a:lnTo>
                        <a:pt x="38" y="220"/>
                      </a:lnTo>
                      <a:lnTo>
                        <a:pt x="38" y="214"/>
                      </a:lnTo>
                      <a:lnTo>
                        <a:pt x="32" y="206"/>
                      </a:lnTo>
                      <a:lnTo>
                        <a:pt x="33" y="195"/>
                      </a:lnTo>
                      <a:lnTo>
                        <a:pt x="43" y="186"/>
                      </a:lnTo>
                      <a:lnTo>
                        <a:pt x="41" y="182"/>
                      </a:lnTo>
                      <a:lnTo>
                        <a:pt x="25" y="186"/>
                      </a:lnTo>
                      <a:lnTo>
                        <a:pt x="0" y="186"/>
                      </a:lnTo>
                      <a:lnTo>
                        <a:pt x="0" y="181"/>
                      </a:lnTo>
                      <a:lnTo>
                        <a:pt x="3" y="160"/>
                      </a:lnTo>
                      <a:lnTo>
                        <a:pt x="8" y="150"/>
                      </a:lnTo>
                      <a:lnTo>
                        <a:pt x="14" y="149"/>
                      </a:lnTo>
                      <a:lnTo>
                        <a:pt x="20" y="138"/>
                      </a:lnTo>
                      <a:lnTo>
                        <a:pt x="27" y="132"/>
                      </a:lnTo>
                      <a:lnTo>
                        <a:pt x="35" y="122"/>
                      </a:lnTo>
                      <a:lnTo>
                        <a:pt x="48" y="123"/>
                      </a:lnTo>
                      <a:lnTo>
                        <a:pt x="63" y="118"/>
                      </a:lnTo>
                      <a:lnTo>
                        <a:pt x="68" y="123"/>
                      </a:lnTo>
                      <a:lnTo>
                        <a:pt x="80" y="127"/>
                      </a:lnTo>
                      <a:lnTo>
                        <a:pt x="91" y="126"/>
                      </a:lnTo>
                      <a:lnTo>
                        <a:pt x="87" y="112"/>
                      </a:lnTo>
                      <a:lnTo>
                        <a:pt x="96" y="113"/>
                      </a:lnTo>
                      <a:lnTo>
                        <a:pt x="102" y="117"/>
                      </a:lnTo>
                      <a:lnTo>
                        <a:pt x="101" y="122"/>
                      </a:lnTo>
                      <a:lnTo>
                        <a:pt x="108" y="123"/>
                      </a:lnTo>
                      <a:lnTo>
                        <a:pt x="122" y="121"/>
                      </a:lnTo>
                      <a:lnTo>
                        <a:pt x="149" y="121"/>
                      </a:lnTo>
                      <a:lnTo>
                        <a:pt x="161" y="120"/>
                      </a:lnTo>
                      <a:lnTo>
                        <a:pt x="160" y="113"/>
                      </a:lnTo>
                      <a:lnTo>
                        <a:pt x="151" y="111"/>
                      </a:lnTo>
                      <a:lnTo>
                        <a:pt x="150" y="107"/>
                      </a:lnTo>
                      <a:lnTo>
                        <a:pt x="160" y="104"/>
                      </a:lnTo>
                      <a:lnTo>
                        <a:pt x="204" y="100"/>
                      </a:lnTo>
                      <a:lnTo>
                        <a:pt x="204" y="96"/>
                      </a:lnTo>
                      <a:lnTo>
                        <a:pt x="196" y="94"/>
                      </a:lnTo>
                      <a:lnTo>
                        <a:pt x="189" y="96"/>
                      </a:lnTo>
                      <a:lnTo>
                        <a:pt x="176" y="94"/>
                      </a:lnTo>
                      <a:lnTo>
                        <a:pt x="173" y="90"/>
                      </a:lnTo>
                      <a:lnTo>
                        <a:pt x="170" y="89"/>
                      </a:lnTo>
                      <a:lnTo>
                        <a:pt x="167" y="83"/>
                      </a:lnTo>
                      <a:lnTo>
                        <a:pt x="161" y="79"/>
                      </a:lnTo>
                      <a:lnTo>
                        <a:pt x="164" y="73"/>
                      </a:lnTo>
                      <a:lnTo>
                        <a:pt x="170" y="62"/>
                      </a:lnTo>
                      <a:lnTo>
                        <a:pt x="171" y="66"/>
                      </a:lnTo>
                      <a:lnTo>
                        <a:pt x="180" y="66"/>
                      </a:lnTo>
                      <a:lnTo>
                        <a:pt x="193" y="69"/>
                      </a:lnTo>
                      <a:lnTo>
                        <a:pt x="231" y="68"/>
                      </a:lnTo>
                      <a:lnTo>
                        <a:pt x="242" y="72"/>
                      </a:lnTo>
                      <a:lnTo>
                        <a:pt x="248" y="75"/>
                      </a:lnTo>
                      <a:lnTo>
                        <a:pt x="253" y="74"/>
                      </a:lnTo>
                      <a:lnTo>
                        <a:pt x="274" y="77"/>
                      </a:lnTo>
                      <a:lnTo>
                        <a:pt x="288" y="70"/>
                      </a:lnTo>
                      <a:lnTo>
                        <a:pt x="295" y="57"/>
                      </a:lnTo>
                      <a:lnTo>
                        <a:pt x="307" y="51"/>
                      </a:lnTo>
                      <a:lnTo>
                        <a:pt x="318" y="41"/>
                      </a:lnTo>
                      <a:lnTo>
                        <a:pt x="332" y="36"/>
                      </a:lnTo>
                      <a:lnTo>
                        <a:pt x="343" y="26"/>
                      </a:lnTo>
                      <a:lnTo>
                        <a:pt x="355" y="19"/>
                      </a:lnTo>
                      <a:lnTo>
                        <a:pt x="381" y="9"/>
                      </a:lnTo>
                      <a:lnTo>
                        <a:pt x="398" y="7"/>
                      </a:lnTo>
                      <a:lnTo>
                        <a:pt x="414" y="5"/>
                      </a:lnTo>
                      <a:lnTo>
                        <a:pt x="436" y="8"/>
                      </a:lnTo>
                      <a:lnTo>
                        <a:pt x="473" y="8"/>
                      </a:lnTo>
                      <a:lnTo>
                        <a:pt x="485" y="2"/>
                      </a:lnTo>
                      <a:lnTo>
                        <a:pt x="493" y="0"/>
                      </a:lnTo>
                      <a:lnTo>
                        <a:pt x="499" y="3"/>
                      </a:lnTo>
                      <a:lnTo>
                        <a:pt x="499" y="10"/>
                      </a:lnTo>
                      <a:lnTo>
                        <a:pt x="506" y="21"/>
                      </a:lnTo>
                      <a:lnTo>
                        <a:pt x="520" y="29"/>
                      </a:lnTo>
                      <a:lnTo>
                        <a:pt x="533" y="35"/>
                      </a:lnTo>
                      <a:lnTo>
                        <a:pt x="546" y="26"/>
                      </a:lnTo>
                      <a:lnTo>
                        <a:pt x="553" y="37"/>
                      </a:lnTo>
                      <a:lnTo>
                        <a:pt x="560" y="58"/>
                      </a:lnTo>
                      <a:lnTo>
                        <a:pt x="587" y="61"/>
                      </a:lnTo>
                      <a:lnTo>
                        <a:pt x="623" y="80"/>
                      </a:lnTo>
                      <a:lnTo>
                        <a:pt x="629" y="77"/>
                      </a:lnTo>
                      <a:lnTo>
                        <a:pt x="635" y="74"/>
                      </a:lnTo>
                      <a:lnTo>
                        <a:pt x="656" y="84"/>
                      </a:lnTo>
                      <a:lnTo>
                        <a:pt x="677" y="83"/>
                      </a:lnTo>
                      <a:lnTo>
                        <a:pt x="693" y="77"/>
                      </a:lnTo>
                      <a:lnTo>
                        <a:pt x="724" y="72"/>
                      </a:lnTo>
                      <a:lnTo>
                        <a:pt x="758" y="80"/>
                      </a:lnTo>
                      <a:lnTo>
                        <a:pt x="779" y="79"/>
                      </a:lnTo>
                      <a:lnTo>
                        <a:pt x="820" y="51"/>
                      </a:lnTo>
                      <a:lnTo>
                        <a:pt x="838" y="40"/>
                      </a:lnTo>
                      <a:lnTo>
                        <a:pt x="840" y="35"/>
                      </a:lnTo>
                      <a:lnTo>
                        <a:pt x="847" y="41"/>
                      </a:lnTo>
                      <a:lnTo>
                        <a:pt x="855" y="41"/>
                      </a:lnTo>
                      <a:lnTo>
                        <a:pt x="868" y="37"/>
                      </a:lnTo>
                      <a:lnTo>
                        <a:pt x="887" y="43"/>
                      </a:lnTo>
                      <a:lnTo>
                        <a:pt x="893" y="43"/>
                      </a:lnTo>
                      <a:lnTo>
                        <a:pt x="898" y="36"/>
                      </a:lnTo>
                      <a:lnTo>
                        <a:pt x="903" y="32"/>
                      </a:lnTo>
                      <a:lnTo>
                        <a:pt x="911" y="35"/>
                      </a:lnTo>
                      <a:lnTo>
                        <a:pt x="919" y="42"/>
                      </a:lnTo>
                      <a:lnTo>
                        <a:pt x="930" y="58"/>
                      </a:lnTo>
                      <a:lnTo>
                        <a:pt x="935" y="59"/>
                      </a:lnTo>
                      <a:lnTo>
                        <a:pt x="944" y="69"/>
                      </a:lnTo>
                      <a:lnTo>
                        <a:pt x="951" y="75"/>
                      </a:lnTo>
                      <a:lnTo>
                        <a:pt x="958" y="89"/>
                      </a:lnTo>
                      <a:lnTo>
                        <a:pt x="960" y="109"/>
                      </a:lnTo>
                      <a:lnTo>
                        <a:pt x="963" y="123"/>
                      </a:lnTo>
                      <a:lnTo>
                        <a:pt x="971" y="133"/>
                      </a:lnTo>
                      <a:lnTo>
                        <a:pt x="982" y="137"/>
                      </a:lnTo>
                      <a:lnTo>
                        <a:pt x="990" y="143"/>
                      </a:lnTo>
                      <a:lnTo>
                        <a:pt x="1000" y="153"/>
                      </a:lnTo>
                      <a:lnTo>
                        <a:pt x="1008" y="156"/>
                      </a:lnTo>
                      <a:lnTo>
                        <a:pt x="1012" y="161"/>
                      </a:lnTo>
                      <a:lnTo>
                        <a:pt x="1003" y="179"/>
                      </a:lnTo>
                      <a:lnTo>
                        <a:pt x="1001" y="186"/>
                      </a:lnTo>
                      <a:lnTo>
                        <a:pt x="987" y="195"/>
                      </a:lnTo>
                      <a:lnTo>
                        <a:pt x="988" y="202"/>
                      </a:lnTo>
                      <a:lnTo>
                        <a:pt x="995" y="219"/>
                      </a:lnTo>
                      <a:lnTo>
                        <a:pt x="997" y="246"/>
                      </a:lnTo>
                      <a:lnTo>
                        <a:pt x="997" y="263"/>
                      </a:lnTo>
                      <a:lnTo>
                        <a:pt x="999" y="279"/>
                      </a:lnTo>
                      <a:lnTo>
                        <a:pt x="995" y="300"/>
                      </a:lnTo>
                      <a:lnTo>
                        <a:pt x="1009" y="308"/>
                      </a:lnTo>
                      <a:lnTo>
                        <a:pt x="1021" y="325"/>
                      </a:lnTo>
                      <a:lnTo>
                        <a:pt x="1022" y="341"/>
                      </a:lnTo>
                      <a:lnTo>
                        <a:pt x="1015" y="348"/>
                      </a:lnTo>
                      <a:lnTo>
                        <a:pt x="1000" y="347"/>
                      </a:lnTo>
                      <a:lnTo>
                        <a:pt x="990" y="336"/>
                      </a:lnTo>
                      <a:lnTo>
                        <a:pt x="973" y="337"/>
                      </a:lnTo>
                      <a:lnTo>
                        <a:pt x="942" y="336"/>
                      </a:lnTo>
                      <a:lnTo>
                        <a:pt x="922" y="327"/>
                      </a:lnTo>
                      <a:lnTo>
                        <a:pt x="897" y="348"/>
                      </a:lnTo>
                      <a:lnTo>
                        <a:pt x="888" y="349"/>
                      </a:lnTo>
                      <a:lnTo>
                        <a:pt x="887" y="347"/>
                      </a:lnTo>
                      <a:lnTo>
                        <a:pt x="887" y="342"/>
                      </a:lnTo>
                      <a:lnTo>
                        <a:pt x="883" y="339"/>
                      </a:lnTo>
                      <a:lnTo>
                        <a:pt x="881" y="337"/>
                      </a:lnTo>
                      <a:lnTo>
                        <a:pt x="872" y="344"/>
                      </a:lnTo>
                      <a:lnTo>
                        <a:pt x="855" y="352"/>
                      </a:lnTo>
                      <a:lnTo>
                        <a:pt x="820" y="354"/>
                      </a:lnTo>
                      <a:lnTo>
                        <a:pt x="810" y="351"/>
                      </a:lnTo>
                      <a:lnTo>
                        <a:pt x="801" y="351"/>
                      </a:lnTo>
                      <a:lnTo>
                        <a:pt x="785" y="355"/>
                      </a:lnTo>
                      <a:lnTo>
                        <a:pt x="775" y="364"/>
                      </a:lnTo>
                      <a:lnTo>
                        <a:pt x="767" y="368"/>
                      </a:lnTo>
                      <a:lnTo>
                        <a:pt x="754" y="371"/>
                      </a:lnTo>
                      <a:lnTo>
                        <a:pt x="750" y="375"/>
                      </a:lnTo>
                      <a:lnTo>
                        <a:pt x="716" y="381"/>
                      </a:lnTo>
                      <a:lnTo>
                        <a:pt x="689" y="378"/>
                      </a:lnTo>
                      <a:lnTo>
                        <a:pt x="678" y="366"/>
                      </a:lnTo>
                      <a:lnTo>
                        <a:pt x="671" y="365"/>
                      </a:lnTo>
                      <a:lnTo>
                        <a:pt x="657" y="366"/>
                      </a:lnTo>
                      <a:lnTo>
                        <a:pt x="648" y="373"/>
                      </a:lnTo>
                      <a:lnTo>
                        <a:pt x="634" y="378"/>
                      </a:lnTo>
                      <a:lnTo>
                        <a:pt x="626" y="380"/>
                      </a:lnTo>
                      <a:lnTo>
                        <a:pt x="622" y="384"/>
                      </a:lnTo>
                      <a:lnTo>
                        <a:pt x="607" y="381"/>
                      </a:lnTo>
                      <a:lnTo>
                        <a:pt x="598" y="384"/>
                      </a:lnTo>
                      <a:lnTo>
                        <a:pt x="597" y="381"/>
                      </a:lnTo>
                      <a:lnTo>
                        <a:pt x="597" y="379"/>
                      </a:lnTo>
                      <a:lnTo>
                        <a:pt x="597" y="378"/>
                      </a:lnTo>
                      <a:lnTo>
                        <a:pt x="597" y="378"/>
                      </a:lnTo>
                      <a:lnTo>
                        <a:pt x="592" y="374"/>
                      </a:lnTo>
                      <a:lnTo>
                        <a:pt x="583" y="373"/>
                      </a:lnTo>
                      <a:lnTo>
                        <a:pt x="578" y="370"/>
                      </a:lnTo>
                      <a:lnTo>
                        <a:pt x="573" y="381"/>
                      </a:lnTo>
                      <a:lnTo>
                        <a:pt x="571" y="382"/>
                      </a:lnTo>
                      <a:lnTo>
                        <a:pt x="571" y="387"/>
                      </a:lnTo>
                      <a:lnTo>
                        <a:pt x="569" y="396"/>
                      </a:lnTo>
                      <a:lnTo>
                        <a:pt x="579" y="408"/>
                      </a:lnTo>
                      <a:lnTo>
                        <a:pt x="579" y="411"/>
                      </a:lnTo>
                      <a:lnTo>
                        <a:pt x="576" y="412"/>
                      </a:lnTo>
                      <a:lnTo>
                        <a:pt x="569" y="412"/>
                      </a:lnTo>
                      <a:lnTo>
                        <a:pt x="560" y="414"/>
                      </a:lnTo>
                      <a:lnTo>
                        <a:pt x="560" y="418"/>
                      </a:lnTo>
                      <a:lnTo>
                        <a:pt x="560" y="427"/>
                      </a:lnTo>
                      <a:lnTo>
                        <a:pt x="554" y="432"/>
                      </a:lnTo>
                      <a:lnTo>
                        <a:pt x="551" y="433"/>
                      </a:lnTo>
                      <a:lnTo>
                        <a:pt x="548" y="439"/>
                      </a:lnTo>
                      <a:lnTo>
                        <a:pt x="542" y="435"/>
                      </a:lnTo>
                      <a:lnTo>
                        <a:pt x="540" y="432"/>
                      </a:lnTo>
                      <a:lnTo>
                        <a:pt x="536" y="432"/>
                      </a:lnTo>
                      <a:lnTo>
                        <a:pt x="538" y="42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313" name="Freeform 161"/>
                <p:cNvSpPr>
                  <a:spLocks noChangeAspect="1"/>
                </p:cNvSpPr>
                <p:nvPr/>
              </p:nvSpPr>
              <p:spPr bwMode="gray">
                <a:xfrm>
                  <a:off x="2802" y="1980"/>
                  <a:ext cx="33" cy="28"/>
                </a:xfrm>
                <a:custGeom>
                  <a:avLst/>
                  <a:gdLst/>
                  <a:ahLst/>
                  <a:cxnLst>
                    <a:cxn ang="0">
                      <a:pos x="108" y="8"/>
                    </a:cxn>
                    <a:cxn ang="0">
                      <a:pos x="100" y="6"/>
                    </a:cxn>
                    <a:cxn ang="0">
                      <a:pos x="77" y="10"/>
                    </a:cxn>
                    <a:cxn ang="0">
                      <a:pos x="59" y="0"/>
                    </a:cxn>
                    <a:cxn ang="0">
                      <a:pos x="39" y="8"/>
                    </a:cxn>
                    <a:cxn ang="0">
                      <a:pos x="25" y="10"/>
                    </a:cxn>
                    <a:cxn ang="0">
                      <a:pos x="16" y="18"/>
                    </a:cxn>
                    <a:cxn ang="0">
                      <a:pos x="19" y="24"/>
                    </a:cxn>
                    <a:cxn ang="0">
                      <a:pos x="28" y="31"/>
                    </a:cxn>
                    <a:cxn ang="0">
                      <a:pos x="27" y="42"/>
                    </a:cxn>
                    <a:cxn ang="0">
                      <a:pos x="16" y="51"/>
                    </a:cxn>
                    <a:cxn ang="0">
                      <a:pos x="14" y="67"/>
                    </a:cxn>
                    <a:cxn ang="0">
                      <a:pos x="10" y="81"/>
                    </a:cxn>
                    <a:cxn ang="0">
                      <a:pos x="0" y="96"/>
                    </a:cxn>
                    <a:cxn ang="0">
                      <a:pos x="3" y="100"/>
                    </a:cxn>
                    <a:cxn ang="0">
                      <a:pos x="10" y="104"/>
                    </a:cxn>
                    <a:cxn ang="0">
                      <a:pos x="43" y="100"/>
                    </a:cxn>
                    <a:cxn ang="0">
                      <a:pos x="36" y="107"/>
                    </a:cxn>
                    <a:cxn ang="0">
                      <a:pos x="21" y="113"/>
                    </a:cxn>
                    <a:cxn ang="0">
                      <a:pos x="10" y="120"/>
                    </a:cxn>
                    <a:cxn ang="0">
                      <a:pos x="9" y="127"/>
                    </a:cxn>
                    <a:cxn ang="0">
                      <a:pos x="9" y="140"/>
                    </a:cxn>
                    <a:cxn ang="0">
                      <a:pos x="17" y="137"/>
                    </a:cxn>
                    <a:cxn ang="0">
                      <a:pos x="23" y="127"/>
                    </a:cxn>
                    <a:cxn ang="0">
                      <a:pos x="33" y="118"/>
                    </a:cxn>
                    <a:cxn ang="0">
                      <a:pos x="58" y="101"/>
                    </a:cxn>
                    <a:cxn ang="0">
                      <a:pos x="76" y="86"/>
                    </a:cxn>
                    <a:cxn ang="0">
                      <a:pos x="85" y="75"/>
                    </a:cxn>
                    <a:cxn ang="0">
                      <a:pos x="97" y="75"/>
                    </a:cxn>
                    <a:cxn ang="0">
                      <a:pos x="108" y="73"/>
                    </a:cxn>
                    <a:cxn ang="0">
                      <a:pos x="124" y="73"/>
                    </a:cxn>
                    <a:cxn ang="0">
                      <a:pos x="138" y="74"/>
                    </a:cxn>
                    <a:cxn ang="0">
                      <a:pos x="145" y="78"/>
                    </a:cxn>
                    <a:cxn ang="0">
                      <a:pos x="160" y="73"/>
                    </a:cxn>
                    <a:cxn ang="0">
                      <a:pos x="166" y="64"/>
                    </a:cxn>
                    <a:cxn ang="0">
                      <a:pos x="166" y="56"/>
                    </a:cxn>
                    <a:cxn ang="0">
                      <a:pos x="156" y="54"/>
                    </a:cxn>
                    <a:cxn ang="0">
                      <a:pos x="139" y="48"/>
                    </a:cxn>
                    <a:cxn ang="0">
                      <a:pos x="125" y="42"/>
                    </a:cxn>
                    <a:cxn ang="0">
                      <a:pos x="117" y="36"/>
                    </a:cxn>
                    <a:cxn ang="0">
                      <a:pos x="109" y="27"/>
                    </a:cxn>
                    <a:cxn ang="0">
                      <a:pos x="107" y="16"/>
                    </a:cxn>
                    <a:cxn ang="0">
                      <a:pos x="108" y="8"/>
                    </a:cxn>
                  </a:cxnLst>
                  <a:rect l="0" t="0" r="r" b="b"/>
                  <a:pathLst>
                    <a:path w="166" h="140">
                      <a:moveTo>
                        <a:pt x="108" y="8"/>
                      </a:moveTo>
                      <a:lnTo>
                        <a:pt x="100" y="6"/>
                      </a:lnTo>
                      <a:lnTo>
                        <a:pt x="77" y="10"/>
                      </a:lnTo>
                      <a:lnTo>
                        <a:pt x="59" y="0"/>
                      </a:lnTo>
                      <a:lnTo>
                        <a:pt x="39" y="8"/>
                      </a:lnTo>
                      <a:lnTo>
                        <a:pt x="25" y="10"/>
                      </a:lnTo>
                      <a:lnTo>
                        <a:pt x="16" y="18"/>
                      </a:lnTo>
                      <a:lnTo>
                        <a:pt x="19" y="24"/>
                      </a:lnTo>
                      <a:lnTo>
                        <a:pt x="28" y="31"/>
                      </a:lnTo>
                      <a:lnTo>
                        <a:pt x="27" y="42"/>
                      </a:lnTo>
                      <a:lnTo>
                        <a:pt x="16" y="51"/>
                      </a:lnTo>
                      <a:lnTo>
                        <a:pt x="14" y="67"/>
                      </a:lnTo>
                      <a:lnTo>
                        <a:pt x="10" y="81"/>
                      </a:lnTo>
                      <a:lnTo>
                        <a:pt x="0" y="96"/>
                      </a:lnTo>
                      <a:lnTo>
                        <a:pt x="3" y="100"/>
                      </a:lnTo>
                      <a:lnTo>
                        <a:pt x="10" y="104"/>
                      </a:lnTo>
                      <a:lnTo>
                        <a:pt x="43" y="100"/>
                      </a:lnTo>
                      <a:lnTo>
                        <a:pt x="36" y="107"/>
                      </a:lnTo>
                      <a:lnTo>
                        <a:pt x="21" y="113"/>
                      </a:lnTo>
                      <a:lnTo>
                        <a:pt x="10" y="120"/>
                      </a:lnTo>
                      <a:lnTo>
                        <a:pt x="9" y="127"/>
                      </a:lnTo>
                      <a:lnTo>
                        <a:pt x="9" y="140"/>
                      </a:lnTo>
                      <a:lnTo>
                        <a:pt x="17" y="137"/>
                      </a:lnTo>
                      <a:lnTo>
                        <a:pt x="23" y="127"/>
                      </a:lnTo>
                      <a:lnTo>
                        <a:pt x="33" y="118"/>
                      </a:lnTo>
                      <a:lnTo>
                        <a:pt x="58" y="101"/>
                      </a:lnTo>
                      <a:lnTo>
                        <a:pt x="76" y="86"/>
                      </a:lnTo>
                      <a:lnTo>
                        <a:pt x="85" y="75"/>
                      </a:lnTo>
                      <a:lnTo>
                        <a:pt x="97" y="75"/>
                      </a:lnTo>
                      <a:lnTo>
                        <a:pt x="108" y="73"/>
                      </a:lnTo>
                      <a:lnTo>
                        <a:pt x="124" y="73"/>
                      </a:lnTo>
                      <a:lnTo>
                        <a:pt x="138" y="74"/>
                      </a:lnTo>
                      <a:lnTo>
                        <a:pt x="145" y="78"/>
                      </a:lnTo>
                      <a:lnTo>
                        <a:pt x="160" y="73"/>
                      </a:lnTo>
                      <a:lnTo>
                        <a:pt x="166" y="64"/>
                      </a:lnTo>
                      <a:lnTo>
                        <a:pt x="166" y="56"/>
                      </a:lnTo>
                      <a:lnTo>
                        <a:pt x="156" y="54"/>
                      </a:lnTo>
                      <a:lnTo>
                        <a:pt x="139" y="48"/>
                      </a:lnTo>
                      <a:lnTo>
                        <a:pt x="125" y="42"/>
                      </a:lnTo>
                      <a:lnTo>
                        <a:pt x="117" y="36"/>
                      </a:lnTo>
                      <a:lnTo>
                        <a:pt x="109" y="27"/>
                      </a:lnTo>
                      <a:lnTo>
                        <a:pt x="107" y="16"/>
                      </a:lnTo>
                      <a:lnTo>
                        <a:pt x="108" y="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309" name="Freeform 162"/>
              <p:cNvSpPr>
                <a:spLocks noChangeAspect="1"/>
              </p:cNvSpPr>
              <p:nvPr/>
            </p:nvSpPr>
            <p:spPr bwMode="gray">
              <a:xfrm>
                <a:off x="2898" y="2100"/>
                <a:ext cx="47" cy="54"/>
              </a:xfrm>
              <a:custGeom>
                <a:avLst/>
                <a:gdLst/>
                <a:ahLst/>
                <a:cxnLst>
                  <a:cxn ang="0">
                    <a:pos x="215" y="94"/>
                  </a:cxn>
                  <a:cxn ang="0">
                    <a:pos x="231" y="75"/>
                  </a:cxn>
                  <a:cxn ang="0">
                    <a:pos x="215" y="0"/>
                  </a:cxn>
                  <a:cxn ang="0">
                    <a:pos x="165" y="26"/>
                  </a:cxn>
                  <a:cxn ang="0">
                    <a:pos x="141" y="39"/>
                  </a:cxn>
                  <a:cxn ang="0">
                    <a:pos x="96" y="67"/>
                  </a:cxn>
                  <a:cxn ang="0">
                    <a:pos x="87" y="69"/>
                  </a:cxn>
                  <a:cxn ang="0">
                    <a:pos x="75" y="67"/>
                  </a:cxn>
                  <a:cxn ang="0">
                    <a:pos x="70" y="65"/>
                  </a:cxn>
                  <a:cxn ang="0">
                    <a:pos x="62" y="55"/>
                  </a:cxn>
                  <a:cxn ang="0">
                    <a:pos x="54" y="51"/>
                  </a:cxn>
                  <a:cxn ang="0">
                    <a:pos x="48" y="43"/>
                  </a:cxn>
                  <a:cxn ang="0">
                    <a:pos x="44" y="42"/>
                  </a:cxn>
                  <a:cxn ang="0">
                    <a:pos x="32" y="44"/>
                  </a:cxn>
                  <a:cxn ang="0">
                    <a:pos x="32" y="64"/>
                  </a:cxn>
                  <a:cxn ang="0">
                    <a:pos x="32" y="66"/>
                  </a:cxn>
                  <a:cxn ang="0">
                    <a:pos x="31" y="75"/>
                  </a:cxn>
                  <a:cxn ang="0">
                    <a:pos x="30" y="82"/>
                  </a:cxn>
                  <a:cxn ang="0">
                    <a:pos x="28" y="94"/>
                  </a:cxn>
                  <a:cxn ang="0">
                    <a:pos x="31" y="103"/>
                  </a:cxn>
                  <a:cxn ang="0">
                    <a:pos x="28" y="109"/>
                  </a:cxn>
                  <a:cxn ang="0">
                    <a:pos x="27" y="118"/>
                  </a:cxn>
                  <a:cxn ang="0">
                    <a:pos x="25" y="120"/>
                  </a:cxn>
                  <a:cxn ang="0">
                    <a:pos x="27" y="124"/>
                  </a:cxn>
                  <a:cxn ang="0">
                    <a:pos x="23" y="137"/>
                  </a:cxn>
                  <a:cxn ang="0">
                    <a:pos x="26" y="145"/>
                  </a:cxn>
                  <a:cxn ang="0">
                    <a:pos x="17" y="163"/>
                  </a:cxn>
                  <a:cxn ang="0">
                    <a:pos x="11" y="183"/>
                  </a:cxn>
                  <a:cxn ang="0">
                    <a:pos x="5" y="236"/>
                  </a:cxn>
                  <a:cxn ang="0">
                    <a:pos x="1" y="247"/>
                  </a:cxn>
                  <a:cxn ang="0">
                    <a:pos x="0" y="253"/>
                  </a:cxn>
                  <a:cxn ang="0">
                    <a:pos x="0" y="253"/>
                  </a:cxn>
                  <a:cxn ang="0">
                    <a:pos x="3" y="261"/>
                  </a:cxn>
                  <a:cxn ang="0">
                    <a:pos x="64" y="269"/>
                  </a:cxn>
                  <a:cxn ang="0">
                    <a:pos x="81" y="252"/>
                  </a:cxn>
                  <a:cxn ang="0">
                    <a:pos x="82" y="248"/>
                  </a:cxn>
                  <a:cxn ang="0">
                    <a:pos x="97" y="223"/>
                  </a:cxn>
                  <a:cxn ang="0">
                    <a:pos x="139" y="217"/>
                  </a:cxn>
                  <a:cxn ang="0">
                    <a:pos x="140" y="207"/>
                  </a:cxn>
                  <a:cxn ang="0">
                    <a:pos x="146" y="191"/>
                  </a:cxn>
                  <a:cxn ang="0">
                    <a:pos x="168" y="179"/>
                  </a:cxn>
                  <a:cxn ang="0">
                    <a:pos x="170" y="178"/>
                  </a:cxn>
                  <a:cxn ang="0">
                    <a:pos x="117" y="124"/>
                  </a:cxn>
                  <a:cxn ang="0">
                    <a:pos x="108" y="118"/>
                  </a:cxn>
                  <a:cxn ang="0">
                    <a:pos x="149" y="108"/>
                  </a:cxn>
                  <a:cxn ang="0">
                    <a:pos x="215" y="94"/>
                  </a:cxn>
                </a:cxnLst>
                <a:rect l="0" t="0" r="r" b="b"/>
                <a:pathLst>
                  <a:path w="231" h="269">
                    <a:moveTo>
                      <a:pt x="215" y="94"/>
                    </a:moveTo>
                    <a:lnTo>
                      <a:pt x="231" y="75"/>
                    </a:lnTo>
                    <a:lnTo>
                      <a:pt x="215" y="0"/>
                    </a:lnTo>
                    <a:lnTo>
                      <a:pt x="165" y="26"/>
                    </a:lnTo>
                    <a:lnTo>
                      <a:pt x="141" y="39"/>
                    </a:lnTo>
                    <a:lnTo>
                      <a:pt x="96" y="67"/>
                    </a:lnTo>
                    <a:lnTo>
                      <a:pt x="87" y="69"/>
                    </a:lnTo>
                    <a:lnTo>
                      <a:pt x="75" y="67"/>
                    </a:lnTo>
                    <a:lnTo>
                      <a:pt x="70" y="65"/>
                    </a:lnTo>
                    <a:lnTo>
                      <a:pt x="62" y="55"/>
                    </a:lnTo>
                    <a:lnTo>
                      <a:pt x="54" y="51"/>
                    </a:lnTo>
                    <a:lnTo>
                      <a:pt x="48" y="43"/>
                    </a:lnTo>
                    <a:lnTo>
                      <a:pt x="44" y="42"/>
                    </a:lnTo>
                    <a:lnTo>
                      <a:pt x="32" y="44"/>
                    </a:lnTo>
                    <a:lnTo>
                      <a:pt x="32" y="64"/>
                    </a:lnTo>
                    <a:lnTo>
                      <a:pt x="32" y="66"/>
                    </a:lnTo>
                    <a:lnTo>
                      <a:pt x="31" y="75"/>
                    </a:lnTo>
                    <a:lnTo>
                      <a:pt x="30" y="82"/>
                    </a:lnTo>
                    <a:lnTo>
                      <a:pt x="28" y="94"/>
                    </a:lnTo>
                    <a:lnTo>
                      <a:pt x="31" y="103"/>
                    </a:lnTo>
                    <a:lnTo>
                      <a:pt x="28" y="109"/>
                    </a:lnTo>
                    <a:lnTo>
                      <a:pt x="27" y="118"/>
                    </a:lnTo>
                    <a:lnTo>
                      <a:pt x="25" y="120"/>
                    </a:lnTo>
                    <a:lnTo>
                      <a:pt x="27" y="124"/>
                    </a:lnTo>
                    <a:lnTo>
                      <a:pt x="23" y="137"/>
                    </a:lnTo>
                    <a:lnTo>
                      <a:pt x="26" y="145"/>
                    </a:lnTo>
                    <a:lnTo>
                      <a:pt x="17" y="163"/>
                    </a:lnTo>
                    <a:lnTo>
                      <a:pt x="11" y="183"/>
                    </a:lnTo>
                    <a:lnTo>
                      <a:pt x="5" y="236"/>
                    </a:lnTo>
                    <a:lnTo>
                      <a:pt x="1" y="247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3" y="261"/>
                    </a:lnTo>
                    <a:lnTo>
                      <a:pt x="64" y="269"/>
                    </a:lnTo>
                    <a:lnTo>
                      <a:pt x="81" y="252"/>
                    </a:lnTo>
                    <a:lnTo>
                      <a:pt x="82" y="248"/>
                    </a:lnTo>
                    <a:lnTo>
                      <a:pt x="97" y="223"/>
                    </a:lnTo>
                    <a:lnTo>
                      <a:pt x="139" y="217"/>
                    </a:lnTo>
                    <a:lnTo>
                      <a:pt x="140" y="207"/>
                    </a:lnTo>
                    <a:lnTo>
                      <a:pt x="146" y="191"/>
                    </a:lnTo>
                    <a:lnTo>
                      <a:pt x="168" y="179"/>
                    </a:lnTo>
                    <a:lnTo>
                      <a:pt x="170" y="178"/>
                    </a:lnTo>
                    <a:lnTo>
                      <a:pt x="117" y="124"/>
                    </a:lnTo>
                    <a:lnTo>
                      <a:pt x="108" y="118"/>
                    </a:lnTo>
                    <a:lnTo>
                      <a:pt x="149" y="108"/>
                    </a:lnTo>
                    <a:lnTo>
                      <a:pt x="215" y="9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10" name="Freeform 163"/>
              <p:cNvSpPr>
                <a:spLocks noChangeAspect="1"/>
              </p:cNvSpPr>
              <p:nvPr/>
            </p:nvSpPr>
            <p:spPr bwMode="gray">
              <a:xfrm>
                <a:off x="2905" y="2047"/>
                <a:ext cx="77" cy="67"/>
              </a:xfrm>
              <a:custGeom>
                <a:avLst/>
                <a:gdLst/>
                <a:ahLst/>
                <a:cxnLst>
                  <a:cxn ang="0">
                    <a:pos x="241" y="227"/>
                  </a:cxn>
                  <a:cxn ang="0">
                    <a:pos x="290" y="203"/>
                  </a:cxn>
                  <a:cxn ang="0">
                    <a:pos x="316" y="170"/>
                  </a:cxn>
                  <a:cxn ang="0">
                    <a:pos x="354" y="50"/>
                  </a:cxn>
                  <a:cxn ang="0">
                    <a:pos x="378" y="12"/>
                  </a:cxn>
                  <a:cxn ang="0">
                    <a:pos x="373" y="2"/>
                  </a:cxn>
                  <a:cxn ang="0">
                    <a:pos x="345" y="15"/>
                  </a:cxn>
                  <a:cxn ang="0">
                    <a:pos x="291" y="14"/>
                  </a:cxn>
                  <a:cxn ang="0">
                    <a:pos x="257" y="31"/>
                  </a:cxn>
                  <a:cxn ang="0">
                    <a:pos x="206" y="45"/>
                  </a:cxn>
                  <a:cxn ang="0">
                    <a:pos x="161" y="28"/>
                  </a:cxn>
                  <a:cxn ang="0">
                    <a:pos x="124" y="41"/>
                  </a:cxn>
                  <a:cxn ang="0">
                    <a:pos x="97" y="44"/>
                  </a:cxn>
                  <a:cxn ang="0">
                    <a:pos x="87" y="42"/>
                  </a:cxn>
                  <a:cxn ang="0">
                    <a:pos x="73" y="36"/>
                  </a:cxn>
                  <a:cxn ang="0">
                    <a:pos x="61" y="45"/>
                  </a:cxn>
                  <a:cxn ang="0">
                    <a:pos x="68" y="71"/>
                  </a:cxn>
                  <a:cxn ang="0">
                    <a:pos x="59" y="75"/>
                  </a:cxn>
                  <a:cxn ang="0">
                    <a:pos x="50" y="90"/>
                  </a:cxn>
                  <a:cxn ang="0">
                    <a:pos x="38" y="102"/>
                  </a:cxn>
                  <a:cxn ang="0">
                    <a:pos x="26" y="95"/>
                  </a:cxn>
                  <a:cxn ang="0">
                    <a:pos x="23" y="123"/>
                  </a:cxn>
                  <a:cxn ang="0">
                    <a:pos x="26" y="167"/>
                  </a:cxn>
                  <a:cxn ang="0">
                    <a:pos x="48" y="174"/>
                  </a:cxn>
                  <a:cxn ang="0">
                    <a:pos x="57" y="179"/>
                  </a:cxn>
                  <a:cxn ang="0">
                    <a:pos x="53" y="183"/>
                  </a:cxn>
                  <a:cxn ang="0">
                    <a:pos x="50" y="189"/>
                  </a:cxn>
                  <a:cxn ang="0">
                    <a:pos x="63" y="195"/>
                  </a:cxn>
                  <a:cxn ang="0">
                    <a:pos x="64" y="208"/>
                  </a:cxn>
                  <a:cxn ang="0">
                    <a:pos x="63" y="216"/>
                  </a:cxn>
                  <a:cxn ang="0">
                    <a:pos x="50" y="222"/>
                  </a:cxn>
                  <a:cxn ang="0">
                    <a:pos x="45" y="230"/>
                  </a:cxn>
                  <a:cxn ang="0">
                    <a:pos x="52" y="236"/>
                  </a:cxn>
                  <a:cxn ang="0">
                    <a:pos x="32" y="237"/>
                  </a:cxn>
                  <a:cxn ang="0">
                    <a:pos x="26" y="249"/>
                  </a:cxn>
                  <a:cxn ang="0">
                    <a:pos x="31" y="257"/>
                  </a:cxn>
                  <a:cxn ang="0">
                    <a:pos x="18" y="267"/>
                  </a:cxn>
                  <a:cxn ang="0">
                    <a:pos x="5" y="276"/>
                  </a:cxn>
                  <a:cxn ang="0">
                    <a:pos x="4" y="295"/>
                  </a:cxn>
                  <a:cxn ang="0">
                    <a:pos x="0" y="312"/>
                  </a:cxn>
                  <a:cxn ang="0">
                    <a:pos x="22" y="319"/>
                  </a:cxn>
                  <a:cxn ang="0">
                    <a:pos x="43" y="335"/>
                  </a:cxn>
                  <a:cxn ang="0">
                    <a:pos x="109" y="307"/>
                  </a:cxn>
                </a:cxnLst>
                <a:rect l="0" t="0" r="r" b="b"/>
                <a:pathLst>
                  <a:path w="387" h="337">
                    <a:moveTo>
                      <a:pt x="183" y="268"/>
                    </a:moveTo>
                    <a:lnTo>
                      <a:pt x="226" y="238"/>
                    </a:lnTo>
                    <a:lnTo>
                      <a:pt x="241" y="227"/>
                    </a:lnTo>
                    <a:lnTo>
                      <a:pt x="256" y="222"/>
                    </a:lnTo>
                    <a:lnTo>
                      <a:pt x="278" y="210"/>
                    </a:lnTo>
                    <a:lnTo>
                      <a:pt x="290" y="203"/>
                    </a:lnTo>
                    <a:lnTo>
                      <a:pt x="294" y="199"/>
                    </a:lnTo>
                    <a:lnTo>
                      <a:pt x="306" y="194"/>
                    </a:lnTo>
                    <a:lnTo>
                      <a:pt x="316" y="170"/>
                    </a:lnTo>
                    <a:lnTo>
                      <a:pt x="319" y="133"/>
                    </a:lnTo>
                    <a:lnTo>
                      <a:pt x="323" y="63"/>
                    </a:lnTo>
                    <a:lnTo>
                      <a:pt x="354" y="50"/>
                    </a:lnTo>
                    <a:lnTo>
                      <a:pt x="372" y="21"/>
                    </a:lnTo>
                    <a:lnTo>
                      <a:pt x="387" y="12"/>
                    </a:lnTo>
                    <a:lnTo>
                      <a:pt x="378" y="12"/>
                    </a:lnTo>
                    <a:lnTo>
                      <a:pt x="377" y="10"/>
                    </a:lnTo>
                    <a:lnTo>
                      <a:pt x="377" y="5"/>
                    </a:lnTo>
                    <a:lnTo>
                      <a:pt x="373" y="2"/>
                    </a:lnTo>
                    <a:lnTo>
                      <a:pt x="371" y="0"/>
                    </a:lnTo>
                    <a:lnTo>
                      <a:pt x="362" y="7"/>
                    </a:lnTo>
                    <a:lnTo>
                      <a:pt x="345" y="15"/>
                    </a:lnTo>
                    <a:lnTo>
                      <a:pt x="310" y="17"/>
                    </a:lnTo>
                    <a:lnTo>
                      <a:pt x="300" y="14"/>
                    </a:lnTo>
                    <a:lnTo>
                      <a:pt x="291" y="14"/>
                    </a:lnTo>
                    <a:lnTo>
                      <a:pt x="275" y="18"/>
                    </a:lnTo>
                    <a:lnTo>
                      <a:pt x="265" y="27"/>
                    </a:lnTo>
                    <a:lnTo>
                      <a:pt x="257" y="31"/>
                    </a:lnTo>
                    <a:lnTo>
                      <a:pt x="244" y="34"/>
                    </a:lnTo>
                    <a:lnTo>
                      <a:pt x="238" y="38"/>
                    </a:lnTo>
                    <a:lnTo>
                      <a:pt x="206" y="45"/>
                    </a:lnTo>
                    <a:lnTo>
                      <a:pt x="179" y="41"/>
                    </a:lnTo>
                    <a:lnTo>
                      <a:pt x="168" y="31"/>
                    </a:lnTo>
                    <a:lnTo>
                      <a:pt x="161" y="28"/>
                    </a:lnTo>
                    <a:lnTo>
                      <a:pt x="147" y="29"/>
                    </a:lnTo>
                    <a:lnTo>
                      <a:pt x="138" y="36"/>
                    </a:lnTo>
                    <a:lnTo>
                      <a:pt x="124" y="41"/>
                    </a:lnTo>
                    <a:lnTo>
                      <a:pt x="116" y="43"/>
                    </a:lnTo>
                    <a:lnTo>
                      <a:pt x="112" y="47"/>
                    </a:lnTo>
                    <a:lnTo>
                      <a:pt x="97" y="44"/>
                    </a:lnTo>
                    <a:lnTo>
                      <a:pt x="88" y="47"/>
                    </a:lnTo>
                    <a:lnTo>
                      <a:pt x="87" y="44"/>
                    </a:lnTo>
                    <a:lnTo>
                      <a:pt x="87" y="42"/>
                    </a:lnTo>
                    <a:lnTo>
                      <a:pt x="87" y="41"/>
                    </a:lnTo>
                    <a:lnTo>
                      <a:pt x="82" y="37"/>
                    </a:lnTo>
                    <a:lnTo>
                      <a:pt x="73" y="36"/>
                    </a:lnTo>
                    <a:lnTo>
                      <a:pt x="68" y="33"/>
                    </a:lnTo>
                    <a:lnTo>
                      <a:pt x="63" y="44"/>
                    </a:lnTo>
                    <a:lnTo>
                      <a:pt x="61" y="45"/>
                    </a:lnTo>
                    <a:lnTo>
                      <a:pt x="61" y="50"/>
                    </a:lnTo>
                    <a:lnTo>
                      <a:pt x="59" y="59"/>
                    </a:lnTo>
                    <a:lnTo>
                      <a:pt x="68" y="71"/>
                    </a:lnTo>
                    <a:lnTo>
                      <a:pt x="69" y="74"/>
                    </a:lnTo>
                    <a:lnTo>
                      <a:pt x="66" y="75"/>
                    </a:lnTo>
                    <a:lnTo>
                      <a:pt x="59" y="75"/>
                    </a:lnTo>
                    <a:lnTo>
                      <a:pt x="50" y="77"/>
                    </a:lnTo>
                    <a:lnTo>
                      <a:pt x="50" y="81"/>
                    </a:lnTo>
                    <a:lnTo>
                      <a:pt x="50" y="90"/>
                    </a:lnTo>
                    <a:lnTo>
                      <a:pt x="44" y="95"/>
                    </a:lnTo>
                    <a:lnTo>
                      <a:pt x="41" y="96"/>
                    </a:lnTo>
                    <a:lnTo>
                      <a:pt x="38" y="102"/>
                    </a:lnTo>
                    <a:lnTo>
                      <a:pt x="32" y="98"/>
                    </a:lnTo>
                    <a:lnTo>
                      <a:pt x="30" y="95"/>
                    </a:lnTo>
                    <a:lnTo>
                      <a:pt x="26" y="95"/>
                    </a:lnTo>
                    <a:lnTo>
                      <a:pt x="26" y="106"/>
                    </a:lnTo>
                    <a:lnTo>
                      <a:pt x="21" y="119"/>
                    </a:lnTo>
                    <a:lnTo>
                      <a:pt x="23" y="123"/>
                    </a:lnTo>
                    <a:lnTo>
                      <a:pt x="28" y="136"/>
                    </a:lnTo>
                    <a:lnTo>
                      <a:pt x="28" y="155"/>
                    </a:lnTo>
                    <a:lnTo>
                      <a:pt x="26" y="167"/>
                    </a:lnTo>
                    <a:lnTo>
                      <a:pt x="28" y="178"/>
                    </a:lnTo>
                    <a:lnTo>
                      <a:pt x="45" y="178"/>
                    </a:lnTo>
                    <a:lnTo>
                      <a:pt x="48" y="174"/>
                    </a:lnTo>
                    <a:lnTo>
                      <a:pt x="50" y="174"/>
                    </a:lnTo>
                    <a:lnTo>
                      <a:pt x="52" y="179"/>
                    </a:lnTo>
                    <a:lnTo>
                      <a:pt x="57" y="179"/>
                    </a:lnTo>
                    <a:lnTo>
                      <a:pt x="58" y="181"/>
                    </a:lnTo>
                    <a:lnTo>
                      <a:pt x="58" y="183"/>
                    </a:lnTo>
                    <a:lnTo>
                      <a:pt x="53" y="183"/>
                    </a:lnTo>
                    <a:lnTo>
                      <a:pt x="53" y="185"/>
                    </a:lnTo>
                    <a:lnTo>
                      <a:pt x="50" y="187"/>
                    </a:lnTo>
                    <a:lnTo>
                      <a:pt x="50" y="189"/>
                    </a:lnTo>
                    <a:lnTo>
                      <a:pt x="57" y="189"/>
                    </a:lnTo>
                    <a:lnTo>
                      <a:pt x="58" y="193"/>
                    </a:lnTo>
                    <a:lnTo>
                      <a:pt x="63" y="195"/>
                    </a:lnTo>
                    <a:lnTo>
                      <a:pt x="61" y="199"/>
                    </a:lnTo>
                    <a:lnTo>
                      <a:pt x="65" y="204"/>
                    </a:lnTo>
                    <a:lnTo>
                      <a:pt x="64" y="208"/>
                    </a:lnTo>
                    <a:lnTo>
                      <a:pt x="66" y="210"/>
                    </a:lnTo>
                    <a:lnTo>
                      <a:pt x="64" y="212"/>
                    </a:lnTo>
                    <a:lnTo>
                      <a:pt x="63" y="216"/>
                    </a:lnTo>
                    <a:lnTo>
                      <a:pt x="60" y="216"/>
                    </a:lnTo>
                    <a:lnTo>
                      <a:pt x="55" y="221"/>
                    </a:lnTo>
                    <a:lnTo>
                      <a:pt x="50" y="222"/>
                    </a:lnTo>
                    <a:lnTo>
                      <a:pt x="50" y="226"/>
                    </a:lnTo>
                    <a:lnTo>
                      <a:pt x="47" y="227"/>
                    </a:lnTo>
                    <a:lnTo>
                      <a:pt x="45" y="230"/>
                    </a:lnTo>
                    <a:lnTo>
                      <a:pt x="50" y="233"/>
                    </a:lnTo>
                    <a:lnTo>
                      <a:pt x="52" y="236"/>
                    </a:lnTo>
                    <a:lnTo>
                      <a:pt x="52" y="236"/>
                    </a:lnTo>
                    <a:lnTo>
                      <a:pt x="50" y="237"/>
                    </a:lnTo>
                    <a:lnTo>
                      <a:pt x="45" y="236"/>
                    </a:lnTo>
                    <a:lnTo>
                      <a:pt x="32" y="237"/>
                    </a:lnTo>
                    <a:lnTo>
                      <a:pt x="31" y="242"/>
                    </a:lnTo>
                    <a:lnTo>
                      <a:pt x="28" y="243"/>
                    </a:lnTo>
                    <a:lnTo>
                      <a:pt x="26" y="249"/>
                    </a:lnTo>
                    <a:lnTo>
                      <a:pt x="26" y="249"/>
                    </a:lnTo>
                    <a:lnTo>
                      <a:pt x="31" y="252"/>
                    </a:lnTo>
                    <a:lnTo>
                      <a:pt x="31" y="257"/>
                    </a:lnTo>
                    <a:lnTo>
                      <a:pt x="28" y="257"/>
                    </a:lnTo>
                    <a:lnTo>
                      <a:pt x="25" y="263"/>
                    </a:lnTo>
                    <a:lnTo>
                      <a:pt x="18" y="267"/>
                    </a:lnTo>
                    <a:lnTo>
                      <a:pt x="17" y="270"/>
                    </a:lnTo>
                    <a:lnTo>
                      <a:pt x="12" y="270"/>
                    </a:lnTo>
                    <a:lnTo>
                      <a:pt x="5" y="276"/>
                    </a:lnTo>
                    <a:lnTo>
                      <a:pt x="5" y="286"/>
                    </a:lnTo>
                    <a:lnTo>
                      <a:pt x="2" y="290"/>
                    </a:lnTo>
                    <a:lnTo>
                      <a:pt x="4" y="295"/>
                    </a:lnTo>
                    <a:lnTo>
                      <a:pt x="2" y="300"/>
                    </a:lnTo>
                    <a:lnTo>
                      <a:pt x="5" y="306"/>
                    </a:lnTo>
                    <a:lnTo>
                      <a:pt x="0" y="312"/>
                    </a:lnTo>
                    <a:lnTo>
                      <a:pt x="12" y="310"/>
                    </a:lnTo>
                    <a:lnTo>
                      <a:pt x="16" y="311"/>
                    </a:lnTo>
                    <a:lnTo>
                      <a:pt x="22" y="319"/>
                    </a:lnTo>
                    <a:lnTo>
                      <a:pt x="30" y="324"/>
                    </a:lnTo>
                    <a:lnTo>
                      <a:pt x="38" y="333"/>
                    </a:lnTo>
                    <a:lnTo>
                      <a:pt x="43" y="335"/>
                    </a:lnTo>
                    <a:lnTo>
                      <a:pt x="55" y="337"/>
                    </a:lnTo>
                    <a:lnTo>
                      <a:pt x="63" y="335"/>
                    </a:lnTo>
                    <a:lnTo>
                      <a:pt x="109" y="307"/>
                    </a:lnTo>
                    <a:lnTo>
                      <a:pt x="133" y="294"/>
                    </a:lnTo>
                    <a:lnTo>
                      <a:pt x="183" y="26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311" name="Freeform 164"/>
              <p:cNvSpPr>
                <a:spLocks noChangeAspect="1"/>
              </p:cNvSpPr>
              <p:nvPr/>
            </p:nvSpPr>
            <p:spPr bwMode="gray">
              <a:xfrm>
                <a:off x="2871" y="2069"/>
                <a:ext cx="25" cy="15"/>
              </a:xfrm>
              <a:custGeom>
                <a:avLst/>
                <a:gdLst/>
                <a:ahLst/>
                <a:cxnLst>
                  <a:cxn ang="0">
                    <a:pos x="92" y="16"/>
                  </a:cxn>
                  <a:cxn ang="0">
                    <a:pos x="106" y="11"/>
                  </a:cxn>
                  <a:cxn ang="0">
                    <a:pos x="112" y="5"/>
                  </a:cxn>
                  <a:cxn ang="0">
                    <a:pos x="122" y="0"/>
                  </a:cxn>
                  <a:cxn ang="0">
                    <a:pos x="126" y="0"/>
                  </a:cxn>
                  <a:cxn ang="0">
                    <a:pos x="123" y="9"/>
                  </a:cxn>
                  <a:cxn ang="0">
                    <a:pos x="115" y="17"/>
                  </a:cxn>
                  <a:cxn ang="0">
                    <a:pos x="107" y="21"/>
                  </a:cxn>
                  <a:cxn ang="0">
                    <a:pos x="96" y="37"/>
                  </a:cxn>
                  <a:cxn ang="0">
                    <a:pos x="99" y="43"/>
                  </a:cxn>
                  <a:cxn ang="0">
                    <a:pos x="92" y="52"/>
                  </a:cxn>
                  <a:cxn ang="0">
                    <a:pos x="80" y="54"/>
                  </a:cxn>
                  <a:cxn ang="0">
                    <a:pos x="69" y="64"/>
                  </a:cxn>
                  <a:cxn ang="0">
                    <a:pos x="53" y="68"/>
                  </a:cxn>
                  <a:cxn ang="0">
                    <a:pos x="43" y="75"/>
                  </a:cxn>
                  <a:cxn ang="0">
                    <a:pos x="25" y="72"/>
                  </a:cxn>
                  <a:cxn ang="0">
                    <a:pos x="13" y="66"/>
                  </a:cxn>
                  <a:cxn ang="0">
                    <a:pos x="5" y="57"/>
                  </a:cxn>
                  <a:cxn ang="0">
                    <a:pos x="0" y="45"/>
                  </a:cxn>
                  <a:cxn ang="0">
                    <a:pos x="13" y="42"/>
                  </a:cxn>
                  <a:cxn ang="0">
                    <a:pos x="21" y="37"/>
                  </a:cxn>
                  <a:cxn ang="0">
                    <a:pos x="31" y="36"/>
                  </a:cxn>
                  <a:cxn ang="0">
                    <a:pos x="38" y="33"/>
                  </a:cxn>
                  <a:cxn ang="0">
                    <a:pos x="40" y="25"/>
                  </a:cxn>
                  <a:cxn ang="0">
                    <a:pos x="43" y="26"/>
                  </a:cxn>
                  <a:cxn ang="0">
                    <a:pos x="63" y="25"/>
                  </a:cxn>
                  <a:cxn ang="0">
                    <a:pos x="92" y="16"/>
                  </a:cxn>
                </a:cxnLst>
                <a:rect l="0" t="0" r="r" b="b"/>
                <a:pathLst>
                  <a:path w="126" h="75">
                    <a:moveTo>
                      <a:pt x="92" y="16"/>
                    </a:moveTo>
                    <a:lnTo>
                      <a:pt x="106" y="11"/>
                    </a:lnTo>
                    <a:lnTo>
                      <a:pt x="112" y="5"/>
                    </a:lnTo>
                    <a:lnTo>
                      <a:pt x="122" y="0"/>
                    </a:lnTo>
                    <a:lnTo>
                      <a:pt x="126" y="0"/>
                    </a:lnTo>
                    <a:lnTo>
                      <a:pt x="123" y="9"/>
                    </a:lnTo>
                    <a:lnTo>
                      <a:pt x="115" y="17"/>
                    </a:lnTo>
                    <a:lnTo>
                      <a:pt x="107" y="21"/>
                    </a:lnTo>
                    <a:lnTo>
                      <a:pt x="96" y="37"/>
                    </a:lnTo>
                    <a:lnTo>
                      <a:pt x="99" y="43"/>
                    </a:lnTo>
                    <a:lnTo>
                      <a:pt x="92" y="52"/>
                    </a:lnTo>
                    <a:lnTo>
                      <a:pt x="80" y="54"/>
                    </a:lnTo>
                    <a:lnTo>
                      <a:pt x="69" y="64"/>
                    </a:lnTo>
                    <a:lnTo>
                      <a:pt x="53" y="68"/>
                    </a:lnTo>
                    <a:lnTo>
                      <a:pt x="43" y="75"/>
                    </a:lnTo>
                    <a:lnTo>
                      <a:pt x="25" y="72"/>
                    </a:lnTo>
                    <a:lnTo>
                      <a:pt x="13" y="66"/>
                    </a:lnTo>
                    <a:lnTo>
                      <a:pt x="5" y="57"/>
                    </a:lnTo>
                    <a:lnTo>
                      <a:pt x="0" y="45"/>
                    </a:lnTo>
                    <a:lnTo>
                      <a:pt x="13" y="42"/>
                    </a:lnTo>
                    <a:lnTo>
                      <a:pt x="21" y="37"/>
                    </a:lnTo>
                    <a:lnTo>
                      <a:pt x="31" y="36"/>
                    </a:lnTo>
                    <a:lnTo>
                      <a:pt x="38" y="33"/>
                    </a:lnTo>
                    <a:lnTo>
                      <a:pt x="40" y="25"/>
                    </a:lnTo>
                    <a:lnTo>
                      <a:pt x="43" y="26"/>
                    </a:lnTo>
                    <a:lnTo>
                      <a:pt x="63" y="25"/>
                    </a:lnTo>
                    <a:lnTo>
                      <a:pt x="92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</p:grpSp>
        <p:sp>
          <p:nvSpPr>
            <p:cNvPr id="52" name="Freeform 165"/>
            <p:cNvSpPr>
              <a:spLocks noChangeAspect="1"/>
            </p:cNvSpPr>
            <p:nvPr/>
          </p:nvSpPr>
          <p:spPr bwMode="gray">
            <a:xfrm>
              <a:off x="6654139" y="3392526"/>
              <a:ext cx="54065" cy="61115"/>
            </a:xfrm>
            <a:custGeom>
              <a:avLst/>
              <a:gdLst/>
              <a:ahLst/>
              <a:cxnLst>
                <a:cxn ang="0">
                  <a:pos x="77" y="118"/>
                </a:cxn>
                <a:cxn ang="0">
                  <a:pos x="68" y="107"/>
                </a:cxn>
                <a:cxn ang="0">
                  <a:pos x="64" y="102"/>
                </a:cxn>
                <a:cxn ang="0">
                  <a:pos x="56" y="99"/>
                </a:cxn>
                <a:cxn ang="0">
                  <a:pos x="46" y="89"/>
                </a:cxn>
                <a:cxn ang="0">
                  <a:pos x="38" y="83"/>
                </a:cxn>
                <a:cxn ang="0">
                  <a:pos x="27" y="79"/>
                </a:cxn>
                <a:cxn ang="0">
                  <a:pos x="19" y="69"/>
                </a:cxn>
                <a:cxn ang="0">
                  <a:pos x="16" y="55"/>
                </a:cxn>
                <a:cxn ang="0">
                  <a:pos x="14" y="35"/>
                </a:cxn>
                <a:cxn ang="0">
                  <a:pos x="7" y="21"/>
                </a:cxn>
                <a:cxn ang="0">
                  <a:pos x="0" y="15"/>
                </a:cxn>
                <a:cxn ang="0">
                  <a:pos x="21" y="14"/>
                </a:cxn>
                <a:cxn ang="0">
                  <a:pos x="28" y="9"/>
                </a:cxn>
                <a:cxn ang="0">
                  <a:pos x="44" y="8"/>
                </a:cxn>
                <a:cxn ang="0">
                  <a:pos x="51" y="4"/>
                </a:cxn>
                <a:cxn ang="0">
                  <a:pos x="67" y="7"/>
                </a:cxn>
                <a:cxn ang="0">
                  <a:pos x="76" y="5"/>
                </a:cxn>
                <a:cxn ang="0">
                  <a:pos x="86" y="0"/>
                </a:cxn>
                <a:cxn ang="0">
                  <a:pos x="87" y="0"/>
                </a:cxn>
                <a:cxn ang="0">
                  <a:pos x="89" y="8"/>
                </a:cxn>
                <a:cxn ang="0">
                  <a:pos x="99" y="20"/>
                </a:cxn>
                <a:cxn ang="0">
                  <a:pos x="107" y="21"/>
                </a:cxn>
                <a:cxn ang="0">
                  <a:pos x="114" y="26"/>
                </a:cxn>
                <a:cxn ang="0">
                  <a:pos x="115" y="34"/>
                </a:cxn>
                <a:cxn ang="0">
                  <a:pos x="110" y="40"/>
                </a:cxn>
                <a:cxn ang="0">
                  <a:pos x="110" y="48"/>
                </a:cxn>
                <a:cxn ang="0">
                  <a:pos x="113" y="56"/>
                </a:cxn>
                <a:cxn ang="0">
                  <a:pos x="118" y="63"/>
                </a:cxn>
                <a:cxn ang="0">
                  <a:pos x="123" y="68"/>
                </a:cxn>
                <a:cxn ang="0">
                  <a:pos x="137" y="77"/>
                </a:cxn>
                <a:cxn ang="0">
                  <a:pos x="138" y="84"/>
                </a:cxn>
                <a:cxn ang="0">
                  <a:pos x="135" y="93"/>
                </a:cxn>
                <a:cxn ang="0">
                  <a:pos x="126" y="94"/>
                </a:cxn>
                <a:cxn ang="0">
                  <a:pos x="129" y="101"/>
                </a:cxn>
                <a:cxn ang="0">
                  <a:pos x="138" y="113"/>
                </a:cxn>
                <a:cxn ang="0">
                  <a:pos x="153" y="122"/>
                </a:cxn>
                <a:cxn ang="0">
                  <a:pos x="161" y="122"/>
                </a:cxn>
                <a:cxn ang="0">
                  <a:pos x="168" y="123"/>
                </a:cxn>
                <a:cxn ang="0">
                  <a:pos x="164" y="131"/>
                </a:cxn>
                <a:cxn ang="0">
                  <a:pos x="163" y="139"/>
                </a:cxn>
                <a:cxn ang="0">
                  <a:pos x="169" y="144"/>
                </a:cxn>
                <a:cxn ang="0">
                  <a:pos x="168" y="152"/>
                </a:cxn>
                <a:cxn ang="0">
                  <a:pos x="161" y="154"/>
                </a:cxn>
                <a:cxn ang="0">
                  <a:pos x="166" y="160"/>
                </a:cxn>
                <a:cxn ang="0">
                  <a:pos x="169" y="168"/>
                </a:cxn>
                <a:cxn ang="0">
                  <a:pos x="170" y="175"/>
                </a:cxn>
                <a:cxn ang="0">
                  <a:pos x="164" y="175"/>
                </a:cxn>
                <a:cxn ang="0">
                  <a:pos x="147" y="175"/>
                </a:cxn>
                <a:cxn ang="0">
                  <a:pos x="142" y="175"/>
                </a:cxn>
                <a:cxn ang="0">
                  <a:pos x="141" y="150"/>
                </a:cxn>
                <a:cxn ang="0">
                  <a:pos x="137" y="143"/>
                </a:cxn>
                <a:cxn ang="0">
                  <a:pos x="132" y="136"/>
                </a:cxn>
                <a:cxn ang="0">
                  <a:pos x="129" y="128"/>
                </a:cxn>
                <a:cxn ang="0">
                  <a:pos x="121" y="126"/>
                </a:cxn>
                <a:cxn ang="0">
                  <a:pos x="114" y="128"/>
                </a:cxn>
                <a:cxn ang="0">
                  <a:pos x="107" y="128"/>
                </a:cxn>
                <a:cxn ang="0">
                  <a:pos x="99" y="125"/>
                </a:cxn>
                <a:cxn ang="0">
                  <a:pos x="94" y="117"/>
                </a:cxn>
                <a:cxn ang="0">
                  <a:pos x="87" y="116"/>
                </a:cxn>
                <a:cxn ang="0">
                  <a:pos x="77" y="118"/>
                </a:cxn>
              </a:cxnLst>
              <a:rect l="0" t="0" r="r" b="b"/>
              <a:pathLst>
                <a:path w="170" h="175">
                  <a:moveTo>
                    <a:pt x="77" y="118"/>
                  </a:moveTo>
                  <a:lnTo>
                    <a:pt x="68" y="107"/>
                  </a:lnTo>
                  <a:lnTo>
                    <a:pt x="64" y="102"/>
                  </a:lnTo>
                  <a:lnTo>
                    <a:pt x="56" y="99"/>
                  </a:lnTo>
                  <a:lnTo>
                    <a:pt x="46" y="89"/>
                  </a:lnTo>
                  <a:lnTo>
                    <a:pt x="38" y="83"/>
                  </a:lnTo>
                  <a:lnTo>
                    <a:pt x="27" y="79"/>
                  </a:lnTo>
                  <a:lnTo>
                    <a:pt x="19" y="69"/>
                  </a:lnTo>
                  <a:lnTo>
                    <a:pt x="16" y="55"/>
                  </a:lnTo>
                  <a:lnTo>
                    <a:pt x="14" y="35"/>
                  </a:lnTo>
                  <a:lnTo>
                    <a:pt x="7" y="21"/>
                  </a:lnTo>
                  <a:lnTo>
                    <a:pt x="0" y="15"/>
                  </a:lnTo>
                  <a:lnTo>
                    <a:pt x="21" y="14"/>
                  </a:lnTo>
                  <a:lnTo>
                    <a:pt x="28" y="9"/>
                  </a:lnTo>
                  <a:lnTo>
                    <a:pt x="44" y="8"/>
                  </a:lnTo>
                  <a:lnTo>
                    <a:pt x="51" y="4"/>
                  </a:lnTo>
                  <a:lnTo>
                    <a:pt x="67" y="7"/>
                  </a:lnTo>
                  <a:lnTo>
                    <a:pt x="76" y="5"/>
                  </a:lnTo>
                  <a:lnTo>
                    <a:pt x="86" y="0"/>
                  </a:lnTo>
                  <a:lnTo>
                    <a:pt x="87" y="0"/>
                  </a:lnTo>
                  <a:lnTo>
                    <a:pt x="89" y="8"/>
                  </a:lnTo>
                  <a:lnTo>
                    <a:pt x="99" y="20"/>
                  </a:lnTo>
                  <a:lnTo>
                    <a:pt x="107" y="21"/>
                  </a:lnTo>
                  <a:lnTo>
                    <a:pt x="114" y="26"/>
                  </a:lnTo>
                  <a:lnTo>
                    <a:pt x="115" y="34"/>
                  </a:lnTo>
                  <a:lnTo>
                    <a:pt x="110" y="40"/>
                  </a:lnTo>
                  <a:lnTo>
                    <a:pt x="110" y="48"/>
                  </a:lnTo>
                  <a:lnTo>
                    <a:pt x="113" y="56"/>
                  </a:lnTo>
                  <a:lnTo>
                    <a:pt x="118" y="63"/>
                  </a:lnTo>
                  <a:lnTo>
                    <a:pt x="123" y="68"/>
                  </a:lnTo>
                  <a:lnTo>
                    <a:pt x="137" y="77"/>
                  </a:lnTo>
                  <a:lnTo>
                    <a:pt x="138" y="84"/>
                  </a:lnTo>
                  <a:lnTo>
                    <a:pt x="135" y="93"/>
                  </a:lnTo>
                  <a:lnTo>
                    <a:pt x="126" y="94"/>
                  </a:lnTo>
                  <a:lnTo>
                    <a:pt x="129" y="101"/>
                  </a:lnTo>
                  <a:lnTo>
                    <a:pt x="138" y="113"/>
                  </a:lnTo>
                  <a:lnTo>
                    <a:pt x="153" y="122"/>
                  </a:lnTo>
                  <a:lnTo>
                    <a:pt x="161" y="122"/>
                  </a:lnTo>
                  <a:lnTo>
                    <a:pt x="168" y="123"/>
                  </a:lnTo>
                  <a:lnTo>
                    <a:pt x="164" y="131"/>
                  </a:lnTo>
                  <a:lnTo>
                    <a:pt x="163" y="139"/>
                  </a:lnTo>
                  <a:lnTo>
                    <a:pt x="169" y="144"/>
                  </a:lnTo>
                  <a:lnTo>
                    <a:pt x="168" y="152"/>
                  </a:lnTo>
                  <a:lnTo>
                    <a:pt x="161" y="154"/>
                  </a:lnTo>
                  <a:lnTo>
                    <a:pt x="166" y="160"/>
                  </a:lnTo>
                  <a:lnTo>
                    <a:pt x="169" y="168"/>
                  </a:lnTo>
                  <a:lnTo>
                    <a:pt x="170" y="175"/>
                  </a:lnTo>
                  <a:lnTo>
                    <a:pt x="164" y="175"/>
                  </a:lnTo>
                  <a:lnTo>
                    <a:pt x="147" y="175"/>
                  </a:lnTo>
                  <a:lnTo>
                    <a:pt x="142" y="175"/>
                  </a:lnTo>
                  <a:lnTo>
                    <a:pt x="141" y="150"/>
                  </a:lnTo>
                  <a:lnTo>
                    <a:pt x="137" y="143"/>
                  </a:lnTo>
                  <a:lnTo>
                    <a:pt x="132" y="136"/>
                  </a:lnTo>
                  <a:lnTo>
                    <a:pt x="129" y="128"/>
                  </a:lnTo>
                  <a:lnTo>
                    <a:pt x="121" y="126"/>
                  </a:lnTo>
                  <a:lnTo>
                    <a:pt x="114" y="128"/>
                  </a:lnTo>
                  <a:lnTo>
                    <a:pt x="107" y="128"/>
                  </a:lnTo>
                  <a:lnTo>
                    <a:pt x="99" y="125"/>
                  </a:lnTo>
                  <a:lnTo>
                    <a:pt x="94" y="117"/>
                  </a:lnTo>
                  <a:lnTo>
                    <a:pt x="87" y="116"/>
                  </a:lnTo>
                  <a:lnTo>
                    <a:pt x="77" y="1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53" name="Freeform 166"/>
            <p:cNvSpPr>
              <a:spLocks noChangeAspect="1"/>
            </p:cNvSpPr>
            <p:nvPr/>
          </p:nvSpPr>
          <p:spPr bwMode="gray">
            <a:xfrm>
              <a:off x="6708204" y="2983930"/>
              <a:ext cx="709202" cy="415580"/>
            </a:xfrm>
            <a:custGeom>
              <a:avLst/>
              <a:gdLst/>
              <a:ahLst/>
              <a:cxnLst>
                <a:cxn ang="0">
                  <a:pos x="464" y="1136"/>
                </a:cxn>
                <a:cxn ang="0">
                  <a:pos x="355" y="1109"/>
                </a:cxn>
                <a:cxn ang="0">
                  <a:pos x="262" y="1035"/>
                </a:cxn>
                <a:cxn ang="0">
                  <a:pos x="250" y="932"/>
                </a:cxn>
                <a:cxn ang="0">
                  <a:pos x="298" y="882"/>
                </a:cxn>
                <a:cxn ang="0">
                  <a:pos x="413" y="881"/>
                </a:cxn>
                <a:cxn ang="0">
                  <a:pos x="420" y="823"/>
                </a:cxn>
                <a:cxn ang="0">
                  <a:pos x="336" y="731"/>
                </a:cxn>
                <a:cxn ang="0">
                  <a:pos x="242" y="718"/>
                </a:cxn>
                <a:cxn ang="0">
                  <a:pos x="102" y="781"/>
                </a:cxn>
                <a:cxn ang="0">
                  <a:pos x="103" y="699"/>
                </a:cxn>
                <a:cxn ang="0">
                  <a:pos x="33" y="660"/>
                </a:cxn>
                <a:cxn ang="0">
                  <a:pos x="16" y="544"/>
                </a:cxn>
                <a:cxn ang="0">
                  <a:pos x="64" y="458"/>
                </a:cxn>
                <a:cxn ang="0">
                  <a:pos x="126" y="435"/>
                </a:cxn>
                <a:cxn ang="0">
                  <a:pos x="193" y="379"/>
                </a:cxn>
                <a:cxn ang="0">
                  <a:pos x="263" y="359"/>
                </a:cxn>
                <a:cxn ang="0">
                  <a:pos x="329" y="359"/>
                </a:cxn>
                <a:cxn ang="0">
                  <a:pos x="421" y="398"/>
                </a:cxn>
                <a:cxn ang="0">
                  <a:pos x="442" y="408"/>
                </a:cxn>
                <a:cxn ang="0">
                  <a:pos x="531" y="424"/>
                </a:cxn>
                <a:cxn ang="0">
                  <a:pos x="590" y="402"/>
                </a:cxn>
                <a:cxn ang="0">
                  <a:pos x="674" y="434"/>
                </a:cxn>
                <a:cxn ang="0">
                  <a:pos x="760" y="434"/>
                </a:cxn>
                <a:cxn ang="0">
                  <a:pos x="793" y="363"/>
                </a:cxn>
                <a:cxn ang="0">
                  <a:pos x="760" y="306"/>
                </a:cxn>
                <a:cxn ang="0">
                  <a:pos x="807" y="226"/>
                </a:cxn>
                <a:cxn ang="0">
                  <a:pos x="803" y="192"/>
                </a:cxn>
                <a:cxn ang="0">
                  <a:pos x="802" y="150"/>
                </a:cxn>
                <a:cxn ang="0">
                  <a:pos x="878" y="142"/>
                </a:cxn>
                <a:cxn ang="0">
                  <a:pos x="963" y="110"/>
                </a:cxn>
                <a:cxn ang="0">
                  <a:pos x="1034" y="74"/>
                </a:cxn>
                <a:cxn ang="0">
                  <a:pos x="1187" y="42"/>
                </a:cxn>
                <a:cxn ang="0">
                  <a:pos x="1239" y="0"/>
                </a:cxn>
                <a:cxn ang="0">
                  <a:pos x="1324" y="12"/>
                </a:cxn>
                <a:cxn ang="0">
                  <a:pos x="1349" y="102"/>
                </a:cxn>
                <a:cxn ang="0">
                  <a:pos x="1402" y="107"/>
                </a:cxn>
                <a:cxn ang="0">
                  <a:pos x="1425" y="125"/>
                </a:cxn>
                <a:cxn ang="0">
                  <a:pos x="1490" y="145"/>
                </a:cxn>
                <a:cxn ang="0">
                  <a:pos x="1508" y="173"/>
                </a:cxn>
                <a:cxn ang="0">
                  <a:pos x="1586" y="123"/>
                </a:cxn>
                <a:cxn ang="0">
                  <a:pos x="1657" y="118"/>
                </a:cxn>
                <a:cxn ang="0">
                  <a:pos x="1857" y="397"/>
                </a:cxn>
                <a:cxn ang="0">
                  <a:pos x="1938" y="425"/>
                </a:cxn>
                <a:cxn ang="0">
                  <a:pos x="2028" y="408"/>
                </a:cxn>
                <a:cxn ang="0">
                  <a:pos x="2078" y="470"/>
                </a:cxn>
                <a:cxn ang="0">
                  <a:pos x="2159" y="533"/>
                </a:cxn>
                <a:cxn ang="0">
                  <a:pos x="2226" y="554"/>
                </a:cxn>
                <a:cxn ang="0">
                  <a:pos x="2139" y="733"/>
                </a:cxn>
                <a:cxn ang="0">
                  <a:pos x="1978" y="773"/>
                </a:cxn>
                <a:cxn ang="0">
                  <a:pos x="1841" y="901"/>
                </a:cxn>
                <a:cxn ang="0">
                  <a:pos x="1860" y="1061"/>
                </a:cxn>
                <a:cxn ang="0">
                  <a:pos x="1768" y="1061"/>
                </a:cxn>
                <a:cxn ang="0">
                  <a:pos x="1620" y="1050"/>
                </a:cxn>
                <a:cxn ang="0">
                  <a:pos x="1506" y="1034"/>
                </a:cxn>
                <a:cxn ang="0">
                  <a:pos x="1421" y="1070"/>
                </a:cxn>
                <a:cxn ang="0">
                  <a:pos x="1343" y="1081"/>
                </a:cxn>
                <a:cxn ang="0">
                  <a:pos x="1257" y="1153"/>
                </a:cxn>
                <a:cxn ang="0">
                  <a:pos x="1185" y="1180"/>
                </a:cxn>
                <a:cxn ang="0">
                  <a:pos x="1048" y="1021"/>
                </a:cxn>
                <a:cxn ang="0">
                  <a:pos x="742" y="899"/>
                </a:cxn>
              </a:cxnLst>
              <a:rect l="0" t="0" r="r" b="b"/>
              <a:pathLst>
                <a:path w="2230" h="1190">
                  <a:moveTo>
                    <a:pt x="518" y="898"/>
                  </a:moveTo>
                  <a:lnTo>
                    <a:pt x="518" y="968"/>
                  </a:lnTo>
                  <a:lnTo>
                    <a:pt x="518" y="1042"/>
                  </a:lnTo>
                  <a:lnTo>
                    <a:pt x="518" y="1107"/>
                  </a:lnTo>
                  <a:lnTo>
                    <a:pt x="518" y="1168"/>
                  </a:lnTo>
                  <a:lnTo>
                    <a:pt x="506" y="1174"/>
                  </a:lnTo>
                  <a:lnTo>
                    <a:pt x="486" y="1173"/>
                  </a:lnTo>
                  <a:lnTo>
                    <a:pt x="477" y="1166"/>
                  </a:lnTo>
                  <a:lnTo>
                    <a:pt x="468" y="1143"/>
                  </a:lnTo>
                  <a:lnTo>
                    <a:pt x="464" y="1136"/>
                  </a:lnTo>
                  <a:lnTo>
                    <a:pt x="458" y="1130"/>
                  </a:lnTo>
                  <a:lnTo>
                    <a:pt x="452" y="1115"/>
                  </a:lnTo>
                  <a:lnTo>
                    <a:pt x="447" y="1108"/>
                  </a:lnTo>
                  <a:lnTo>
                    <a:pt x="432" y="1102"/>
                  </a:lnTo>
                  <a:lnTo>
                    <a:pt x="425" y="1097"/>
                  </a:lnTo>
                  <a:lnTo>
                    <a:pt x="418" y="1092"/>
                  </a:lnTo>
                  <a:lnTo>
                    <a:pt x="410" y="1092"/>
                  </a:lnTo>
                  <a:lnTo>
                    <a:pt x="402" y="1093"/>
                  </a:lnTo>
                  <a:lnTo>
                    <a:pt x="378" y="1100"/>
                  </a:lnTo>
                  <a:lnTo>
                    <a:pt x="355" y="1109"/>
                  </a:lnTo>
                  <a:lnTo>
                    <a:pt x="325" y="1135"/>
                  </a:lnTo>
                  <a:lnTo>
                    <a:pt x="324" y="1096"/>
                  </a:lnTo>
                  <a:lnTo>
                    <a:pt x="333" y="1085"/>
                  </a:lnTo>
                  <a:lnTo>
                    <a:pt x="335" y="1065"/>
                  </a:lnTo>
                  <a:lnTo>
                    <a:pt x="323" y="1060"/>
                  </a:lnTo>
                  <a:lnTo>
                    <a:pt x="311" y="1059"/>
                  </a:lnTo>
                  <a:lnTo>
                    <a:pt x="291" y="1050"/>
                  </a:lnTo>
                  <a:lnTo>
                    <a:pt x="281" y="1037"/>
                  </a:lnTo>
                  <a:lnTo>
                    <a:pt x="274" y="1037"/>
                  </a:lnTo>
                  <a:lnTo>
                    <a:pt x="262" y="1035"/>
                  </a:lnTo>
                  <a:lnTo>
                    <a:pt x="259" y="996"/>
                  </a:lnTo>
                  <a:lnTo>
                    <a:pt x="247" y="976"/>
                  </a:lnTo>
                  <a:lnTo>
                    <a:pt x="239" y="970"/>
                  </a:lnTo>
                  <a:lnTo>
                    <a:pt x="232" y="956"/>
                  </a:lnTo>
                  <a:lnTo>
                    <a:pt x="209" y="947"/>
                  </a:lnTo>
                  <a:lnTo>
                    <a:pt x="198" y="930"/>
                  </a:lnTo>
                  <a:lnTo>
                    <a:pt x="205" y="924"/>
                  </a:lnTo>
                  <a:lnTo>
                    <a:pt x="223" y="924"/>
                  </a:lnTo>
                  <a:lnTo>
                    <a:pt x="241" y="927"/>
                  </a:lnTo>
                  <a:lnTo>
                    <a:pt x="250" y="932"/>
                  </a:lnTo>
                  <a:lnTo>
                    <a:pt x="258" y="930"/>
                  </a:lnTo>
                  <a:lnTo>
                    <a:pt x="271" y="931"/>
                  </a:lnTo>
                  <a:lnTo>
                    <a:pt x="268" y="924"/>
                  </a:lnTo>
                  <a:lnTo>
                    <a:pt x="264" y="913"/>
                  </a:lnTo>
                  <a:lnTo>
                    <a:pt x="262" y="894"/>
                  </a:lnTo>
                  <a:lnTo>
                    <a:pt x="266" y="883"/>
                  </a:lnTo>
                  <a:lnTo>
                    <a:pt x="276" y="878"/>
                  </a:lnTo>
                  <a:lnTo>
                    <a:pt x="276" y="886"/>
                  </a:lnTo>
                  <a:lnTo>
                    <a:pt x="287" y="887"/>
                  </a:lnTo>
                  <a:lnTo>
                    <a:pt x="298" y="882"/>
                  </a:lnTo>
                  <a:lnTo>
                    <a:pt x="301" y="873"/>
                  </a:lnTo>
                  <a:lnTo>
                    <a:pt x="311" y="865"/>
                  </a:lnTo>
                  <a:lnTo>
                    <a:pt x="328" y="863"/>
                  </a:lnTo>
                  <a:lnTo>
                    <a:pt x="344" y="873"/>
                  </a:lnTo>
                  <a:lnTo>
                    <a:pt x="360" y="879"/>
                  </a:lnTo>
                  <a:lnTo>
                    <a:pt x="376" y="876"/>
                  </a:lnTo>
                  <a:lnTo>
                    <a:pt x="386" y="868"/>
                  </a:lnTo>
                  <a:lnTo>
                    <a:pt x="389" y="870"/>
                  </a:lnTo>
                  <a:lnTo>
                    <a:pt x="394" y="874"/>
                  </a:lnTo>
                  <a:lnTo>
                    <a:pt x="413" y="881"/>
                  </a:lnTo>
                  <a:lnTo>
                    <a:pt x="424" y="887"/>
                  </a:lnTo>
                  <a:lnTo>
                    <a:pt x="435" y="884"/>
                  </a:lnTo>
                  <a:lnTo>
                    <a:pt x="447" y="887"/>
                  </a:lnTo>
                  <a:lnTo>
                    <a:pt x="451" y="879"/>
                  </a:lnTo>
                  <a:lnTo>
                    <a:pt x="443" y="867"/>
                  </a:lnTo>
                  <a:lnTo>
                    <a:pt x="453" y="867"/>
                  </a:lnTo>
                  <a:lnTo>
                    <a:pt x="446" y="855"/>
                  </a:lnTo>
                  <a:lnTo>
                    <a:pt x="435" y="841"/>
                  </a:lnTo>
                  <a:lnTo>
                    <a:pt x="425" y="834"/>
                  </a:lnTo>
                  <a:lnTo>
                    <a:pt x="420" y="823"/>
                  </a:lnTo>
                  <a:lnTo>
                    <a:pt x="409" y="823"/>
                  </a:lnTo>
                  <a:lnTo>
                    <a:pt x="398" y="806"/>
                  </a:lnTo>
                  <a:lnTo>
                    <a:pt x="392" y="782"/>
                  </a:lnTo>
                  <a:lnTo>
                    <a:pt x="384" y="771"/>
                  </a:lnTo>
                  <a:lnTo>
                    <a:pt x="382" y="777"/>
                  </a:lnTo>
                  <a:lnTo>
                    <a:pt x="375" y="760"/>
                  </a:lnTo>
                  <a:lnTo>
                    <a:pt x="370" y="760"/>
                  </a:lnTo>
                  <a:lnTo>
                    <a:pt x="367" y="749"/>
                  </a:lnTo>
                  <a:lnTo>
                    <a:pt x="348" y="732"/>
                  </a:lnTo>
                  <a:lnTo>
                    <a:pt x="336" y="731"/>
                  </a:lnTo>
                  <a:lnTo>
                    <a:pt x="336" y="725"/>
                  </a:lnTo>
                  <a:lnTo>
                    <a:pt x="323" y="723"/>
                  </a:lnTo>
                  <a:lnTo>
                    <a:pt x="312" y="728"/>
                  </a:lnTo>
                  <a:lnTo>
                    <a:pt x="303" y="730"/>
                  </a:lnTo>
                  <a:lnTo>
                    <a:pt x="292" y="736"/>
                  </a:lnTo>
                  <a:lnTo>
                    <a:pt x="289" y="725"/>
                  </a:lnTo>
                  <a:lnTo>
                    <a:pt x="274" y="725"/>
                  </a:lnTo>
                  <a:lnTo>
                    <a:pt x="270" y="722"/>
                  </a:lnTo>
                  <a:lnTo>
                    <a:pt x="257" y="720"/>
                  </a:lnTo>
                  <a:lnTo>
                    <a:pt x="242" y="718"/>
                  </a:lnTo>
                  <a:lnTo>
                    <a:pt x="207" y="752"/>
                  </a:lnTo>
                  <a:lnTo>
                    <a:pt x="188" y="753"/>
                  </a:lnTo>
                  <a:lnTo>
                    <a:pt x="162" y="761"/>
                  </a:lnTo>
                  <a:lnTo>
                    <a:pt x="136" y="765"/>
                  </a:lnTo>
                  <a:lnTo>
                    <a:pt x="114" y="771"/>
                  </a:lnTo>
                  <a:lnTo>
                    <a:pt x="136" y="786"/>
                  </a:lnTo>
                  <a:lnTo>
                    <a:pt x="119" y="793"/>
                  </a:lnTo>
                  <a:lnTo>
                    <a:pt x="112" y="791"/>
                  </a:lnTo>
                  <a:lnTo>
                    <a:pt x="108" y="785"/>
                  </a:lnTo>
                  <a:lnTo>
                    <a:pt x="102" y="781"/>
                  </a:lnTo>
                  <a:lnTo>
                    <a:pt x="93" y="781"/>
                  </a:lnTo>
                  <a:lnTo>
                    <a:pt x="86" y="779"/>
                  </a:lnTo>
                  <a:lnTo>
                    <a:pt x="83" y="773"/>
                  </a:lnTo>
                  <a:lnTo>
                    <a:pt x="90" y="766"/>
                  </a:lnTo>
                  <a:lnTo>
                    <a:pt x="91" y="758"/>
                  </a:lnTo>
                  <a:lnTo>
                    <a:pt x="98" y="755"/>
                  </a:lnTo>
                  <a:lnTo>
                    <a:pt x="107" y="761"/>
                  </a:lnTo>
                  <a:lnTo>
                    <a:pt x="119" y="758"/>
                  </a:lnTo>
                  <a:lnTo>
                    <a:pt x="110" y="701"/>
                  </a:lnTo>
                  <a:lnTo>
                    <a:pt x="103" y="699"/>
                  </a:lnTo>
                  <a:lnTo>
                    <a:pt x="98" y="693"/>
                  </a:lnTo>
                  <a:lnTo>
                    <a:pt x="96" y="684"/>
                  </a:lnTo>
                  <a:lnTo>
                    <a:pt x="92" y="678"/>
                  </a:lnTo>
                  <a:lnTo>
                    <a:pt x="86" y="672"/>
                  </a:lnTo>
                  <a:lnTo>
                    <a:pt x="79" y="672"/>
                  </a:lnTo>
                  <a:lnTo>
                    <a:pt x="61" y="674"/>
                  </a:lnTo>
                  <a:lnTo>
                    <a:pt x="48" y="671"/>
                  </a:lnTo>
                  <a:lnTo>
                    <a:pt x="47" y="679"/>
                  </a:lnTo>
                  <a:lnTo>
                    <a:pt x="34" y="667"/>
                  </a:lnTo>
                  <a:lnTo>
                    <a:pt x="33" y="660"/>
                  </a:lnTo>
                  <a:lnTo>
                    <a:pt x="29" y="652"/>
                  </a:lnTo>
                  <a:lnTo>
                    <a:pt x="34" y="646"/>
                  </a:lnTo>
                  <a:lnTo>
                    <a:pt x="29" y="639"/>
                  </a:lnTo>
                  <a:lnTo>
                    <a:pt x="28" y="631"/>
                  </a:lnTo>
                  <a:lnTo>
                    <a:pt x="0" y="621"/>
                  </a:lnTo>
                  <a:lnTo>
                    <a:pt x="11" y="577"/>
                  </a:lnTo>
                  <a:lnTo>
                    <a:pt x="24" y="570"/>
                  </a:lnTo>
                  <a:lnTo>
                    <a:pt x="29" y="562"/>
                  </a:lnTo>
                  <a:lnTo>
                    <a:pt x="27" y="555"/>
                  </a:lnTo>
                  <a:lnTo>
                    <a:pt x="16" y="544"/>
                  </a:lnTo>
                  <a:lnTo>
                    <a:pt x="26" y="499"/>
                  </a:lnTo>
                  <a:lnTo>
                    <a:pt x="39" y="490"/>
                  </a:lnTo>
                  <a:lnTo>
                    <a:pt x="44" y="484"/>
                  </a:lnTo>
                  <a:lnTo>
                    <a:pt x="42" y="475"/>
                  </a:lnTo>
                  <a:lnTo>
                    <a:pt x="45" y="468"/>
                  </a:lnTo>
                  <a:lnTo>
                    <a:pt x="45" y="461"/>
                  </a:lnTo>
                  <a:lnTo>
                    <a:pt x="49" y="452"/>
                  </a:lnTo>
                  <a:lnTo>
                    <a:pt x="54" y="446"/>
                  </a:lnTo>
                  <a:lnTo>
                    <a:pt x="60" y="451"/>
                  </a:lnTo>
                  <a:lnTo>
                    <a:pt x="64" y="458"/>
                  </a:lnTo>
                  <a:lnTo>
                    <a:pt x="76" y="468"/>
                  </a:lnTo>
                  <a:lnTo>
                    <a:pt x="93" y="505"/>
                  </a:lnTo>
                  <a:lnTo>
                    <a:pt x="102" y="507"/>
                  </a:lnTo>
                  <a:lnTo>
                    <a:pt x="128" y="490"/>
                  </a:lnTo>
                  <a:lnTo>
                    <a:pt x="125" y="481"/>
                  </a:lnTo>
                  <a:lnTo>
                    <a:pt x="122" y="474"/>
                  </a:lnTo>
                  <a:lnTo>
                    <a:pt x="118" y="449"/>
                  </a:lnTo>
                  <a:lnTo>
                    <a:pt x="110" y="436"/>
                  </a:lnTo>
                  <a:lnTo>
                    <a:pt x="119" y="437"/>
                  </a:lnTo>
                  <a:lnTo>
                    <a:pt x="126" y="435"/>
                  </a:lnTo>
                  <a:lnTo>
                    <a:pt x="146" y="420"/>
                  </a:lnTo>
                  <a:lnTo>
                    <a:pt x="153" y="416"/>
                  </a:lnTo>
                  <a:lnTo>
                    <a:pt x="158" y="410"/>
                  </a:lnTo>
                  <a:lnTo>
                    <a:pt x="158" y="402"/>
                  </a:lnTo>
                  <a:lnTo>
                    <a:pt x="158" y="393"/>
                  </a:lnTo>
                  <a:lnTo>
                    <a:pt x="166" y="392"/>
                  </a:lnTo>
                  <a:lnTo>
                    <a:pt x="174" y="393"/>
                  </a:lnTo>
                  <a:lnTo>
                    <a:pt x="182" y="391"/>
                  </a:lnTo>
                  <a:lnTo>
                    <a:pt x="187" y="383"/>
                  </a:lnTo>
                  <a:lnTo>
                    <a:pt x="193" y="379"/>
                  </a:lnTo>
                  <a:lnTo>
                    <a:pt x="201" y="377"/>
                  </a:lnTo>
                  <a:lnTo>
                    <a:pt x="206" y="371"/>
                  </a:lnTo>
                  <a:lnTo>
                    <a:pt x="214" y="366"/>
                  </a:lnTo>
                  <a:lnTo>
                    <a:pt x="219" y="360"/>
                  </a:lnTo>
                  <a:lnTo>
                    <a:pt x="220" y="352"/>
                  </a:lnTo>
                  <a:lnTo>
                    <a:pt x="227" y="348"/>
                  </a:lnTo>
                  <a:lnTo>
                    <a:pt x="242" y="343"/>
                  </a:lnTo>
                  <a:lnTo>
                    <a:pt x="258" y="343"/>
                  </a:lnTo>
                  <a:lnTo>
                    <a:pt x="259" y="351"/>
                  </a:lnTo>
                  <a:lnTo>
                    <a:pt x="263" y="359"/>
                  </a:lnTo>
                  <a:lnTo>
                    <a:pt x="279" y="355"/>
                  </a:lnTo>
                  <a:lnTo>
                    <a:pt x="284" y="361"/>
                  </a:lnTo>
                  <a:lnTo>
                    <a:pt x="289" y="354"/>
                  </a:lnTo>
                  <a:lnTo>
                    <a:pt x="291" y="345"/>
                  </a:lnTo>
                  <a:lnTo>
                    <a:pt x="296" y="339"/>
                  </a:lnTo>
                  <a:lnTo>
                    <a:pt x="303" y="340"/>
                  </a:lnTo>
                  <a:lnTo>
                    <a:pt x="311" y="336"/>
                  </a:lnTo>
                  <a:lnTo>
                    <a:pt x="318" y="336"/>
                  </a:lnTo>
                  <a:lnTo>
                    <a:pt x="324" y="352"/>
                  </a:lnTo>
                  <a:lnTo>
                    <a:pt x="329" y="359"/>
                  </a:lnTo>
                  <a:lnTo>
                    <a:pt x="338" y="355"/>
                  </a:lnTo>
                  <a:lnTo>
                    <a:pt x="345" y="355"/>
                  </a:lnTo>
                  <a:lnTo>
                    <a:pt x="352" y="357"/>
                  </a:lnTo>
                  <a:lnTo>
                    <a:pt x="368" y="354"/>
                  </a:lnTo>
                  <a:lnTo>
                    <a:pt x="376" y="355"/>
                  </a:lnTo>
                  <a:lnTo>
                    <a:pt x="383" y="360"/>
                  </a:lnTo>
                  <a:lnTo>
                    <a:pt x="389" y="365"/>
                  </a:lnTo>
                  <a:lnTo>
                    <a:pt x="395" y="379"/>
                  </a:lnTo>
                  <a:lnTo>
                    <a:pt x="416" y="392"/>
                  </a:lnTo>
                  <a:lnTo>
                    <a:pt x="421" y="398"/>
                  </a:lnTo>
                  <a:lnTo>
                    <a:pt x="424" y="406"/>
                  </a:lnTo>
                  <a:lnTo>
                    <a:pt x="435" y="419"/>
                  </a:lnTo>
                  <a:lnTo>
                    <a:pt x="434" y="426"/>
                  </a:lnTo>
                  <a:lnTo>
                    <a:pt x="435" y="435"/>
                  </a:lnTo>
                  <a:lnTo>
                    <a:pt x="440" y="441"/>
                  </a:lnTo>
                  <a:lnTo>
                    <a:pt x="447" y="438"/>
                  </a:lnTo>
                  <a:lnTo>
                    <a:pt x="447" y="431"/>
                  </a:lnTo>
                  <a:lnTo>
                    <a:pt x="446" y="422"/>
                  </a:lnTo>
                  <a:lnTo>
                    <a:pt x="447" y="415"/>
                  </a:lnTo>
                  <a:lnTo>
                    <a:pt x="442" y="408"/>
                  </a:lnTo>
                  <a:lnTo>
                    <a:pt x="447" y="402"/>
                  </a:lnTo>
                  <a:lnTo>
                    <a:pt x="456" y="400"/>
                  </a:lnTo>
                  <a:lnTo>
                    <a:pt x="458" y="408"/>
                  </a:lnTo>
                  <a:lnTo>
                    <a:pt x="464" y="414"/>
                  </a:lnTo>
                  <a:lnTo>
                    <a:pt x="467" y="421"/>
                  </a:lnTo>
                  <a:lnTo>
                    <a:pt x="473" y="426"/>
                  </a:lnTo>
                  <a:lnTo>
                    <a:pt x="488" y="432"/>
                  </a:lnTo>
                  <a:lnTo>
                    <a:pt x="502" y="440"/>
                  </a:lnTo>
                  <a:lnTo>
                    <a:pt x="511" y="437"/>
                  </a:lnTo>
                  <a:lnTo>
                    <a:pt x="531" y="424"/>
                  </a:lnTo>
                  <a:lnTo>
                    <a:pt x="531" y="415"/>
                  </a:lnTo>
                  <a:lnTo>
                    <a:pt x="537" y="411"/>
                  </a:lnTo>
                  <a:lnTo>
                    <a:pt x="543" y="406"/>
                  </a:lnTo>
                  <a:lnTo>
                    <a:pt x="551" y="405"/>
                  </a:lnTo>
                  <a:lnTo>
                    <a:pt x="559" y="408"/>
                  </a:lnTo>
                  <a:lnTo>
                    <a:pt x="559" y="400"/>
                  </a:lnTo>
                  <a:lnTo>
                    <a:pt x="567" y="399"/>
                  </a:lnTo>
                  <a:lnTo>
                    <a:pt x="575" y="402"/>
                  </a:lnTo>
                  <a:lnTo>
                    <a:pt x="582" y="397"/>
                  </a:lnTo>
                  <a:lnTo>
                    <a:pt x="590" y="402"/>
                  </a:lnTo>
                  <a:lnTo>
                    <a:pt x="601" y="413"/>
                  </a:lnTo>
                  <a:lnTo>
                    <a:pt x="615" y="404"/>
                  </a:lnTo>
                  <a:lnTo>
                    <a:pt x="619" y="397"/>
                  </a:lnTo>
                  <a:lnTo>
                    <a:pt x="634" y="397"/>
                  </a:lnTo>
                  <a:lnTo>
                    <a:pt x="641" y="393"/>
                  </a:lnTo>
                  <a:lnTo>
                    <a:pt x="657" y="399"/>
                  </a:lnTo>
                  <a:lnTo>
                    <a:pt x="662" y="405"/>
                  </a:lnTo>
                  <a:lnTo>
                    <a:pt x="663" y="421"/>
                  </a:lnTo>
                  <a:lnTo>
                    <a:pt x="669" y="427"/>
                  </a:lnTo>
                  <a:lnTo>
                    <a:pt x="674" y="434"/>
                  </a:lnTo>
                  <a:lnTo>
                    <a:pt x="690" y="432"/>
                  </a:lnTo>
                  <a:lnTo>
                    <a:pt x="705" y="435"/>
                  </a:lnTo>
                  <a:lnTo>
                    <a:pt x="705" y="435"/>
                  </a:lnTo>
                  <a:lnTo>
                    <a:pt x="707" y="446"/>
                  </a:lnTo>
                  <a:lnTo>
                    <a:pt x="725" y="445"/>
                  </a:lnTo>
                  <a:lnTo>
                    <a:pt x="731" y="440"/>
                  </a:lnTo>
                  <a:lnTo>
                    <a:pt x="738" y="425"/>
                  </a:lnTo>
                  <a:lnTo>
                    <a:pt x="743" y="419"/>
                  </a:lnTo>
                  <a:lnTo>
                    <a:pt x="749" y="421"/>
                  </a:lnTo>
                  <a:lnTo>
                    <a:pt x="760" y="434"/>
                  </a:lnTo>
                  <a:lnTo>
                    <a:pt x="776" y="435"/>
                  </a:lnTo>
                  <a:lnTo>
                    <a:pt x="792" y="432"/>
                  </a:lnTo>
                  <a:lnTo>
                    <a:pt x="800" y="426"/>
                  </a:lnTo>
                  <a:lnTo>
                    <a:pt x="814" y="421"/>
                  </a:lnTo>
                  <a:lnTo>
                    <a:pt x="827" y="383"/>
                  </a:lnTo>
                  <a:lnTo>
                    <a:pt x="830" y="376"/>
                  </a:lnTo>
                  <a:lnTo>
                    <a:pt x="824" y="370"/>
                  </a:lnTo>
                  <a:lnTo>
                    <a:pt x="823" y="366"/>
                  </a:lnTo>
                  <a:lnTo>
                    <a:pt x="809" y="365"/>
                  </a:lnTo>
                  <a:lnTo>
                    <a:pt x="793" y="363"/>
                  </a:lnTo>
                  <a:lnTo>
                    <a:pt x="787" y="356"/>
                  </a:lnTo>
                  <a:lnTo>
                    <a:pt x="784" y="351"/>
                  </a:lnTo>
                  <a:lnTo>
                    <a:pt x="766" y="348"/>
                  </a:lnTo>
                  <a:lnTo>
                    <a:pt x="759" y="345"/>
                  </a:lnTo>
                  <a:lnTo>
                    <a:pt x="760" y="336"/>
                  </a:lnTo>
                  <a:lnTo>
                    <a:pt x="755" y="329"/>
                  </a:lnTo>
                  <a:lnTo>
                    <a:pt x="739" y="327"/>
                  </a:lnTo>
                  <a:lnTo>
                    <a:pt x="741" y="318"/>
                  </a:lnTo>
                  <a:lnTo>
                    <a:pt x="748" y="316"/>
                  </a:lnTo>
                  <a:lnTo>
                    <a:pt x="760" y="306"/>
                  </a:lnTo>
                  <a:lnTo>
                    <a:pt x="776" y="301"/>
                  </a:lnTo>
                  <a:lnTo>
                    <a:pt x="790" y="291"/>
                  </a:lnTo>
                  <a:lnTo>
                    <a:pt x="793" y="285"/>
                  </a:lnTo>
                  <a:lnTo>
                    <a:pt x="795" y="276"/>
                  </a:lnTo>
                  <a:lnTo>
                    <a:pt x="776" y="249"/>
                  </a:lnTo>
                  <a:lnTo>
                    <a:pt x="784" y="246"/>
                  </a:lnTo>
                  <a:lnTo>
                    <a:pt x="790" y="241"/>
                  </a:lnTo>
                  <a:lnTo>
                    <a:pt x="792" y="232"/>
                  </a:lnTo>
                  <a:lnTo>
                    <a:pt x="798" y="227"/>
                  </a:lnTo>
                  <a:lnTo>
                    <a:pt x="807" y="226"/>
                  </a:lnTo>
                  <a:lnTo>
                    <a:pt x="814" y="227"/>
                  </a:lnTo>
                  <a:lnTo>
                    <a:pt x="823" y="226"/>
                  </a:lnTo>
                  <a:lnTo>
                    <a:pt x="830" y="228"/>
                  </a:lnTo>
                  <a:lnTo>
                    <a:pt x="846" y="228"/>
                  </a:lnTo>
                  <a:lnTo>
                    <a:pt x="855" y="226"/>
                  </a:lnTo>
                  <a:lnTo>
                    <a:pt x="857" y="217"/>
                  </a:lnTo>
                  <a:lnTo>
                    <a:pt x="854" y="211"/>
                  </a:lnTo>
                  <a:lnTo>
                    <a:pt x="839" y="203"/>
                  </a:lnTo>
                  <a:lnTo>
                    <a:pt x="807" y="199"/>
                  </a:lnTo>
                  <a:lnTo>
                    <a:pt x="803" y="192"/>
                  </a:lnTo>
                  <a:lnTo>
                    <a:pt x="805" y="183"/>
                  </a:lnTo>
                  <a:lnTo>
                    <a:pt x="812" y="183"/>
                  </a:lnTo>
                  <a:lnTo>
                    <a:pt x="819" y="180"/>
                  </a:lnTo>
                  <a:lnTo>
                    <a:pt x="823" y="173"/>
                  </a:lnTo>
                  <a:lnTo>
                    <a:pt x="818" y="168"/>
                  </a:lnTo>
                  <a:lnTo>
                    <a:pt x="811" y="172"/>
                  </a:lnTo>
                  <a:lnTo>
                    <a:pt x="795" y="172"/>
                  </a:lnTo>
                  <a:lnTo>
                    <a:pt x="795" y="163"/>
                  </a:lnTo>
                  <a:lnTo>
                    <a:pt x="797" y="156"/>
                  </a:lnTo>
                  <a:lnTo>
                    <a:pt x="802" y="150"/>
                  </a:lnTo>
                  <a:lnTo>
                    <a:pt x="791" y="139"/>
                  </a:lnTo>
                  <a:lnTo>
                    <a:pt x="807" y="137"/>
                  </a:lnTo>
                  <a:lnTo>
                    <a:pt x="811" y="131"/>
                  </a:lnTo>
                  <a:lnTo>
                    <a:pt x="820" y="131"/>
                  </a:lnTo>
                  <a:lnTo>
                    <a:pt x="825" y="137"/>
                  </a:lnTo>
                  <a:lnTo>
                    <a:pt x="833" y="136"/>
                  </a:lnTo>
                  <a:lnTo>
                    <a:pt x="841" y="137"/>
                  </a:lnTo>
                  <a:lnTo>
                    <a:pt x="849" y="135"/>
                  </a:lnTo>
                  <a:lnTo>
                    <a:pt x="873" y="136"/>
                  </a:lnTo>
                  <a:lnTo>
                    <a:pt x="878" y="142"/>
                  </a:lnTo>
                  <a:lnTo>
                    <a:pt x="888" y="130"/>
                  </a:lnTo>
                  <a:lnTo>
                    <a:pt x="895" y="128"/>
                  </a:lnTo>
                  <a:lnTo>
                    <a:pt x="911" y="128"/>
                  </a:lnTo>
                  <a:lnTo>
                    <a:pt x="918" y="123"/>
                  </a:lnTo>
                  <a:lnTo>
                    <a:pt x="926" y="120"/>
                  </a:lnTo>
                  <a:lnTo>
                    <a:pt x="938" y="110"/>
                  </a:lnTo>
                  <a:lnTo>
                    <a:pt x="947" y="113"/>
                  </a:lnTo>
                  <a:lnTo>
                    <a:pt x="952" y="118"/>
                  </a:lnTo>
                  <a:lnTo>
                    <a:pt x="961" y="118"/>
                  </a:lnTo>
                  <a:lnTo>
                    <a:pt x="963" y="110"/>
                  </a:lnTo>
                  <a:lnTo>
                    <a:pt x="980" y="107"/>
                  </a:lnTo>
                  <a:lnTo>
                    <a:pt x="986" y="102"/>
                  </a:lnTo>
                  <a:lnTo>
                    <a:pt x="995" y="102"/>
                  </a:lnTo>
                  <a:lnTo>
                    <a:pt x="1002" y="98"/>
                  </a:lnTo>
                  <a:lnTo>
                    <a:pt x="1010" y="98"/>
                  </a:lnTo>
                  <a:lnTo>
                    <a:pt x="1017" y="101"/>
                  </a:lnTo>
                  <a:lnTo>
                    <a:pt x="1022" y="93"/>
                  </a:lnTo>
                  <a:lnTo>
                    <a:pt x="1023" y="86"/>
                  </a:lnTo>
                  <a:lnTo>
                    <a:pt x="1027" y="79"/>
                  </a:lnTo>
                  <a:lnTo>
                    <a:pt x="1034" y="74"/>
                  </a:lnTo>
                  <a:lnTo>
                    <a:pt x="1042" y="72"/>
                  </a:lnTo>
                  <a:lnTo>
                    <a:pt x="1049" y="76"/>
                  </a:lnTo>
                  <a:lnTo>
                    <a:pt x="1067" y="70"/>
                  </a:lnTo>
                  <a:lnTo>
                    <a:pt x="1067" y="71"/>
                  </a:lnTo>
                  <a:lnTo>
                    <a:pt x="1104" y="61"/>
                  </a:lnTo>
                  <a:lnTo>
                    <a:pt x="1136" y="58"/>
                  </a:lnTo>
                  <a:lnTo>
                    <a:pt x="1164" y="49"/>
                  </a:lnTo>
                  <a:lnTo>
                    <a:pt x="1171" y="44"/>
                  </a:lnTo>
                  <a:lnTo>
                    <a:pt x="1179" y="44"/>
                  </a:lnTo>
                  <a:lnTo>
                    <a:pt x="1187" y="42"/>
                  </a:lnTo>
                  <a:lnTo>
                    <a:pt x="1191" y="36"/>
                  </a:lnTo>
                  <a:lnTo>
                    <a:pt x="1191" y="28"/>
                  </a:lnTo>
                  <a:lnTo>
                    <a:pt x="1191" y="20"/>
                  </a:lnTo>
                  <a:lnTo>
                    <a:pt x="1200" y="21"/>
                  </a:lnTo>
                  <a:lnTo>
                    <a:pt x="1207" y="20"/>
                  </a:lnTo>
                  <a:lnTo>
                    <a:pt x="1212" y="12"/>
                  </a:lnTo>
                  <a:lnTo>
                    <a:pt x="1218" y="7"/>
                  </a:lnTo>
                  <a:lnTo>
                    <a:pt x="1227" y="7"/>
                  </a:lnTo>
                  <a:lnTo>
                    <a:pt x="1232" y="1"/>
                  </a:lnTo>
                  <a:lnTo>
                    <a:pt x="1239" y="0"/>
                  </a:lnTo>
                  <a:lnTo>
                    <a:pt x="1244" y="6"/>
                  </a:lnTo>
                  <a:lnTo>
                    <a:pt x="1253" y="4"/>
                  </a:lnTo>
                  <a:lnTo>
                    <a:pt x="1260" y="7"/>
                  </a:lnTo>
                  <a:lnTo>
                    <a:pt x="1269" y="5"/>
                  </a:lnTo>
                  <a:lnTo>
                    <a:pt x="1276" y="9"/>
                  </a:lnTo>
                  <a:lnTo>
                    <a:pt x="1281" y="15"/>
                  </a:lnTo>
                  <a:lnTo>
                    <a:pt x="1295" y="23"/>
                  </a:lnTo>
                  <a:lnTo>
                    <a:pt x="1302" y="20"/>
                  </a:lnTo>
                  <a:lnTo>
                    <a:pt x="1308" y="15"/>
                  </a:lnTo>
                  <a:lnTo>
                    <a:pt x="1324" y="12"/>
                  </a:lnTo>
                  <a:lnTo>
                    <a:pt x="1332" y="15"/>
                  </a:lnTo>
                  <a:lnTo>
                    <a:pt x="1338" y="21"/>
                  </a:lnTo>
                  <a:lnTo>
                    <a:pt x="1341" y="28"/>
                  </a:lnTo>
                  <a:lnTo>
                    <a:pt x="1343" y="44"/>
                  </a:lnTo>
                  <a:lnTo>
                    <a:pt x="1341" y="53"/>
                  </a:lnTo>
                  <a:lnTo>
                    <a:pt x="1344" y="60"/>
                  </a:lnTo>
                  <a:lnTo>
                    <a:pt x="1356" y="71"/>
                  </a:lnTo>
                  <a:lnTo>
                    <a:pt x="1352" y="79"/>
                  </a:lnTo>
                  <a:lnTo>
                    <a:pt x="1354" y="94"/>
                  </a:lnTo>
                  <a:lnTo>
                    <a:pt x="1349" y="102"/>
                  </a:lnTo>
                  <a:lnTo>
                    <a:pt x="1344" y="107"/>
                  </a:lnTo>
                  <a:lnTo>
                    <a:pt x="1347" y="114"/>
                  </a:lnTo>
                  <a:lnTo>
                    <a:pt x="1350" y="123"/>
                  </a:lnTo>
                  <a:lnTo>
                    <a:pt x="1366" y="118"/>
                  </a:lnTo>
                  <a:lnTo>
                    <a:pt x="1373" y="123"/>
                  </a:lnTo>
                  <a:lnTo>
                    <a:pt x="1381" y="122"/>
                  </a:lnTo>
                  <a:lnTo>
                    <a:pt x="1384" y="113"/>
                  </a:lnTo>
                  <a:lnTo>
                    <a:pt x="1392" y="113"/>
                  </a:lnTo>
                  <a:lnTo>
                    <a:pt x="1399" y="115"/>
                  </a:lnTo>
                  <a:lnTo>
                    <a:pt x="1402" y="107"/>
                  </a:lnTo>
                  <a:lnTo>
                    <a:pt x="1402" y="99"/>
                  </a:lnTo>
                  <a:lnTo>
                    <a:pt x="1409" y="101"/>
                  </a:lnTo>
                  <a:lnTo>
                    <a:pt x="1413" y="108"/>
                  </a:lnTo>
                  <a:lnTo>
                    <a:pt x="1415" y="117"/>
                  </a:lnTo>
                  <a:lnTo>
                    <a:pt x="1420" y="122"/>
                  </a:lnTo>
                  <a:lnTo>
                    <a:pt x="1418" y="129"/>
                  </a:lnTo>
                  <a:lnTo>
                    <a:pt x="1416" y="137"/>
                  </a:lnTo>
                  <a:lnTo>
                    <a:pt x="1432" y="139"/>
                  </a:lnTo>
                  <a:lnTo>
                    <a:pt x="1430" y="131"/>
                  </a:lnTo>
                  <a:lnTo>
                    <a:pt x="1425" y="125"/>
                  </a:lnTo>
                  <a:lnTo>
                    <a:pt x="1432" y="123"/>
                  </a:lnTo>
                  <a:lnTo>
                    <a:pt x="1448" y="125"/>
                  </a:lnTo>
                  <a:lnTo>
                    <a:pt x="1456" y="130"/>
                  </a:lnTo>
                  <a:lnTo>
                    <a:pt x="1461" y="136"/>
                  </a:lnTo>
                  <a:lnTo>
                    <a:pt x="1469" y="140"/>
                  </a:lnTo>
                  <a:lnTo>
                    <a:pt x="1476" y="140"/>
                  </a:lnTo>
                  <a:lnTo>
                    <a:pt x="1480" y="133"/>
                  </a:lnTo>
                  <a:lnTo>
                    <a:pt x="1488" y="129"/>
                  </a:lnTo>
                  <a:lnTo>
                    <a:pt x="1490" y="137"/>
                  </a:lnTo>
                  <a:lnTo>
                    <a:pt x="1490" y="145"/>
                  </a:lnTo>
                  <a:lnTo>
                    <a:pt x="1481" y="147"/>
                  </a:lnTo>
                  <a:lnTo>
                    <a:pt x="1475" y="152"/>
                  </a:lnTo>
                  <a:lnTo>
                    <a:pt x="1470" y="160"/>
                  </a:lnTo>
                  <a:lnTo>
                    <a:pt x="1468" y="167"/>
                  </a:lnTo>
                  <a:lnTo>
                    <a:pt x="1469" y="176"/>
                  </a:lnTo>
                  <a:lnTo>
                    <a:pt x="1474" y="183"/>
                  </a:lnTo>
                  <a:lnTo>
                    <a:pt x="1481" y="182"/>
                  </a:lnTo>
                  <a:lnTo>
                    <a:pt x="1486" y="176"/>
                  </a:lnTo>
                  <a:lnTo>
                    <a:pt x="1501" y="169"/>
                  </a:lnTo>
                  <a:lnTo>
                    <a:pt x="1508" y="173"/>
                  </a:lnTo>
                  <a:lnTo>
                    <a:pt x="1517" y="172"/>
                  </a:lnTo>
                  <a:lnTo>
                    <a:pt x="1522" y="177"/>
                  </a:lnTo>
                  <a:lnTo>
                    <a:pt x="1531" y="177"/>
                  </a:lnTo>
                  <a:lnTo>
                    <a:pt x="1528" y="169"/>
                  </a:lnTo>
                  <a:lnTo>
                    <a:pt x="1533" y="163"/>
                  </a:lnTo>
                  <a:lnTo>
                    <a:pt x="1542" y="163"/>
                  </a:lnTo>
                  <a:lnTo>
                    <a:pt x="1551" y="151"/>
                  </a:lnTo>
                  <a:lnTo>
                    <a:pt x="1567" y="149"/>
                  </a:lnTo>
                  <a:lnTo>
                    <a:pt x="1580" y="137"/>
                  </a:lnTo>
                  <a:lnTo>
                    <a:pt x="1586" y="123"/>
                  </a:lnTo>
                  <a:lnTo>
                    <a:pt x="1592" y="118"/>
                  </a:lnTo>
                  <a:lnTo>
                    <a:pt x="1601" y="119"/>
                  </a:lnTo>
                  <a:lnTo>
                    <a:pt x="1617" y="115"/>
                  </a:lnTo>
                  <a:lnTo>
                    <a:pt x="1624" y="113"/>
                  </a:lnTo>
                  <a:lnTo>
                    <a:pt x="1628" y="106"/>
                  </a:lnTo>
                  <a:lnTo>
                    <a:pt x="1644" y="104"/>
                  </a:lnTo>
                  <a:lnTo>
                    <a:pt x="1657" y="96"/>
                  </a:lnTo>
                  <a:lnTo>
                    <a:pt x="1661" y="103"/>
                  </a:lnTo>
                  <a:lnTo>
                    <a:pt x="1662" y="110"/>
                  </a:lnTo>
                  <a:lnTo>
                    <a:pt x="1657" y="118"/>
                  </a:lnTo>
                  <a:lnTo>
                    <a:pt x="1650" y="122"/>
                  </a:lnTo>
                  <a:lnTo>
                    <a:pt x="1642" y="120"/>
                  </a:lnTo>
                  <a:lnTo>
                    <a:pt x="1641" y="128"/>
                  </a:lnTo>
                  <a:lnTo>
                    <a:pt x="1644" y="135"/>
                  </a:lnTo>
                  <a:lnTo>
                    <a:pt x="1648" y="137"/>
                  </a:lnTo>
                  <a:lnTo>
                    <a:pt x="1720" y="204"/>
                  </a:lnTo>
                  <a:lnTo>
                    <a:pt x="1840" y="422"/>
                  </a:lnTo>
                  <a:lnTo>
                    <a:pt x="1854" y="411"/>
                  </a:lnTo>
                  <a:lnTo>
                    <a:pt x="1857" y="404"/>
                  </a:lnTo>
                  <a:lnTo>
                    <a:pt x="1857" y="397"/>
                  </a:lnTo>
                  <a:lnTo>
                    <a:pt x="1868" y="383"/>
                  </a:lnTo>
                  <a:lnTo>
                    <a:pt x="1876" y="382"/>
                  </a:lnTo>
                  <a:lnTo>
                    <a:pt x="1881" y="388"/>
                  </a:lnTo>
                  <a:lnTo>
                    <a:pt x="1889" y="391"/>
                  </a:lnTo>
                  <a:lnTo>
                    <a:pt x="1903" y="399"/>
                  </a:lnTo>
                  <a:lnTo>
                    <a:pt x="1899" y="406"/>
                  </a:lnTo>
                  <a:lnTo>
                    <a:pt x="1903" y="413"/>
                  </a:lnTo>
                  <a:lnTo>
                    <a:pt x="1909" y="414"/>
                  </a:lnTo>
                  <a:lnTo>
                    <a:pt x="1914" y="427"/>
                  </a:lnTo>
                  <a:lnTo>
                    <a:pt x="1938" y="425"/>
                  </a:lnTo>
                  <a:lnTo>
                    <a:pt x="1956" y="430"/>
                  </a:lnTo>
                  <a:lnTo>
                    <a:pt x="1963" y="427"/>
                  </a:lnTo>
                  <a:lnTo>
                    <a:pt x="1979" y="427"/>
                  </a:lnTo>
                  <a:lnTo>
                    <a:pt x="1981" y="420"/>
                  </a:lnTo>
                  <a:lnTo>
                    <a:pt x="1986" y="414"/>
                  </a:lnTo>
                  <a:lnTo>
                    <a:pt x="1995" y="415"/>
                  </a:lnTo>
                  <a:lnTo>
                    <a:pt x="2002" y="415"/>
                  </a:lnTo>
                  <a:lnTo>
                    <a:pt x="2006" y="408"/>
                  </a:lnTo>
                  <a:lnTo>
                    <a:pt x="2012" y="403"/>
                  </a:lnTo>
                  <a:lnTo>
                    <a:pt x="2028" y="408"/>
                  </a:lnTo>
                  <a:lnTo>
                    <a:pt x="2035" y="411"/>
                  </a:lnTo>
                  <a:lnTo>
                    <a:pt x="2039" y="419"/>
                  </a:lnTo>
                  <a:lnTo>
                    <a:pt x="2046" y="422"/>
                  </a:lnTo>
                  <a:lnTo>
                    <a:pt x="2056" y="435"/>
                  </a:lnTo>
                  <a:lnTo>
                    <a:pt x="2064" y="438"/>
                  </a:lnTo>
                  <a:lnTo>
                    <a:pt x="2067" y="446"/>
                  </a:lnTo>
                  <a:lnTo>
                    <a:pt x="2065" y="454"/>
                  </a:lnTo>
                  <a:lnTo>
                    <a:pt x="2066" y="462"/>
                  </a:lnTo>
                  <a:lnTo>
                    <a:pt x="2070" y="469"/>
                  </a:lnTo>
                  <a:lnTo>
                    <a:pt x="2078" y="470"/>
                  </a:lnTo>
                  <a:lnTo>
                    <a:pt x="2099" y="481"/>
                  </a:lnTo>
                  <a:lnTo>
                    <a:pt x="2103" y="489"/>
                  </a:lnTo>
                  <a:lnTo>
                    <a:pt x="2103" y="496"/>
                  </a:lnTo>
                  <a:lnTo>
                    <a:pt x="2110" y="500"/>
                  </a:lnTo>
                  <a:lnTo>
                    <a:pt x="2115" y="505"/>
                  </a:lnTo>
                  <a:lnTo>
                    <a:pt x="2123" y="519"/>
                  </a:lnTo>
                  <a:lnTo>
                    <a:pt x="2129" y="524"/>
                  </a:lnTo>
                  <a:lnTo>
                    <a:pt x="2145" y="526"/>
                  </a:lnTo>
                  <a:lnTo>
                    <a:pt x="2152" y="531"/>
                  </a:lnTo>
                  <a:lnTo>
                    <a:pt x="2159" y="533"/>
                  </a:lnTo>
                  <a:lnTo>
                    <a:pt x="2168" y="534"/>
                  </a:lnTo>
                  <a:lnTo>
                    <a:pt x="2177" y="534"/>
                  </a:lnTo>
                  <a:lnTo>
                    <a:pt x="2179" y="527"/>
                  </a:lnTo>
                  <a:lnTo>
                    <a:pt x="2184" y="521"/>
                  </a:lnTo>
                  <a:lnTo>
                    <a:pt x="2199" y="515"/>
                  </a:lnTo>
                  <a:lnTo>
                    <a:pt x="2201" y="523"/>
                  </a:lnTo>
                  <a:lnTo>
                    <a:pt x="2205" y="531"/>
                  </a:lnTo>
                  <a:lnTo>
                    <a:pt x="2212" y="535"/>
                  </a:lnTo>
                  <a:lnTo>
                    <a:pt x="2218" y="549"/>
                  </a:lnTo>
                  <a:lnTo>
                    <a:pt x="2226" y="554"/>
                  </a:lnTo>
                  <a:lnTo>
                    <a:pt x="2230" y="561"/>
                  </a:lnTo>
                  <a:lnTo>
                    <a:pt x="2217" y="587"/>
                  </a:lnTo>
                  <a:lnTo>
                    <a:pt x="2207" y="607"/>
                  </a:lnTo>
                  <a:lnTo>
                    <a:pt x="2191" y="623"/>
                  </a:lnTo>
                  <a:lnTo>
                    <a:pt x="2171" y="629"/>
                  </a:lnTo>
                  <a:lnTo>
                    <a:pt x="2156" y="628"/>
                  </a:lnTo>
                  <a:lnTo>
                    <a:pt x="2145" y="648"/>
                  </a:lnTo>
                  <a:lnTo>
                    <a:pt x="2140" y="673"/>
                  </a:lnTo>
                  <a:lnTo>
                    <a:pt x="2142" y="696"/>
                  </a:lnTo>
                  <a:lnTo>
                    <a:pt x="2139" y="733"/>
                  </a:lnTo>
                  <a:lnTo>
                    <a:pt x="2116" y="741"/>
                  </a:lnTo>
                  <a:lnTo>
                    <a:pt x="2102" y="753"/>
                  </a:lnTo>
                  <a:lnTo>
                    <a:pt x="2092" y="745"/>
                  </a:lnTo>
                  <a:lnTo>
                    <a:pt x="2082" y="736"/>
                  </a:lnTo>
                  <a:lnTo>
                    <a:pt x="2048" y="739"/>
                  </a:lnTo>
                  <a:lnTo>
                    <a:pt x="2030" y="733"/>
                  </a:lnTo>
                  <a:lnTo>
                    <a:pt x="2021" y="726"/>
                  </a:lnTo>
                  <a:lnTo>
                    <a:pt x="1996" y="726"/>
                  </a:lnTo>
                  <a:lnTo>
                    <a:pt x="1986" y="747"/>
                  </a:lnTo>
                  <a:lnTo>
                    <a:pt x="1978" y="773"/>
                  </a:lnTo>
                  <a:lnTo>
                    <a:pt x="1965" y="800"/>
                  </a:lnTo>
                  <a:lnTo>
                    <a:pt x="1959" y="824"/>
                  </a:lnTo>
                  <a:lnTo>
                    <a:pt x="1956" y="844"/>
                  </a:lnTo>
                  <a:lnTo>
                    <a:pt x="1958" y="859"/>
                  </a:lnTo>
                  <a:lnTo>
                    <a:pt x="1964" y="877"/>
                  </a:lnTo>
                  <a:lnTo>
                    <a:pt x="1957" y="882"/>
                  </a:lnTo>
                  <a:lnTo>
                    <a:pt x="1902" y="884"/>
                  </a:lnTo>
                  <a:lnTo>
                    <a:pt x="1879" y="892"/>
                  </a:lnTo>
                  <a:lnTo>
                    <a:pt x="1861" y="894"/>
                  </a:lnTo>
                  <a:lnTo>
                    <a:pt x="1841" y="901"/>
                  </a:lnTo>
                  <a:lnTo>
                    <a:pt x="1831" y="909"/>
                  </a:lnTo>
                  <a:lnTo>
                    <a:pt x="1840" y="916"/>
                  </a:lnTo>
                  <a:lnTo>
                    <a:pt x="1847" y="931"/>
                  </a:lnTo>
                  <a:lnTo>
                    <a:pt x="1852" y="969"/>
                  </a:lnTo>
                  <a:lnTo>
                    <a:pt x="1856" y="984"/>
                  </a:lnTo>
                  <a:lnTo>
                    <a:pt x="1863" y="996"/>
                  </a:lnTo>
                  <a:lnTo>
                    <a:pt x="1872" y="1023"/>
                  </a:lnTo>
                  <a:lnTo>
                    <a:pt x="1872" y="1038"/>
                  </a:lnTo>
                  <a:lnTo>
                    <a:pt x="1859" y="1048"/>
                  </a:lnTo>
                  <a:lnTo>
                    <a:pt x="1860" y="1061"/>
                  </a:lnTo>
                  <a:lnTo>
                    <a:pt x="1852" y="1070"/>
                  </a:lnTo>
                  <a:lnTo>
                    <a:pt x="1850" y="1081"/>
                  </a:lnTo>
                  <a:lnTo>
                    <a:pt x="1850" y="1099"/>
                  </a:lnTo>
                  <a:lnTo>
                    <a:pt x="1850" y="1099"/>
                  </a:lnTo>
                  <a:lnTo>
                    <a:pt x="1843" y="1099"/>
                  </a:lnTo>
                  <a:lnTo>
                    <a:pt x="1823" y="1086"/>
                  </a:lnTo>
                  <a:lnTo>
                    <a:pt x="1807" y="1083"/>
                  </a:lnTo>
                  <a:lnTo>
                    <a:pt x="1792" y="1065"/>
                  </a:lnTo>
                  <a:lnTo>
                    <a:pt x="1776" y="1064"/>
                  </a:lnTo>
                  <a:lnTo>
                    <a:pt x="1768" y="1061"/>
                  </a:lnTo>
                  <a:lnTo>
                    <a:pt x="1760" y="1061"/>
                  </a:lnTo>
                  <a:lnTo>
                    <a:pt x="1753" y="1057"/>
                  </a:lnTo>
                  <a:lnTo>
                    <a:pt x="1745" y="1056"/>
                  </a:lnTo>
                  <a:lnTo>
                    <a:pt x="1721" y="1057"/>
                  </a:lnTo>
                  <a:lnTo>
                    <a:pt x="1698" y="1054"/>
                  </a:lnTo>
                  <a:lnTo>
                    <a:pt x="1689" y="1055"/>
                  </a:lnTo>
                  <a:lnTo>
                    <a:pt x="1674" y="1048"/>
                  </a:lnTo>
                  <a:lnTo>
                    <a:pt x="1667" y="1048"/>
                  </a:lnTo>
                  <a:lnTo>
                    <a:pt x="1652" y="1054"/>
                  </a:lnTo>
                  <a:lnTo>
                    <a:pt x="1620" y="1050"/>
                  </a:lnTo>
                  <a:lnTo>
                    <a:pt x="1612" y="1050"/>
                  </a:lnTo>
                  <a:lnTo>
                    <a:pt x="1596" y="1054"/>
                  </a:lnTo>
                  <a:lnTo>
                    <a:pt x="1580" y="1054"/>
                  </a:lnTo>
                  <a:lnTo>
                    <a:pt x="1571" y="1053"/>
                  </a:lnTo>
                  <a:lnTo>
                    <a:pt x="1565" y="1048"/>
                  </a:lnTo>
                  <a:lnTo>
                    <a:pt x="1556" y="1046"/>
                  </a:lnTo>
                  <a:lnTo>
                    <a:pt x="1540" y="1048"/>
                  </a:lnTo>
                  <a:lnTo>
                    <a:pt x="1534" y="1043"/>
                  </a:lnTo>
                  <a:lnTo>
                    <a:pt x="1513" y="1030"/>
                  </a:lnTo>
                  <a:lnTo>
                    <a:pt x="1506" y="1034"/>
                  </a:lnTo>
                  <a:lnTo>
                    <a:pt x="1499" y="1035"/>
                  </a:lnTo>
                  <a:lnTo>
                    <a:pt x="1491" y="1038"/>
                  </a:lnTo>
                  <a:lnTo>
                    <a:pt x="1479" y="1048"/>
                  </a:lnTo>
                  <a:lnTo>
                    <a:pt x="1478" y="1056"/>
                  </a:lnTo>
                  <a:lnTo>
                    <a:pt x="1473" y="1064"/>
                  </a:lnTo>
                  <a:lnTo>
                    <a:pt x="1470" y="1080"/>
                  </a:lnTo>
                  <a:lnTo>
                    <a:pt x="1467" y="1086"/>
                  </a:lnTo>
                  <a:lnTo>
                    <a:pt x="1451" y="1082"/>
                  </a:lnTo>
                  <a:lnTo>
                    <a:pt x="1437" y="1075"/>
                  </a:lnTo>
                  <a:lnTo>
                    <a:pt x="1421" y="1070"/>
                  </a:lnTo>
                  <a:lnTo>
                    <a:pt x="1414" y="1066"/>
                  </a:lnTo>
                  <a:lnTo>
                    <a:pt x="1406" y="1064"/>
                  </a:lnTo>
                  <a:lnTo>
                    <a:pt x="1398" y="1064"/>
                  </a:lnTo>
                  <a:lnTo>
                    <a:pt x="1383" y="1061"/>
                  </a:lnTo>
                  <a:lnTo>
                    <a:pt x="1375" y="1062"/>
                  </a:lnTo>
                  <a:lnTo>
                    <a:pt x="1367" y="1060"/>
                  </a:lnTo>
                  <a:lnTo>
                    <a:pt x="1351" y="1062"/>
                  </a:lnTo>
                  <a:lnTo>
                    <a:pt x="1344" y="1066"/>
                  </a:lnTo>
                  <a:lnTo>
                    <a:pt x="1341" y="1073"/>
                  </a:lnTo>
                  <a:lnTo>
                    <a:pt x="1343" y="1081"/>
                  </a:lnTo>
                  <a:lnTo>
                    <a:pt x="1338" y="1088"/>
                  </a:lnTo>
                  <a:lnTo>
                    <a:pt x="1334" y="1096"/>
                  </a:lnTo>
                  <a:lnTo>
                    <a:pt x="1332" y="1103"/>
                  </a:lnTo>
                  <a:lnTo>
                    <a:pt x="1320" y="1115"/>
                  </a:lnTo>
                  <a:lnTo>
                    <a:pt x="1313" y="1118"/>
                  </a:lnTo>
                  <a:lnTo>
                    <a:pt x="1306" y="1115"/>
                  </a:lnTo>
                  <a:lnTo>
                    <a:pt x="1300" y="1130"/>
                  </a:lnTo>
                  <a:lnTo>
                    <a:pt x="1293" y="1135"/>
                  </a:lnTo>
                  <a:lnTo>
                    <a:pt x="1271" y="1145"/>
                  </a:lnTo>
                  <a:lnTo>
                    <a:pt x="1257" y="1153"/>
                  </a:lnTo>
                  <a:lnTo>
                    <a:pt x="1252" y="1159"/>
                  </a:lnTo>
                  <a:lnTo>
                    <a:pt x="1244" y="1162"/>
                  </a:lnTo>
                  <a:lnTo>
                    <a:pt x="1237" y="1167"/>
                  </a:lnTo>
                  <a:lnTo>
                    <a:pt x="1233" y="1174"/>
                  </a:lnTo>
                  <a:lnTo>
                    <a:pt x="1231" y="1182"/>
                  </a:lnTo>
                  <a:lnTo>
                    <a:pt x="1225" y="1186"/>
                  </a:lnTo>
                  <a:lnTo>
                    <a:pt x="1217" y="1190"/>
                  </a:lnTo>
                  <a:lnTo>
                    <a:pt x="1209" y="1189"/>
                  </a:lnTo>
                  <a:lnTo>
                    <a:pt x="1194" y="1183"/>
                  </a:lnTo>
                  <a:lnTo>
                    <a:pt x="1185" y="1180"/>
                  </a:lnTo>
                  <a:lnTo>
                    <a:pt x="1172" y="1172"/>
                  </a:lnTo>
                  <a:lnTo>
                    <a:pt x="1115" y="1178"/>
                  </a:lnTo>
                  <a:lnTo>
                    <a:pt x="1105" y="1132"/>
                  </a:lnTo>
                  <a:lnTo>
                    <a:pt x="1072" y="1126"/>
                  </a:lnTo>
                  <a:lnTo>
                    <a:pt x="1071" y="1113"/>
                  </a:lnTo>
                  <a:lnTo>
                    <a:pt x="1071" y="1097"/>
                  </a:lnTo>
                  <a:lnTo>
                    <a:pt x="1080" y="1096"/>
                  </a:lnTo>
                  <a:lnTo>
                    <a:pt x="1078" y="1053"/>
                  </a:lnTo>
                  <a:lnTo>
                    <a:pt x="1065" y="1054"/>
                  </a:lnTo>
                  <a:lnTo>
                    <a:pt x="1048" y="1021"/>
                  </a:lnTo>
                  <a:lnTo>
                    <a:pt x="1035" y="1011"/>
                  </a:lnTo>
                  <a:lnTo>
                    <a:pt x="1028" y="1007"/>
                  </a:lnTo>
                  <a:lnTo>
                    <a:pt x="1016" y="997"/>
                  </a:lnTo>
                  <a:lnTo>
                    <a:pt x="1010" y="991"/>
                  </a:lnTo>
                  <a:lnTo>
                    <a:pt x="996" y="997"/>
                  </a:lnTo>
                  <a:lnTo>
                    <a:pt x="920" y="996"/>
                  </a:lnTo>
                  <a:lnTo>
                    <a:pt x="849" y="1008"/>
                  </a:lnTo>
                  <a:lnTo>
                    <a:pt x="820" y="980"/>
                  </a:lnTo>
                  <a:lnTo>
                    <a:pt x="777" y="932"/>
                  </a:lnTo>
                  <a:lnTo>
                    <a:pt x="742" y="899"/>
                  </a:lnTo>
                  <a:lnTo>
                    <a:pt x="728" y="889"/>
                  </a:lnTo>
                  <a:lnTo>
                    <a:pt x="709" y="874"/>
                  </a:lnTo>
                  <a:lnTo>
                    <a:pt x="689" y="860"/>
                  </a:lnTo>
                  <a:lnTo>
                    <a:pt x="658" y="847"/>
                  </a:lnTo>
                  <a:lnTo>
                    <a:pt x="518" y="89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54" name="Freeform 167"/>
            <p:cNvSpPr>
              <a:spLocks noChangeAspect="1"/>
            </p:cNvSpPr>
            <p:nvPr/>
          </p:nvSpPr>
          <p:spPr bwMode="gray">
            <a:xfrm>
              <a:off x="6592124" y="3334904"/>
              <a:ext cx="117670" cy="62861"/>
            </a:xfrm>
            <a:custGeom>
              <a:avLst/>
              <a:gdLst/>
              <a:ahLst/>
              <a:cxnLst>
                <a:cxn ang="0">
                  <a:pos x="94" y="154"/>
                </a:cxn>
                <a:cxn ang="0">
                  <a:pos x="115" y="150"/>
                </a:cxn>
                <a:cxn ang="0">
                  <a:pos x="140" y="156"/>
                </a:cxn>
                <a:cxn ang="0">
                  <a:pos x="150" y="145"/>
                </a:cxn>
                <a:cxn ang="0">
                  <a:pos x="166" y="155"/>
                </a:cxn>
                <a:cxn ang="0">
                  <a:pos x="182" y="172"/>
                </a:cxn>
                <a:cxn ang="0">
                  <a:pos x="212" y="181"/>
                </a:cxn>
                <a:cxn ang="0">
                  <a:pos x="235" y="175"/>
                </a:cxn>
                <a:cxn ang="0">
                  <a:pos x="258" y="174"/>
                </a:cxn>
                <a:cxn ang="0">
                  <a:pos x="277" y="167"/>
                </a:cxn>
                <a:cxn ang="0">
                  <a:pos x="296" y="156"/>
                </a:cxn>
                <a:cxn ang="0">
                  <a:pos x="311" y="160"/>
                </a:cxn>
                <a:cxn ang="0">
                  <a:pos x="332" y="174"/>
                </a:cxn>
                <a:cxn ang="0">
                  <a:pos x="355" y="179"/>
                </a:cxn>
                <a:cxn ang="0">
                  <a:pos x="368" y="174"/>
                </a:cxn>
                <a:cxn ang="0">
                  <a:pos x="352" y="156"/>
                </a:cxn>
                <a:cxn ang="0">
                  <a:pos x="343" y="143"/>
                </a:cxn>
                <a:cxn ang="0">
                  <a:pos x="355" y="124"/>
                </a:cxn>
                <a:cxn ang="0">
                  <a:pos x="352" y="121"/>
                </a:cxn>
                <a:cxn ang="0">
                  <a:pos x="329" y="111"/>
                </a:cxn>
                <a:cxn ang="0">
                  <a:pos x="321" y="86"/>
                </a:cxn>
                <a:cxn ang="0">
                  <a:pos x="310" y="75"/>
                </a:cxn>
                <a:cxn ang="0">
                  <a:pos x="295" y="72"/>
                </a:cxn>
                <a:cxn ang="0">
                  <a:pos x="274" y="63"/>
                </a:cxn>
                <a:cxn ang="0">
                  <a:pos x="261" y="59"/>
                </a:cxn>
                <a:cxn ang="0">
                  <a:pos x="237" y="66"/>
                </a:cxn>
                <a:cxn ang="0">
                  <a:pos x="223" y="73"/>
                </a:cxn>
                <a:cxn ang="0">
                  <a:pos x="213" y="61"/>
                </a:cxn>
                <a:cxn ang="0">
                  <a:pos x="171" y="34"/>
                </a:cxn>
                <a:cxn ang="0">
                  <a:pos x="148" y="29"/>
                </a:cxn>
                <a:cxn ang="0">
                  <a:pos x="108" y="26"/>
                </a:cxn>
                <a:cxn ang="0">
                  <a:pos x="76" y="15"/>
                </a:cxn>
                <a:cxn ang="0">
                  <a:pos x="54" y="7"/>
                </a:cxn>
                <a:cxn ang="0">
                  <a:pos x="31" y="3"/>
                </a:cxn>
                <a:cxn ang="0">
                  <a:pos x="15" y="2"/>
                </a:cxn>
                <a:cxn ang="0">
                  <a:pos x="5" y="11"/>
                </a:cxn>
                <a:cxn ang="0">
                  <a:pos x="21" y="27"/>
                </a:cxn>
                <a:cxn ang="0">
                  <a:pos x="56" y="39"/>
                </a:cxn>
                <a:cxn ang="0">
                  <a:pos x="78" y="57"/>
                </a:cxn>
                <a:cxn ang="0">
                  <a:pos x="87" y="82"/>
                </a:cxn>
                <a:cxn ang="0">
                  <a:pos x="100" y="113"/>
                </a:cxn>
                <a:cxn ang="0">
                  <a:pos x="99" y="138"/>
                </a:cxn>
                <a:cxn ang="0">
                  <a:pos x="87" y="148"/>
                </a:cxn>
              </a:cxnLst>
              <a:rect l="0" t="0" r="r" b="b"/>
              <a:pathLst>
                <a:path w="368" h="182">
                  <a:moveTo>
                    <a:pt x="87" y="148"/>
                  </a:moveTo>
                  <a:lnTo>
                    <a:pt x="94" y="154"/>
                  </a:lnTo>
                  <a:lnTo>
                    <a:pt x="102" y="154"/>
                  </a:lnTo>
                  <a:lnTo>
                    <a:pt x="115" y="150"/>
                  </a:lnTo>
                  <a:lnTo>
                    <a:pt x="134" y="156"/>
                  </a:lnTo>
                  <a:lnTo>
                    <a:pt x="140" y="156"/>
                  </a:lnTo>
                  <a:lnTo>
                    <a:pt x="145" y="149"/>
                  </a:lnTo>
                  <a:lnTo>
                    <a:pt x="150" y="145"/>
                  </a:lnTo>
                  <a:lnTo>
                    <a:pt x="158" y="148"/>
                  </a:lnTo>
                  <a:lnTo>
                    <a:pt x="166" y="155"/>
                  </a:lnTo>
                  <a:lnTo>
                    <a:pt x="177" y="171"/>
                  </a:lnTo>
                  <a:lnTo>
                    <a:pt x="182" y="172"/>
                  </a:lnTo>
                  <a:lnTo>
                    <a:pt x="191" y="182"/>
                  </a:lnTo>
                  <a:lnTo>
                    <a:pt x="212" y="181"/>
                  </a:lnTo>
                  <a:lnTo>
                    <a:pt x="219" y="176"/>
                  </a:lnTo>
                  <a:lnTo>
                    <a:pt x="235" y="175"/>
                  </a:lnTo>
                  <a:lnTo>
                    <a:pt x="242" y="171"/>
                  </a:lnTo>
                  <a:lnTo>
                    <a:pt x="258" y="174"/>
                  </a:lnTo>
                  <a:lnTo>
                    <a:pt x="267" y="172"/>
                  </a:lnTo>
                  <a:lnTo>
                    <a:pt x="277" y="167"/>
                  </a:lnTo>
                  <a:lnTo>
                    <a:pt x="282" y="166"/>
                  </a:lnTo>
                  <a:lnTo>
                    <a:pt x="296" y="156"/>
                  </a:lnTo>
                  <a:lnTo>
                    <a:pt x="304" y="158"/>
                  </a:lnTo>
                  <a:lnTo>
                    <a:pt x="311" y="160"/>
                  </a:lnTo>
                  <a:lnTo>
                    <a:pt x="317" y="166"/>
                  </a:lnTo>
                  <a:lnTo>
                    <a:pt x="332" y="174"/>
                  </a:lnTo>
                  <a:lnTo>
                    <a:pt x="341" y="172"/>
                  </a:lnTo>
                  <a:lnTo>
                    <a:pt x="355" y="179"/>
                  </a:lnTo>
                  <a:lnTo>
                    <a:pt x="364" y="180"/>
                  </a:lnTo>
                  <a:lnTo>
                    <a:pt x="368" y="174"/>
                  </a:lnTo>
                  <a:lnTo>
                    <a:pt x="365" y="166"/>
                  </a:lnTo>
                  <a:lnTo>
                    <a:pt x="352" y="156"/>
                  </a:lnTo>
                  <a:lnTo>
                    <a:pt x="349" y="149"/>
                  </a:lnTo>
                  <a:lnTo>
                    <a:pt x="343" y="143"/>
                  </a:lnTo>
                  <a:lnTo>
                    <a:pt x="344" y="134"/>
                  </a:lnTo>
                  <a:lnTo>
                    <a:pt x="355" y="124"/>
                  </a:lnTo>
                  <a:lnTo>
                    <a:pt x="357" y="124"/>
                  </a:lnTo>
                  <a:lnTo>
                    <a:pt x="352" y="121"/>
                  </a:lnTo>
                  <a:lnTo>
                    <a:pt x="345" y="116"/>
                  </a:lnTo>
                  <a:lnTo>
                    <a:pt x="329" y="111"/>
                  </a:lnTo>
                  <a:lnTo>
                    <a:pt x="317" y="101"/>
                  </a:lnTo>
                  <a:lnTo>
                    <a:pt x="321" y="86"/>
                  </a:lnTo>
                  <a:lnTo>
                    <a:pt x="317" y="79"/>
                  </a:lnTo>
                  <a:lnTo>
                    <a:pt x="310" y="75"/>
                  </a:lnTo>
                  <a:lnTo>
                    <a:pt x="302" y="75"/>
                  </a:lnTo>
                  <a:lnTo>
                    <a:pt x="295" y="72"/>
                  </a:lnTo>
                  <a:lnTo>
                    <a:pt x="290" y="66"/>
                  </a:lnTo>
                  <a:lnTo>
                    <a:pt x="274" y="63"/>
                  </a:lnTo>
                  <a:lnTo>
                    <a:pt x="267" y="64"/>
                  </a:lnTo>
                  <a:lnTo>
                    <a:pt x="261" y="59"/>
                  </a:lnTo>
                  <a:lnTo>
                    <a:pt x="252" y="59"/>
                  </a:lnTo>
                  <a:lnTo>
                    <a:pt x="237" y="66"/>
                  </a:lnTo>
                  <a:lnTo>
                    <a:pt x="231" y="70"/>
                  </a:lnTo>
                  <a:lnTo>
                    <a:pt x="223" y="73"/>
                  </a:lnTo>
                  <a:lnTo>
                    <a:pt x="215" y="69"/>
                  </a:lnTo>
                  <a:lnTo>
                    <a:pt x="213" y="61"/>
                  </a:lnTo>
                  <a:lnTo>
                    <a:pt x="175" y="39"/>
                  </a:lnTo>
                  <a:lnTo>
                    <a:pt x="171" y="34"/>
                  </a:lnTo>
                  <a:lnTo>
                    <a:pt x="164" y="29"/>
                  </a:lnTo>
                  <a:lnTo>
                    <a:pt x="148" y="29"/>
                  </a:lnTo>
                  <a:lnTo>
                    <a:pt x="132" y="24"/>
                  </a:lnTo>
                  <a:lnTo>
                    <a:pt x="108" y="26"/>
                  </a:lnTo>
                  <a:lnTo>
                    <a:pt x="99" y="25"/>
                  </a:lnTo>
                  <a:lnTo>
                    <a:pt x="76" y="15"/>
                  </a:lnTo>
                  <a:lnTo>
                    <a:pt x="60" y="13"/>
                  </a:lnTo>
                  <a:lnTo>
                    <a:pt x="54" y="7"/>
                  </a:lnTo>
                  <a:lnTo>
                    <a:pt x="40" y="2"/>
                  </a:lnTo>
                  <a:lnTo>
                    <a:pt x="31" y="3"/>
                  </a:lnTo>
                  <a:lnTo>
                    <a:pt x="24" y="0"/>
                  </a:lnTo>
                  <a:lnTo>
                    <a:pt x="15" y="2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4" y="18"/>
                  </a:lnTo>
                  <a:lnTo>
                    <a:pt x="21" y="27"/>
                  </a:lnTo>
                  <a:lnTo>
                    <a:pt x="31" y="32"/>
                  </a:lnTo>
                  <a:lnTo>
                    <a:pt x="56" y="39"/>
                  </a:lnTo>
                  <a:lnTo>
                    <a:pt x="67" y="51"/>
                  </a:lnTo>
                  <a:lnTo>
                    <a:pt x="78" y="57"/>
                  </a:lnTo>
                  <a:lnTo>
                    <a:pt x="84" y="68"/>
                  </a:lnTo>
                  <a:lnTo>
                    <a:pt x="87" y="82"/>
                  </a:lnTo>
                  <a:lnTo>
                    <a:pt x="91" y="104"/>
                  </a:lnTo>
                  <a:lnTo>
                    <a:pt x="100" y="113"/>
                  </a:lnTo>
                  <a:lnTo>
                    <a:pt x="100" y="124"/>
                  </a:lnTo>
                  <a:lnTo>
                    <a:pt x="99" y="138"/>
                  </a:lnTo>
                  <a:lnTo>
                    <a:pt x="92" y="145"/>
                  </a:lnTo>
                  <a:lnTo>
                    <a:pt x="87" y="1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55" name="Freeform 168"/>
            <p:cNvSpPr>
              <a:spLocks noChangeAspect="1"/>
            </p:cNvSpPr>
            <p:nvPr/>
          </p:nvSpPr>
          <p:spPr bwMode="gray">
            <a:xfrm>
              <a:off x="6873578" y="3280773"/>
              <a:ext cx="298946" cy="213028"/>
            </a:xfrm>
            <a:custGeom>
              <a:avLst/>
              <a:gdLst/>
              <a:ahLst/>
              <a:cxnLst>
                <a:cxn ang="0">
                  <a:pos x="0" y="260"/>
                </a:cxn>
                <a:cxn ang="0">
                  <a:pos x="56" y="310"/>
                </a:cxn>
                <a:cxn ang="0">
                  <a:pos x="63" y="274"/>
                </a:cxn>
                <a:cxn ang="0">
                  <a:pos x="96" y="260"/>
                </a:cxn>
                <a:cxn ang="0">
                  <a:pos x="115" y="238"/>
                </a:cxn>
                <a:cxn ang="0">
                  <a:pos x="127" y="234"/>
                </a:cxn>
                <a:cxn ang="0">
                  <a:pos x="143" y="220"/>
                </a:cxn>
                <a:cxn ang="0">
                  <a:pos x="183" y="250"/>
                </a:cxn>
                <a:cxn ang="0">
                  <a:pos x="220" y="262"/>
                </a:cxn>
                <a:cxn ang="0">
                  <a:pos x="231" y="287"/>
                </a:cxn>
                <a:cxn ang="0">
                  <a:pos x="223" y="314"/>
                </a:cxn>
                <a:cxn ang="0">
                  <a:pos x="267" y="330"/>
                </a:cxn>
                <a:cxn ang="0">
                  <a:pos x="306" y="321"/>
                </a:cxn>
                <a:cxn ang="0">
                  <a:pos x="333" y="351"/>
                </a:cxn>
                <a:cxn ang="0">
                  <a:pos x="350" y="384"/>
                </a:cxn>
                <a:cxn ang="0">
                  <a:pos x="365" y="429"/>
                </a:cxn>
                <a:cxn ang="0">
                  <a:pos x="460" y="489"/>
                </a:cxn>
                <a:cxn ang="0">
                  <a:pos x="521" y="542"/>
                </a:cxn>
                <a:cxn ang="0">
                  <a:pos x="567" y="547"/>
                </a:cxn>
                <a:cxn ang="0">
                  <a:pos x="581" y="569"/>
                </a:cxn>
                <a:cxn ang="0">
                  <a:pos x="578" y="606"/>
                </a:cxn>
                <a:cxn ang="0">
                  <a:pos x="630" y="610"/>
                </a:cxn>
                <a:cxn ang="0">
                  <a:pos x="646" y="595"/>
                </a:cxn>
                <a:cxn ang="0">
                  <a:pos x="671" y="559"/>
                </a:cxn>
                <a:cxn ang="0">
                  <a:pos x="670" y="536"/>
                </a:cxn>
                <a:cxn ang="0">
                  <a:pos x="666" y="498"/>
                </a:cxn>
                <a:cxn ang="0">
                  <a:pos x="640" y="486"/>
                </a:cxn>
                <a:cxn ang="0">
                  <a:pos x="632" y="462"/>
                </a:cxn>
                <a:cxn ang="0">
                  <a:pos x="650" y="443"/>
                </a:cxn>
                <a:cxn ang="0">
                  <a:pos x="687" y="446"/>
                </a:cxn>
                <a:cxn ang="0">
                  <a:pos x="723" y="409"/>
                </a:cxn>
                <a:cxn ang="0">
                  <a:pos x="726" y="382"/>
                </a:cxn>
                <a:cxn ang="0">
                  <a:pos x="747" y="370"/>
                </a:cxn>
                <a:cxn ang="0">
                  <a:pos x="788" y="347"/>
                </a:cxn>
                <a:cxn ang="0">
                  <a:pos x="807" y="357"/>
                </a:cxn>
                <a:cxn ang="0">
                  <a:pos x="791" y="380"/>
                </a:cxn>
                <a:cxn ang="0">
                  <a:pos x="816" y="398"/>
                </a:cxn>
                <a:cxn ang="0">
                  <a:pos x="855" y="403"/>
                </a:cxn>
                <a:cxn ang="0">
                  <a:pos x="888" y="385"/>
                </a:cxn>
                <a:cxn ang="0">
                  <a:pos x="915" y="378"/>
                </a:cxn>
                <a:cxn ang="0">
                  <a:pos x="933" y="354"/>
                </a:cxn>
                <a:cxn ang="0">
                  <a:pos x="890" y="342"/>
                </a:cxn>
                <a:cxn ang="0">
                  <a:pos x="865" y="314"/>
                </a:cxn>
                <a:cxn ang="0">
                  <a:pos x="843" y="337"/>
                </a:cxn>
                <a:cxn ang="0">
                  <a:pos x="796" y="317"/>
                </a:cxn>
                <a:cxn ang="0">
                  <a:pos x="798" y="292"/>
                </a:cxn>
                <a:cxn ang="0">
                  <a:pos x="833" y="253"/>
                </a:cxn>
                <a:cxn ang="0">
                  <a:pos x="795" y="271"/>
                </a:cxn>
                <a:cxn ang="0">
                  <a:pos x="753" y="298"/>
                </a:cxn>
                <a:cxn ang="0">
                  <a:pos x="719" y="320"/>
                </a:cxn>
                <a:cxn ang="0">
                  <a:pos x="699" y="343"/>
                </a:cxn>
                <a:cxn ang="0">
                  <a:pos x="654" y="325"/>
                </a:cxn>
                <a:cxn ang="0">
                  <a:pos x="553" y="266"/>
                </a:cxn>
                <a:cxn ang="0">
                  <a:pos x="547" y="207"/>
                </a:cxn>
                <a:cxn ang="0">
                  <a:pos x="498" y="150"/>
                </a:cxn>
                <a:cxn ang="0">
                  <a:pos x="331" y="161"/>
                </a:cxn>
                <a:cxn ang="0">
                  <a:pos x="210" y="42"/>
                </a:cxn>
                <a:cxn ang="0">
                  <a:pos x="0" y="51"/>
                </a:cxn>
              </a:cxnLst>
              <a:rect l="0" t="0" r="r" b="b"/>
              <a:pathLst>
                <a:path w="940" h="612">
                  <a:moveTo>
                    <a:pt x="0" y="51"/>
                  </a:moveTo>
                  <a:lnTo>
                    <a:pt x="0" y="121"/>
                  </a:lnTo>
                  <a:lnTo>
                    <a:pt x="0" y="195"/>
                  </a:lnTo>
                  <a:lnTo>
                    <a:pt x="0" y="260"/>
                  </a:lnTo>
                  <a:lnTo>
                    <a:pt x="0" y="321"/>
                  </a:lnTo>
                  <a:lnTo>
                    <a:pt x="54" y="330"/>
                  </a:lnTo>
                  <a:lnTo>
                    <a:pt x="62" y="325"/>
                  </a:lnTo>
                  <a:lnTo>
                    <a:pt x="56" y="310"/>
                  </a:lnTo>
                  <a:lnTo>
                    <a:pt x="57" y="303"/>
                  </a:lnTo>
                  <a:lnTo>
                    <a:pt x="52" y="287"/>
                  </a:lnTo>
                  <a:lnTo>
                    <a:pt x="56" y="279"/>
                  </a:lnTo>
                  <a:lnTo>
                    <a:pt x="63" y="274"/>
                  </a:lnTo>
                  <a:lnTo>
                    <a:pt x="67" y="268"/>
                  </a:lnTo>
                  <a:lnTo>
                    <a:pt x="72" y="261"/>
                  </a:lnTo>
                  <a:lnTo>
                    <a:pt x="80" y="260"/>
                  </a:lnTo>
                  <a:lnTo>
                    <a:pt x="96" y="260"/>
                  </a:lnTo>
                  <a:lnTo>
                    <a:pt x="105" y="256"/>
                  </a:lnTo>
                  <a:lnTo>
                    <a:pt x="107" y="249"/>
                  </a:lnTo>
                  <a:lnTo>
                    <a:pt x="107" y="241"/>
                  </a:lnTo>
                  <a:lnTo>
                    <a:pt x="115" y="238"/>
                  </a:lnTo>
                  <a:lnTo>
                    <a:pt x="127" y="246"/>
                  </a:lnTo>
                  <a:lnTo>
                    <a:pt x="135" y="249"/>
                  </a:lnTo>
                  <a:lnTo>
                    <a:pt x="132" y="241"/>
                  </a:lnTo>
                  <a:lnTo>
                    <a:pt x="127" y="234"/>
                  </a:lnTo>
                  <a:lnTo>
                    <a:pt x="121" y="229"/>
                  </a:lnTo>
                  <a:lnTo>
                    <a:pt x="128" y="225"/>
                  </a:lnTo>
                  <a:lnTo>
                    <a:pt x="135" y="225"/>
                  </a:lnTo>
                  <a:lnTo>
                    <a:pt x="143" y="220"/>
                  </a:lnTo>
                  <a:lnTo>
                    <a:pt x="144" y="214"/>
                  </a:lnTo>
                  <a:lnTo>
                    <a:pt x="165" y="235"/>
                  </a:lnTo>
                  <a:lnTo>
                    <a:pt x="178" y="244"/>
                  </a:lnTo>
                  <a:lnTo>
                    <a:pt x="183" y="250"/>
                  </a:lnTo>
                  <a:lnTo>
                    <a:pt x="192" y="253"/>
                  </a:lnTo>
                  <a:lnTo>
                    <a:pt x="201" y="251"/>
                  </a:lnTo>
                  <a:lnTo>
                    <a:pt x="216" y="255"/>
                  </a:lnTo>
                  <a:lnTo>
                    <a:pt x="220" y="262"/>
                  </a:lnTo>
                  <a:lnTo>
                    <a:pt x="218" y="269"/>
                  </a:lnTo>
                  <a:lnTo>
                    <a:pt x="219" y="278"/>
                  </a:lnTo>
                  <a:lnTo>
                    <a:pt x="225" y="283"/>
                  </a:lnTo>
                  <a:lnTo>
                    <a:pt x="231" y="287"/>
                  </a:lnTo>
                  <a:lnTo>
                    <a:pt x="224" y="290"/>
                  </a:lnTo>
                  <a:lnTo>
                    <a:pt x="224" y="298"/>
                  </a:lnTo>
                  <a:lnTo>
                    <a:pt x="225" y="306"/>
                  </a:lnTo>
                  <a:lnTo>
                    <a:pt x="223" y="314"/>
                  </a:lnTo>
                  <a:lnTo>
                    <a:pt x="228" y="320"/>
                  </a:lnTo>
                  <a:lnTo>
                    <a:pt x="242" y="328"/>
                  </a:lnTo>
                  <a:lnTo>
                    <a:pt x="259" y="331"/>
                  </a:lnTo>
                  <a:lnTo>
                    <a:pt x="267" y="330"/>
                  </a:lnTo>
                  <a:lnTo>
                    <a:pt x="291" y="335"/>
                  </a:lnTo>
                  <a:lnTo>
                    <a:pt x="299" y="332"/>
                  </a:lnTo>
                  <a:lnTo>
                    <a:pt x="300" y="325"/>
                  </a:lnTo>
                  <a:lnTo>
                    <a:pt x="306" y="321"/>
                  </a:lnTo>
                  <a:lnTo>
                    <a:pt x="314" y="326"/>
                  </a:lnTo>
                  <a:lnTo>
                    <a:pt x="326" y="337"/>
                  </a:lnTo>
                  <a:lnTo>
                    <a:pt x="331" y="343"/>
                  </a:lnTo>
                  <a:lnTo>
                    <a:pt x="333" y="351"/>
                  </a:lnTo>
                  <a:lnTo>
                    <a:pt x="334" y="366"/>
                  </a:lnTo>
                  <a:lnTo>
                    <a:pt x="338" y="374"/>
                  </a:lnTo>
                  <a:lnTo>
                    <a:pt x="345" y="378"/>
                  </a:lnTo>
                  <a:lnTo>
                    <a:pt x="350" y="384"/>
                  </a:lnTo>
                  <a:lnTo>
                    <a:pt x="355" y="400"/>
                  </a:lnTo>
                  <a:lnTo>
                    <a:pt x="354" y="408"/>
                  </a:lnTo>
                  <a:lnTo>
                    <a:pt x="360" y="423"/>
                  </a:lnTo>
                  <a:lnTo>
                    <a:pt x="365" y="429"/>
                  </a:lnTo>
                  <a:lnTo>
                    <a:pt x="416" y="459"/>
                  </a:lnTo>
                  <a:lnTo>
                    <a:pt x="436" y="483"/>
                  </a:lnTo>
                  <a:lnTo>
                    <a:pt x="443" y="488"/>
                  </a:lnTo>
                  <a:lnTo>
                    <a:pt x="460" y="489"/>
                  </a:lnTo>
                  <a:lnTo>
                    <a:pt x="473" y="498"/>
                  </a:lnTo>
                  <a:lnTo>
                    <a:pt x="493" y="513"/>
                  </a:lnTo>
                  <a:lnTo>
                    <a:pt x="515" y="536"/>
                  </a:lnTo>
                  <a:lnTo>
                    <a:pt x="521" y="542"/>
                  </a:lnTo>
                  <a:lnTo>
                    <a:pt x="530" y="543"/>
                  </a:lnTo>
                  <a:lnTo>
                    <a:pt x="536" y="538"/>
                  </a:lnTo>
                  <a:lnTo>
                    <a:pt x="544" y="537"/>
                  </a:lnTo>
                  <a:lnTo>
                    <a:pt x="567" y="547"/>
                  </a:lnTo>
                  <a:lnTo>
                    <a:pt x="572" y="553"/>
                  </a:lnTo>
                  <a:lnTo>
                    <a:pt x="579" y="557"/>
                  </a:lnTo>
                  <a:lnTo>
                    <a:pt x="585" y="562"/>
                  </a:lnTo>
                  <a:lnTo>
                    <a:pt x="581" y="569"/>
                  </a:lnTo>
                  <a:lnTo>
                    <a:pt x="578" y="577"/>
                  </a:lnTo>
                  <a:lnTo>
                    <a:pt x="578" y="592"/>
                  </a:lnTo>
                  <a:lnTo>
                    <a:pt x="579" y="601"/>
                  </a:lnTo>
                  <a:lnTo>
                    <a:pt x="578" y="606"/>
                  </a:lnTo>
                  <a:lnTo>
                    <a:pt x="607" y="605"/>
                  </a:lnTo>
                  <a:lnTo>
                    <a:pt x="615" y="607"/>
                  </a:lnTo>
                  <a:lnTo>
                    <a:pt x="621" y="612"/>
                  </a:lnTo>
                  <a:lnTo>
                    <a:pt x="630" y="610"/>
                  </a:lnTo>
                  <a:lnTo>
                    <a:pt x="643" y="611"/>
                  </a:lnTo>
                  <a:lnTo>
                    <a:pt x="648" y="608"/>
                  </a:lnTo>
                  <a:lnTo>
                    <a:pt x="648" y="601"/>
                  </a:lnTo>
                  <a:lnTo>
                    <a:pt x="646" y="595"/>
                  </a:lnTo>
                  <a:lnTo>
                    <a:pt x="653" y="581"/>
                  </a:lnTo>
                  <a:lnTo>
                    <a:pt x="661" y="570"/>
                  </a:lnTo>
                  <a:lnTo>
                    <a:pt x="664" y="564"/>
                  </a:lnTo>
                  <a:lnTo>
                    <a:pt x="671" y="559"/>
                  </a:lnTo>
                  <a:lnTo>
                    <a:pt x="676" y="554"/>
                  </a:lnTo>
                  <a:lnTo>
                    <a:pt x="678" y="547"/>
                  </a:lnTo>
                  <a:lnTo>
                    <a:pt x="677" y="541"/>
                  </a:lnTo>
                  <a:lnTo>
                    <a:pt x="670" y="536"/>
                  </a:lnTo>
                  <a:lnTo>
                    <a:pt x="665" y="529"/>
                  </a:lnTo>
                  <a:lnTo>
                    <a:pt x="661" y="513"/>
                  </a:lnTo>
                  <a:lnTo>
                    <a:pt x="665" y="507"/>
                  </a:lnTo>
                  <a:lnTo>
                    <a:pt x="666" y="498"/>
                  </a:lnTo>
                  <a:lnTo>
                    <a:pt x="664" y="491"/>
                  </a:lnTo>
                  <a:lnTo>
                    <a:pt x="658" y="486"/>
                  </a:lnTo>
                  <a:lnTo>
                    <a:pt x="649" y="487"/>
                  </a:lnTo>
                  <a:lnTo>
                    <a:pt x="640" y="486"/>
                  </a:lnTo>
                  <a:lnTo>
                    <a:pt x="638" y="478"/>
                  </a:lnTo>
                  <a:lnTo>
                    <a:pt x="630" y="473"/>
                  </a:lnTo>
                  <a:lnTo>
                    <a:pt x="624" y="467"/>
                  </a:lnTo>
                  <a:lnTo>
                    <a:pt x="632" y="462"/>
                  </a:lnTo>
                  <a:lnTo>
                    <a:pt x="630" y="454"/>
                  </a:lnTo>
                  <a:lnTo>
                    <a:pt x="634" y="448"/>
                  </a:lnTo>
                  <a:lnTo>
                    <a:pt x="642" y="444"/>
                  </a:lnTo>
                  <a:lnTo>
                    <a:pt x="650" y="443"/>
                  </a:lnTo>
                  <a:lnTo>
                    <a:pt x="656" y="449"/>
                  </a:lnTo>
                  <a:lnTo>
                    <a:pt x="664" y="450"/>
                  </a:lnTo>
                  <a:lnTo>
                    <a:pt x="680" y="449"/>
                  </a:lnTo>
                  <a:lnTo>
                    <a:pt x="687" y="446"/>
                  </a:lnTo>
                  <a:lnTo>
                    <a:pt x="699" y="424"/>
                  </a:lnTo>
                  <a:lnTo>
                    <a:pt x="699" y="417"/>
                  </a:lnTo>
                  <a:lnTo>
                    <a:pt x="707" y="412"/>
                  </a:lnTo>
                  <a:lnTo>
                    <a:pt x="723" y="409"/>
                  </a:lnTo>
                  <a:lnTo>
                    <a:pt x="729" y="405"/>
                  </a:lnTo>
                  <a:lnTo>
                    <a:pt x="731" y="397"/>
                  </a:lnTo>
                  <a:lnTo>
                    <a:pt x="731" y="389"/>
                  </a:lnTo>
                  <a:lnTo>
                    <a:pt x="726" y="382"/>
                  </a:lnTo>
                  <a:lnTo>
                    <a:pt x="732" y="378"/>
                  </a:lnTo>
                  <a:lnTo>
                    <a:pt x="734" y="369"/>
                  </a:lnTo>
                  <a:lnTo>
                    <a:pt x="741" y="365"/>
                  </a:lnTo>
                  <a:lnTo>
                    <a:pt x="747" y="370"/>
                  </a:lnTo>
                  <a:lnTo>
                    <a:pt x="756" y="369"/>
                  </a:lnTo>
                  <a:lnTo>
                    <a:pt x="769" y="362"/>
                  </a:lnTo>
                  <a:lnTo>
                    <a:pt x="784" y="354"/>
                  </a:lnTo>
                  <a:lnTo>
                    <a:pt x="788" y="347"/>
                  </a:lnTo>
                  <a:lnTo>
                    <a:pt x="794" y="342"/>
                  </a:lnTo>
                  <a:lnTo>
                    <a:pt x="801" y="342"/>
                  </a:lnTo>
                  <a:lnTo>
                    <a:pt x="802" y="351"/>
                  </a:lnTo>
                  <a:lnTo>
                    <a:pt x="807" y="357"/>
                  </a:lnTo>
                  <a:lnTo>
                    <a:pt x="809" y="364"/>
                  </a:lnTo>
                  <a:lnTo>
                    <a:pt x="805" y="371"/>
                  </a:lnTo>
                  <a:lnTo>
                    <a:pt x="798" y="375"/>
                  </a:lnTo>
                  <a:lnTo>
                    <a:pt x="791" y="380"/>
                  </a:lnTo>
                  <a:lnTo>
                    <a:pt x="796" y="396"/>
                  </a:lnTo>
                  <a:lnTo>
                    <a:pt x="800" y="403"/>
                  </a:lnTo>
                  <a:lnTo>
                    <a:pt x="809" y="402"/>
                  </a:lnTo>
                  <a:lnTo>
                    <a:pt x="816" y="398"/>
                  </a:lnTo>
                  <a:lnTo>
                    <a:pt x="820" y="398"/>
                  </a:lnTo>
                  <a:lnTo>
                    <a:pt x="832" y="397"/>
                  </a:lnTo>
                  <a:lnTo>
                    <a:pt x="839" y="398"/>
                  </a:lnTo>
                  <a:lnTo>
                    <a:pt x="855" y="403"/>
                  </a:lnTo>
                  <a:lnTo>
                    <a:pt x="871" y="401"/>
                  </a:lnTo>
                  <a:lnTo>
                    <a:pt x="877" y="396"/>
                  </a:lnTo>
                  <a:lnTo>
                    <a:pt x="881" y="389"/>
                  </a:lnTo>
                  <a:lnTo>
                    <a:pt x="888" y="385"/>
                  </a:lnTo>
                  <a:lnTo>
                    <a:pt x="896" y="385"/>
                  </a:lnTo>
                  <a:lnTo>
                    <a:pt x="901" y="379"/>
                  </a:lnTo>
                  <a:lnTo>
                    <a:pt x="909" y="381"/>
                  </a:lnTo>
                  <a:lnTo>
                    <a:pt x="915" y="378"/>
                  </a:lnTo>
                  <a:lnTo>
                    <a:pt x="919" y="369"/>
                  </a:lnTo>
                  <a:lnTo>
                    <a:pt x="935" y="365"/>
                  </a:lnTo>
                  <a:lnTo>
                    <a:pt x="940" y="358"/>
                  </a:lnTo>
                  <a:lnTo>
                    <a:pt x="933" y="354"/>
                  </a:lnTo>
                  <a:lnTo>
                    <a:pt x="925" y="357"/>
                  </a:lnTo>
                  <a:lnTo>
                    <a:pt x="909" y="352"/>
                  </a:lnTo>
                  <a:lnTo>
                    <a:pt x="898" y="342"/>
                  </a:lnTo>
                  <a:lnTo>
                    <a:pt x="890" y="342"/>
                  </a:lnTo>
                  <a:lnTo>
                    <a:pt x="884" y="337"/>
                  </a:lnTo>
                  <a:lnTo>
                    <a:pt x="870" y="328"/>
                  </a:lnTo>
                  <a:lnTo>
                    <a:pt x="870" y="320"/>
                  </a:lnTo>
                  <a:lnTo>
                    <a:pt x="865" y="314"/>
                  </a:lnTo>
                  <a:lnTo>
                    <a:pt x="858" y="310"/>
                  </a:lnTo>
                  <a:lnTo>
                    <a:pt x="853" y="325"/>
                  </a:lnTo>
                  <a:lnTo>
                    <a:pt x="845" y="330"/>
                  </a:lnTo>
                  <a:lnTo>
                    <a:pt x="843" y="337"/>
                  </a:lnTo>
                  <a:lnTo>
                    <a:pt x="836" y="337"/>
                  </a:lnTo>
                  <a:lnTo>
                    <a:pt x="812" y="327"/>
                  </a:lnTo>
                  <a:lnTo>
                    <a:pt x="804" y="314"/>
                  </a:lnTo>
                  <a:lnTo>
                    <a:pt x="796" y="317"/>
                  </a:lnTo>
                  <a:lnTo>
                    <a:pt x="790" y="312"/>
                  </a:lnTo>
                  <a:lnTo>
                    <a:pt x="782" y="310"/>
                  </a:lnTo>
                  <a:lnTo>
                    <a:pt x="783" y="301"/>
                  </a:lnTo>
                  <a:lnTo>
                    <a:pt x="798" y="292"/>
                  </a:lnTo>
                  <a:lnTo>
                    <a:pt x="810" y="280"/>
                  </a:lnTo>
                  <a:lnTo>
                    <a:pt x="820" y="268"/>
                  </a:lnTo>
                  <a:lnTo>
                    <a:pt x="834" y="262"/>
                  </a:lnTo>
                  <a:lnTo>
                    <a:pt x="833" y="253"/>
                  </a:lnTo>
                  <a:lnTo>
                    <a:pt x="816" y="249"/>
                  </a:lnTo>
                  <a:lnTo>
                    <a:pt x="814" y="256"/>
                  </a:lnTo>
                  <a:lnTo>
                    <a:pt x="802" y="268"/>
                  </a:lnTo>
                  <a:lnTo>
                    <a:pt x="795" y="271"/>
                  </a:lnTo>
                  <a:lnTo>
                    <a:pt x="788" y="268"/>
                  </a:lnTo>
                  <a:lnTo>
                    <a:pt x="782" y="283"/>
                  </a:lnTo>
                  <a:lnTo>
                    <a:pt x="775" y="288"/>
                  </a:lnTo>
                  <a:lnTo>
                    <a:pt x="753" y="298"/>
                  </a:lnTo>
                  <a:lnTo>
                    <a:pt x="739" y="306"/>
                  </a:lnTo>
                  <a:lnTo>
                    <a:pt x="734" y="312"/>
                  </a:lnTo>
                  <a:lnTo>
                    <a:pt x="726" y="315"/>
                  </a:lnTo>
                  <a:lnTo>
                    <a:pt x="719" y="320"/>
                  </a:lnTo>
                  <a:lnTo>
                    <a:pt x="715" y="327"/>
                  </a:lnTo>
                  <a:lnTo>
                    <a:pt x="713" y="335"/>
                  </a:lnTo>
                  <a:lnTo>
                    <a:pt x="707" y="339"/>
                  </a:lnTo>
                  <a:lnTo>
                    <a:pt x="699" y="343"/>
                  </a:lnTo>
                  <a:lnTo>
                    <a:pt x="691" y="342"/>
                  </a:lnTo>
                  <a:lnTo>
                    <a:pt x="676" y="335"/>
                  </a:lnTo>
                  <a:lnTo>
                    <a:pt x="667" y="333"/>
                  </a:lnTo>
                  <a:lnTo>
                    <a:pt x="654" y="325"/>
                  </a:lnTo>
                  <a:lnTo>
                    <a:pt x="597" y="331"/>
                  </a:lnTo>
                  <a:lnTo>
                    <a:pt x="587" y="285"/>
                  </a:lnTo>
                  <a:lnTo>
                    <a:pt x="554" y="279"/>
                  </a:lnTo>
                  <a:lnTo>
                    <a:pt x="553" y="266"/>
                  </a:lnTo>
                  <a:lnTo>
                    <a:pt x="554" y="250"/>
                  </a:lnTo>
                  <a:lnTo>
                    <a:pt x="562" y="249"/>
                  </a:lnTo>
                  <a:lnTo>
                    <a:pt x="560" y="206"/>
                  </a:lnTo>
                  <a:lnTo>
                    <a:pt x="547" y="207"/>
                  </a:lnTo>
                  <a:lnTo>
                    <a:pt x="530" y="174"/>
                  </a:lnTo>
                  <a:lnTo>
                    <a:pt x="517" y="164"/>
                  </a:lnTo>
                  <a:lnTo>
                    <a:pt x="510" y="160"/>
                  </a:lnTo>
                  <a:lnTo>
                    <a:pt x="498" y="150"/>
                  </a:lnTo>
                  <a:lnTo>
                    <a:pt x="492" y="144"/>
                  </a:lnTo>
                  <a:lnTo>
                    <a:pt x="478" y="150"/>
                  </a:lnTo>
                  <a:lnTo>
                    <a:pt x="402" y="149"/>
                  </a:lnTo>
                  <a:lnTo>
                    <a:pt x="331" y="161"/>
                  </a:lnTo>
                  <a:lnTo>
                    <a:pt x="304" y="133"/>
                  </a:lnTo>
                  <a:lnTo>
                    <a:pt x="259" y="85"/>
                  </a:lnTo>
                  <a:lnTo>
                    <a:pt x="224" y="52"/>
                  </a:lnTo>
                  <a:lnTo>
                    <a:pt x="210" y="42"/>
                  </a:lnTo>
                  <a:lnTo>
                    <a:pt x="191" y="26"/>
                  </a:lnTo>
                  <a:lnTo>
                    <a:pt x="171" y="13"/>
                  </a:lnTo>
                  <a:lnTo>
                    <a:pt x="142" y="0"/>
                  </a:lnTo>
                  <a:lnTo>
                    <a:pt x="0" y="5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56" name="Freeform 169"/>
            <p:cNvSpPr>
              <a:spLocks noChangeAspect="1"/>
            </p:cNvSpPr>
            <p:nvPr/>
          </p:nvSpPr>
          <p:spPr bwMode="gray">
            <a:xfrm>
              <a:off x="6811563" y="3354111"/>
              <a:ext cx="248062" cy="188582"/>
            </a:xfrm>
            <a:custGeom>
              <a:avLst/>
              <a:gdLst/>
              <a:ahLst/>
              <a:cxnLst>
                <a:cxn ang="0">
                  <a:pos x="249" y="96"/>
                </a:cxn>
                <a:cxn ang="0">
                  <a:pos x="256" y="60"/>
                </a:cxn>
                <a:cxn ang="0">
                  <a:pos x="289" y="46"/>
                </a:cxn>
                <a:cxn ang="0">
                  <a:pos x="308" y="24"/>
                </a:cxn>
                <a:cxn ang="0">
                  <a:pos x="320" y="20"/>
                </a:cxn>
                <a:cxn ang="0">
                  <a:pos x="336" y="6"/>
                </a:cxn>
                <a:cxn ang="0">
                  <a:pos x="376" y="36"/>
                </a:cxn>
                <a:cxn ang="0">
                  <a:pos x="413" y="48"/>
                </a:cxn>
                <a:cxn ang="0">
                  <a:pos x="424" y="73"/>
                </a:cxn>
                <a:cxn ang="0">
                  <a:pos x="416" y="100"/>
                </a:cxn>
                <a:cxn ang="0">
                  <a:pos x="460" y="116"/>
                </a:cxn>
                <a:cxn ang="0">
                  <a:pos x="499" y="107"/>
                </a:cxn>
                <a:cxn ang="0">
                  <a:pos x="526" y="137"/>
                </a:cxn>
                <a:cxn ang="0">
                  <a:pos x="543" y="170"/>
                </a:cxn>
                <a:cxn ang="0">
                  <a:pos x="558" y="215"/>
                </a:cxn>
                <a:cxn ang="0">
                  <a:pos x="653" y="275"/>
                </a:cxn>
                <a:cxn ang="0">
                  <a:pos x="714" y="328"/>
                </a:cxn>
                <a:cxn ang="0">
                  <a:pos x="760" y="333"/>
                </a:cxn>
                <a:cxn ang="0">
                  <a:pos x="774" y="355"/>
                </a:cxn>
                <a:cxn ang="0">
                  <a:pos x="771" y="392"/>
                </a:cxn>
                <a:cxn ang="0">
                  <a:pos x="728" y="380"/>
                </a:cxn>
                <a:cxn ang="0">
                  <a:pos x="717" y="397"/>
                </a:cxn>
                <a:cxn ang="0">
                  <a:pos x="685" y="398"/>
                </a:cxn>
                <a:cxn ang="0">
                  <a:pos x="675" y="417"/>
                </a:cxn>
                <a:cxn ang="0">
                  <a:pos x="664" y="457"/>
                </a:cxn>
                <a:cxn ang="0">
                  <a:pos x="634" y="479"/>
                </a:cxn>
                <a:cxn ang="0">
                  <a:pos x="594" y="494"/>
                </a:cxn>
                <a:cxn ang="0">
                  <a:pos x="589" y="509"/>
                </a:cxn>
                <a:cxn ang="0">
                  <a:pos x="570" y="528"/>
                </a:cxn>
                <a:cxn ang="0">
                  <a:pos x="538" y="536"/>
                </a:cxn>
                <a:cxn ang="0">
                  <a:pos x="508" y="523"/>
                </a:cxn>
                <a:cxn ang="0">
                  <a:pos x="482" y="507"/>
                </a:cxn>
                <a:cxn ang="0">
                  <a:pos x="476" y="441"/>
                </a:cxn>
                <a:cxn ang="0">
                  <a:pos x="396" y="403"/>
                </a:cxn>
                <a:cxn ang="0">
                  <a:pos x="364" y="369"/>
                </a:cxn>
                <a:cxn ang="0">
                  <a:pos x="314" y="359"/>
                </a:cxn>
                <a:cxn ang="0">
                  <a:pos x="231" y="321"/>
                </a:cxn>
                <a:cxn ang="0">
                  <a:pos x="198" y="337"/>
                </a:cxn>
                <a:cxn ang="0">
                  <a:pos x="145" y="351"/>
                </a:cxn>
                <a:cxn ang="0">
                  <a:pos x="80" y="378"/>
                </a:cxn>
                <a:cxn ang="0">
                  <a:pos x="86" y="275"/>
                </a:cxn>
                <a:cxn ang="0">
                  <a:pos x="50" y="250"/>
                </a:cxn>
                <a:cxn ang="0">
                  <a:pos x="66" y="230"/>
                </a:cxn>
                <a:cxn ang="0">
                  <a:pos x="68" y="214"/>
                </a:cxn>
                <a:cxn ang="0">
                  <a:pos x="34" y="203"/>
                </a:cxn>
                <a:cxn ang="0">
                  <a:pos x="16" y="166"/>
                </a:cxn>
                <a:cxn ang="0">
                  <a:pos x="27" y="143"/>
                </a:cxn>
                <a:cxn ang="0">
                  <a:pos x="84" y="156"/>
                </a:cxn>
                <a:cxn ang="0">
                  <a:pos x="97" y="148"/>
                </a:cxn>
                <a:cxn ang="0">
                  <a:pos x="86" y="91"/>
                </a:cxn>
                <a:cxn ang="0">
                  <a:pos x="57" y="57"/>
                </a:cxn>
                <a:cxn ang="0">
                  <a:pos x="14" y="91"/>
                </a:cxn>
                <a:cxn ang="0">
                  <a:pos x="4" y="92"/>
                </a:cxn>
                <a:cxn ang="0">
                  <a:pos x="77" y="32"/>
                </a:cxn>
                <a:cxn ang="0">
                  <a:pos x="107" y="41"/>
                </a:cxn>
                <a:cxn ang="0">
                  <a:pos x="139" y="75"/>
                </a:cxn>
                <a:cxn ang="0">
                  <a:pos x="181" y="113"/>
                </a:cxn>
              </a:cxnLst>
              <a:rect l="0" t="0" r="r" b="b"/>
              <a:pathLst>
                <a:path w="778" h="536">
                  <a:moveTo>
                    <a:pt x="193" y="107"/>
                  </a:moveTo>
                  <a:lnTo>
                    <a:pt x="247" y="116"/>
                  </a:lnTo>
                  <a:lnTo>
                    <a:pt x="255" y="111"/>
                  </a:lnTo>
                  <a:lnTo>
                    <a:pt x="249" y="96"/>
                  </a:lnTo>
                  <a:lnTo>
                    <a:pt x="250" y="89"/>
                  </a:lnTo>
                  <a:lnTo>
                    <a:pt x="245" y="73"/>
                  </a:lnTo>
                  <a:lnTo>
                    <a:pt x="249" y="65"/>
                  </a:lnTo>
                  <a:lnTo>
                    <a:pt x="256" y="60"/>
                  </a:lnTo>
                  <a:lnTo>
                    <a:pt x="260" y="54"/>
                  </a:lnTo>
                  <a:lnTo>
                    <a:pt x="265" y="47"/>
                  </a:lnTo>
                  <a:lnTo>
                    <a:pt x="273" y="46"/>
                  </a:lnTo>
                  <a:lnTo>
                    <a:pt x="289" y="46"/>
                  </a:lnTo>
                  <a:lnTo>
                    <a:pt x="298" y="42"/>
                  </a:lnTo>
                  <a:lnTo>
                    <a:pt x="300" y="35"/>
                  </a:lnTo>
                  <a:lnTo>
                    <a:pt x="300" y="27"/>
                  </a:lnTo>
                  <a:lnTo>
                    <a:pt x="308" y="24"/>
                  </a:lnTo>
                  <a:lnTo>
                    <a:pt x="320" y="32"/>
                  </a:lnTo>
                  <a:lnTo>
                    <a:pt x="328" y="35"/>
                  </a:lnTo>
                  <a:lnTo>
                    <a:pt x="325" y="27"/>
                  </a:lnTo>
                  <a:lnTo>
                    <a:pt x="320" y="20"/>
                  </a:lnTo>
                  <a:lnTo>
                    <a:pt x="314" y="15"/>
                  </a:lnTo>
                  <a:lnTo>
                    <a:pt x="321" y="11"/>
                  </a:lnTo>
                  <a:lnTo>
                    <a:pt x="328" y="11"/>
                  </a:lnTo>
                  <a:lnTo>
                    <a:pt x="336" y="6"/>
                  </a:lnTo>
                  <a:lnTo>
                    <a:pt x="337" y="0"/>
                  </a:lnTo>
                  <a:lnTo>
                    <a:pt x="358" y="21"/>
                  </a:lnTo>
                  <a:lnTo>
                    <a:pt x="371" y="30"/>
                  </a:lnTo>
                  <a:lnTo>
                    <a:pt x="376" y="36"/>
                  </a:lnTo>
                  <a:lnTo>
                    <a:pt x="385" y="39"/>
                  </a:lnTo>
                  <a:lnTo>
                    <a:pt x="394" y="37"/>
                  </a:lnTo>
                  <a:lnTo>
                    <a:pt x="409" y="41"/>
                  </a:lnTo>
                  <a:lnTo>
                    <a:pt x="413" y="48"/>
                  </a:lnTo>
                  <a:lnTo>
                    <a:pt x="411" y="55"/>
                  </a:lnTo>
                  <a:lnTo>
                    <a:pt x="412" y="64"/>
                  </a:lnTo>
                  <a:lnTo>
                    <a:pt x="418" y="69"/>
                  </a:lnTo>
                  <a:lnTo>
                    <a:pt x="424" y="73"/>
                  </a:lnTo>
                  <a:lnTo>
                    <a:pt x="417" y="76"/>
                  </a:lnTo>
                  <a:lnTo>
                    <a:pt x="417" y="84"/>
                  </a:lnTo>
                  <a:lnTo>
                    <a:pt x="418" y="92"/>
                  </a:lnTo>
                  <a:lnTo>
                    <a:pt x="416" y="100"/>
                  </a:lnTo>
                  <a:lnTo>
                    <a:pt x="421" y="106"/>
                  </a:lnTo>
                  <a:lnTo>
                    <a:pt x="435" y="114"/>
                  </a:lnTo>
                  <a:lnTo>
                    <a:pt x="452" y="117"/>
                  </a:lnTo>
                  <a:lnTo>
                    <a:pt x="460" y="116"/>
                  </a:lnTo>
                  <a:lnTo>
                    <a:pt x="484" y="121"/>
                  </a:lnTo>
                  <a:lnTo>
                    <a:pt x="492" y="118"/>
                  </a:lnTo>
                  <a:lnTo>
                    <a:pt x="493" y="111"/>
                  </a:lnTo>
                  <a:lnTo>
                    <a:pt x="499" y="107"/>
                  </a:lnTo>
                  <a:lnTo>
                    <a:pt x="507" y="112"/>
                  </a:lnTo>
                  <a:lnTo>
                    <a:pt x="519" y="123"/>
                  </a:lnTo>
                  <a:lnTo>
                    <a:pt x="524" y="129"/>
                  </a:lnTo>
                  <a:lnTo>
                    <a:pt x="526" y="137"/>
                  </a:lnTo>
                  <a:lnTo>
                    <a:pt x="527" y="152"/>
                  </a:lnTo>
                  <a:lnTo>
                    <a:pt x="531" y="160"/>
                  </a:lnTo>
                  <a:lnTo>
                    <a:pt x="538" y="164"/>
                  </a:lnTo>
                  <a:lnTo>
                    <a:pt x="543" y="170"/>
                  </a:lnTo>
                  <a:lnTo>
                    <a:pt x="548" y="186"/>
                  </a:lnTo>
                  <a:lnTo>
                    <a:pt x="547" y="194"/>
                  </a:lnTo>
                  <a:lnTo>
                    <a:pt x="553" y="209"/>
                  </a:lnTo>
                  <a:lnTo>
                    <a:pt x="558" y="215"/>
                  </a:lnTo>
                  <a:lnTo>
                    <a:pt x="609" y="245"/>
                  </a:lnTo>
                  <a:lnTo>
                    <a:pt x="629" y="269"/>
                  </a:lnTo>
                  <a:lnTo>
                    <a:pt x="636" y="274"/>
                  </a:lnTo>
                  <a:lnTo>
                    <a:pt x="653" y="275"/>
                  </a:lnTo>
                  <a:lnTo>
                    <a:pt x="666" y="284"/>
                  </a:lnTo>
                  <a:lnTo>
                    <a:pt x="686" y="299"/>
                  </a:lnTo>
                  <a:lnTo>
                    <a:pt x="708" y="322"/>
                  </a:lnTo>
                  <a:lnTo>
                    <a:pt x="714" y="328"/>
                  </a:lnTo>
                  <a:lnTo>
                    <a:pt x="723" y="329"/>
                  </a:lnTo>
                  <a:lnTo>
                    <a:pt x="729" y="324"/>
                  </a:lnTo>
                  <a:lnTo>
                    <a:pt x="737" y="323"/>
                  </a:lnTo>
                  <a:lnTo>
                    <a:pt x="760" y="333"/>
                  </a:lnTo>
                  <a:lnTo>
                    <a:pt x="765" y="339"/>
                  </a:lnTo>
                  <a:lnTo>
                    <a:pt x="772" y="343"/>
                  </a:lnTo>
                  <a:lnTo>
                    <a:pt x="778" y="348"/>
                  </a:lnTo>
                  <a:lnTo>
                    <a:pt x="774" y="355"/>
                  </a:lnTo>
                  <a:lnTo>
                    <a:pt x="771" y="363"/>
                  </a:lnTo>
                  <a:lnTo>
                    <a:pt x="771" y="378"/>
                  </a:lnTo>
                  <a:lnTo>
                    <a:pt x="772" y="387"/>
                  </a:lnTo>
                  <a:lnTo>
                    <a:pt x="771" y="392"/>
                  </a:lnTo>
                  <a:lnTo>
                    <a:pt x="756" y="392"/>
                  </a:lnTo>
                  <a:lnTo>
                    <a:pt x="746" y="388"/>
                  </a:lnTo>
                  <a:lnTo>
                    <a:pt x="733" y="380"/>
                  </a:lnTo>
                  <a:lnTo>
                    <a:pt x="728" y="380"/>
                  </a:lnTo>
                  <a:lnTo>
                    <a:pt x="723" y="380"/>
                  </a:lnTo>
                  <a:lnTo>
                    <a:pt x="720" y="383"/>
                  </a:lnTo>
                  <a:lnTo>
                    <a:pt x="719" y="391"/>
                  </a:lnTo>
                  <a:lnTo>
                    <a:pt x="717" y="397"/>
                  </a:lnTo>
                  <a:lnTo>
                    <a:pt x="714" y="398"/>
                  </a:lnTo>
                  <a:lnTo>
                    <a:pt x="699" y="398"/>
                  </a:lnTo>
                  <a:lnTo>
                    <a:pt x="693" y="397"/>
                  </a:lnTo>
                  <a:lnTo>
                    <a:pt x="685" y="398"/>
                  </a:lnTo>
                  <a:lnTo>
                    <a:pt x="680" y="404"/>
                  </a:lnTo>
                  <a:lnTo>
                    <a:pt x="676" y="408"/>
                  </a:lnTo>
                  <a:lnTo>
                    <a:pt x="675" y="410"/>
                  </a:lnTo>
                  <a:lnTo>
                    <a:pt x="675" y="417"/>
                  </a:lnTo>
                  <a:lnTo>
                    <a:pt x="669" y="434"/>
                  </a:lnTo>
                  <a:lnTo>
                    <a:pt x="666" y="437"/>
                  </a:lnTo>
                  <a:lnTo>
                    <a:pt x="664" y="450"/>
                  </a:lnTo>
                  <a:lnTo>
                    <a:pt x="664" y="457"/>
                  </a:lnTo>
                  <a:lnTo>
                    <a:pt x="663" y="462"/>
                  </a:lnTo>
                  <a:lnTo>
                    <a:pt x="648" y="472"/>
                  </a:lnTo>
                  <a:lnTo>
                    <a:pt x="640" y="473"/>
                  </a:lnTo>
                  <a:lnTo>
                    <a:pt x="634" y="479"/>
                  </a:lnTo>
                  <a:lnTo>
                    <a:pt x="626" y="483"/>
                  </a:lnTo>
                  <a:lnTo>
                    <a:pt x="618" y="488"/>
                  </a:lnTo>
                  <a:lnTo>
                    <a:pt x="601" y="491"/>
                  </a:lnTo>
                  <a:lnTo>
                    <a:pt x="594" y="494"/>
                  </a:lnTo>
                  <a:lnTo>
                    <a:pt x="586" y="493"/>
                  </a:lnTo>
                  <a:lnTo>
                    <a:pt x="586" y="499"/>
                  </a:lnTo>
                  <a:lnTo>
                    <a:pt x="593" y="504"/>
                  </a:lnTo>
                  <a:lnTo>
                    <a:pt x="589" y="509"/>
                  </a:lnTo>
                  <a:lnTo>
                    <a:pt x="585" y="510"/>
                  </a:lnTo>
                  <a:lnTo>
                    <a:pt x="583" y="522"/>
                  </a:lnTo>
                  <a:lnTo>
                    <a:pt x="579" y="525"/>
                  </a:lnTo>
                  <a:lnTo>
                    <a:pt x="570" y="528"/>
                  </a:lnTo>
                  <a:lnTo>
                    <a:pt x="564" y="534"/>
                  </a:lnTo>
                  <a:lnTo>
                    <a:pt x="551" y="534"/>
                  </a:lnTo>
                  <a:lnTo>
                    <a:pt x="543" y="536"/>
                  </a:lnTo>
                  <a:lnTo>
                    <a:pt x="538" y="536"/>
                  </a:lnTo>
                  <a:lnTo>
                    <a:pt x="534" y="530"/>
                  </a:lnTo>
                  <a:lnTo>
                    <a:pt x="526" y="526"/>
                  </a:lnTo>
                  <a:lnTo>
                    <a:pt x="520" y="521"/>
                  </a:lnTo>
                  <a:lnTo>
                    <a:pt x="508" y="523"/>
                  </a:lnTo>
                  <a:lnTo>
                    <a:pt x="497" y="520"/>
                  </a:lnTo>
                  <a:lnTo>
                    <a:pt x="494" y="517"/>
                  </a:lnTo>
                  <a:lnTo>
                    <a:pt x="488" y="511"/>
                  </a:lnTo>
                  <a:lnTo>
                    <a:pt x="482" y="507"/>
                  </a:lnTo>
                  <a:lnTo>
                    <a:pt x="484" y="494"/>
                  </a:lnTo>
                  <a:lnTo>
                    <a:pt x="481" y="483"/>
                  </a:lnTo>
                  <a:lnTo>
                    <a:pt x="481" y="446"/>
                  </a:lnTo>
                  <a:lnTo>
                    <a:pt x="476" y="441"/>
                  </a:lnTo>
                  <a:lnTo>
                    <a:pt x="450" y="441"/>
                  </a:lnTo>
                  <a:lnTo>
                    <a:pt x="434" y="431"/>
                  </a:lnTo>
                  <a:lnTo>
                    <a:pt x="412" y="413"/>
                  </a:lnTo>
                  <a:lnTo>
                    <a:pt x="396" y="403"/>
                  </a:lnTo>
                  <a:lnTo>
                    <a:pt x="386" y="399"/>
                  </a:lnTo>
                  <a:lnTo>
                    <a:pt x="382" y="387"/>
                  </a:lnTo>
                  <a:lnTo>
                    <a:pt x="373" y="374"/>
                  </a:lnTo>
                  <a:lnTo>
                    <a:pt x="364" y="369"/>
                  </a:lnTo>
                  <a:lnTo>
                    <a:pt x="349" y="366"/>
                  </a:lnTo>
                  <a:lnTo>
                    <a:pt x="338" y="369"/>
                  </a:lnTo>
                  <a:lnTo>
                    <a:pt x="327" y="366"/>
                  </a:lnTo>
                  <a:lnTo>
                    <a:pt x="314" y="359"/>
                  </a:lnTo>
                  <a:lnTo>
                    <a:pt x="276" y="347"/>
                  </a:lnTo>
                  <a:lnTo>
                    <a:pt x="267" y="335"/>
                  </a:lnTo>
                  <a:lnTo>
                    <a:pt x="252" y="323"/>
                  </a:lnTo>
                  <a:lnTo>
                    <a:pt x="231" y="321"/>
                  </a:lnTo>
                  <a:lnTo>
                    <a:pt x="217" y="323"/>
                  </a:lnTo>
                  <a:lnTo>
                    <a:pt x="214" y="332"/>
                  </a:lnTo>
                  <a:lnTo>
                    <a:pt x="209" y="337"/>
                  </a:lnTo>
                  <a:lnTo>
                    <a:pt x="198" y="337"/>
                  </a:lnTo>
                  <a:lnTo>
                    <a:pt x="187" y="333"/>
                  </a:lnTo>
                  <a:lnTo>
                    <a:pt x="176" y="333"/>
                  </a:lnTo>
                  <a:lnTo>
                    <a:pt x="160" y="337"/>
                  </a:lnTo>
                  <a:lnTo>
                    <a:pt x="145" y="351"/>
                  </a:lnTo>
                  <a:lnTo>
                    <a:pt x="111" y="378"/>
                  </a:lnTo>
                  <a:lnTo>
                    <a:pt x="93" y="382"/>
                  </a:lnTo>
                  <a:lnTo>
                    <a:pt x="79" y="382"/>
                  </a:lnTo>
                  <a:lnTo>
                    <a:pt x="80" y="378"/>
                  </a:lnTo>
                  <a:lnTo>
                    <a:pt x="74" y="338"/>
                  </a:lnTo>
                  <a:lnTo>
                    <a:pt x="73" y="312"/>
                  </a:lnTo>
                  <a:lnTo>
                    <a:pt x="77" y="289"/>
                  </a:lnTo>
                  <a:lnTo>
                    <a:pt x="86" y="275"/>
                  </a:lnTo>
                  <a:lnTo>
                    <a:pt x="75" y="272"/>
                  </a:lnTo>
                  <a:lnTo>
                    <a:pt x="64" y="262"/>
                  </a:lnTo>
                  <a:lnTo>
                    <a:pt x="57" y="252"/>
                  </a:lnTo>
                  <a:lnTo>
                    <a:pt x="50" y="250"/>
                  </a:lnTo>
                  <a:lnTo>
                    <a:pt x="50" y="247"/>
                  </a:lnTo>
                  <a:lnTo>
                    <a:pt x="70" y="238"/>
                  </a:lnTo>
                  <a:lnTo>
                    <a:pt x="77" y="234"/>
                  </a:lnTo>
                  <a:lnTo>
                    <a:pt x="66" y="230"/>
                  </a:lnTo>
                  <a:lnTo>
                    <a:pt x="58" y="225"/>
                  </a:lnTo>
                  <a:lnTo>
                    <a:pt x="51" y="219"/>
                  </a:lnTo>
                  <a:lnTo>
                    <a:pt x="61" y="209"/>
                  </a:lnTo>
                  <a:lnTo>
                    <a:pt x="68" y="214"/>
                  </a:lnTo>
                  <a:lnTo>
                    <a:pt x="78" y="218"/>
                  </a:lnTo>
                  <a:lnTo>
                    <a:pt x="72" y="207"/>
                  </a:lnTo>
                  <a:lnTo>
                    <a:pt x="51" y="199"/>
                  </a:lnTo>
                  <a:lnTo>
                    <a:pt x="34" y="203"/>
                  </a:lnTo>
                  <a:lnTo>
                    <a:pt x="26" y="211"/>
                  </a:lnTo>
                  <a:lnTo>
                    <a:pt x="21" y="211"/>
                  </a:lnTo>
                  <a:lnTo>
                    <a:pt x="14" y="181"/>
                  </a:lnTo>
                  <a:lnTo>
                    <a:pt x="16" y="166"/>
                  </a:lnTo>
                  <a:lnTo>
                    <a:pt x="23" y="155"/>
                  </a:lnTo>
                  <a:lnTo>
                    <a:pt x="24" y="151"/>
                  </a:lnTo>
                  <a:lnTo>
                    <a:pt x="21" y="128"/>
                  </a:lnTo>
                  <a:lnTo>
                    <a:pt x="27" y="143"/>
                  </a:lnTo>
                  <a:lnTo>
                    <a:pt x="32" y="151"/>
                  </a:lnTo>
                  <a:lnTo>
                    <a:pt x="53" y="151"/>
                  </a:lnTo>
                  <a:lnTo>
                    <a:pt x="73" y="157"/>
                  </a:lnTo>
                  <a:lnTo>
                    <a:pt x="84" y="156"/>
                  </a:lnTo>
                  <a:lnTo>
                    <a:pt x="99" y="160"/>
                  </a:lnTo>
                  <a:lnTo>
                    <a:pt x="109" y="155"/>
                  </a:lnTo>
                  <a:lnTo>
                    <a:pt x="99" y="154"/>
                  </a:lnTo>
                  <a:lnTo>
                    <a:pt x="97" y="148"/>
                  </a:lnTo>
                  <a:lnTo>
                    <a:pt x="112" y="144"/>
                  </a:lnTo>
                  <a:lnTo>
                    <a:pt x="126" y="127"/>
                  </a:lnTo>
                  <a:lnTo>
                    <a:pt x="102" y="109"/>
                  </a:lnTo>
                  <a:lnTo>
                    <a:pt x="86" y="91"/>
                  </a:lnTo>
                  <a:lnTo>
                    <a:pt x="80" y="74"/>
                  </a:lnTo>
                  <a:lnTo>
                    <a:pt x="70" y="60"/>
                  </a:lnTo>
                  <a:lnTo>
                    <a:pt x="68" y="58"/>
                  </a:lnTo>
                  <a:lnTo>
                    <a:pt x="57" y="57"/>
                  </a:lnTo>
                  <a:lnTo>
                    <a:pt x="39" y="62"/>
                  </a:lnTo>
                  <a:lnTo>
                    <a:pt x="23" y="70"/>
                  </a:lnTo>
                  <a:lnTo>
                    <a:pt x="14" y="82"/>
                  </a:lnTo>
                  <a:lnTo>
                    <a:pt x="14" y="91"/>
                  </a:lnTo>
                  <a:lnTo>
                    <a:pt x="19" y="94"/>
                  </a:lnTo>
                  <a:lnTo>
                    <a:pt x="20" y="119"/>
                  </a:lnTo>
                  <a:lnTo>
                    <a:pt x="18" y="117"/>
                  </a:lnTo>
                  <a:lnTo>
                    <a:pt x="4" y="92"/>
                  </a:lnTo>
                  <a:lnTo>
                    <a:pt x="0" y="74"/>
                  </a:lnTo>
                  <a:lnTo>
                    <a:pt x="30" y="48"/>
                  </a:lnTo>
                  <a:lnTo>
                    <a:pt x="53" y="39"/>
                  </a:lnTo>
                  <a:lnTo>
                    <a:pt x="77" y="32"/>
                  </a:lnTo>
                  <a:lnTo>
                    <a:pt x="85" y="31"/>
                  </a:lnTo>
                  <a:lnTo>
                    <a:pt x="93" y="31"/>
                  </a:lnTo>
                  <a:lnTo>
                    <a:pt x="100" y="35"/>
                  </a:lnTo>
                  <a:lnTo>
                    <a:pt x="107" y="41"/>
                  </a:lnTo>
                  <a:lnTo>
                    <a:pt x="122" y="47"/>
                  </a:lnTo>
                  <a:lnTo>
                    <a:pt x="127" y="54"/>
                  </a:lnTo>
                  <a:lnTo>
                    <a:pt x="133" y="69"/>
                  </a:lnTo>
                  <a:lnTo>
                    <a:pt x="139" y="75"/>
                  </a:lnTo>
                  <a:lnTo>
                    <a:pt x="143" y="82"/>
                  </a:lnTo>
                  <a:lnTo>
                    <a:pt x="153" y="105"/>
                  </a:lnTo>
                  <a:lnTo>
                    <a:pt x="163" y="112"/>
                  </a:lnTo>
                  <a:lnTo>
                    <a:pt x="181" y="113"/>
                  </a:lnTo>
                  <a:lnTo>
                    <a:pt x="193" y="10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grpSp>
          <p:nvGrpSpPr>
            <p:cNvPr id="57" name="Group 170"/>
            <p:cNvGrpSpPr>
              <a:grpSpLocks noChangeAspect="1"/>
            </p:cNvGrpSpPr>
            <p:nvPr/>
          </p:nvGrpSpPr>
          <p:grpSpPr bwMode="gray">
            <a:xfrm>
              <a:off x="6677991" y="3378557"/>
              <a:ext cx="96999" cy="85561"/>
              <a:chOff x="3007" y="1982"/>
              <a:chExt cx="61" cy="49"/>
            </a:xfrm>
            <a:grpFill/>
          </p:grpSpPr>
          <p:sp>
            <p:nvSpPr>
              <p:cNvPr id="294" name="Freeform 171"/>
              <p:cNvSpPr>
                <a:spLocks noChangeAspect="1"/>
              </p:cNvSpPr>
              <p:nvPr/>
            </p:nvSpPr>
            <p:spPr bwMode="gray">
              <a:xfrm>
                <a:off x="3007" y="2013"/>
                <a:ext cx="13" cy="12"/>
              </a:xfrm>
              <a:custGeom>
                <a:avLst/>
                <a:gdLst/>
                <a:ahLst/>
                <a:cxnLst>
                  <a:cxn ang="0">
                    <a:pos x="65" y="59"/>
                  </a:cxn>
                  <a:cxn ang="0">
                    <a:pos x="52" y="56"/>
                  </a:cxn>
                  <a:cxn ang="0">
                    <a:pos x="36" y="53"/>
                  </a:cxn>
                  <a:cxn ang="0">
                    <a:pos x="4" y="7"/>
                  </a:cxn>
                  <a:cxn ang="0">
                    <a:pos x="0" y="2"/>
                  </a:cxn>
                  <a:cxn ang="0">
                    <a:pos x="10" y="0"/>
                  </a:cxn>
                  <a:cxn ang="0">
                    <a:pos x="17" y="1"/>
                  </a:cxn>
                  <a:cxn ang="0">
                    <a:pos x="22" y="9"/>
                  </a:cxn>
                  <a:cxn ang="0">
                    <a:pos x="30" y="12"/>
                  </a:cxn>
                  <a:cxn ang="0">
                    <a:pos x="37" y="13"/>
                  </a:cxn>
                  <a:cxn ang="0">
                    <a:pos x="44" y="10"/>
                  </a:cxn>
                  <a:cxn ang="0">
                    <a:pos x="52" y="12"/>
                  </a:cxn>
                  <a:cxn ang="0">
                    <a:pos x="55" y="20"/>
                  </a:cxn>
                  <a:cxn ang="0">
                    <a:pos x="60" y="27"/>
                  </a:cxn>
                  <a:cxn ang="0">
                    <a:pos x="64" y="34"/>
                  </a:cxn>
                  <a:cxn ang="0">
                    <a:pos x="65" y="59"/>
                  </a:cxn>
                </a:cxnLst>
                <a:rect l="0" t="0" r="r" b="b"/>
                <a:pathLst>
                  <a:path w="65" h="59">
                    <a:moveTo>
                      <a:pt x="65" y="59"/>
                    </a:moveTo>
                    <a:lnTo>
                      <a:pt x="52" y="56"/>
                    </a:lnTo>
                    <a:lnTo>
                      <a:pt x="36" y="53"/>
                    </a:lnTo>
                    <a:lnTo>
                      <a:pt x="4" y="7"/>
                    </a:lnTo>
                    <a:lnTo>
                      <a:pt x="0" y="2"/>
                    </a:lnTo>
                    <a:lnTo>
                      <a:pt x="10" y="0"/>
                    </a:lnTo>
                    <a:lnTo>
                      <a:pt x="17" y="1"/>
                    </a:lnTo>
                    <a:lnTo>
                      <a:pt x="22" y="9"/>
                    </a:lnTo>
                    <a:lnTo>
                      <a:pt x="30" y="12"/>
                    </a:lnTo>
                    <a:lnTo>
                      <a:pt x="37" y="13"/>
                    </a:lnTo>
                    <a:lnTo>
                      <a:pt x="44" y="10"/>
                    </a:lnTo>
                    <a:lnTo>
                      <a:pt x="52" y="12"/>
                    </a:lnTo>
                    <a:lnTo>
                      <a:pt x="55" y="20"/>
                    </a:lnTo>
                    <a:lnTo>
                      <a:pt x="60" y="27"/>
                    </a:lnTo>
                    <a:lnTo>
                      <a:pt x="64" y="34"/>
                    </a:lnTo>
                    <a:lnTo>
                      <a:pt x="65" y="5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95" name="Freeform 172"/>
              <p:cNvSpPr>
                <a:spLocks noChangeAspect="1"/>
              </p:cNvSpPr>
              <p:nvPr/>
            </p:nvSpPr>
            <p:spPr bwMode="gray">
              <a:xfrm>
                <a:off x="3009" y="1982"/>
                <a:ext cx="59" cy="49"/>
              </a:xfrm>
              <a:custGeom>
                <a:avLst/>
                <a:gdLst/>
                <a:ahLst/>
                <a:cxnLst>
                  <a:cxn ang="0">
                    <a:pos x="88" y="5"/>
                  </a:cxn>
                  <a:cxn ang="0">
                    <a:pos x="107" y="16"/>
                  </a:cxn>
                  <a:cxn ang="0">
                    <a:pos x="119" y="24"/>
                  </a:cxn>
                  <a:cxn ang="0">
                    <a:pos x="126" y="47"/>
                  </a:cxn>
                  <a:cxn ang="0">
                    <a:pos x="151" y="51"/>
                  </a:cxn>
                  <a:cxn ang="0">
                    <a:pos x="164" y="43"/>
                  </a:cxn>
                  <a:cxn ang="0">
                    <a:pos x="178" y="24"/>
                  </a:cxn>
                  <a:cxn ang="0">
                    <a:pos x="188" y="13"/>
                  </a:cxn>
                  <a:cxn ang="0">
                    <a:pos x="220" y="34"/>
                  </a:cxn>
                  <a:cxn ang="0">
                    <a:pos x="245" y="83"/>
                  </a:cxn>
                  <a:cxn ang="0">
                    <a:pos x="261" y="98"/>
                  </a:cxn>
                  <a:cxn ang="0">
                    <a:pos x="281" y="98"/>
                  </a:cxn>
                  <a:cxn ang="0">
                    <a:pos x="292" y="109"/>
                  </a:cxn>
                  <a:cxn ang="0">
                    <a:pos x="283" y="109"/>
                  </a:cxn>
                  <a:cxn ang="0">
                    <a:pos x="259" y="117"/>
                  </a:cxn>
                  <a:cxn ang="0">
                    <a:pos x="248" y="147"/>
                  </a:cxn>
                  <a:cxn ang="0">
                    <a:pos x="240" y="180"/>
                  </a:cxn>
                  <a:cxn ang="0">
                    <a:pos x="223" y="192"/>
                  </a:cxn>
                  <a:cxn ang="0">
                    <a:pos x="213" y="206"/>
                  </a:cxn>
                  <a:cxn ang="0">
                    <a:pos x="215" y="244"/>
                  </a:cxn>
                  <a:cxn ang="0">
                    <a:pos x="204" y="245"/>
                  </a:cxn>
                  <a:cxn ang="0">
                    <a:pos x="189" y="235"/>
                  </a:cxn>
                  <a:cxn ang="0">
                    <a:pos x="177" y="227"/>
                  </a:cxn>
                  <a:cxn ang="0">
                    <a:pos x="169" y="215"/>
                  </a:cxn>
                  <a:cxn ang="0">
                    <a:pos x="177" y="186"/>
                  </a:cxn>
                  <a:cxn ang="0">
                    <a:pos x="161" y="163"/>
                  </a:cxn>
                  <a:cxn ang="0">
                    <a:pos x="123" y="177"/>
                  </a:cxn>
                  <a:cxn ang="0">
                    <a:pos x="107" y="203"/>
                  </a:cxn>
                  <a:cxn ang="0">
                    <a:pos x="84" y="218"/>
                  </a:cxn>
                  <a:cxn ang="0">
                    <a:pos x="80" y="203"/>
                  </a:cxn>
                  <a:cxn ang="0">
                    <a:pos x="82" y="196"/>
                  </a:cxn>
                  <a:cxn ang="0">
                    <a:pos x="77" y="182"/>
                  </a:cxn>
                  <a:cxn ang="0">
                    <a:pos x="82" y="166"/>
                  </a:cxn>
                  <a:cxn ang="0">
                    <a:pos x="67" y="165"/>
                  </a:cxn>
                  <a:cxn ang="0">
                    <a:pos x="43" y="144"/>
                  </a:cxn>
                  <a:cxn ang="0">
                    <a:pos x="49" y="136"/>
                  </a:cxn>
                  <a:cxn ang="0">
                    <a:pos x="51" y="120"/>
                  </a:cxn>
                  <a:cxn ang="0">
                    <a:pos x="32" y="106"/>
                  </a:cxn>
                  <a:cxn ang="0">
                    <a:pos x="24" y="91"/>
                  </a:cxn>
                  <a:cxn ang="0">
                    <a:pos x="29" y="77"/>
                  </a:cxn>
                  <a:cxn ang="0">
                    <a:pos x="21" y="64"/>
                  </a:cxn>
                  <a:cxn ang="0">
                    <a:pos x="3" y="51"/>
                  </a:cxn>
                  <a:cxn ang="0">
                    <a:pos x="0" y="43"/>
                  </a:cxn>
                  <a:cxn ang="0">
                    <a:pos x="19" y="32"/>
                  </a:cxn>
                  <a:cxn ang="0">
                    <a:pos x="34" y="36"/>
                  </a:cxn>
                  <a:cxn ang="0">
                    <a:pos x="55" y="50"/>
                  </a:cxn>
                  <a:cxn ang="0">
                    <a:pos x="78" y="55"/>
                  </a:cxn>
                  <a:cxn ang="0">
                    <a:pos x="91" y="50"/>
                  </a:cxn>
                  <a:cxn ang="0">
                    <a:pos x="75" y="32"/>
                  </a:cxn>
                  <a:cxn ang="0">
                    <a:pos x="66" y="19"/>
                  </a:cxn>
                  <a:cxn ang="0">
                    <a:pos x="78" y="0"/>
                  </a:cxn>
                </a:cxnLst>
                <a:rect l="0" t="0" r="r" b="b"/>
                <a:pathLst>
                  <a:path w="294" h="245">
                    <a:moveTo>
                      <a:pt x="80" y="0"/>
                    </a:moveTo>
                    <a:lnTo>
                      <a:pt x="88" y="5"/>
                    </a:lnTo>
                    <a:lnTo>
                      <a:pt x="95" y="5"/>
                    </a:lnTo>
                    <a:lnTo>
                      <a:pt x="107" y="16"/>
                    </a:lnTo>
                    <a:lnTo>
                      <a:pt x="111" y="24"/>
                    </a:lnTo>
                    <a:lnTo>
                      <a:pt x="119" y="24"/>
                    </a:lnTo>
                    <a:lnTo>
                      <a:pt x="124" y="40"/>
                    </a:lnTo>
                    <a:lnTo>
                      <a:pt x="126" y="47"/>
                    </a:lnTo>
                    <a:lnTo>
                      <a:pt x="135" y="47"/>
                    </a:lnTo>
                    <a:lnTo>
                      <a:pt x="151" y="51"/>
                    </a:lnTo>
                    <a:lnTo>
                      <a:pt x="159" y="48"/>
                    </a:lnTo>
                    <a:lnTo>
                      <a:pt x="164" y="43"/>
                    </a:lnTo>
                    <a:lnTo>
                      <a:pt x="170" y="28"/>
                    </a:lnTo>
                    <a:lnTo>
                      <a:pt x="178" y="24"/>
                    </a:lnTo>
                    <a:lnTo>
                      <a:pt x="185" y="20"/>
                    </a:lnTo>
                    <a:lnTo>
                      <a:pt x="188" y="13"/>
                    </a:lnTo>
                    <a:lnTo>
                      <a:pt x="194" y="3"/>
                    </a:lnTo>
                    <a:lnTo>
                      <a:pt x="220" y="34"/>
                    </a:lnTo>
                    <a:lnTo>
                      <a:pt x="236" y="68"/>
                    </a:lnTo>
                    <a:lnTo>
                      <a:pt x="245" y="83"/>
                    </a:lnTo>
                    <a:lnTo>
                      <a:pt x="253" y="93"/>
                    </a:lnTo>
                    <a:lnTo>
                      <a:pt x="261" y="98"/>
                    </a:lnTo>
                    <a:lnTo>
                      <a:pt x="274" y="93"/>
                    </a:lnTo>
                    <a:lnTo>
                      <a:pt x="281" y="98"/>
                    </a:lnTo>
                    <a:lnTo>
                      <a:pt x="287" y="100"/>
                    </a:lnTo>
                    <a:lnTo>
                      <a:pt x="292" y="109"/>
                    </a:lnTo>
                    <a:lnTo>
                      <a:pt x="294" y="118"/>
                    </a:lnTo>
                    <a:lnTo>
                      <a:pt x="283" y="109"/>
                    </a:lnTo>
                    <a:lnTo>
                      <a:pt x="269" y="110"/>
                    </a:lnTo>
                    <a:lnTo>
                      <a:pt x="259" y="117"/>
                    </a:lnTo>
                    <a:lnTo>
                      <a:pt x="251" y="127"/>
                    </a:lnTo>
                    <a:lnTo>
                      <a:pt x="248" y="147"/>
                    </a:lnTo>
                    <a:lnTo>
                      <a:pt x="247" y="164"/>
                    </a:lnTo>
                    <a:lnTo>
                      <a:pt x="240" y="180"/>
                    </a:lnTo>
                    <a:lnTo>
                      <a:pt x="236" y="206"/>
                    </a:lnTo>
                    <a:lnTo>
                      <a:pt x="223" y="192"/>
                    </a:lnTo>
                    <a:lnTo>
                      <a:pt x="216" y="197"/>
                    </a:lnTo>
                    <a:lnTo>
                      <a:pt x="213" y="206"/>
                    </a:lnTo>
                    <a:lnTo>
                      <a:pt x="213" y="227"/>
                    </a:lnTo>
                    <a:lnTo>
                      <a:pt x="215" y="244"/>
                    </a:lnTo>
                    <a:lnTo>
                      <a:pt x="211" y="245"/>
                    </a:lnTo>
                    <a:lnTo>
                      <a:pt x="204" y="245"/>
                    </a:lnTo>
                    <a:lnTo>
                      <a:pt x="197" y="242"/>
                    </a:lnTo>
                    <a:lnTo>
                      <a:pt x="189" y="235"/>
                    </a:lnTo>
                    <a:lnTo>
                      <a:pt x="181" y="231"/>
                    </a:lnTo>
                    <a:lnTo>
                      <a:pt x="177" y="227"/>
                    </a:lnTo>
                    <a:lnTo>
                      <a:pt x="166" y="220"/>
                    </a:lnTo>
                    <a:lnTo>
                      <a:pt x="169" y="215"/>
                    </a:lnTo>
                    <a:lnTo>
                      <a:pt x="184" y="207"/>
                    </a:lnTo>
                    <a:lnTo>
                      <a:pt x="177" y="186"/>
                    </a:lnTo>
                    <a:lnTo>
                      <a:pt x="178" y="172"/>
                    </a:lnTo>
                    <a:lnTo>
                      <a:pt x="161" y="163"/>
                    </a:lnTo>
                    <a:lnTo>
                      <a:pt x="135" y="169"/>
                    </a:lnTo>
                    <a:lnTo>
                      <a:pt x="123" y="177"/>
                    </a:lnTo>
                    <a:lnTo>
                      <a:pt x="113" y="187"/>
                    </a:lnTo>
                    <a:lnTo>
                      <a:pt x="107" y="203"/>
                    </a:lnTo>
                    <a:lnTo>
                      <a:pt x="95" y="217"/>
                    </a:lnTo>
                    <a:lnTo>
                      <a:pt x="84" y="218"/>
                    </a:lnTo>
                    <a:lnTo>
                      <a:pt x="83" y="211"/>
                    </a:lnTo>
                    <a:lnTo>
                      <a:pt x="80" y="203"/>
                    </a:lnTo>
                    <a:lnTo>
                      <a:pt x="75" y="197"/>
                    </a:lnTo>
                    <a:lnTo>
                      <a:pt x="82" y="196"/>
                    </a:lnTo>
                    <a:lnTo>
                      <a:pt x="83" y="187"/>
                    </a:lnTo>
                    <a:lnTo>
                      <a:pt x="77" y="182"/>
                    </a:lnTo>
                    <a:lnTo>
                      <a:pt x="78" y="175"/>
                    </a:lnTo>
                    <a:lnTo>
                      <a:pt x="82" y="166"/>
                    </a:lnTo>
                    <a:lnTo>
                      <a:pt x="75" y="165"/>
                    </a:lnTo>
                    <a:lnTo>
                      <a:pt x="67" y="165"/>
                    </a:lnTo>
                    <a:lnTo>
                      <a:pt x="52" y="156"/>
                    </a:lnTo>
                    <a:lnTo>
                      <a:pt x="43" y="144"/>
                    </a:lnTo>
                    <a:lnTo>
                      <a:pt x="40" y="137"/>
                    </a:lnTo>
                    <a:lnTo>
                      <a:pt x="49" y="136"/>
                    </a:lnTo>
                    <a:lnTo>
                      <a:pt x="52" y="127"/>
                    </a:lnTo>
                    <a:lnTo>
                      <a:pt x="51" y="120"/>
                    </a:lnTo>
                    <a:lnTo>
                      <a:pt x="37" y="111"/>
                    </a:lnTo>
                    <a:lnTo>
                      <a:pt x="32" y="106"/>
                    </a:lnTo>
                    <a:lnTo>
                      <a:pt x="27" y="99"/>
                    </a:lnTo>
                    <a:lnTo>
                      <a:pt x="24" y="91"/>
                    </a:lnTo>
                    <a:lnTo>
                      <a:pt x="24" y="83"/>
                    </a:lnTo>
                    <a:lnTo>
                      <a:pt x="29" y="77"/>
                    </a:lnTo>
                    <a:lnTo>
                      <a:pt x="28" y="69"/>
                    </a:lnTo>
                    <a:lnTo>
                      <a:pt x="21" y="64"/>
                    </a:lnTo>
                    <a:lnTo>
                      <a:pt x="13" y="64"/>
                    </a:lnTo>
                    <a:lnTo>
                      <a:pt x="3" y="51"/>
                    </a:lnTo>
                    <a:lnTo>
                      <a:pt x="1" y="43"/>
                    </a:lnTo>
                    <a:lnTo>
                      <a:pt x="0" y="43"/>
                    </a:lnTo>
                    <a:lnTo>
                      <a:pt x="5" y="42"/>
                    </a:lnTo>
                    <a:lnTo>
                      <a:pt x="19" y="32"/>
                    </a:lnTo>
                    <a:lnTo>
                      <a:pt x="27" y="34"/>
                    </a:lnTo>
                    <a:lnTo>
                      <a:pt x="34" y="36"/>
                    </a:lnTo>
                    <a:lnTo>
                      <a:pt x="40" y="42"/>
                    </a:lnTo>
                    <a:lnTo>
                      <a:pt x="55" y="50"/>
                    </a:lnTo>
                    <a:lnTo>
                      <a:pt x="64" y="48"/>
                    </a:lnTo>
                    <a:lnTo>
                      <a:pt x="78" y="55"/>
                    </a:lnTo>
                    <a:lnTo>
                      <a:pt x="87" y="56"/>
                    </a:lnTo>
                    <a:lnTo>
                      <a:pt x="91" y="50"/>
                    </a:lnTo>
                    <a:lnTo>
                      <a:pt x="88" y="42"/>
                    </a:lnTo>
                    <a:lnTo>
                      <a:pt x="75" y="32"/>
                    </a:lnTo>
                    <a:lnTo>
                      <a:pt x="72" y="25"/>
                    </a:lnTo>
                    <a:lnTo>
                      <a:pt x="66" y="19"/>
                    </a:lnTo>
                    <a:lnTo>
                      <a:pt x="67" y="10"/>
                    </a:lnTo>
                    <a:lnTo>
                      <a:pt x="78" y="0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</p:grpSp>
        <p:sp>
          <p:nvSpPr>
            <p:cNvPr id="58" name="Freeform 173"/>
            <p:cNvSpPr>
              <a:spLocks noChangeAspect="1"/>
            </p:cNvSpPr>
            <p:nvPr/>
          </p:nvSpPr>
          <p:spPr bwMode="gray">
            <a:xfrm>
              <a:off x="5469486" y="2542159"/>
              <a:ext cx="190817" cy="143183"/>
            </a:xfrm>
            <a:custGeom>
              <a:avLst/>
              <a:gdLst/>
              <a:ahLst/>
              <a:cxnLst>
                <a:cxn ang="0">
                  <a:pos x="221" y="370"/>
                </a:cxn>
                <a:cxn ang="0">
                  <a:pos x="145" y="352"/>
                </a:cxn>
                <a:cxn ang="0">
                  <a:pos x="103" y="337"/>
                </a:cxn>
                <a:cxn ang="0">
                  <a:pos x="150" y="308"/>
                </a:cxn>
                <a:cxn ang="0">
                  <a:pos x="141" y="270"/>
                </a:cxn>
                <a:cxn ang="0">
                  <a:pos x="127" y="259"/>
                </a:cxn>
                <a:cxn ang="0">
                  <a:pos x="108" y="227"/>
                </a:cxn>
                <a:cxn ang="0">
                  <a:pos x="59" y="228"/>
                </a:cxn>
                <a:cxn ang="0">
                  <a:pos x="48" y="218"/>
                </a:cxn>
                <a:cxn ang="0">
                  <a:pos x="102" y="205"/>
                </a:cxn>
                <a:cxn ang="0">
                  <a:pos x="146" y="180"/>
                </a:cxn>
                <a:cxn ang="0">
                  <a:pos x="118" y="167"/>
                </a:cxn>
                <a:cxn ang="0">
                  <a:pos x="138" y="137"/>
                </a:cxn>
                <a:cxn ang="0">
                  <a:pos x="119" y="136"/>
                </a:cxn>
                <a:cxn ang="0">
                  <a:pos x="71" y="138"/>
                </a:cxn>
                <a:cxn ang="0">
                  <a:pos x="0" y="144"/>
                </a:cxn>
                <a:cxn ang="0">
                  <a:pos x="43" y="130"/>
                </a:cxn>
                <a:cxn ang="0">
                  <a:pos x="21" y="97"/>
                </a:cxn>
                <a:cxn ang="0">
                  <a:pos x="68" y="108"/>
                </a:cxn>
                <a:cxn ang="0">
                  <a:pos x="53" y="86"/>
                </a:cxn>
                <a:cxn ang="0">
                  <a:pos x="54" y="71"/>
                </a:cxn>
                <a:cxn ang="0">
                  <a:pos x="77" y="57"/>
                </a:cxn>
                <a:cxn ang="0">
                  <a:pos x="102" y="79"/>
                </a:cxn>
                <a:cxn ang="0">
                  <a:pos x="112" y="66"/>
                </a:cxn>
                <a:cxn ang="0">
                  <a:pos x="103" y="40"/>
                </a:cxn>
                <a:cxn ang="0">
                  <a:pos x="95" y="24"/>
                </a:cxn>
                <a:cxn ang="0">
                  <a:pos x="77" y="9"/>
                </a:cxn>
                <a:cxn ang="0">
                  <a:pos x="109" y="17"/>
                </a:cxn>
                <a:cxn ang="0">
                  <a:pos x="155" y="60"/>
                </a:cxn>
                <a:cxn ang="0">
                  <a:pos x="176" y="100"/>
                </a:cxn>
                <a:cxn ang="0">
                  <a:pos x="156" y="117"/>
                </a:cxn>
                <a:cxn ang="0">
                  <a:pos x="172" y="146"/>
                </a:cxn>
                <a:cxn ang="0">
                  <a:pos x="189" y="152"/>
                </a:cxn>
                <a:cxn ang="0">
                  <a:pos x="217" y="127"/>
                </a:cxn>
                <a:cxn ang="0">
                  <a:pos x="229" y="72"/>
                </a:cxn>
                <a:cxn ang="0">
                  <a:pos x="265" y="95"/>
                </a:cxn>
                <a:cxn ang="0">
                  <a:pos x="283" y="76"/>
                </a:cxn>
                <a:cxn ang="0">
                  <a:pos x="318" y="45"/>
                </a:cxn>
                <a:cxn ang="0">
                  <a:pos x="333" y="77"/>
                </a:cxn>
                <a:cxn ang="0">
                  <a:pos x="355" y="103"/>
                </a:cxn>
                <a:cxn ang="0">
                  <a:pos x="349" y="47"/>
                </a:cxn>
                <a:cxn ang="0">
                  <a:pos x="392" y="65"/>
                </a:cxn>
                <a:cxn ang="0">
                  <a:pos x="424" y="57"/>
                </a:cxn>
                <a:cxn ang="0">
                  <a:pos x="437" y="7"/>
                </a:cxn>
                <a:cxn ang="0">
                  <a:pos x="480" y="19"/>
                </a:cxn>
                <a:cxn ang="0">
                  <a:pos x="504" y="44"/>
                </a:cxn>
                <a:cxn ang="0">
                  <a:pos x="543" y="19"/>
                </a:cxn>
                <a:cxn ang="0">
                  <a:pos x="523" y="72"/>
                </a:cxn>
                <a:cxn ang="0">
                  <a:pos x="560" y="106"/>
                </a:cxn>
                <a:cxn ang="0">
                  <a:pos x="582" y="120"/>
                </a:cxn>
                <a:cxn ang="0">
                  <a:pos x="600" y="179"/>
                </a:cxn>
                <a:cxn ang="0">
                  <a:pos x="591" y="217"/>
                </a:cxn>
                <a:cxn ang="0">
                  <a:pos x="550" y="243"/>
                </a:cxn>
                <a:cxn ang="0">
                  <a:pos x="555" y="270"/>
                </a:cxn>
                <a:cxn ang="0">
                  <a:pos x="516" y="285"/>
                </a:cxn>
                <a:cxn ang="0">
                  <a:pos x="483" y="309"/>
                </a:cxn>
                <a:cxn ang="0">
                  <a:pos x="413" y="347"/>
                </a:cxn>
                <a:cxn ang="0">
                  <a:pos x="385" y="364"/>
                </a:cxn>
                <a:cxn ang="0">
                  <a:pos x="302" y="407"/>
                </a:cxn>
              </a:cxnLst>
              <a:rect l="0" t="0" r="r" b="b"/>
              <a:pathLst>
                <a:path w="603" h="409">
                  <a:moveTo>
                    <a:pt x="251" y="389"/>
                  </a:moveTo>
                  <a:lnTo>
                    <a:pt x="248" y="390"/>
                  </a:lnTo>
                  <a:lnTo>
                    <a:pt x="240" y="384"/>
                  </a:lnTo>
                  <a:lnTo>
                    <a:pt x="231" y="382"/>
                  </a:lnTo>
                  <a:lnTo>
                    <a:pt x="221" y="370"/>
                  </a:lnTo>
                  <a:lnTo>
                    <a:pt x="202" y="356"/>
                  </a:lnTo>
                  <a:lnTo>
                    <a:pt x="182" y="348"/>
                  </a:lnTo>
                  <a:lnTo>
                    <a:pt x="170" y="353"/>
                  </a:lnTo>
                  <a:lnTo>
                    <a:pt x="151" y="348"/>
                  </a:lnTo>
                  <a:lnTo>
                    <a:pt x="145" y="352"/>
                  </a:lnTo>
                  <a:lnTo>
                    <a:pt x="135" y="352"/>
                  </a:lnTo>
                  <a:lnTo>
                    <a:pt x="118" y="351"/>
                  </a:lnTo>
                  <a:lnTo>
                    <a:pt x="111" y="357"/>
                  </a:lnTo>
                  <a:lnTo>
                    <a:pt x="102" y="355"/>
                  </a:lnTo>
                  <a:lnTo>
                    <a:pt x="103" y="337"/>
                  </a:lnTo>
                  <a:lnTo>
                    <a:pt x="100" y="324"/>
                  </a:lnTo>
                  <a:lnTo>
                    <a:pt x="113" y="334"/>
                  </a:lnTo>
                  <a:lnTo>
                    <a:pt x="119" y="325"/>
                  </a:lnTo>
                  <a:lnTo>
                    <a:pt x="135" y="319"/>
                  </a:lnTo>
                  <a:lnTo>
                    <a:pt x="150" y="308"/>
                  </a:lnTo>
                  <a:lnTo>
                    <a:pt x="150" y="288"/>
                  </a:lnTo>
                  <a:lnTo>
                    <a:pt x="131" y="293"/>
                  </a:lnTo>
                  <a:lnTo>
                    <a:pt x="141" y="283"/>
                  </a:lnTo>
                  <a:lnTo>
                    <a:pt x="143" y="278"/>
                  </a:lnTo>
                  <a:lnTo>
                    <a:pt x="141" y="270"/>
                  </a:lnTo>
                  <a:lnTo>
                    <a:pt x="150" y="259"/>
                  </a:lnTo>
                  <a:lnTo>
                    <a:pt x="140" y="260"/>
                  </a:lnTo>
                  <a:lnTo>
                    <a:pt x="134" y="271"/>
                  </a:lnTo>
                  <a:lnTo>
                    <a:pt x="128" y="266"/>
                  </a:lnTo>
                  <a:lnTo>
                    <a:pt x="127" y="259"/>
                  </a:lnTo>
                  <a:lnTo>
                    <a:pt x="122" y="260"/>
                  </a:lnTo>
                  <a:lnTo>
                    <a:pt x="120" y="255"/>
                  </a:lnTo>
                  <a:lnTo>
                    <a:pt x="119" y="245"/>
                  </a:lnTo>
                  <a:lnTo>
                    <a:pt x="116" y="228"/>
                  </a:lnTo>
                  <a:lnTo>
                    <a:pt x="108" y="227"/>
                  </a:lnTo>
                  <a:lnTo>
                    <a:pt x="95" y="232"/>
                  </a:lnTo>
                  <a:lnTo>
                    <a:pt x="90" y="227"/>
                  </a:lnTo>
                  <a:lnTo>
                    <a:pt x="81" y="226"/>
                  </a:lnTo>
                  <a:lnTo>
                    <a:pt x="69" y="226"/>
                  </a:lnTo>
                  <a:lnTo>
                    <a:pt x="59" y="228"/>
                  </a:lnTo>
                  <a:lnTo>
                    <a:pt x="49" y="235"/>
                  </a:lnTo>
                  <a:lnTo>
                    <a:pt x="37" y="238"/>
                  </a:lnTo>
                  <a:lnTo>
                    <a:pt x="32" y="232"/>
                  </a:lnTo>
                  <a:lnTo>
                    <a:pt x="33" y="219"/>
                  </a:lnTo>
                  <a:lnTo>
                    <a:pt x="48" y="218"/>
                  </a:lnTo>
                  <a:lnTo>
                    <a:pt x="66" y="213"/>
                  </a:lnTo>
                  <a:lnTo>
                    <a:pt x="73" y="207"/>
                  </a:lnTo>
                  <a:lnTo>
                    <a:pt x="85" y="207"/>
                  </a:lnTo>
                  <a:lnTo>
                    <a:pt x="96" y="197"/>
                  </a:lnTo>
                  <a:lnTo>
                    <a:pt x="102" y="205"/>
                  </a:lnTo>
                  <a:lnTo>
                    <a:pt x="111" y="196"/>
                  </a:lnTo>
                  <a:lnTo>
                    <a:pt x="122" y="200"/>
                  </a:lnTo>
                  <a:lnTo>
                    <a:pt x="144" y="201"/>
                  </a:lnTo>
                  <a:lnTo>
                    <a:pt x="152" y="178"/>
                  </a:lnTo>
                  <a:lnTo>
                    <a:pt x="146" y="180"/>
                  </a:lnTo>
                  <a:lnTo>
                    <a:pt x="140" y="191"/>
                  </a:lnTo>
                  <a:lnTo>
                    <a:pt x="133" y="187"/>
                  </a:lnTo>
                  <a:lnTo>
                    <a:pt x="111" y="184"/>
                  </a:lnTo>
                  <a:lnTo>
                    <a:pt x="111" y="176"/>
                  </a:lnTo>
                  <a:lnTo>
                    <a:pt x="118" y="167"/>
                  </a:lnTo>
                  <a:lnTo>
                    <a:pt x="125" y="165"/>
                  </a:lnTo>
                  <a:lnTo>
                    <a:pt x="130" y="159"/>
                  </a:lnTo>
                  <a:lnTo>
                    <a:pt x="147" y="147"/>
                  </a:lnTo>
                  <a:lnTo>
                    <a:pt x="147" y="144"/>
                  </a:lnTo>
                  <a:lnTo>
                    <a:pt x="138" y="137"/>
                  </a:lnTo>
                  <a:lnTo>
                    <a:pt x="131" y="143"/>
                  </a:lnTo>
                  <a:lnTo>
                    <a:pt x="124" y="143"/>
                  </a:lnTo>
                  <a:lnTo>
                    <a:pt x="124" y="137"/>
                  </a:lnTo>
                  <a:lnTo>
                    <a:pt x="119" y="133"/>
                  </a:lnTo>
                  <a:lnTo>
                    <a:pt x="119" y="136"/>
                  </a:lnTo>
                  <a:lnTo>
                    <a:pt x="116" y="127"/>
                  </a:lnTo>
                  <a:lnTo>
                    <a:pt x="112" y="126"/>
                  </a:lnTo>
                  <a:lnTo>
                    <a:pt x="90" y="124"/>
                  </a:lnTo>
                  <a:lnTo>
                    <a:pt x="82" y="127"/>
                  </a:lnTo>
                  <a:lnTo>
                    <a:pt x="71" y="138"/>
                  </a:lnTo>
                  <a:lnTo>
                    <a:pt x="64" y="138"/>
                  </a:lnTo>
                  <a:lnTo>
                    <a:pt x="48" y="147"/>
                  </a:lnTo>
                  <a:lnTo>
                    <a:pt x="42" y="147"/>
                  </a:lnTo>
                  <a:lnTo>
                    <a:pt x="25" y="137"/>
                  </a:lnTo>
                  <a:lnTo>
                    <a:pt x="0" y="144"/>
                  </a:lnTo>
                  <a:lnTo>
                    <a:pt x="4" y="132"/>
                  </a:lnTo>
                  <a:lnTo>
                    <a:pt x="9" y="122"/>
                  </a:lnTo>
                  <a:lnTo>
                    <a:pt x="15" y="127"/>
                  </a:lnTo>
                  <a:lnTo>
                    <a:pt x="34" y="136"/>
                  </a:lnTo>
                  <a:lnTo>
                    <a:pt x="43" y="130"/>
                  </a:lnTo>
                  <a:lnTo>
                    <a:pt x="31" y="125"/>
                  </a:lnTo>
                  <a:lnTo>
                    <a:pt x="34" y="124"/>
                  </a:lnTo>
                  <a:lnTo>
                    <a:pt x="36" y="116"/>
                  </a:lnTo>
                  <a:lnTo>
                    <a:pt x="26" y="110"/>
                  </a:lnTo>
                  <a:lnTo>
                    <a:pt x="21" y="97"/>
                  </a:lnTo>
                  <a:lnTo>
                    <a:pt x="44" y="108"/>
                  </a:lnTo>
                  <a:lnTo>
                    <a:pt x="53" y="120"/>
                  </a:lnTo>
                  <a:lnTo>
                    <a:pt x="70" y="116"/>
                  </a:lnTo>
                  <a:lnTo>
                    <a:pt x="63" y="111"/>
                  </a:lnTo>
                  <a:lnTo>
                    <a:pt x="68" y="108"/>
                  </a:lnTo>
                  <a:lnTo>
                    <a:pt x="69" y="100"/>
                  </a:lnTo>
                  <a:lnTo>
                    <a:pt x="50" y="103"/>
                  </a:lnTo>
                  <a:lnTo>
                    <a:pt x="41" y="92"/>
                  </a:lnTo>
                  <a:lnTo>
                    <a:pt x="42" y="88"/>
                  </a:lnTo>
                  <a:lnTo>
                    <a:pt x="53" y="86"/>
                  </a:lnTo>
                  <a:lnTo>
                    <a:pt x="44" y="78"/>
                  </a:lnTo>
                  <a:lnTo>
                    <a:pt x="37" y="65"/>
                  </a:lnTo>
                  <a:lnTo>
                    <a:pt x="38" y="67"/>
                  </a:lnTo>
                  <a:lnTo>
                    <a:pt x="52" y="73"/>
                  </a:lnTo>
                  <a:lnTo>
                    <a:pt x="54" y="71"/>
                  </a:lnTo>
                  <a:lnTo>
                    <a:pt x="47" y="59"/>
                  </a:lnTo>
                  <a:lnTo>
                    <a:pt x="58" y="63"/>
                  </a:lnTo>
                  <a:lnTo>
                    <a:pt x="50" y="51"/>
                  </a:lnTo>
                  <a:lnTo>
                    <a:pt x="58" y="47"/>
                  </a:lnTo>
                  <a:lnTo>
                    <a:pt x="77" y="57"/>
                  </a:lnTo>
                  <a:lnTo>
                    <a:pt x="77" y="73"/>
                  </a:lnTo>
                  <a:lnTo>
                    <a:pt x="80" y="74"/>
                  </a:lnTo>
                  <a:lnTo>
                    <a:pt x="87" y="77"/>
                  </a:lnTo>
                  <a:lnTo>
                    <a:pt x="93" y="70"/>
                  </a:lnTo>
                  <a:lnTo>
                    <a:pt x="102" y="79"/>
                  </a:lnTo>
                  <a:lnTo>
                    <a:pt x="104" y="93"/>
                  </a:lnTo>
                  <a:lnTo>
                    <a:pt x="108" y="81"/>
                  </a:lnTo>
                  <a:lnTo>
                    <a:pt x="113" y="93"/>
                  </a:lnTo>
                  <a:lnTo>
                    <a:pt x="119" y="79"/>
                  </a:lnTo>
                  <a:lnTo>
                    <a:pt x="112" y="66"/>
                  </a:lnTo>
                  <a:lnTo>
                    <a:pt x="113" y="60"/>
                  </a:lnTo>
                  <a:lnTo>
                    <a:pt x="97" y="51"/>
                  </a:lnTo>
                  <a:lnTo>
                    <a:pt x="89" y="44"/>
                  </a:lnTo>
                  <a:lnTo>
                    <a:pt x="95" y="33"/>
                  </a:lnTo>
                  <a:lnTo>
                    <a:pt x="103" y="40"/>
                  </a:lnTo>
                  <a:lnTo>
                    <a:pt x="108" y="40"/>
                  </a:lnTo>
                  <a:lnTo>
                    <a:pt x="112" y="38"/>
                  </a:lnTo>
                  <a:lnTo>
                    <a:pt x="103" y="29"/>
                  </a:lnTo>
                  <a:lnTo>
                    <a:pt x="101" y="24"/>
                  </a:lnTo>
                  <a:lnTo>
                    <a:pt x="95" y="24"/>
                  </a:lnTo>
                  <a:lnTo>
                    <a:pt x="85" y="30"/>
                  </a:lnTo>
                  <a:lnTo>
                    <a:pt x="76" y="27"/>
                  </a:lnTo>
                  <a:lnTo>
                    <a:pt x="76" y="25"/>
                  </a:lnTo>
                  <a:lnTo>
                    <a:pt x="80" y="18"/>
                  </a:lnTo>
                  <a:lnTo>
                    <a:pt x="77" y="9"/>
                  </a:lnTo>
                  <a:lnTo>
                    <a:pt x="87" y="11"/>
                  </a:lnTo>
                  <a:lnTo>
                    <a:pt x="87" y="6"/>
                  </a:lnTo>
                  <a:lnTo>
                    <a:pt x="97" y="16"/>
                  </a:lnTo>
                  <a:lnTo>
                    <a:pt x="103" y="13"/>
                  </a:lnTo>
                  <a:lnTo>
                    <a:pt x="109" y="17"/>
                  </a:lnTo>
                  <a:lnTo>
                    <a:pt x="114" y="14"/>
                  </a:lnTo>
                  <a:lnTo>
                    <a:pt x="124" y="33"/>
                  </a:lnTo>
                  <a:lnTo>
                    <a:pt x="139" y="36"/>
                  </a:lnTo>
                  <a:lnTo>
                    <a:pt x="145" y="47"/>
                  </a:lnTo>
                  <a:lnTo>
                    <a:pt x="155" y="60"/>
                  </a:lnTo>
                  <a:lnTo>
                    <a:pt x="166" y="63"/>
                  </a:lnTo>
                  <a:lnTo>
                    <a:pt x="173" y="71"/>
                  </a:lnTo>
                  <a:lnTo>
                    <a:pt x="163" y="78"/>
                  </a:lnTo>
                  <a:lnTo>
                    <a:pt x="174" y="86"/>
                  </a:lnTo>
                  <a:lnTo>
                    <a:pt x="176" y="100"/>
                  </a:lnTo>
                  <a:lnTo>
                    <a:pt x="171" y="104"/>
                  </a:lnTo>
                  <a:lnTo>
                    <a:pt x="170" y="109"/>
                  </a:lnTo>
                  <a:lnTo>
                    <a:pt x="166" y="114"/>
                  </a:lnTo>
                  <a:lnTo>
                    <a:pt x="152" y="106"/>
                  </a:lnTo>
                  <a:lnTo>
                    <a:pt x="156" y="117"/>
                  </a:lnTo>
                  <a:lnTo>
                    <a:pt x="170" y="124"/>
                  </a:lnTo>
                  <a:lnTo>
                    <a:pt x="168" y="133"/>
                  </a:lnTo>
                  <a:lnTo>
                    <a:pt x="174" y="126"/>
                  </a:lnTo>
                  <a:lnTo>
                    <a:pt x="177" y="140"/>
                  </a:lnTo>
                  <a:lnTo>
                    <a:pt x="172" y="146"/>
                  </a:lnTo>
                  <a:lnTo>
                    <a:pt x="181" y="149"/>
                  </a:lnTo>
                  <a:lnTo>
                    <a:pt x="182" y="157"/>
                  </a:lnTo>
                  <a:lnTo>
                    <a:pt x="182" y="175"/>
                  </a:lnTo>
                  <a:lnTo>
                    <a:pt x="189" y="162"/>
                  </a:lnTo>
                  <a:lnTo>
                    <a:pt x="189" y="152"/>
                  </a:lnTo>
                  <a:lnTo>
                    <a:pt x="202" y="151"/>
                  </a:lnTo>
                  <a:lnTo>
                    <a:pt x="202" y="127"/>
                  </a:lnTo>
                  <a:lnTo>
                    <a:pt x="206" y="116"/>
                  </a:lnTo>
                  <a:lnTo>
                    <a:pt x="215" y="117"/>
                  </a:lnTo>
                  <a:lnTo>
                    <a:pt x="217" y="127"/>
                  </a:lnTo>
                  <a:lnTo>
                    <a:pt x="222" y="137"/>
                  </a:lnTo>
                  <a:lnTo>
                    <a:pt x="229" y="127"/>
                  </a:lnTo>
                  <a:lnTo>
                    <a:pt x="232" y="113"/>
                  </a:lnTo>
                  <a:lnTo>
                    <a:pt x="233" y="97"/>
                  </a:lnTo>
                  <a:lnTo>
                    <a:pt x="229" y="72"/>
                  </a:lnTo>
                  <a:lnTo>
                    <a:pt x="227" y="59"/>
                  </a:lnTo>
                  <a:lnTo>
                    <a:pt x="233" y="56"/>
                  </a:lnTo>
                  <a:lnTo>
                    <a:pt x="240" y="59"/>
                  </a:lnTo>
                  <a:lnTo>
                    <a:pt x="256" y="76"/>
                  </a:lnTo>
                  <a:lnTo>
                    <a:pt x="265" y="95"/>
                  </a:lnTo>
                  <a:lnTo>
                    <a:pt x="269" y="106"/>
                  </a:lnTo>
                  <a:lnTo>
                    <a:pt x="275" y="106"/>
                  </a:lnTo>
                  <a:lnTo>
                    <a:pt x="281" y="104"/>
                  </a:lnTo>
                  <a:lnTo>
                    <a:pt x="284" y="88"/>
                  </a:lnTo>
                  <a:lnTo>
                    <a:pt x="283" y="76"/>
                  </a:lnTo>
                  <a:lnTo>
                    <a:pt x="280" y="66"/>
                  </a:lnTo>
                  <a:lnTo>
                    <a:pt x="292" y="61"/>
                  </a:lnTo>
                  <a:lnTo>
                    <a:pt x="299" y="65"/>
                  </a:lnTo>
                  <a:lnTo>
                    <a:pt x="305" y="54"/>
                  </a:lnTo>
                  <a:lnTo>
                    <a:pt x="318" y="45"/>
                  </a:lnTo>
                  <a:lnTo>
                    <a:pt x="318" y="55"/>
                  </a:lnTo>
                  <a:lnTo>
                    <a:pt x="321" y="55"/>
                  </a:lnTo>
                  <a:lnTo>
                    <a:pt x="323" y="61"/>
                  </a:lnTo>
                  <a:lnTo>
                    <a:pt x="331" y="63"/>
                  </a:lnTo>
                  <a:lnTo>
                    <a:pt x="333" y="77"/>
                  </a:lnTo>
                  <a:lnTo>
                    <a:pt x="340" y="84"/>
                  </a:lnTo>
                  <a:lnTo>
                    <a:pt x="346" y="95"/>
                  </a:lnTo>
                  <a:lnTo>
                    <a:pt x="349" y="111"/>
                  </a:lnTo>
                  <a:lnTo>
                    <a:pt x="353" y="117"/>
                  </a:lnTo>
                  <a:lnTo>
                    <a:pt x="355" y="103"/>
                  </a:lnTo>
                  <a:lnTo>
                    <a:pt x="355" y="89"/>
                  </a:lnTo>
                  <a:lnTo>
                    <a:pt x="353" y="81"/>
                  </a:lnTo>
                  <a:lnTo>
                    <a:pt x="344" y="60"/>
                  </a:lnTo>
                  <a:lnTo>
                    <a:pt x="344" y="50"/>
                  </a:lnTo>
                  <a:lnTo>
                    <a:pt x="349" y="47"/>
                  </a:lnTo>
                  <a:lnTo>
                    <a:pt x="360" y="50"/>
                  </a:lnTo>
                  <a:lnTo>
                    <a:pt x="370" y="59"/>
                  </a:lnTo>
                  <a:lnTo>
                    <a:pt x="377" y="72"/>
                  </a:lnTo>
                  <a:lnTo>
                    <a:pt x="387" y="70"/>
                  </a:lnTo>
                  <a:lnTo>
                    <a:pt x="392" y="65"/>
                  </a:lnTo>
                  <a:lnTo>
                    <a:pt x="397" y="55"/>
                  </a:lnTo>
                  <a:lnTo>
                    <a:pt x="397" y="49"/>
                  </a:lnTo>
                  <a:lnTo>
                    <a:pt x="410" y="46"/>
                  </a:lnTo>
                  <a:lnTo>
                    <a:pt x="412" y="56"/>
                  </a:lnTo>
                  <a:lnTo>
                    <a:pt x="424" y="57"/>
                  </a:lnTo>
                  <a:lnTo>
                    <a:pt x="432" y="51"/>
                  </a:lnTo>
                  <a:lnTo>
                    <a:pt x="444" y="50"/>
                  </a:lnTo>
                  <a:lnTo>
                    <a:pt x="444" y="28"/>
                  </a:lnTo>
                  <a:lnTo>
                    <a:pt x="441" y="16"/>
                  </a:lnTo>
                  <a:lnTo>
                    <a:pt x="437" y="7"/>
                  </a:lnTo>
                  <a:lnTo>
                    <a:pt x="448" y="8"/>
                  </a:lnTo>
                  <a:lnTo>
                    <a:pt x="456" y="0"/>
                  </a:lnTo>
                  <a:lnTo>
                    <a:pt x="464" y="1"/>
                  </a:lnTo>
                  <a:lnTo>
                    <a:pt x="468" y="13"/>
                  </a:lnTo>
                  <a:lnTo>
                    <a:pt x="480" y="19"/>
                  </a:lnTo>
                  <a:lnTo>
                    <a:pt x="482" y="31"/>
                  </a:lnTo>
                  <a:lnTo>
                    <a:pt x="479" y="36"/>
                  </a:lnTo>
                  <a:lnTo>
                    <a:pt x="495" y="49"/>
                  </a:lnTo>
                  <a:lnTo>
                    <a:pt x="501" y="49"/>
                  </a:lnTo>
                  <a:lnTo>
                    <a:pt x="504" y="44"/>
                  </a:lnTo>
                  <a:lnTo>
                    <a:pt x="502" y="36"/>
                  </a:lnTo>
                  <a:lnTo>
                    <a:pt x="518" y="36"/>
                  </a:lnTo>
                  <a:lnTo>
                    <a:pt x="523" y="23"/>
                  </a:lnTo>
                  <a:lnTo>
                    <a:pt x="530" y="20"/>
                  </a:lnTo>
                  <a:lnTo>
                    <a:pt x="543" y="19"/>
                  </a:lnTo>
                  <a:lnTo>
                    <a:pt x="547" y="23"/>
                  </a:lnTo>
                  <a:lnTo>
                    <a:pt x="532" y="30"/>
                  </a:lnTo>
                  <a:lnTo>
                    <a:pt x="515" y="59"/>
                  </a:lnTo>
                  <a:lnTo>
                    <a:pt x="518" y="67"/>
                  </a:lnTo>
                  <a:lnTo>
                    <a:pt x="523" y="72"/>
                  </a:lnTo>
                  <a:lnTo>
                    <a:pt x="538" y="63"/>
                  </a:lnTo>
                  <a:lnTo>
                    <a:pt x="542" y="82"/>
                  </a:lnTo>
                  <a:lnTo>
                    <a:pt x="536" y="99"/>
                  </a:lnTo>
                  <a:lnTo>
                    <a:pt x="536" y="109"/>
                  </a:lnTo>
                  <a:lnTo>
                    <a:pt x="560" y="106"/>
                  </a:lnTo>
                  <a:lnTo>
                    <a:pt x="559" y="115"/>
                  </a:lnTo>
                  <a:lnTo>
                    <a:pt x="560" y="124"/>
                  </a:lnTo>
                  <a:lnTo>
                    <a:pt x="576" y="129"/>
                  </a:lnTo>
                  <a:lnTo>
                    <a:pt x="577" y="115"/>
                  </a:lnTo>
                  <a:lnTo>
                    <a:pt x="582" y="120"/>
                  </a:lnTo>
                  <a:lnTo>
                    <a:pt x="593" y="147"/>
                  </a:lnTo>
                  <a:lnTo>
                    <a:pt x="592" y="159"/>
                  </a:lnTo>
                  <a:lnTo>
                    <a:pt x="586" y="165"/>
                  </a:lnTo>
                  <a:lnTo>
                    <a:pt x="592" y="180"/>
                  </a:lnTo>
                  <a:lnTo>
                    <a:pt x="600" y="179"/>
                  </a:lnTo>
                  <a:lnTo>
                    <a:pt x="603" y="174"/>
                  </a:lnTo>
                  <a:lnTo>
                    <a:pt x="603" y="189"/>
                  </a:lnTo>
                  <a:lnTo>
                    <a:pt x="600" y="202"/>
                  </a:lnTo>
                  <a:lnTo>
                    <a:pt x="591" y="206"/>
                  </a:lnTo>
                  <a:lnTo>
                    <a:pt x="591" y="217"/>
                  </a:lnTo>
                  <a:lnTo>
                    <a:pt x="587" y="219"/>
                  </a:lnTo>
                  <a:lnTo>
                    <a:pt x="580" y="229"/>
                  </a:lnTo>
                  <a:lnTo>
                    <a:pt x="560" y="234"/>
                  </a:lnTo>
                  <a:lnTo>
                    <a:pt x="560" y="244"/>
                  </a:lnTo>
                  <a:lnTo>
                    <a:pt x="550" y="243"/>
                  </a:lnTo>
                  <a:lnTo>
                    <a:pt x="553" y="246"/>
                  </a:lnTo>
                  <a:lnTo>
                    <a:pt x="548" y="253"/>
                  </a:lnTo>
                  <a:lnTo>
                    <a:pt x="555" y="254"/>
                  </a:lnTo>
                  <a:lnTo>
                    <a:pt x="565" y="246"/>
                  </a:lnTo>
                  <a:lnTo>
                    <a:pt x="555" y="270"/>
                  </a:lnTo>
                  <a:lnTo>
                    <a:pt x="545" y="282"/>
                  </a:lnTo>
                  <a:lnTo>
                    <a:pt x="532" y="287"/>
                  </a:lnTo>
                  <a:lnTo>
                    <a:pt x="528" y="299"/>
                  </a:lnTo>
                  <a:lnTo>
                    <a:pt x="516" y="292"/>
                  </a:lnTo>
                  <a:lnTo>
                    <a:pt x="516" y="285"/>
                  </a:lnTo>
                  <a:lnTo>
                    <a:pt x="510" y="278"/>
                  </a:lnTo>
                  <a:lnTo>
                    <a:pt x="504" y="277"/>
                  </a:lnTo>
                  <a:lnTo>
                    <a:pt x="501" y="291"/>
                  </a:lnTo>
                  <a:lnTo>
                    <a:pt x="488" y="300"/>
                  </a:lnTo>
                  <a:lnTo>
                    <a:pt x="483" y="309"/>
                  </a:lnTo>
                  <a:lnTo>
                    <a:pt x="467" y="325"/>
                  </a:lnTo>
                  <a:lnTo>
                    <a:pt x="450" y="337"/>
                  </a:lnTo>
                  <a:lnTo>
                    <a:pt x="437" y="345"/>
                  </a:lnTo>
                  <a:lnTo>
                    <a:pt x="423" y="343"/>
                  </a:lnTo>
                  <a:lnTo>
                    <a:pt x="413" y="347"/>
                  </a:lnTo>
                  <a:lnTo>
                    <a:pt x="410" y="341"/>
                  </a:lnTo>
                  <a:lnTo>
                    <a:pt x="404" y="346"/>
                  </a:lnTo>
                  <a:lnTo>
                    <a:pt x="401" y="351"/>
                  </a:lnTo>
                  <a:lnTo>
                    <a:pt x="401" y="359"/>
                  </a:lnTo>
                  <a:lnTo>
                    <a:pt x="385" y="364"/>
                  </a:lnTo>
                  <a:lnTo>
                    <a:pt x="356" y="394"/>
                  </a:lnTo>
                  <a:lnTo>
                    <a:pt x="332" y="402"/>
                  </a:lnTo>
                  <a:lnTo>
                    <a:pt x="324" y="409"/>
                  </a:lnTo>
                  <a:lnTo>
                    <a:pt x="310" y="404"/>
                  </a:lnTo>
                  <a:lnTo>
                    <a:pt x="302" y="407"/>
                  </a:lnTo>
                  <a:lnTo>
                    <a:pt x="291" y="399"/>
                  </a:lnTo>
                  <a:lnTo>
                    <a:pt x="279" y="396"/>
                  </a:lnTo>
                  <a:lnTo>
                    <a:pt x="260" y="388"/>
                  </a:lnTo>
                  <a:lnTo>
                    <a:pt x="251" y="38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grpSp>
          <p:nvGrpSpPr>
            <p:cNvPr id="59" name="Group 222"/>
            <p:cNvGrpSpPr>
              <a:grpSpLocks noChangeAspect="1"/>
            </p:cNvGrpSpPr>
            <p:nvPr/>
          </p:nvGrpSpPr>
          <p:grpSpPr bwMode="gray">
            <a:xfrm>
              <a:off x="6083280" y="1594008"/>
              <a:ext cx="287816" cy="326528"/>
              <a:chOff x="3202" y="1036"/>
              <a:chExt cx="181" cy="187"/>
            </a:xfrm>
            <a:grpFill/>
          </p:grpSpPr>
          <p:sp>
            <p:nvSpPr>
              <p:cNvPr id="288" name="Freeform 223"/>
              <p:cNvSpPr>
                <a:spLocks noChangeAspect="1"/>
              </p:cNvSpPr>
              <p:nvPr/>
            </p:nvSpPr>
            <p:spPr bwMode="gray">
              <a:xfrm>
                <a:off x="3202" y="1036"/>
                <a:ext cx="118" cy="187"/>
              </a:xfrm>
              <a:custGeom>
                <a:avLst/>
                <a:gdLst/>
                <a:ahLst/>
                <a:cxnLst>
                  <a:cxn ang="0">
                    <a:pos x="274" y="96"/>
                  </a:cxn>
                  <a:cxn ang="0">
                    <a:pos x="291" y="233"/>
                  </a:cxn>
                  <a:cxn ang="0">
                    <a:pos x="264" y="255"/>
                  </a:cxn>
                  <a:cxn ang="0">
                    <a:pos x="253" y="151"/>
                  </a:cxn>
                  <a:cxn ang="0">
                    <a:pos x="197" y="102"/>
                  </a:cxn>
                  <a:cxn ang="0">
                    <a:pos x="189" y="232"/>
                  </a:cxn>
                  <a:cxn ang="0">
                    <a:pos x="145" y="192"/>
                  </a:cxn>
                  <a:cxn ang="0">
                    <a:pos x="94" y="145"/>
                  </a:cxn>
                  <a:cxn ang="0">
                    <a:pos x="170" y="96"/>
                  </a:cxn>
                  <a:cxn ang="0">
                    <a:pos x="98" y="77"/>
                  </a:cxn>
                  <a:cxn ang="0">
                    <a:pos x="74" y="104"/>
                  </a:cxn>
                  <a:cxn ang="0">
                    <a:pos x="35" y="115"/>
                  </a:cxn>
                  <a:cxn ang="0">
                    <a:pos x="15" y="152"/>
                  </a:cxn>
                  <a:cxn ang="0">
                    <a:pos x="15" y="206"/>
                  </a:cxn>
                  <a:cxn ang="0">
                    <a:pos x="33" y="276"/>
                  </a:cxn>
                  <a:cxn ang="0">
                    <a:pos x="74" y="224"/>
                  </a:cxn>
                  <a:cxn ang="0">
                    <a:pos x="70" y="301"/>
                  </a:cxn>
                  <a:cxn ang="0">
                    <a:pos x="37" y="316"/>
                  </a:cxn>
                  <a:cxn ang="0">
                    <a:pos x="66" y="400"/>
                  </a:cxn>
                  <a:cxn ang="0">
                    <a:pos x="100" y="450"/>
                  </a:cxn>
                  <a:cxn ang="0">
                    <a:pos x="129" y="522"/>
                  </a:cxn>
                  <a:cxn ang="0">
                    <a:pos x="191" y="516"/>
                  </a:cxn>
                  <a:cxn ang="0">
                    <a:pos x="213" y="458"/>
                  </a:cxn>
                  <a:cxn ang="0">
                    <a:pos x="231" y="394"/>
                  </a:cxn>
                  <a:cxn ang="0">
                    <a:pos x="266" y="366"/>
                  </a:cxn>
                  <a:cxn ang="0">
                    <a:pos x="307" y="435"/>
                  </a:cxn>
                  <a:cxn ang="0">
                    <a:pos x="336" y="400"/>
                  </a:cxn>
                  <a:cxn ang="0">
                    <a:pos x="326" y="453"/>
                  </a:cxn>
                  <a:cxn ang="0">
                    <a:pos x="336" y="485"/>
                  </a:cxn>
                  <a:cxn ang="0">
                    <a:pos x="264" y="516"/>
                  </a:cxn>
                  <a:cxn ang="0">
                    <a:pos x="224" y="555"/>
                  </a:cxn>
                  <a:cxn ang="0">
                    <a:pos x="167" y="569"/>
                  </a:cxn>
                  <a:cxn ang="0">
                    <a:pos x="195" y="640"/>
                  </a:cxn>
                  <a:cxn ang="0">
                    <a:pos x="231" y="636"/>
                  </a:cxn>
                  <a:cxn ang="0">
                    <a:pos x="315" y="624"/>
                  </a:cxn>
                  <a:cxn ang="0">
                    <a:pos x="338" y="637"/>
                  </a:cxn>
                  <a:cxn ang="0">
                    <a:pos x="281" y="649"/>
                  </a:cxn>
                  <a:cxn ang="0">
                    <a:pos x="291" y="714"/>
                  </a:cxn>
                  <a:cxn ang="0">
                    <a:pos x="215" y="716"/>
                  </a:cxn>
                  <a:cxn ang="0">
                    <a:pos x="199" y="774"/>
                  </a:cxn>
                  <a:cxn ang="0">
                    <a:pos x="278" y="830"/>
                  </a:cxn>
                  <a:cxn ang="0">
                    <a:pos x="302" y="848"/>
                  </a:cxn>
                  <a:cxn ang="0">
                    <a:pos x="323" y="922"/>
                  </a:cxn>
                  <a:cxn ang="0">
                    <a:pos x="348" y="888"/>
                  </a:cxn>
                  <a:cxn ang="0">
                    <a:pos x="364" y="822"/>
                  </a:cxn>
                  <a:cxn ang="0">
                    <a:pos x="380" y="731"/>
                  </a:cxn>
                  <a:cxn ang="0">
                    <a:pos x="423" y="680"/>
                  </a:cxn>
                  <a:cxn ang="0">
                    <a:pos x="426" y="588"/>
                  </a:cxn>
                  <a:cxn ang="0">
                    <a:pos x="455" y="529"/>
                  </a:cxn>
                  <a:cxn ang="0">
                    <a:pos x="473" y="462"/>
                  </a:cxn>
                  <a:cxn ang="0">
                    <a:pos x="536" y="404"/>
                  </a:cxn>
                  <a:cxn ang="0">
                    <a:pos x="586" y="341"/>
                  </a:cxn>
                  <a:cxn ang="0">
                    <a:pos x="477" y="254"/>
                  </a:cxn>
                  <a:cxn ang="0">
                    <a:pos x="435" y="150"/>
                  </a:cxn>
                  <a:cxn ang="0">
                    <a:pos x="391" y="181"/>
                  </a:cxn>
                  <a:cxn ang="0">
                    <a:pos x="379" y="144"/>
                  </a:cxn>
                  <a:cxn ang="0">
                    <a:pos x="339" y="39"/>
                  </a:cxn>
                  <a:cxn ang="0">
                    <a:pos x="290" y="22"/>
                  </a:cxn>
                </a:cxnLst>
                <a:rect l="0" t="0" r="r" b="b"/>
                <a:pathLst>
                  <a:path w="591" h="937">
                    <a:moveTo>
                      <a:pt x="290" y="22"/>
                    </a:moveTo>
                    <a:lnTo>
                      <a:pt x="289" y="29"/>
                    </a:lnTo>
                    <a:lnTo>
                      <a:pt x="294" y="43"/>
                    </a:lnTo>
                    <a:lnTo>
                      <a:pt x="279" y="45"/>
                    </a:lnTo>
                    <a:lnTo>
                      <a:pt x="278" y="57"/>
                    </a:lnTo>
                    <a:lnTo>
                      <a:pt x="278" y="68"/>
                    </a:lnTo>
                    <a:lnTo>
                      <a:pt x="274" y="79"/>
                    </a:lnTo>
                    <a:lnTo>
                      <a:pt x="274" y="96"/>
                    </a:lnTo>
                    <a:lnTo>
                      <a:pt x="279" y="96"/>
                    </a:lnTo>
                    <a:lnTo>
                      <a:pt x="279" y="109"/>
                    </a:lnTo>
                    <a:lnTo>
                      <a:pt x="280" y="133"/>
                    </a:lnTo>
                    <a:lnTo>
                      <a:pt x="283" y="140"/>
                    </a:lnTo>
                    <a:lnTo>
                      <a:pt x="283" y="182"/>
                    </a:lnTo>
                    <a:lnTo>
                      <a:pt x="285" y="195"/>
                    </a:lnTo>
                    <a:lnTo>
                      <a:pt x="288" y="226"/>
                    </a:lnTo>
                    <a:lnTo>
                      <a:pt x="291" y="233"/>
                    </a:lnTo>
                    <a:lnTo>
                      <a:pt x="293" y="258"/>
                    </a:lnTo>
                    <a:lnTo>
                      <a:pt x="318" y="325"/>
                    </a:lnTo>
                    <a:lnTo>
                      <a:pt x="317" y="329"/>
                    </a:lnTo>
                    <a:lnTo>
                      <a:pt x="308" y="327"/>
                    </a:lnTo>
                    <a:lnTo>
                      <a:pt x="296" y="312"/>
                    </a:lnTo>
                    <a:lnTo>
                      <a:pt x="283" y="274"/>
                    </a:lnTo>
                    <a:lnTo>
                      <a:pt x="272" y="254"/>
                    </a:lnTo>
                    <a:lnTo>
                      <a:pt x="264" y="255"/>
                    </a:lnTo>
                    <a:lnTo>
                      <a:pt x="263" y="262"/>
                    </a:lnTo>
                    <a:lnTo>
                      <a:pt x="261" y="263"/>
                    </a:lnTo>
                    <a:lnTo>
                      <a:pt x="259" y="258"/>
                    </a:lnTo>
                    <a:lnTo>
                      <a:pt x="264" y="244"/>
                    </a:lnTo>
                    <a:lnTo>
                      <a:pt x="264" y="217"/>
                    </a:lnTo>
                    <a:lnTo>
                      <a:pt x="259" y="197"/>
                    </a:lnTo>
                    <a:lnTo>
                      <a:pt x="258" y="178"/>
                    </a:lnTo>
                    <a:lnTo>
                      <a:pt x="253" y="151"/>
                    </a:lnTo>
                    <a:lnTo>
                      <a:pt x="252" y="125"/>
                    </a:lnTo>
                    <a:lnTo>
                      <a:pt x="246" y="104"/>
                    </a:lnTo>
                    <a:lnTo>
                      <a:pt x="240" y="96"/>
                    </a:lnTo>
                    <a:lnTo>
                      <a:pt x="238" y="87"/>
                    </a:lnTo>
                    <a:lnTo>
                      <a:pt x="224" y="81"/>
                    </a:lnTo>
                    <a:lnTo>
                      <a:pt x="208" y="69"/>
                    </a:lnTo>
                    <a:lnTo>
                      <a:pt x="199" y="86"/>
                    </a:lnTo>
                    <a:lnTo>
                      <a:pt x="197" y="102"/>
                    </a:lnTo>
                    <a:lnTo>
                      <a:pt x="188" y="114"/>
                    </a:lnTo>
                    <a:lnTo>
                      <a:pt x="187" y="120"/>
                    </a:lnTo>
                    <a:lnTo>
                      <a:pt x="177" y="133"/>
                    </a:lnTo>
                    <a:lnTo>
                      <a:pt x="173" y="146"/>
                    </a:lnTo>
                    <a:lnTo>
                      <a:pt x="176" y="157"/>
                    </a:lnTo>
                    <a:lnTo>
                      <a:pt x="176" y="171"/>
                    </a:lnTo>
                    <a:lnTo>
                      <a:pt x="184" y="215"/>
                    </a:lnTo>
                    <a:lnTo>
                      <a:pt x="189" y="232"/>
                    </a:lnTo>
                    <a:lnTo>
                      <a:pt x="195" y="242"/>
                    </a:lnTo>
                    <a:lnTo>
                      <a:pt x="188" y="241"/>
                    </a:lnTo>
                    <a:lnTo>
                      <a:pt x="176" y="222"/>
                    </a:lnTo>
                    <a:lnTo>
                      <a:pt x="168" y="205"/>
                    </a:lnTo>
                    <a:lnTo>
                      <a:pt x="164" y="183"/>
                    </a:lnTo>
                    <a:lnTo>
                      <a:pt x="152" y="167"/>
                    </a:lnTo>
                    <a:lnTo>
                      <a:pt x="151" y="179"/>
                    </a:lnTo>
                    <a:lnTo>
                      <a:pt x="145" y="192"/>
                    </a:lnTo>
                    <a:lnTo>
                      <a:pt x="140" y="183"/>
                    </a:lnTo>
                    <a:lnTo>
                      <a:pt x="143" y="171"/>
                    </a:lnTo>
                    <a:lnTo>
                      <a:pt x="139" y="158"/>
                    </a:lnTo>
                    <a:lnTo>
                      <a:pt x="148" y="152"/>
                    </a:lnTo>
                    <a:lnTo>
                      <a:pt x="152" y="138"/>
                    </a:lnTo>
                    <a:lnTo>
                      <a:pt x="134" y="136"/>
                    </a:lnTo>
                    <a:lnTo>
                      <a:pt x="106" y="150"/>
                    </a:lnTo>
                    <a:lnTo>
                      <a:pt x="94" y="145"/>
                    </a:lnTo>
                    <a:lnTo>
                      <a:pt x="97" y="135"/>
                    </a:lnTo>
                    <a:lnTo>
                      <a:pt x="113" y="128"/>
                    </a:lnTo>
                    <a:lnTo>
                      <a:pt x="125" y="112"/>
                    </a:lnTo>
                    <a:lnTo>
                      <a:pt x="129" y="102"/>
                    </a:lnTo>
                    <a:lnTo>
                      <a:pt x="143" y="102"/>
                    </a:lnTo>
                    <a:lnTo>
                      <a:pt x="146" y="96"/>
                    </a:lnTo>
                    <a:lnTo>
                      <a:pt x="152" y="104"/>
                    </a:lnTo>
                    <a:lnTo>
                      <a:pt x="170" y="96"/>
                    </a:lnTo>
                    <a:lnTo>
                      <a:pt x="175" y="86"/>
                    </a:lnTo>
                    <a:lnTo>
                      <a:pt x="175" y="76"/>
                    </a:lnTo>
                    <a:lnTo>
                      <a:pt x="170" y="54"/>
                    </a:lnTo>
                    <a:lnTo>
                      <a:pt x="160" y="53"/>
                    </a:lnTo>
                    <a:lnTo>
                      <a:pt x="141" y="58"/>
                    </a:lnTo>
                    <a:lnTo>
                      <a:pt x="122" y="75"/>
                    </a:lnTo>
                    <a:lnTo>
                      <a:pt x="100" y="82"/>
                    </a:lnTo>
                    <a:lnTo>
                      <a:pt x="98" y="77"/>
                    </a:lnTo>
                    <a:lnTo>
                      <a:pt x="91" y="74"/>
                    </a:lnTo>
                    <a:lnTo>
                      <a:pt x="91" y="63"/>
                    </a:lnTo>
                    <a:lnTo>
                      <a:pt x="89" y="54"/>
                    </a:lnTo>
                    <a:lnTo>
                      <a:pt x="80" y="58"/>
                    </a:lnTo>
                    <a:lnTo>
                      <a:pt x="85" y="103"/>
                    </a:lnTo>
                    <a:lnTo>
                      <a:pt x="81" y="104"/>
                    </a:lnTo>
                    <a:lnTo>
                      <a:pt x="78" y="97"/>
                    </a:lnTo>
                    <a:lnTo>
                      <a:pt x="74" y="104"/>
                    </a:lnTo>
                    <a:lnTo>
                      <a:pt x="53" y="58"/>
                    </a:lnTo>
                    <a:lnTo>
                      <a:pt x="43" y="66"/>
                    </a:lnTo>
                    <a:lnTo>
                      <a:pt x="46" y="77"/>
                    </a:lnTo>
                    <a:lnTo>
                      <a:pt x="41" y="86"/>
                    </a:lnTo>
                    <a:lnTo>
                      <a:pt x="30" y="77"/>
                    </a:lnTo>
                    <a:lnTo>
                      <a:pt x="26" y="81"/>
                    </a:lnTo>
                    <a:lnTo>
                      <a:pt x="25" y="91"/>
                    </a:lnTo>
                    <a:lnTo>
                      <a:pt x="35" y="115"/>
                    </a:lnTo>
                    <a:lnTo>
                      <a:pt x="33" y="122"/>
                    </a:lnTo>
                    <a:lnTo>
                      <a:pt x="21" y="119"/>
                    </a:lnTo>
                    <a:lnTo>
                      <a:pt x="12" y="9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8" y="118"/>
                    </a:lnTo>
                    <a:lnTo>
                      <a:pt x="19" y="140"/>
                    </a:lnTo>
                    <a:lnTo>
                      <a:pt x="15" y="152"/>
                    </a:lnTo>
                    <a:lnTo>
                      <a:pt x="8" y="146"/>
                    </a:lnTo>
                    <a:lnTo>
                      <a:pt x="0" y="150"/>
                    </a:lnTo>
                    <a:lnTo>
                      <a:pt x="1" y="158"/>
                    </a:lnTo>
                    <a:lnTo>
                      <a:pt x="6" y="163"/>
                    </a:lnTo>
                    <a:lnTo>
                      <a:pt x="8" y="176"/>
                    </a:lnTo>
                    <a:lnTo>
                      <a:pt x="8" y="201"/>
                    </a:lnTo>
                    <a:lnTo>
                      <a:pt x="9" y="215"/>
                    </a:lnTo>
                    <a:lnTo>
                      <a:pt x="15" y="206"/>
                    </a:lnTo>
                    <a:lnTo>
                      <a:pt x="16" y="217"/>
                    </a:lnTo>
                    <a:lnTo>
                      <a:pt x="17" y="236"/>
                    </a:lnTo>
                    <a:lnTo>
                      <a:pt x="17" y="220"/>
                    </a:lnTo>
                    <a:lnTo>
                      <a:pt x="24" y="236"/>
                    </a:lnTo>
                    <a:lnTo>
                      <a:pt x="25" y="248"/>
                    </a:lnTo>
                    <a:lnTo>
                      <a:pt x="27" y="254"/>
                    </a:lnTo>
                    <a:lnTo>
                      <a:pt x="27" y="271"/>
                    </a:lnTo>
                    <a:lnTo>
                      <a:pt x="33" y="276"/>
                    </a:lnTo>
                    <a:lnTo>
                      <a:pt x="43" y="270"/>
                    </a:lnTo>
                    <a:lnTo>
                      <a:pt x="53" y="244"/>
                    </a:lnTo>
                    <a:lnTo>
                      <a:pt x="38" y="225"/>
                    </a:lnTo>
                    <a:lnTo>
                      <a:pt x="55" y="228"/>
                    </a:lnTo>
                    <a:lnTo>
                      <a:pt x="60" y="238"/>
                    </a:lnTo>
                    <a:lnTo>
                      <a:pt x="62" y="233"/>
                    </a:lnTo>
                    <a:lnTo>
                      <a:pt x="66" y="226"/>
                    </a:lnTo>
                    <a:lnTo>
                      <a:pt x="74" y="224"/>
                    </a:lnTo>
                    <a:lnTo>
                      <a:pt x="71" y="238"/>
                    </a:lnTo>
                    <a:lnTo>
                      <a:pt x="73" y="246"/>
                    </a:lnTo>
                    <a:lnTo>
                      <a:pt x="65" y="253"/>
                    </a:lnTo>
                    <a:lnTo>
                      <a:pt x="63" y="264"/>
                    </a:lnTo>
                    <a:lnTo>
                      <a:pt x="65" y="274"/>
                    </a:lnTo>
                    <a:lnTo>
                      <a:pt x="57" y="279"/>
                    </a:lnTo>
                    <a:lnTo>
                      <a:pt x="54" y="291"/>
                    </a:lnTo>
                    <a:lnTo>
                      <a:pt x="70" y="301"/>
                    </a:lnTo>
                    <a:lnTo>
                      <a:pt x="71" y="313"/>
                    </a:lnTo>
                    <a:lnTo>
                      <a:pt x="80" y="318"/>
                    </a:lnTo>
                    <a:lnTo>
                      <a:pt x="91" y="312"/>
                    </a:lnTo>
                    <a:lnTo>
                      <a:pt x="96" y="325"/>
                    </a:lnTo>
                    <a:lnTo>
                      <a:pt x="94" y="335"/>
                    </a:lnTo>
                    <a:lnTo>
                      <a:pt x="55" y="325"/>
                    </a:lnTo>
                    <a:lnTo>
                      <a:pt x="49" y="314"/>
                    </a:lnTo>
                    <a:lnTo>
                      <a:pt x="37" y="316"/>
                    </a:lnTo>
                    <a:lnTo>
                      <a:pt x="43" y="327"/>
                    </a:lnTo>
                    <a:lnTo>
                      <a:pt x="62" y="348"/>
                    </a:lnTo>
                    <a:lnTo>
                      <a:pt x="71" y="351"/>
                    </a:lnTo>
                    <a:lnTo>
                      <a:pt x="68" y="359"/>
                    </a:lnTo>
                    <a:lnTo>
                      <a:pt x="59" y="360"/>
                    </a:lnTo>
                    <a:lnTo>
                      <a:pt x="54" y="381"/>
                    </a:lnTo>
                    <a:lnTo>
                      <a:pt x="68" y="392"/>
                    </a:lnTo>
                    <a:lnTo>
                      <a:pt x="66" y="400"/>
                    </a:lnTo>
                    <a:lnTo>
                      <a:pt x="73" y="407"/>
                    </a:lnTo>
                    <a:lnTo>
                      <a:pt x="75" y="414"/>
                    </a:lnTo>
                    <a:lnTo>
                      <a:pt x="111" y="435"/>
                    </a:lnTo>
                    <a:lnTo>
                      <a:pt x="128" y="435"/>
                    </a:lnTo>
                    <a:lnTo>
                      <a:pt x="138" y="427"/>
                    </a:lnTo>
                    <a:lnTo>
                      <a:pt x="137" y="441"/>
                    </a:lnTo>
                    <a:lnTo>
                      <a:pt x="127" y="447"/>
                    </a:lnTo>
                    <a:lnTo>
                      <a:pt x="100" y="450"/>
                    </a:lnTo>
                    <a:lnTo>
                      <a:pt x="97" y="457"/>
                    </a:lnTo>
                    <a:lnTo>
                      <a:pt x="106" y="469"/>
                    </a:lnTo>
                    <a:lnTo>
                      <a:pt x="108" y="481"/>
                    </a:lnTo>
                    <a:lnTo>
                      <a:pt x="121" y="486"/>
                    </a:lnTo>
                    <a:lnTo>
                      <a:pt x="128" y="483"/>
                    </a:lnTo>
                    <a:lnTo>
                      <a:pt x="130" y="501"/>
                    </a:lnTo>
                    <a:lnTo>
                      <a:pt x="124" y="509"/>
                    </a:lnTo>
                    <a:lnTo>
                      <a:pt x="129" y="522"/>
                    </a:lnTo>
                    <a:lnTo>
                      <a:pt x="132" y="517"/>
                    </a:lnTo>
                    <a:lnTo>
                      <a:pt x="148" y="526"/>
                    </a:lnTo>
                    <a:lnTo>
                      <a:pt x="152" y="518"/>
                    </a:lnTo>
                    <a:lnTo>
                      <a:pt x="156" y="527"/>
                    </a:lnTo>
                    <a:lnTo>
                      <a:pt x="160" y="522"/>
                    </a:lnTo>
                    <a:lnTo>
                      <a:pt x="173" y="527"/>
                    </a:lnTo>
                    <a:lnTo>
                      <a:pt x="177" y="516"/>
                    </a:lnTo>
                    <a:lnTo>
                      <a:pt x="191" y="516"/>
                    </a:lnTo>
                    <a:lnTo>
                      <a:pt x="193" y="501"/>
                    </a:lnTo>
                    <a:lnTo>
                      <a:pt x="192" y="495"/>
                    </a:lnTo>
                    <a:lnTo>
                      <a:pt x="198" y="479"/>
                    </a:lnTo>
                    <a:lnTo>
                      <a:pt x="208" y="477"/>
                    </a:lnTo>
                    <a:lnTo>
                      <a:pt x="215" y="483"/>
                    </a:lnTo>
                    <a:lnTo>
                      <a:pt x="221" y="478"/>
                    </a:lnTo>
                    <a:lnTo>
                      <a:pt x="218" y="466"/>
                    </a:lnTo>
                    <a:lnTo>
                      <a:pt x="213" y="458"/>
                    </a:lnTo>
                    <a:lnTo>
                      <a:pt x="205" y="457"/>
                    </a:lnTo>
                    <a:lnTo>
                      <a:pt x="210" y="443"/>
                    </a:lnTo>
                    <a:lnTo>
                      <a:pt x="211" y="414"/>
                    </a:lnTo>
                    <a:lnTo>
                      <a:pt x="214" y="396"/>
                    </a:lnTo>
                    <a:lnTo>
                      <a:pt x="218" y="386"/>
                    </a:lnTo>
                    <a:lnTo>
                      <a:pt x="224" y="381"/>
                    </a:lnTo>
                    <a:lnTo>
                      <a:pt x="230" y="382"/>
                    </a:lnTo>
                    <a:lnTo>
                      <a:pt x="231" y="394"/>
                    </a:lnTo>
                    <a:lnTo>
                      <a:pt x="230" y="404"/>
                    </a:lnTo>
                    <a:lnTo>
                      <a:pt x="235" y="416"/>
                    </a:lnTo>
                    <a:lnTo>
                      <a:pt x="241" y="416"/>
                    </a:lnTo>
                    <a:lnTo>
                      <a:pt x="250" y="399"/>
                    </a:lnTo>
                    <a:lnTo>
                      <a:pt x="250" y="388"/>
                    </a:lnTo>
                    <a:lnTo>
                      <a:pt x="252" y="368"/>
                    </a:lnTo>
                    <a:lnTo>
                      <a:pt x="261" y="353"/>
                    </a:lnTo>
                    <a:lnTo>
                      <a:pt x="266" y="366"/>
                    </a:lnTo>
                    <a:lnTo>
                      <a:pt x="267" y="382"/>
                    </a:lnTo>
                    <a:lnTo>
                      <a:pt x="253" y="421"/>
                    </a:lnTo>
                    <a:lnTo>
                      <a:pt x="257" y="446"/>
                    </a:lnTo>
                    <a:lnTo>
                      <a:pt x="264" y="452"/>
                    </a:lnTo>
                    <a:lnTo>
                      <a:pt x="270" y="462"/>
                    </a:lnTo>
                    <a:lnTo>
                      <a:pt x="296" y="450"/>
                    </a:lnTo>
                    <a:lnTo>
                      <a:pt x="299" y="439"/>
                    </a:lnTo>
                    <a:lnTo>
                      <a:pt x="307" y="435"/>
                    </a:lnTo>
                    <a:lnTo>
                      <a:pt x="313" y="424"/>
                    </a:lnTo>
                    <a:lnTo>
                      <a:pt x="315" y="409"/>
                    </a:lnTo>
                    <a:lnTo>
                      <a:pt x="313" y="396"/>
                    </a:lnTo>
                    <a:lnTo>
                      <a:pt x="322" y="389"/>
                    </a:lnTo>
                    <a:lnTo>
                      <a:pt x="326" y="381"/>
                    </a:lnTo>
                    <a:lnTo>
                      <a:pt x="329" y="383"/>
                    </a:lnTo>
                    <a:lnTo>
                      <a:pt x="331" y="398"/>
                    </a:lnTo>
                    <a:lnTo>
                      <a:pt x="336" y="400"/>
                    </a:lnTo>
                    <a:lnTo>
                      <a:pt x="327" y="419"/>
                    </a:lnTo>
                    <a:lnTo>
                      <a:pt x="320" y="425"/>
                    </a:lnTo>
                    <a:lnTo>
                      <a:pt x="318" y="437"/>
                    </a:lnTo>
                    <a:lnTo>
                      <a:pt x="315" y="443"/>
                    </a:lnTo>
                    <a:lnTo>
                      <a:pt x="313" y="453"/>
                    </a:lnTo>
                    <a:lnTo>
                      <a:pt x="316" y="462"/>
                    </a:lnTo>
                    <a:lnTo>
                      <a:pt x="322" y="464"/>
                    </a:lnTo>
                    <a:lnTo>
                      <a:pt x="326" y="453"/>
                    </a:lnTo>
                    <a:lnTo>
                      <a:pt x="334" y="470"/>
                    </a:lnTo>
                    <a:lnTo>
                      <a:pt x="342" y="474"/>
                    </a:lnTo>
                    <a:lnTo>
                      <a:pt x="364" y="461"/>
                    </a:lnTo>
                    <a:lnTo>
                      <a:pt x="367" y="467"/>
                    </a:lnTo>
                    <a:lnTo>
                      <a:pt x="363" y="473"/>
                    </a:lnTo>
                    <a:lnTo>
                      <a:pt x="350" y="474"/>
                    </a:lnTo>
                    <a:lnTo>
                      <a:pt x="347" y="481"/>
                    </a:lnTo>
                    <a:lnTo>
                      <a:pt x="336" y="485"/>
                    </a:lnTo>
                    <a:lnTo>
                      <a:pt x="334" y="491"/>
                    </a:lnTo>
                    <a:lnTo>
                      <a:pt x="316" y="491"/>
                    </a:lnTo>
                    <a:lnTo>
                      <a:pt x="306" y="483"/>
                    </a:lnTo>
                    <a:lnTo>
                      <a:pt x="284" y="485"/>
                    </a:lnTo>
                    <a:lnTo>
                      <a:pt x="268" y="500"/>
                    </a:lnTo>
                    <a:lnTo>
                      <a:pt x="275" y="516"/>
                    </a:lnTo>
                    <a:lnTo>
                      <a:pt x="272" y="524"/>
                    </a:lnTo>
                    <a:lnTo>
                      <a:pt x="264" y="516"/>
                    </a:lnTo>
                    <a:lnTo>
                      <a:pt x="257" y="516"/>
                    </a:lnTo>
                    <a:lnTo>
                      <a:pt x="253" y="526"/>
                    </a:lnTo>
                    <a:lnTo>
                      <a:pt x="247" y="528"/>
                    </a:lnTo>
                    <a:lnTo>
                      <a:pt x="243" y="538"/>
                    </a:lnTo>
                    <a:lnTo>
                      <a:pt x="240" y="540"/>
                    </a:lnTo>
                    <a:lnTo>
                      <a:pt x="240" y="556"/>
                    </a:lnTo>
                    <a:lnTo>
                      <a:pt x="230" y="559"/>
                    </a:lnTo>
                    <a:lnTo>
                      <a:pt x="224" y="555"/>
                    </a:lnTo>
                    <a:lnTo>
                      <a:pt x="193" y="563"/>
                    </a:lnTo>
                    <a:lnTo>
                      <a:pt x="192" y="570"/>
                    </a:lnTo>
                    <a:lnTo>
                      <a:pt x="198" y="581"/>
                    </a:lnTo>
                    <a:lnTo>
                      <a:pt x="194" y="590"/>
                    </a:lnTo>
                    <a:lnTo>
                      <a:pt x="187" y="586"/>
                    </a:lnTo>
                    <a:lnTo>
                      <a:pt x="183" y="572"/>
                    </a:lnTo>
                    <a:lnTo>
                      <a:pt x="178" y="565"/>
                    </a:lnTo>
                    <a:lnTo>
                      <a:pt x="167" y="569"/>
                    </a:lnTo>
                    <a:lnTo>
                      <a:pt x="164" y="575"/>
                    </a:lnTo>
                    <a:lnTo>
                      <a:pt x="165" y="609"/>
                    </a:lnTo>
                    <a:lnTo>
                      <a:pt x="172" y="635"/>
                    </a:lnTo>
                    <a:lnTo>
                      <a:pt x="170" y="642"/>
                    </a:lnTo>
                    <a:lnTo>
                      <a:pt x="170" y="649"/>
                    </a:lnTo>
                    <a:lnTo>
                      <a:pt x="176" y="652"/>
                    </a:lnTo>
                    <a:lnTo>
                      <a:pt x="186" y="652"/>
                    </a:lnTo>
                    <a:lnTo>
                      <a:pt x="195" y="640"/>
                    </a:lnTo>
                    <a:lnTo>
                      <a:pt x="200" y="646"/>
                    </a:lnTo>
                    <a:lnTo>
                      <a:pt x="208" y="646"/>
                    </a:lnTo>
                    <a:lnTo>
                      <a:pt x="216" y="645"/>
                    </a:lnTo>
                    <a:lnTo>
                      <a:pt x="216" y="639"/>
                    </a:lnTo>
                    <a:lnTo>
                      <a:pt x="221" y="637"/>
                    </a:lnTo>
                    <a:lnTo>
                      <a:pt x="223" y="646"/>
                    </a:lnTo>
                    <a:lnTo>
                      <a:pt x="229" y="645"/>
                    </a:lnTo>
                    <a:lnTo>
                      <a:pt x="231" y="636"/>
                    </a:lnTo>
                    <a:lnTo>
                      <a:pt x="235" y="641"/>
                    </a:lnTo>
                    <a:lnTo>
                      <a:pt x="251" y="636"/>
                    </a:lnTo>
                    <a:lnTo>
                      <a:pt x="261" y="624"/>
                    </a:lnTo>
                    <a:lnTo>
                      <a:pt x="267" y="622"/>
                    </a:lnTo>
                    <a:lnTo>
                      <a:pt x="277" y="623"/>
                    </a:lnTo>
                    <a:lnTo>
                      <a:pt x="281" y="629"/>
                    </a:lnTo>
                    <a:lnTo>
                      <a:pt x="306" y="622"/>
                    </a:lnTo>
                    <a:lnTo>
                      <a:pt x="315" y="624"/>
                    </a:lnTo>
                    <a:lnTo>
                      <a:pt x="327" y="617"/>
                    </a:lnTo>
                    <a:lnTo>
                      <a:pt x="329" y="606"/>
                    </a:lnTo>
                    <a:lnTo>
                      <a:pt x="339" y="603"/>
                    </a:lnTo>
                    <a:lnTo>
                      <a:pt x="340" y="613"/>
                    </a:lnTo>
                    <a:lnTo>
                      <a:pt x="336" y="612"/>
                    </a:lnTo>
                    <a:lnTo>
                      <a:pt x="340" y="619"/>
                    </a:lnTo>
                    <a:lnTo>
                      <a:pt x="343" y="634"/>
                    </a:lnTo>
                    <a:lnTo>
                      <a:pt x="338" y="637"/>
                    </a:lnTo>
                    <a:lnTo>
                      <a:pt x="323" y="633"/>
                    </a:lnTo>
                    <a:lnTo>
                      <a:pt x="316" y="639"/>
                    </a:lnTo>
                    <a:lnTo>
                      <a:pt x="311" y="629"/>
                    </a:lnTo>
                    <a:lnTo>
                      <a:pt x="308" y="641"/>
                    </a:lnTo>
                    <a:lnTo>
                      <a:pt x="296" y="641"/>
                    </a:lnTo>
                    <a:lnTo>
                      <a:pt x="296" y="647"/>
                    </a:lnTo>
                    <a:lnTo>
                      <a:pt x="286" y="652"/>
                    </a:lnTo>
                    <a:lnTo>
                      <a:pt x="281" y="649"/>
                    </a:lnTo>
                    <a:lnTo>
                      <a:pt x="270" y="651"/>
                    </a:lnTo>
                    <a:lnTo>
                      <a:pt x="237" y="668"/>
                    </a:lnTo>
                    <a:lnTo>
                      <a:pt x="229" y="668"/>
                    </a:lnTo>
                    <a:lnTo>
                      <a:pt x="231" y="676"/>
                    </a:lnTo>
                    <a:lnTo>
                      <a:pt x="240" y="684"/>
                    </a:lnTo>
                    <a:lnTo>
                      <a:pt x="286" y="694"/>
                    </a:lnTo>
                    <a:lnTo>
                      <a:pt x="293" y="706"/>
                    </a:lnTo>
                    <a:lnTo>
                      <a:pt x="291" y="714"/>
                    </a:lnTo>
                    <a:lnTo>
                      <a:pt x="261" y="705"/>
                    </a:lnTo>
                    <a:lnTo>
                      <a:pt x="258" y="701"/>
                    </a:lnTo>
                    <a:lnTo>
                      <a:pt x="246" y="705"/>
                    </a:lnTo>
                    <a:lnTo>
                      <a:pt x="236" y="699"/>
                    </a:lnTo>
                    <a:lnTo>
                      <a:pt x="225" y="700"/>
                    </a:lnTo>
                    <a:lnTo>
                      <a:pt x="225" y="708"/>
                    </a:lnTo>
                    <a:lnTo>
                      <a:pt x="223" y="715"/>
                    </a:lnTo>
                    <a:lnTo>
                      <a:pt x="215" y="716"/>
                    </a:lnTo>
                    <a:lnTo>
                      <a:pt x="211" y="694"/>
                    </a:lnTo>
                    <a:lnTo>
                      <a:pt x="198" y="690"/>
                    </a:lnTo>
                    <a:lnTo>
                      <a:pt x="183" y="706"/>
                    </a:lnTo>
                    <a:lnTo>
                      <a:pt x="188" y="722"/>
                    </a:lnTo>
                    <a:lnTo>
                      <a:pt x="183" y="738"/>
                    </a:lnTo>
                    <a:lnTo>
                      <a:pt x="191" y="753"/>
                    </a:lnTo>
                    <a:lnTo>
                      <a:pt x="195" y="771"/>
                    </a:lnTo>
                    <a:lnTo>
                      <a:pt x="199" y="774"/>
                    </a:lnTo>
                    <a:lnTo>
                      <a:pt x="205" y="792"/>
                    </a:lnTo>
                    <a:lnTo>
                      <a:pt x="236" y="807"/>
                    </a:lnTo>
                    <a:lnTo>
                      <a:pt x="241" y="806"/>
                    </a:lnTo>
                    <a:lnTo>
                      <a:pt x="248" y="817"/>
                    </a:lnTo>
                    <a:lnTo>
                      <a:pt x="248" y="829"/>
                    </a:lnTo>
                    <a:lnTo>
                      <a:pt x="254" y="833"/>
                    </a:lnTo>
                    <a:lnTo>
                      <a:pt x="270" y="834"/>
                    </a:lnTo>
                    <a:lnTo>
                      <a:pt x="278" y="830"/>
                    </a:lnTo>
                    <a:lnTo>
                      <a:pt x="283" y="833"/>
                    </a:lnTo>
                    <a:lnTo>
                      <a:pt x="288" y="829"/>
                    </a:lnTo>
                    <a:lnTo>
                      <a:pt x="300" y="828"/>
                    </a:lnTo>
                    <a:lnTo>
                      <a:pt x="306" y="835"/>
                    </a:lnTo>
                    <a:lnTo>
                      <a:pt x="312" y="834"/>
                    </a:lnTo>
                    <a:lnTo>
                      <a:pt x="312" y="841"/>
                    </a:lnTo>
                    <a:lnTo>
                      <a:pt x="304" y="856"/>
                    </a:lnTo>
                    <a:lnTo>
                      <a:pt x="302" y="848"/>
                    </a:lnTo>
                    <a:lnTo>
                      <a:pt x="288" y="849"/>
                    </a:lnTo>
                    <a:lnTo>
                      <a:pt x="270" y="859"/>
                    </a:lnTo>
                    <a:lnTo>
                      <a:pt x="270" y="868"/>
                    </a:lnTo>
                    <a:lnTo>
                      <a:pt x="308" y="904"/>
                    </a:lnTo>
                    <a:lnTo>
                      <a:pt x="311" y="911"/>
                    </a:lnTo>
                    <a:lnTo>
                      <a:pt x="311" y="936"/>
                    </a:lnTo>
                    <a:lnTo>
                      <a:pt x="316" y="935"/>
                    </a:lnTo>
                    <a:lnTo>
                      <a:pt x="323" y="922"/>
                    </a:lnTo>
                    <a:lnTo>
                      <a:pt x="323" y="930"/>
                    </a:lnTo>
                    <a:lnTo>
                      <a:pt x="329" y="937"/>
                    </a:lnTo>
                    <a:lnTo>
                      <a:pt x="338" y="936"/>
                    </a:lnTo>
                    <a:lnTo>
                      <a:pt x="349" y="925"/>
                    </a:lnTo>
                    <a:lnTo>
                      <a:pt x="350" y="910"/>
                    </a:lnTo>
                    <a:lnTo>
                      <a:pt x="354" y="908"/>
                    </a:lnTo>
                    <a:lnTo>
                      <a:pt x="353" y="900"/>
                    </a:lnTo>
                    <a:lnTo>
                      <a:pt x="348" y="888"/>
                    </a:lnTo>
                    <a:lnTo>
                      <a:pt x="351" y="878"/>
                    </a:lnTo>
                    <a:lnTo>
                      <a:pt x="349" y="873"/>
                    </a:lnTo>
                    <a:lnTo>
                      <a:pt x="351" y="866"/>
                    </a:lnTo>
                    <a:lnTo>
                      <a:pt x="363" y="855"/>
                    </a:lnTo>
                    <a:lnTo>
                      <a:pt x="367" y="840"/>
                    </a:lnTo>
                    <a:lnTo>
                      <a:pt x="365" y="839"/>
                    </a:lnTo>
                    <a:lnTo>
                      <a:pt x="369" y="832"/>
                    </a:lnTo>
                    <a:lnTo>
                      <a:pt x="364" y="822"/>
                    </a:lnTo>
                    <a:lnTo>
                      <a:pt x="370" y="802"/>
                    </a:lnTo>
                    <a:lnTo>
                      <a:pt x="367" y="792"/>
                    </a:lnTo>
                    <a:lnTo>
                      <a:pt x="367" y="771"/>
                    </a:lnTo>
                    <a:lnTo>
                      <a:pt x="370" y="762"/>
                    </a:lnTo>
                    <a:lnTo>
                      <a:pt x="381" y="742"/>
                    </a:lnTo>
                    <a:lnTo>
                      <a:pt x="392" y="741"/>
                    </a:lnTo>
                    <a:lnTo>
                      <a:pt x="387" y="728"/>
                    </a:lnTo>
                    <a:lnTo>
                      <a:pt x="380" y="731"/>
                    </a:lnTo>
                    <a:lnTo>
                      <a:pt x="379" y="722"/>
                    </a:lnTo>
                    <a:lnTo>
                      <a:pt x="406" y="710"/>
                    </a:lnTo>
                    <a:lnTo>
                      <a:pt x="413" y="715"/>
                    </a:lnTo>
                    <a:lnTo>
                      <a:pt x="417" y="714"/>
                    </a:lnTo>
                    <a:lnTo>
                      <a:pt x="417" y="704"/>
                    </a:lnTo>
                    <a:lnTo>
                      <a:pt x="420" y="698"/>
                    </a:lnTo>
                    <a:lnTo>
                      <a:pt x="420" y="688"/>
                    </a:lnTo>
                    <a:lnTo>
                      <a:pt x="423" y="680"/>
                    </a:lnTo>
                    <a:lnTo>
                      <a:pt x="425" y="669"/>
                    </a:lnTo>
                    <a:lnTo>
                      <a:pt x="425" y="661"/>
                    </a:lnTo>
                    <a:lnTo>
                      <a:pt x="423" y="662"/>
                    </a:lnTo>
                    <a:lnTo>
                      <a:pt x="424" y="646"/>
                    </a:lnTo>
                    <a:lnTo>
                      <a:pt x="429" y="626"/>
                    </a:lnTo>
                    <a:lnTo>
                      <a:pt x="426" y="620"/>
                    </a:lnTo>
                    <a:lnTo>
                      <a:pt x="425" y="607"/>
                    </a:lnTo>
                    <a:lnTo>
                      <a:pt x="426" y="588"/>
                    </a:lnTo>
                    <a:lnTo>
                      <a:pt x="425" y="583"/>
                    </a:lnTo>
                    <a:lnTo>
                      <a:pt x="425" y="576"/>
                    </a:lnTo>
                    <a:lnTo>
                      <a:pt x="440" y="570"/>
                    </a:lnTo>
                    <a:lnTo>
                      <a:pt x="451" y="577"/>
                    </a:lnTo>
                    <a:lnTo>
                      <a:pt x="455" y="575"/>
                    </a:lnTo>
                    <a:lnTo>
                      <a:pt x="456" y="563"/>
                    </a:lnTo>
                    <a:lnTo>
                      <a:pt x="455" y="552"/>
                    </a:lnTo>
                    <a:lnTo>
                      <a:pt x="455" y="529"/>
                    </a:lnTo>
                    <a:lnTo>
                      <a:pt x="460" y="522"/>
                    </a:lnTo>
                    <a:lnTo>
                      <a:pt x="457" y="511"/>
                    </a:lnTo>
                    <a:lnTo>
                      <a:pt x="461" y="510"/>
                    </a:lnTo>
                    <a:lnTo>
                      <a:pt x="458" y="502"/>
                    </a:lnTo>
                    <a:lnTo>
                      <a:pt x="460" y="491"/>
                    </a:lnTo>
                    <a:lnTo>
                      <a:pt x="460" y="477"/>
                    </a:lnTo>
                    <a:lnTo>
                      <a:pt x="457" y="464"/>
                    </a:lnTo>
                    <a:lnTo>
                      <a:pt x="473" y="462"/>
                    </a:lnTo>
                    <a:lnTo>
                      <a:pt x="477" y="453"/>
                    </a:lnTo>
                    <a:lnTo>
                      <a:pt x="485" y="453"/>
                    </a:lnTo>
                    <a:lnTo>
                      <a:pt x="489" y="432"/>
                    </a:lnTo>
                    <a:lnTo>
                      <a:pt x="485" y="424"/>
                    </a:lnTo>
                    <a:lnTo>
                      <a:pt x="498" y="420"/>
                    </a:lnTo>
                    <a:lnTo>
                      <a:pt x="508" y="423"/>
                    </a:lnTo>
                    <a:lnTo>
                      <a:pt x="521" y="404"/>
                    </a:lnTo>
                    <a:lnTo>
                      <a:pt x="536" y="404"/>
                    </a:lnTo>
                    <a:lnTo>
                      <a:pt x="552" y="392"/>
                    </a:lnTo>
                    <a:lnTo>
                      <a:pt x="570" y="399"/>
                    </a:lnTo>
                    <a:lnTo>
                      <a:pt x="581" y="398"/>
                    </a:lnTo>
                    <a:lnTo>
                      <a:pt x="585" y="392"/>
                    </a:lnTo>
                    <a:lnTo>
                      <a:pt x="591" y="371"/>
                    </a:lnTo>
                    <a:lnTo>
                      <a:pt x="589" y="354"/>
                    </a:lnTo>
                    <a:lnTo>
                      <a:pt x="590" y="345"/>
                    </a:lnTo>
                    <a:lnTo>
                      <a:pt x="586" y="341"/>
                    </a:lnTo>
                    <a:lnTo>
                      <a:pt x="570" y="341"/>
                    </a:lnTo>
                    <a:lnTo>
                      <a:pt x="531" y="327"/>
                    </a:lnTo>
                    <a:lnTo>
                      <a:pt x="525" y="314"/>
                    </a:lnTo>
                    <a:lnTo>
                      <a:pt x="503" y="305"/>
                    </a:lnTo>
                    <a:lnTo>
                      <a:pt x="495" y="283"/>
                    </a:lnTo>
                    <a:lnTo>
                      <a:pt x="492" y="267"/>
                    </a:lnTo>
                    <a:lnTo>
                      <a:pt x="484" y="264"/>
                    </a:lnTo>
                    <a:lnTo>
                      <a:pt x="477" y="254"/>
                    </a:lnTo>
                    <a:lnTo>
                      <a:pt x="444" y="252"/>
                    </a:lnTo>
                    <a:lnTo>
                      <a:pt x="441" y="231"/>
                    </a:lnTo>
                    <a:lnTo>
                      <a:pt x="445" y="217"/>
                    </a:lnTo>
                    <a:lnTo>
                      <a:pt x="445" y="210"/>
                    </a:lnTo>
                    <a:lnTo>
                      <a:pt x="447" y="204"/>
                    </a:lnTo>
                    <a:lnTo>
                      <a:pt x="449" y="192"/>
                    </a:lnTo>
                    <a:lnTo>
                      <a:pt x="440" y="172"/>
                    </a:lnTo>
                    <a:lnTo>
                      <a:pt x="435" y="150"/>
                    </a:lnTo>
                    <a:lnTo>
                      <a:pt x="426" y="133"/>
                    </a:lnTo>
                    <a:lnTo>
                      <a:pt x="417" y="133"/>
                    </a:lnTo>
                    <a:lnTo>
                      <a:pt x="413" y="123"/>
                    </a:lnTo>
                    <a:lnTo>
                      <a:pt x="408" y="128"/>
                    </a:lnTo>
                    <a:lnTo>
                      <a:pt x="401" y="145"/>
                    </a:lnTo>
                    <a:lnTo>
                      <a:pt x="401" y="157"/>
                    </a:lnTo>
                    <a:lnTo>
                      <a:pt x="404" y="167"/>
                    </a:lnTo>
                    <a:lnTo>
                      <a:pt x="391" y="181"/>
                    </a:lnTo>
                    <a:lnTo>
                      <a:pt x="379" y="204"/>
                    </a:lnTo>
                    <a:lnTo>
                      <a:pt x="377" y="195"/>
                    </a:lnTo>
                    <a:lnTo>
                      <a:pt x="382" y="188"/>
                    </a:lnTo>
                    <a:lnTo>
                      <a:pt x="386" y="171"/>
                    </a:lnTo>
                    <a:lnTo>
                      <a:pt x="382" y="155"/>
                    </a:lnTo>
                    <a:lnTo>
                      <a:pt x="379" y="150"/>
                    </a:lnTo>
                    <a:lnTo>
                      <a:pt x="376" y="152"/>
                    </a:lnTo>
                    <a:lnTo>
                      <a:pt x="379" y="144"/>
                    </a:lnTo>
                    <a:lnTo>
                      <a:pt x="385" y="136"/>
                    </a:lnTo>
                    <a:lnTo>
                      <a:pt x="390" y="106"/>
                    </a:lnTo>
                    <a:lnTo>
                      <a:pt x="394" y="101"/>
                    </a:lnTo>
                    <a:lnTo>
                      <a:pt x="397" y="81"/>
                    </a:lnTo>
                    <a:lnTo>
                      <a:pt x="385" y="60"/>
                    </a:lnTo>
                    <a:lnTo>
                      <a:pt x="350" y="22"/>
                    </a:lnTo>
                    <a:lnTo>
                      <a:pt x="337" y="29"/>
                    </a:lnTo>
                    <a:lnTo>
                      <a:pt x="339" y="39"/>
                    </a:lnTo>
                    <a:lnTo>
                      <a:pt x="339" y="47"/>
                    </a:lnTo>
                    <a:lnTo>
                      <a:pt x="329" y="41"/>
                    </a:lnTo>
                    <a:lnTo>
                      <a:pt x="324" y="43"/>
                    </a:lnTo>
                    <a:lnTo>
                      <a:pt x="324" y="14"/>
                    </a:lnTo>
                    <a:lnTo>
                      <a:pt x="323" y="0"/>
                    </a:lnTo>
                    <a:lnTo>
                      <a:pt x="293" y="0"/>
                    </a:lnTo>
                    <a:lnTo>
                      <a:pt x="293" y="0"/>
                    </a:lnTo>
                    <a:lnTo>
                      <a:pt x="290" y="2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89" name="Freeform 224"/>
              <p:cNvSpPr>
                <a:spLocks noChangeAspect="1"/>
              </p:cNvSpPr>
              <p:nvPr/>
            </p:nvSpPr>
            <p:spPr bwMode="gray">
              <a:xfrm>
                <a:off x="3306" y="1118"/>
                <a:ext cx="25" cy="23"/>
              </a:xfrm>
              <a:custGeom>
                <a:avLst/>
                <a:gdLst/>
                <a:ahLst/>
                <a:cxnLst>
                  <a:cxn ang="0">
                    <a:pos x="52" y="117"/>
                  </a:cxn>
                  <a:cxn ang="0">
                    <a:pos x="54" y="111"/>
                  </a:cxn>
                  <a:cxn ang="0">
                    <a:pos x="65" y="112"/>
                  </a:cxn>
                  <a:cxn ang="0">
                    <a:pos x="81" y="99"/>
                  </a:cxn>
                  <a:cxn ang="0">
                    <a:pos x="105" y="97"/>
                  </a:cxn>
                  <a:cxn ang="0">
                    <a:pos x="107" y="86"/>
                  </a:cxn>
                  <a:cxn ang="0">
                    <a:pos x="106" y="81"/>
                  </a:cxn>
                  <a:cxn ang="0">
                    <a:pos x="111" y="52"/>
                  </a:cxn>
                  <a:cxn ang="0">
                    <a:pos x="126" y="37"/>
                  </a:cxn>
                  <a:cxn ang="0">
                    <a:pos x="111" y="22"/>
                  </a:cxn>
                  <a:cxn ang="0">
                    <a:pos x="107" y="14"/>
                  </a:cxn>
                  <a:cxn ang="0">
                    <a:pos x="106" y="8"/>
                  </a:cxn>
                  <a:cxn ang="0">
                    <a:pos x="67" y="13"/>
                  </a:cxn>
                  <a:cxn ang="0">
                    <a:pos x="62" y="13"/>
                  </a:cxn>
                  <a:cxn ang="0">
                    <a:pos x="67" y="10"/>
                  </a:cxn>
                  <a:cxn ang="0">
                    <a:pos x="69" y="0"/>
                  </a:cxn>
                  <a:cxn ang="0">
                    <a:pos x="65" y="3"/>
                  </a:cxn>
                  <a:cxn ang="0">
                    <a:pos x="51" y="4"/>
                  </a:cxn>
                  <a:cxn ang="0">
                    <a:pos x="44" y="20"/>
                  </a:cxn>
                  <a:cxn ang="0">
                    <a:pos x="38" y="26"/>
                  </a:cxn>
                  <a:cxn ang="0">
                    <a:pos x="32" y="22"/>
                  </a:cxn>
                  <a:cxn ang="0">
                    <a:pos x="27" y="30"/>
                  </a:cxn>
                  <a:cxn ang="0">
                    <a:pos x="0" y="40"/>
                  </a:cxn>
                  <a:cxn ang="0">
                    <a:pos x="11" y="52"/>
                  </a:cxn>
                  <a:cxn ang="0">
                    <a:pos x="25" y="54"/>
                  </a:cxn>
                  <a:cxn ang="0">
                    <a:pos x="25" y="65"/>
                  </a:cxn>
                  <a:cxn ang="0">
                    <a:pos x="24" y="73"/>
                  </a:cxn>
                  <a:cxn ang="0">
                    <a:pos x="26" y="87"/>
                  </a:cxn>
                  <a:cxn ang="0">
                    <a:pos x="31" y="99"/>
                  </a:cxn>
                  <a:cxn ang="0">
                    <a:pos x="33" y="106"/>
                  </a:cxn>
                  <a:cxn ang="0">
                    <a:pos x="38" y="114"/>
                  </a:cxn>
                  <a:cxn ang="0">
                    <a:pos x="52" y="117"/>
                  </a:cxn>
                </a:cxnLst>
                <a:rect l="0" t="0" r="r" b="b"/>
                <a:pathLst>
                  <a:path w="126" h="117">
                    <a:moveTo>
                      <a:pt x="52" y="117"/>
                    </a:moveTo>
                    <a:lnTo>
                      <a:pt x="54" y="111"/>
                    </a:lnTo>
                    <a:lnTo>
                      <a:pt x="65" y="112"/>
                    </a:lnTo>
                    <a:lnTo>
                      <a:pt x="81" y="99"/>
                    </a:lnTo>
                    <a:lnTo>
                      <a:pt x="105" y="97"/>
                    </a:lnTo>
                    <a:lnTo>
                      <a:pt x="107" y="86"/>
                    </a:lnTo>
                    <a:lnTo>
                      <a:pt x="106" y="81"/>
                    </a:lnTo>
                    <a:lnTo>
                      <a:pt x="111" y="52"/>
                    </a:lnTo>
                    <a:lnTo>
                      <a:pt x="126" y="37"/>
                    </a:lnTo>
                    <a:lnTo>
                      <a:pt x="111" y="22"/>
                    </a:lnTo>
                    <a:lnTo>
                      <a:pt x="107" y="14"/>
                    </a:lnTo>
                    <a:lnTo>
                      <a:pt x="106" y="8"/>
                    </a:lnTo>
                    <a:lnTo>
                      <a:pt x="67" y="13"/>
                    </a:lnTo>
                    <a:lnTo>
                      <a:pt x="62" y="13"/>
                    </a:lnTo>
                    <a:lnTo>
                      <a:pt x="67" y="10"/>
                    </a:lnTo>
                    <a:lnTo>
                      <a:pt x="69" y="0"/>
                    </a:lnTo>
                    <a:lnTo>
                      <a:pt x="65" y="3"/>
                    </a:lnTo>
                    <a:lnTo>
                      <a:pt x="51" y="4"/>
                    </a:lnTo>
                    <a:lnTo>
                      <a:pt x="44" y="20"/>
                    </a:lnTo>
                    <a:lnTo>
                      <a:pt x="38" y="26"/>
                    </a:lnTo>
                    <a:lnTo>
                      <a:pt x="32" y="22"/>
                    </a:lnTo>
                    <a:lnTo>
                      <a:pt x="27" y="30"/>
                    </a:lnTo>
                    <a:lnTo>
                      <a:pt x="0" y="40"/>
                    </a:lnTo>
                    <a:lnTo>
                      <a:pt x="11" y="52"/>
                    </a:lnTo>
                    <a:lnTo>
                      <a:pt x="25" y="54"/>
                    </a:lnTo>
                    <a:lnTo>
                      <a:pt x="25" y="65"/>
                    </a:lnTo>
                    <a:lnTo>
                      <a:pt x="24" y="73"/>
                    </a:lnTo>
                    <a:lnTo>
                      <a:pt x="26" y="87"/>
                    </a:lnTo>
                    <a:lnTo>
                      <a:pt x="31" y="99"/>
                    </a:lnTo>
                    <a:lnTo>
                      <a:pt x="33" y="106"/>
                    </a:lnTo>
                    <a:lnTo>
                      <a:pt x="38" y="114"/>
                    </a:lnTo>
                    <a:lnTo>
                      <a:pt x="52" y="1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90" name="Freeform 225"/>
              <p:cNvSpPr>
                <a:spLocks noChangeAspect="1"/>
              </p:cNvSpPr>
              <p:nvPr/>
            </p:nvSpPr>
            <p:spPr bwMode="gray">
              <a:xfrm>
                <a:off x="3340" y="1146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91" name="Freeform 226"/>
              <p:cNvSpPr>
                <a:spLocks noChangeAspect="1"/>
              </p:cNvSpPr>
              <p:nvPr/>
            </p:nvSpPr>
            <p:spPr bwMode="gray">
              <a:xfrm>
                <a:off x="3340" y="1147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92" name="Freeform 227"/>
              <p:cNvSpPr>
                <a:spLocks noChangeAspect="1"/>
              </p:cNvSpPr>
              <p:nvPr/>
            </p:nvSpPr>
            <p:spPr bwMode="gray">
              <a:xfrm>
                <a:off x="3313" y="1136"/>
                <a:ext cx="45" cy="54"/>
              </a:xfrm>
              <a:custGeom>
                <a:avLst/>
                <a:gdLst/>
                <a:ahLst/>
                <a:cxnLst>
                  <a:cxn ang="0">
                    <a:pos x="206" y="133"/>
                  </a:cxn>
                  <a:cxn ang="0">
                    <a:pos x="201" y="128"/>
                  </a:cxn>
                  <a:cxn ang="0">
                    <a:pos x="190" y="116"/>
                  </a:cxn>
                  <a:cxn ang="0">
                    <a:pos x="180" y="107"/>
                  </a:cxn>
                  <a:cxn ang="0">
                    <a:pos x="162" y="124"/>
                  </a:cxn>
                  <a:cxn ang="0">
                    <a:pos x="145" y="108"/>
                  </a:cxn>
                  <a:cxn ang="0">
                    <a:pos x="131" y="90"/>
                  </a:cxn>
                  <a:cxn ang="0">
                    <a:pos x="120" y="75"/>
                  </a:cxn>
                  <a:cxn ang="0">
                    <a:pos x="125" y="51"/>
                  </a:cxn>
                  <a:cxn ang="0">
                    <a:pos x="134" y="43"/>
                  </a:cxn>
                  <a:cxn ang="0">
                    <a:pos x="128" y="19"/>
                  </a:cxn>
                  <a:cxn ang="0">
                    <a:pos x="114" y="15"/>
                  </a:cxn>
                  <a:cxn ang="0">
                    <a:pos x="112" y="0"/>
                  </a:cxn>
                  <a:cxn ang="0">
                    <a:pos x="106" y="15"/>
                  </a:cxn>
                  <a:cxn ang="0">
                    <a:pos x="87" y="26"/>
                  </a:cxn>
                  <a:cxn ang="0">
                    <a:pos x="50" y="23"/>
                  </a:cxn>
                  <a:cxn ang="0">
                    <a:pos x="2" y="51"/>
                  </a:cxn>
                  <a:cxn ang="0">
                    <a:pos x="0" y="62"/>
                  </a:cxn>
                  <a:cxn ang="0">
                    <a:pos x="11" y="75"/>
                  </a:cxn>
                  <a:cxn ang="0">
                    <a:pos x="16" y="86"/>
                  </a:cxn>
                  <a:cxn ang="0">
                    <a:pos x="35" y="108"/>
                  </a:cxn>
                  <a:cxn ang="0">
                    <a:pos x="27" y="134"/>
                  </a:cxn>
                  <a:cxn ang="0">
                    <a:pos x="21" y="150"/>
                  </a:cxn>
                  <a:cxn ang="0">
                    <a:pos x="21" y="165"/>
                  </a:cxn>
                  <a:cxn ang="0">
                    <a:pos x="21" y="172"/>
                  </a:cxn>
                  <a:cxn ang="0">
                    <a:pos x="5" y="187"/>
                  </a:cxn>
                  <a:cxn ang="0">
                    <a:pos x="4" y="195"/>
                  </a:cxn>
                  <a:cxn ang="0">
                    <a:pos x="1" y="205"/>
                  </a:cxn>
                  <a:cxn ang="0">
                    <a:pos x="8" y="222"/>
                  </a:cxn>
                  <a:cxn ang="0">
                    <a:pos x="26" y="222"/>
                  </a:cxn>
                  <a:cxn ang="0">
                    <a:pos x="66" y="214"/>
                  </a:cxn>
                  <a:cxn ang="0">
                    <a:pos x="77" y="208"/>
                  </a:cxn>
                  <a:cxn ang="0">
                    <a:pos x="87" y="189"/>
                  </a:cxn>
                  <a:cxn ang="0">
                    <a:pos x="98" y="193"/>
                  </a:cxn>
                  <a:cxn ang="0">
                    <a:pos x="96" y="205"/>
                  </a:cxn>
                  <a:cxn ang="0">
                    <a:pos x="103" y="195"/>
                  </a:cxn>
                  <a:cxn ang="0">
                    <a:pos x="107" y="205"/>
                  </a:cxn>
                  <a:cxn ang="0">
                    <a:pos x="99" y="214"/>
                  </a:cxn>
                  <a:cxn ang="0">
                    <a:pos x="97" y="235"/>
                  </a:cxn>
                  <a:cxn ang="0">
                    <a:pos x="85" y="253"/>
                  </a:cxn>
                  <a:cxn ang="0">
                    <a:pos x="99" y="259"/>
                  </a:cxn>
                  <a:cxn ang="0">
                    <a:pos x="110" y="259"/>
                  </a:cxn>
                  <a:cxn ang="0">
                    <a:pos x="112" y="248"/>
                  </a:cxn>
                  <a:cxn ang="0">
                    <a:pos x="125" y="232"/>
                  </a:cxn>
                  <a:cxn ang="0">
                    <a:pos x="129" y="237"/>
                  </a:cxn>
                  <a:cxn ang="0">
                    <a:pos x="142" y="235"/>
                  </a:cxn>
                  <a:cxn ang="0">
                    <a:pos x="146" y="225"/>
                  </a:cxn>
                  <a:cxn ang="0">
                    <a:pos x="151" y="216"/>
                  </a:cxn>
                  <a:cxn ang="0">
                    <a:pos x="166" y="202"/>
                  </a:cxn>
                  <a:cxn ang="0">
                    <a:pos x="169" y="184"/>
                  </a:cxn>
                  <a:cxn ang="0">
                    <a:pos x="180" y="165"/>
                  </a:cxn>
                  <a:cxn ang="0">
                    <a:pos x="222" y="152"/>
                  </a:cxn>
                  <a:cxn ang="0">
                    <a:pos x="221" y="145"/>
                  </a:cxn>
                </a:cxnLst>
                <a:rect l="0" t="0" r="r" b="b"/>
                <a:pathLst>
                  <a:path w="222" h="268">
                    <a:moveTo>
                      <a:pt x="207" y="140"/>
                    </a:moveTo>
                    <a:lnTo>
                      <a:pt x="206" y="133"/>
                    </a:lnTo>
                    <a:lnTo>
                      <a:pt x="201" y="133"/>
                    </a:lnTo>
                    <a:lnTo>
                      <a:pt x="201" y="128"/>
                    </a:lnTo>
                    <a:lnTo>
                      <a:pt x="196" y="117"/>
                    </a:lnTo>
                    <a:lnTo>
                      <a:pt x="190" y="116"/>
                    </a:lnTo>
                    <a:lnTo>
                      <a:pt x="184" y="106"/>
                    </a:lnTo>
                    <a:lnTo>
                      <a:pt x="180" y="107"/>
                    </a:lnTo>
                    <a:lnTo>
                      <a:pt x="178" y="114"/>
                    </a:lnTo>
                    <a:lnTo>
                      <a:pt x="162" y="124"/>
                    </a:lnTo>
                    <a:lnTo>
                      <a:pt x="150" y="116"/>
                    </a:lnTo>
                    <a:lnTo>
                      <a:pt x="145" y="108"/>
                    </a:lnTo>
                    <a:lnTo>
                      <a:pt x="139" y="106"/>
                    </a:lnTo>
                    <a:lnTo>
                      <a:pt x="131" y="90"/>
                    </a:lnTo>
                    <a:lnTo>
                      <a:pt x="124" y="86"/>
                    </a:lnTo>
                    <a:lnTo>
                      <a:pt x="120" y="75"/>
                    </a:lnTo>
                    <a:lnTo>
                      <a:pt x="120" y="64"/>
                    </a:lnTo>
                    <a:lnTo>
                      <a:pt x="125" y="51"/>
                    </a:lnTo>
                    <a:lnTo>
                      <a:pt x="134" y="53"/>
                    </a:lnTo>
                    <a:lnTo>
                      <a:pt x="134" y="43"/>
                    </a:lnTo>
                    <a:lnTo>
                      <a:pt x="137" y="37"/>
                    </a:lnTo>
                    <a:lnTo>
                      <a:pt x="128" y="19"/>
                    </a:lnTo>
                    <a:lnTo>
                      <a:pt x="119" y="25"/>
                    </a:lnTo>
                    <a:lnTo>
                      <a:pt x="114" y="15"/>
                    </a:lnTo>
                    <a:lnTo>
                      <a:pt x="114" y="6"/>
                    </a:lnTo>
                    <a:lnTo>
                      <a:pt x="112" y="0"/>
                    </a:lnTo>
                    <a:lnTo>
                      <a:pt x="110" y="0"/>
                    </a:lnTo>
                    <a:lnTo>
                      <a:pt x="106" y="15"/>
                    </a:lnTo>
                    <a:lnTo>
                      <a:pt x="93" y="17"/>
                    </a:lnTo>
                    <a:lnTo>
                      <a:pt x="87" y="26"/>
                    </a:lnTo>
                    <a:lnTo>
                      <a:pt x="66" y="28"/>
                    </a:lnTo>
                    <a:lnTo>
                      <a:pt x="50" y="23"/>
                    </a:lnTo>
                    <a:lnTo>
                      <a:pt x="28" y="32"/>
                    </a:lnTo>
                    <a:lnTo>
                      <a:pt x="2" y="51"/>
                    </a:lnTo>
                    <a:lnTo>
                      <a:pt x="2" y="59"/>
                    </a:lnTo>
                    <a:lnTo>
                      <a:pt x="0" y="62"/>
                    </a:lnTo>
                    <a:lnTo>
                      <a:pt x="6" y="66"/>
                    </a:lnTo>
                    <a:lnTo>
                      <a:pt x="11" y="75"/>
                    </a:lnTo>
                    <a:lnTo>
                      <a:pt x="16" y="75"/>
                    </a:lnTo>
                    <a:lnTo>
                      <a:pt x="16" y="86"/>
                    </a:lnTo>
                    <a:lnTo>
                      <a:pt x="39" y="101"/>
                    </a:lnTo>
                    <a:lnTo>
                      <a:pt x="35" y="108"/>
                    </a:lnTo>
                    <a:lnTo>
                      <a:pt x="34" y="119"/>
                    </a:lnTo>
                    <a:lnTo>
                      <a:pt x="27" y="134"/>
                    </a:lnTo>
                    <a:lnTo>
                      <a:pt x="27" y="140"/>
                    </a:lnTo>
                    <a:lnTo>
                      <a:pt x="21" y="150"/>
                    </a:lnTo>
                    <a:lnTo>
                      <a:pt x="22" y="156"/>
                    </a:lnTo>
                    <a:lnTo>
                      <a:pt x="21" y="165"/>
                    </a:lnTo>
                    <a:lnTo>
                      <a:pt x="20" y="166"/>
                    </a:lnTo>
                    <a:lnTo>
                      <a:pt x="21" y="172"/>
                    </a:lnTo>
                    <a:lnTo>
                      <a:pt x="20" y="177"/>
                    </a:lnTo>
                    <a:lnTo>
                      <a:pt x="5" y="187"/>
                    </a:lnTo>
                    <a:lnTo>
                      <a:pt x="5" y="192"/>
                    </a:lnTo>
                    <a:lnTo>
                      <a:pt x="4" y="195"/>
                    </a:lnTo>
                    <a:lnTo>
                      <a:pt x="0" y="198"/>
                    </a:lnTo>
                    <a:lnTo>
                      <a:pt x="1" y="205"/>
                    </a:lnTo>
                    <a:lnTo>
                      <a:pt x="0" y="214"/>
                    </a:lnTo>
                    <a:lnTo>
                      <a:pt x="8" y="222"/>
                    </a:lnTo>
                    <a:lnTo>
                      <a:pt x="17" y="216"/>
                    </a:lnTo>
                    <a:lnTo>
                      <a:pt x="26" y="222"/>
                    </a:lnTo>
                    <a:lnTo>
                      <a:pt x="32" y="215"/>
                    </a:lnTo>
                    <a:lnTo>
                      <a:pt x="66" y="214"/>
                    </a:lnTo>
                    <a:lnTo>
                      <a:pt x="67" y="210"/>
                    </a:lnTo>
                    <a:lnTo>
                      <a:pt x="77" y="208"/>
                    </a:lnTo>
                    <a:lnTo>
                      <a:pt x="80" y="198"/>
                    </a:lnTo>
                    <a:lnTo>
                      <a:pt x="87" y="189"/>
                    </a:lnTo>
                    <a:lnTo>
                      <a:pt x="97" y="191"/>
                    </a:lnTo>
                    <a:lnTo>
                      <a:pt x="98" y="193"/>
                    </a:lnTo>
                    <a:lnTo>
                      <a:pt x="94" y="200"/>
                    </a:lnTo>
                    <a:lnTo>
                      <a:pt x="96" y="205"/>
                    </a:lnTo>
                    <a:lnTo>
                      <a:pt x="98" y="209"/>
                    </a:lnTo>
                    <a:lnTo>
                      <a:pt x="103" y="195"/>
                    </a:lnTo>
                    <a:lnTo>
                      <a:pt x="110" y="195"/>
                    </a:lnTo>
                    <a:lnTo>
                      <a:pt x="107" y="205"/>
                    </a:lnTo>
                    <a:lnTo>
                      <a:pt x="107" y="210"/>
                    </a:lnTo>
                    <a:lnTo>
                      <a:pt x="99" y="214"/>
                    </a:lnTo>
                    <a:lnTo>
                      <a:pt x="94" y="222"/>
                    </a:lnTo>
                    <a:lnTo>
                      <a:pt x="97" y="235"/>
                    </a:lnTo>
                    <a:lnTo>
                      <a:pt x="96" y="240"/>
                    </a:lnTo>
                    <a:lnTo>
                      <a:pt x="85" y="253"/>
                    </a:lnTo>
                    <a:lnTo>
                      <a:pt x="91" y="265"/>
                    </a:lnTo>
                    <a:lnTo>
                      <a:pt x="99" y="259"/>
                    </a:lnTo>
                    <a:lnTo>
                      <a:pt x="101" y="268"/>
                    </a:lnTo>
                    <a:lnTo>
                      <a:pt x="110" y="259"/>
                    </a:lnTo>
                    <a:lnTo>
                      <a:pt x="109" y="252"/>
                    </a:lnTo>
                    <a:lnTo>
                      <a:pt x="112" y="248"/>
                    </a:lnTo>
                    <a:lnTo>
                      <a:pt x="125" y="238"/>
                    </a:lnTo>
                    <a:lnTo>
                      <a:pt x="125" y="232"/>
                    </a:lnTo>
                    <a:lnTo>
                      <a:pt x="126" y="232"/>
                    </a:lnTo>
                    <a:lnTo>
                      <a:pt x="129" y="237"/>
                    </a:lnTo>
                    <a:lnTo>
                      <a:pt x="133" y="240"/>
                    </a:lnTo>
                    <a:lnTo>
                      <a:pt x="142" y="235"/>
                    </a:lnTo>
                    <a:lnTo>
                      <a:pt x="144" y="229"/>
                    </a:lnTo>
                    <a:lnTo>
                      <a:pt x="146" y="225"/>
                    </a:lnTo>
                    <a:lnTo>
                      <a:pt x="151" y="226"/>
                    </a:lnTo>
                    <a:lnTo>
                      <a:pt x="151" y="216"/>
                    </a:lnTo>
                    <a:lnTo>
                      <a:pt x="160" y="213"/>
                    </a:lnTo>
                    <a:lnTo>
                      <a:pt x="166" y="202"/>
                    </a:lnTo>
                    <a:lnTo>
                      <a:pt x="166" y="193"/>
                    </a:lnTo>
                    <a:lnTo>
                      <a:pt x="169" y="184"/>
                    </a:lnTo>
                    <a:lnTo>
                      <a:pt x="179" y="175"/>
                    </a:lnTo>
                    <a:lnTo>
                      <a:pt x="180" y="165"/>
                    </a:lnTo>
                    <a:lnTo>
                      <a:pt x="204" y="152"/>
                    </a:lnTo>
                    <a:lnTo>
                      <a:pt x="222" y="152"/>
                    </a:lnTo>
                    <a:lnTo>
                      <a:pt x="222" y="148"/>
                    </a:lnTo>
                    <a:lnTo>
                      <a:pt x="221" y="145"/>
                    </a:lnTo>
                    <a:lnTo>
                      <a:pt x="207" y="14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93" name="Freeform 228"/>
              <p:cNvSpPr>
                <a:spLocks noChangeAspect="1"/>
              </p:cNvSpPr>
              <p:nvPr/>
            </p:nvSpPr>
            <p:spPr bwMode="gray">
              <a:xfrm>
                <a:off x="3284" y="1036"/>
                <a:ext cx="99" cy="52"/>
              </a:xfrm>
              <a:custGeom>
                <a:avLst/>
                <a:gdLst/>
                <a:ahLst/>
                <a:cxnLst>
                  <a:cxn ang="0">
                    <a:pos x="20" y="11"/>
                  </a:cxn>
                  <a:cxn ang="0">
                    <a:pos x="23" y="22"/>
                  </a:cxn>
                  <a:cxn ang="0">
                    <a:pos x="2" y="41"/>
                  </a:cxn>
                  <a:cxn ang="0">
                    <a:pos x="15" y="61"/>
                  </a:cxn>
                  <a:cxn ang="0">
                    <a:pos x="23" y="72"/>
                  </a:cxn>
                  <a:cxn ang="0">
                    <a:pos x="29" y="76"/>
                  </a:cxn>
                  <a:cxn ang="0">
                    <a:pos x="36" y="91"/>
                  </a:cxn>
                  <a:cxn ang="0">
                    <a:pos x="70" y="97"/>
                  </a:cxn>
                  <a:cxn ang="0">
                    <a:pos x="85" y="86"/>
                  </a:cxn>
                  <a:cxn ang="0">
                    <a:pos x="121" y="79"/>
                  </a:cxn>
                  <a:cxn ang="0">
                    <a:pos x="144" y="69"/>
                  </a:cxn>
                  <a:cxn ang="0">
                    <a:pos x="202" y="66"/>
                  </a:cxn>
                  <a:cxn ang="0">
                    <a:pos x="199" y="76"/>
                  </a:cxn>
                  <a:cxn ang="0">
                    <a:pos x="209" y="88"/>
                  </a:cxn>
                  <a:cxn ang="0">
                    <a:pos x="202" y="96"/>
                  </a:cxn>
                  <a:cxn ang="0">
                    <a:pos x="153" y="106"/>
                  </a:cxn>
                  <a:cxn ang="0">
                    <a:pos x="133" y="106"/>
                  </a:cxn>
                  <a:cxn ang="0">
                    <a:pos x="145" y="123"/>
                  </a:cxn>
                  <a:cxn ang="0">
                    <a:pos x="158" y="130"/>
                  </a:cxn>
                  <a:cxn ang="0">
                    <a:pos x="153" y="144"/>
                  </a:cxn>
                  <a:cxn ang="0">
                    <a:pos x="117" y="131"/>
                  </a:cxn>
                  <a:cxn ang="0">
                    <a:pos x="98" y="119"/>
                  </a:cxn>
                  <a:cxn ang="0">
                    <a:pos x="86" y="138"/>
                  </a:cxn>
                  <a:cxn ang="0">
                    <a:pos x="106" y="158"/>
                  </a:cxn>
                  <a:cxn ang="0">
                    <a:pos x="142" y="183"/>
                  </a:cxn>
                  <a:cxn ang="0">
                    <a:pos x="160" y="199"/>
                  </a:cxn>
                  <a:cxn ang="0">
                    <a:pos x="175" y="188"/>
                  </a:cxn>
                  <a:cxn ang="0">
                    <a:pos x="186" y="183"/>
                  </a:cxn>
                  <a:cxn ang="0">
                    <a:pos x="218" y="187"/>
                  </a:cxn>
                  <a:cxn ang="0">
                    <a:pos x="249" y="187"/>
                  </a:cxn>
                  <a:cxn ang="0">
                    <a:pos x="244" y="206"/>
                  </a:cxn>
                  <a:cxn ang="0">
                    <a:pos x="257" y="228"/>
                  </a:cxn>
                  <a:cxn ang="0">
                    <a:pos x="261" y="246"/>
                  </a:cxn>
                  <a:cxn ang="0">
                    <a:pos x="279" y="259"/>
                  </a:cxn>
                  <a:cxn ang="0">
                    <a:pos x="287" y="259"/>
                  </a:cxn>
                  <a:cxn ang="0">
                    <a:pos x="332" y="236"/>
                  </a:cxn>
                  <a:cxn ang="0">
                    <a:pos x="354" y="211"/>
                  </a:cxn>
                  <a:cxn ang="0">
                    <a:pos x="376" y="209"/>
                  </a:cxn>
                  <a:cxn ang="0">
                    <a:pos x="391" y="208"/>
                  </a:cxn>
                  <a:cxn ang="0">
                    <a:pos x="413" y="182"/>
                  </a:cxn>
                  <a:cxn ang="0">
                    <a:pos x="424" y="163"/>
                  </a:cxn>
                  <a:cxn ang="0">
                    <a:pos x="428" y="150"/>
                  </a:cxn>
                  <a:cxn ang="0">
                    <a:pos x="421" y="124"/>
                  </a:cxn>
                  <a:cxn ang="0">
                    <a:pos x="443" y="112"/>
                  </a:cxn>
                  <a:cxn ang="0">
                    <a:pos x="459" y="87"/>
                  </a:cxn>
                  <a:cxn ang="0">
                    <a:pos x="462" y="79"/>
                  </a:cxn>
                  <a:cxn ang="0">
                    <a:pos x="491" y="57"/>
                  </a:cxn>
                  <a:cxn ang="0">
                    <a:pos x="487" y="28"/>
                  </a:cxn>
                  <a:cxn ang="0">
                    <a:pos x="492" y="11"/>
                  </a:cxn>
                  <a:cxn ang="0">
                    <a:pos x="235" y="0"/>
                  </a:cxn>
                  <a:cxn ang="0">
                    <a:pos x="228" y="11"/>
                  </a:cxn>
                  <a:cxn ang="0">
                    <a:pos x="67" y="0"/>
                  </a:cxn>
                  <a:cxn ang="0">
                    <a:pos x="35" y="0"/>
                  </a:cxn>
                </a:cxnLst>
                <a:rect l="0" t="0" r="r" b="b"/>
                <a:pathLst>
                  <a:path w="496" h="260">
                    <a:moveTo>
                      <a:pt x="32" y="12"/>
                    </a:moveTo>
                    <a:lnTo>
                      <a:pt x="30" y="17"/>
                    </a:lnTo>
                    <a:lnTo>
                      <a:pt x="20" y="11"/>
                    </a:lnTo>
                    <a:lnTo>
                      <a:pt x="18" y="12"/>
                    </a:lnTo>
                    <a:lnTo>
                      <a:pt x="23" y="18"/>
                    </a:lnTo>
                    <a:lnTo>
                      <a:pt x="23" y="22"/>
                    </a:lnTo>
                    <a:lnTo>
                      <a:pt x="13" y="22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9" y="43"/>
                    </a:lnTo>
                    <a:lnTo>
                      <a:pt x="8" y="54"/>
                    </a:lnTo>
                    <a:lnTo>
                      <a:pt x="15" y="61"/>
                    </a:lnTo>
                    <a:lnTo>
                      <a:pt x="15" y="68"/>
                    </a:lnTo>
                    <a:lnTo>
                      <a:pt x="21" y="80"/>
                    </a:lnTo>
                    <a:lnTo>
                      <a:pt x="23" y="72"/>
                    </a:lnTo>
                    <a:lnTo>
                      <a:pt x="29" y="68"/>
                    </a:lnTo>
                    <a:lnTo>
                      <a:pt x="27" y="72"/>
                    </a:lnTo>
                    <a:lnTo>
                      <a:pt x="29" y="76"/>
                    </a:lnTo>
                    <a:lnTo>
                      <a:pt x="32" y="77"/>
                    </a:lnTo>
                    <a:lnTo>
                      <a:pt x="29" y="85"/>
                    </a:lnTo>
                    <a:lnTo>
                      <a:pt x="36" y="91"/>
                    </a:lnTo>
                    <a:lnTo>
                      <a:pt x="67" y="88"/>
                    </a:lnTo>
                    <a:lnTo>
                      <a:pt x="70" y="91"/>
                    </a:lnTo>
                    <a:lnTo>
                      <a:pt x="70" y="97"/>
                    </a:lnTo>
                    <a:lnTo>
                      <a:pt x="75" y="98"/>
                    </a:lnTo>
                    <a:lnTo>
                      <a:pt x="85" y="90"/>
                    </a:lnTo>
                    <a:lnTo>
                      <a:pt x="85" y="86"/>
                    </a:lnTo>
                    <a:lnTo>
                      <a:pt x="102" y="86"/>
                    </a:lnTo>
                    <a:lnTo>
                      <a:pt x="107" y="79"/>
                    </a:lnTo>
                    <a:lnTo>
                      <a:pt x="121" y="79"/>
                    </a:lnTo>
                    <a:lnTo>
                      <a:pt x="122" y="74"/>
                    </a:lnTo>
                    <a:lnTo>
                      <a:pt x="142" y="76"/>
                    </a:lnTo>
                    <a:lnTo>
                      <a:pt x="144" y="69"/>
                    </a:lnTo>
                    <a:lnTo>
                      <a:pt x="187" y="70"/>
                    </a:lnTo>
                    <a:lnTo>
                      <a:pt x="192" y="63"/>
                    </a:lnTo>
                    <a:lnTo>
                      <a:pt x="202" y="66"/>
                    </a:lnTo>
                    <a:lnTo>
                      <a:pt x="207" y="60"/>
                    </a:lnTo>
                    <a:lnTo>
                      <a:pt x="207" y="71"/>
                    </a:lnTo>
                    <a:lnTo>
                      <a:pt x="199" y="76"/>
                    </a:lnTo>
                    <a:lnTo>
                      <a:pt x="211" y="77"/>
                    </a:lnTo>
                    <a:lnTo>
                      <a:pt x="209" y="81"/>
                    </a:lnTo>
                    <a:lnTo>
                      <a:pt x="209" y="88"/>
                    </a:lnTo>
                    <a:lnTo>
                      <a:pt x="201" y="91"/>
                    </a:lnTo>
                    <a:lnTo>
                      <a:pt x="201" y="95"/>
                    </a:lnTo>
                    <a:lnTo>
                      <a:pt x="202" y="96"/>
                    </a:lnTo>
                    <a:lnTo>
                      <a:pt x="201" y="99"/>
                    </a:lnTo>
                    <a:lnTo>
                      <a:pt x="156" y="98"/>
                    </a:lnTo>
                    <a:lnTo>
                      <a:pt x="153" y="106"/>
                    </a:lnTo>
                    <a:lnTo>
                      <a:pt x="149" y="104"/>
                    </a:lnTo>
                    <a:lnTo>
                      <a:pt x="149" y="98"/>
                    </a:lnTo>
                    <a:lnTo>
                      <a:pt x="133" y="106"/>
                    </a:lnTo>
                    <a:lnTo>
                      <a:pt x="136" y="112"/>
                    </a:lnTo>
                    <a:lnTo>
                      <a:pt x="132" y="118"/>
                    </a:lnTo>
                    <a:lnTo>
                      <a:pt x="145" y="123"/>
                    </a:lnTo>
                    <a:lnTo>
                      <a:pt x="147" y="128"/>
                    </a:lnTo>
                    <a:lnTo>
                      <a:pt x="156" y="127"/>
                    </a:lnTo>
                    <a:lnTo>
                      <a:pt x="158" y="130"/>
                    </a:lnTo>
                    <a:lnTo>
                      <a:pt x="158" y="135"/>
                    </a:lnTo>
                    <a:lnTo>
                      <a:pt x="161" y="140"/>
                    </a:lnTo>
                    <a:lnTo>
                      <a:pt x="153" y="144"/>
                    </a:lnTo>
                    <a:lnTo>
                      <a:pt x="144" y="135"/>
                    </a:lnTo>
                    <a:lnTo>
                      <a:pt x="118" y="138"/>
                    </a:lnTo>
                    <a:lnTo>
                      <a:pt x="117" y="131"/>
                    </a:lnTo>
                    <a:lnTo>
                      <a:pt x="112" y="130"/>
                    </a:lnTo>
                    <a:lnTo>
                      <a:pt x="112" y="124"/>
                    </a:lnTo>
                    <a:lnTo>
                      <a:pt x="98" y="119"/>
                    </a:lnTo>
                    <a:lnTo>
                      <a:pt x="85" y="128"/>
                    </a:lnTo>
                    <a:lnTo>
                      <a:pt x="84" y="131"/>
                    </a:lnTo>
                    <a:lnTo>
                      <a:pt x="86" y="138"/>
                    </a:lnTo>
                    <a:lnTo>
                      <a:pt x="94" y="145"/>
                    </a:lnTo>
                    <a:lnTo>
                      <a:pt x="96" y="154"/>
                    </a:lnTo>
                    <a:lnTo>
                      <a:pt x="106" y="158"/>
                    </a:lnTo>
                    <a:lnTo>
                      <a:pt x="115" y="172"/>
                    </a:lnTo>
                    <a:lnTo>
                      <a:pt x="139" y="174"/>
                    </a:lnTo>
                    <a:lnTo>
                      <a:pt x="142" y="183"/>
                    </a:lnTo>
                    <a:lnTo>
                      <a:pt x="142" y="194"/>
                    </a:lnTo>
                    <a:lnTo>
                      <a:pt x="150" y="203"/>
                    </a:lnTo>
                    <a:lnTo>
                      <a:pt x="160" y="199"/>
                    </a:lnTo>
                    <a:lnTo>
                      <a:pt x="161" y="199"/>
                    </a:lnTo>
                    <a:lnTo>
                      <a:pt x="161" y="194"/>
                    </a:lnTo>
                    <a:lnTo>
                      <a:pt x="175" y="188"/>
                    </a:lnTo>
                    <a:lnTo>
                      <a:pt x="181" y="195"/>
                    </a:lnTo>
                    <a:lnTo>
                      <a:pt x="182" y="183"/>
                    </a:lnTo>
                    <a:lnTo>
                      <a:pt x="186" y="183"/>
                    </a:lnTo>
                    <a:lnTo>
                      <a:pt x="187" y="190"/>
                    </a:lnTo>
                    <a:lnTo>
                      <a:pt x="203" y="199"/>
                    </a:lnTo>
                    <a:lnTo>
                      <a:pt x="218" y="187"/>
                    </a:lnTo>
                    <a:lnTo>
                      <a:pt x="241" y="195"/>
                    </a:lnTo>
                    <a:lnTo>
                      <a:pt x="246" y="192"/>
                    </a:lnTo>
                    <a:lnTo>
                      <a:pt x="249" y="187"/>
                    </a:lnTo>
                    <a:lnTo>
                      <a:pt x="250" y="188"/>
                    </a:lnTo>
                    <a:lnTo>
                      <a:pt x="249" y="198"/>
                    </a:lnTo>
                    <a:lnTo>
                      <a:pt x="244" y="206"/>
                    </a:lnTo>
                    <a:lnTo>
                      <a:pt x="246" y="224"/>
                    </a:lnTo>
                    <a:lnTo>
                      <a:pt x="254" y="232"/>
                    </a:lnTo>
                    <a:lnTo>
                      <a:pt x="257" y="228"/>
                    </a:lnTo>
                    <a:lnTo>
                      <a:pt x="255" y="236"/>
                    </a:lnTo>
                    <a:lnTo>
                      <a:pt x="263" y="243"/>
                    </a:lnTo>
                    <a:lnTo>
                      <a:pt x="261" y="246"/>
                    </a:lnTo>
                    <a:lnTo>
                      <a:pt x="262" y="249"/>
                    </a:lnTo>
                    <a:lnTo>
                      <a:pt x="278" y="253"/>
                    </a:lnTo>
                    <a:lnTo>
                      <a:pt x="279" y="259"/>
                    </a:lnTo>
                    <a:lnTo>
                      <a:pt x="283" y="260"/>
                    </a:lnTo>
                    <a:lnTo>
                      <a:pt x="287" y="254"/>
                    </a:lnTo>
                    <a:lnTo>
                      <a:pt x="287" y="259"/>
                    </a:lnTo>
                    <a:lnTo>
                      <a:pt x="315" y="255"/>
                    </a:lnTo>
                    <a:lnTo>
                      <a:pt x="328" y="247"/>
                    </a:lnTo>
                    <a:lnTo>
                      <a:pt x="332" y="236"/>
                    </a:lnTo>
                    <a:lnTo>
                      <a:pt x="333" y="221"/>
                    </a:lnTo>
                    <a:lnTo>
                      <a:pt x="337" y="217"/>
                    </a:lnTo>
                    <a:lnTo>
                      <a:pt x="354" y="211"/>
                    </a:lnTo>
                    <a:lnTo>
                      <a:pt x="367" y="199"/>
                    </a:lnTo>
                    <a:lnTo>
                      <a:pt x="376" y="204"/>
                    </a:lnTo>
                    <a:lnTo>
                      <a:pt x="376" y="209"/>
                    </a:lnTo>
                    <a:lnTo>
                      <a:pt x="379" y="211"/>
                    </a:lnTo>
                    <a:lnTo>
                      <a:pt x="385" y="204"/>
                    </a:lnTo>
                    <a:lnTo>
                      <a:pt x="391" y="208"/>
                    </a:lnTo>
                    <a:lnTo>
                      <a:pt x="405" y="194"/>
                    </a:lnTo>
                    <a:lnTo>
                      <a:pt x="414" y="188"/>
                    </a:lnTo>
                    <a:lnTo>
                      <a:pt x="413" y="182"/>
                    </a:lnTo>
                    <a:lnTo>
                      <a:pt x="418" y="174"/>
                    </a:lnTo>
                    <a:lnTo>
                      <a:pt x="417" y="166"/>
                    </a:lnTo>
                    <a:lnTo>
                      <a:pt x="424" y="163"/>
                    </a:lnTo>
                    <a:lnTo>
                      <a:pt x="425" y="156"/>
                    </a:lnTo>
                    <a:lnTo>
                      <a:pt x="425" y="150"/>
                    </a:lnTo>
                    <a:lnTo>
                      <a:pt x="428" y="150"/>
                    </a:lnTo>
                    <a:lnTo>
                      <a:pt x="427" y="142"/>
                    </a:lnTo>
                    <a:lnTo>
                      <a:pt x="422" y="140"/>
                    </a:lnTo>
                    <a:lnTo>
                      <a:pt x="421" y="124"/>
                    </a:lnTo>
                    <a:lnTo>
                      <a:pt x="433" y="114"/>
                    </a:lnTo>
                    <a:lnTo>
                      <a:pt x="434" y="109"/>
                    </a:lnTo>
                    <a:lnTo>
                      <a:pt x="443" y="112"/>
                    </a:lnTo>
                    <a:lnTo>
                      <a:pt x="448" y="98"/>
                    </a:lnTo>
                    <a:lnTo>
                      <a:pt x="455" y="99"/>
                    </a:lnTo>
                    <a:lnTo>
                      <a:pt x="459" y="87"/>
                    </a:lnTo>
                    <a:lnTo>
                      <a:pt x="465" y="86"/>
                    </a:lnTo>
                    <a:lnTo>
                      <a:pt x="462" y="84"/>
                    </a:lnTo>
                    <a:lnTo>
                      <a:pt x="462" y="79"/>
                    </a:lnTo>
                    <a:lnTo>
                      <a:pt x="472" y="66"/>
                    </a:lnTo>
                    <a:lnTo>
                      <a:pt x="473" y="60"/>
                    </a:lnTo>
                    <a:lnTo>
                      <a:pt x="491" y="57"/>
                    </a:lnTo>
                    <a:lnTo>
                      <a:pt x="494" y="44"/>
                    </a:lnTo>
                    <a:lnTo>
                      <a:pt x="496" y="37"/>
                    </a:lnTo>
                    <a:lnTo>
                      <a:pt x="487" y="28"/>
                    </a:lnTo>
                    <a:lnTo>
                      <a:pt x="488" y="26"/>
                    </a:lnTo>
                    <a:lnTo>
                      <a:pt x="487" y="21"/>
                    </a:lnTo>
                    <a:lnTo>
                      <a:pt x="492" y="11"/>
                    </a:lnTo>
                    <a:lnTo>
                      <a:pt x="491" y="4"/>
                    </a:lnTo>
                    <a:lnTo>
                      <a:pt x="492" y="0"/>
                    </a:lnTo>
                    <a:lnTo>
                      <a:pt x="235" y="0"/>
                    </a:lnTo>
                    <a:lnTo>
                      <a:pt x="235" y="4"/>
                    </a:lnTo>
                    <a:lnTo>
                      <a:pt x="230" y="2"/>
                    </a:lnTo>
                    <a:lnTo>
                      <a:pt x="228" y="11"/>
                    </a:lnTo>
                    <a:lnTo>
                      <a:pt x="222" y="5"/>
                    </a:lnTo>
                    <a:lnTo>
                      <a:pt x="219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6" y="0"/>
                    </a:lnTo>
                    <a:lnTo>
                      <a:pt x="35" y="0"/>
                    </a:lnTo>
                    <a:lnTo>
                      <a:pt x="31" y="6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</p:grpSp>
        <p:sp>
          <p:nvSpPr>
            <p:cNvPr id="60" name="Freeform 229"/>
            <p:cNvSpPr>
              <a:spLocks noChangeAspect="1"/>
            </p:cNvSpPr>
            <p:nvPr/>
          </p:nvSpPr>
          <p:spPr bwMode="gray">
            <a:xfrm>
              <a:off x="5129196" y="2823286"/>
              <a:ext cx="6361" cy="698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22"/>
                </a:cxn>
                <a:cxn ang="0">
                  <a:pos x="2" y="0"/>
                </a:cxn>
                <a:cxn ang="0">
                  <a:pos x="0" y="10"/>
                </a:cxn>
                <a:cxn ang="0">
                  <a:pos x="0" y="13"/>
                </a:cxn>
                <a:cxn ang="0">
                  <a:pos x="1" y="15"/>
                </a:cxn>
                <a:cxn ang="0">
                  <a:pos x="13" y="13"/>
                </a:cxn>
                <a:cxn ang="0">
                  <a:pos x="19" y="10"/>
                </a:cxn>
                <a:cxn ang="0">
                  <a:pos x="19" y="6"/>
                </a:cxn>
                <a:cxn ang="0">
                  <a:pos x="8" y="0"/>
                </a:cxn>
                <a:cxn ang="0">
                  <a:pos x="3" y="0"/>
                </a:cxn>
              </a:cxnLst>
              <a:rect l="0" t="0" r="r" b="b"/>
              <a:pathLst>
                <a:path w="19" h="22">
                  <a:moveTo>
                    <a:pt x="3" y="0"/>
                  </a:moveTo>
                  <a:lnTo>
                    <a:pt x="3" y="22"/>
                  </a:lnTo>
                  <a:lnTo>
                    <a:pt x="2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1" y="15"/>
                  </a:lnTo>
                  <a:lnTo>
                    <a:pt x="13" y="13"/>
                  </a:lnTo>
                  <a:lnTo>
                    <a:pt x="19" y="10"/>
                  </a:lnTo>
                  <a:lnTo>
                    <a:pt x="19" y="6"/>
                  </a:lnTo>
                  <a:lnTo>
                    <a:pt x="8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61" name="Freeform 230"/>
            <p:cNvSpPr>
              <a:spLocks noChangeAspect="1"/>
            </p:cNvSpPr>
            <p:nvPr/>
          </p:nvSpPr>
          <p:spPr bwMode="gray">
            <a:xfrm>
              <a:off x="5467895" y="2189440"/>
              <a:ext cx="46115" cy="48892"/>
            </a:xfrm>
            <a:custGeom>
              <a:avLst/>
              <a:gdLst/>
              <a:ahLst/>
              <a:cxnLst>
                <a:cxn ang="0">
                  <a:pos x="82" y="27"/>
                </a:cxn>
                <a:cxn ang="0">
                  <a:pos x="96" y="46"/>
                </a:cxn>
                <a:cxn ang="0">
                  <a:pos x="118" y="55"/>
                </a:cxn>
                <a:cxn ang="0">
                  <a:pos x="128" y="70"/>
                </a:cxn>
                <a:cxn ang="0">
                  <a:pos x="137" y="68"/>
                </a:cxn>
                <a:cxn ang="0">
                  <a:pos x="141" y="90"/>
                </a:cxn>
                <a:cxn ang="0">
                  <a:pos x="130" y="87"/>
                </a:cxn>
                <a:cxn ang="0">
                  <a:pos x="123" y="82"/>
                </a:cxn>
                <a:cxn ang="0">
                  <a:pos x="107" y="81"/>
                </a:cxn>
                <a:cxn ang="0">
                  <a:pos x="97" y="92"/>
                </a:cxn>
                <a:cxn ang="0">
                  <a:pos x="110" y="101"/>
                </a:cxn>
                <a:cxn ang="0">
                  <a:pos x="118" y="112"/>
                </a:cxn>
                <a:cxn ang="0">
                  <a:pos x="129" y="113"/>
                </a:cxn>
                <a:cxn ang="0">
                  <a:pos x="128" y="138"/>
                </a:cxn>
                <a:cxn ang="0">
                  <a:pos x="121" y="140"/>
                </a:cxn>
                <a:cxn ang="0">
                  <a:pos x="110" y="133"/>
                </a:cxn>
                <a:cxn ang="0">
                  <a:pos x="110" y="122"/>
                </a:cxn>
                <a:cxn ang="0">
                  <a:pos x="97" y="128"/>
                </a:cxn>
                <a:cxn ang="0">
                  <a:pos x="75" y="98"/>
                </a:cxn>
                <a:cxn ang="0">
                  <a:pos x="31" y="76"/>
                </a:cxn>
                <a:cxn ang="0">
                  <a:pos x="24" y="62"/>
                </a:cxn>
                <a:cxn ang="0">
                  <a:pos x="10" y="50"/>
                </a:cxn>
                <a:cxn ang="0">
                  <a:pos x="8" y="39"/>
                </a:cxn>
                <a:cxn ang="0">
                  <a:pos x="4" y="33"/>
                </a:cxn>
                <a:cxn ang="0">
                  <a:pos x="4" y="26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15" y="0"/>
                </a:cxn>
                <a:cxn ang="0">
                  <a:pos x="49" y="9"/>
                </a:cxn>
                <a:cxn ang="0">
                  <a:pos x="58" y="5"/>
                </a:cxn>
                <a:cxn ang="0">
                  <a:pos x="75" y="15"/>
                </a:cxn>
                <a:cxn ang="0">
                  <a:pos x="82" y="27"/>
                </a:cxn>
              </a:cxnLst>
              <a:rect l="0" t="0" r="r" b="b"/>
              <a:pathLst>
                <a:path w="141" h="140">
                  <a:moveTo>
                    <a:pt x="82" y="27"/>
                  </a:moveTo>
                  <a:lnTo>
                    <a:pt x="96" y="46"/>
                  </a:lnTo>
                  <a:lnTo>
                    <a:pt x="118" y="55"/>
                  </a:lnTo>
                  <a:lnTo>
                    <a:pt x="128" y="70"/>
                  </a:lnTo>
                  <a:lnTo>
                    <a:pt x="137" y="68"/>
                  </a:lnTo>
                  <a:lnTo>
                    <a:pt x="141" y="90"/>
                  </a:lnTo>
                  <a:lnTo>
                    <a:pt x="130" y="87"/>
                  </a:lnTo>
                  <a:lnTo>
                    <a:pt x="123" y="82"/>
                  </a:lnTo>
                  <a:lnTo>
                    <a:pt x="107" y="81"/>
                  </a:lnTo>
                  <a:lnTo>
                    <a:pt x="97" y="92"/>
                  </a:lnTo>
                  <a:lnTo>
                    <a:pt x="110" y="101"/>
                  </a:lnTo>
                  <a:lnTo>
                    <a:pt x="118" y="112"/>
                  </a:lnTo>
                  <a:lnTo>
                    <a:pt x="129" y="113"/>
                  </a:lnTo>
                  <a:lnTo>
                    <a:pt x="128" y="138"/>
                  </a:lnTo>
                  <a:lnTo>
                    <a:pt x="121" y="140"/>
                  </a:lnTo>
                  <a:lnTo>
                    <a:pt x="110" y="133"/>
                  </a:lnTo>
                  <a:lnTo>
                    <a:pt x="110" y="122"/>
                  </a:lnTo>
                  <a:lnTo>
                    <a:pt x="97" y="128"/>
                  </a:lnTo>
                  <a:lnTo>
                    <a:pt x="75" y="98"/>
                  </a:lnTo>
                  <a:lnTo>
                    <a:pt x="31" y="76"/>
                  </a:lnTo>
                  <a:lnTo>
                    <a:pt x="24" y="62"/>
                  </a:lnTo>
                  <a:lnTo>
                    <a:pt x="10" y="50"/>
                  </a:lnTo>
                  <a:lnTo>
                    <a:pt x="8" y="39"/>
                  </a:lnTo>
                  <a:lnTo>
                    <a:pt x="4" y="33"/>
                  </a:lnTo>
                  <a:lnTo>
                    <a:pt x="4" y="26"/>
                  </a:lnTo>
                  <a:lnTo>
                    <a:pt x="1" y="11"/>
                  </a:lnTo>
                  <a:lnTo>
                    <a:pt x="0" y="7"/>
                  </a:lnTo>
                  <a:lnTo>
                    <a:pt x="15" y="0"/>
                  </a:lnTo>
                  <a:lnTo>
                    <a:pt x="49" y="9"/>
                  </a:lnTo>
                  <a:lnTo>
                    <a:pt x="58" y="5"/>
                  </a:lnTo>
                  <a:lnTo>
                    <a:pt x="75" y="15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62" name="Freeform 231"/>
            <p:cNvSpPr>
              <a:spLocks noChangeAspect="1"/>
            </p:cNvSpPr>
            <p:nvPr/>
          </p:nvSpPr>
          <p:spPr bwMode="gray">
            <a:xfrm>
              <a:off x="5407470" y="2302938"/>
              <a:ext cx="46115" cy="34923"/>
            </a:xfrm>
            <a:custGeom>
              <a:avLst/>
              <a:gdLst/>
              <a:ahLst/>
              <a:cxnLst>
                <a:cxn ang="0">
                  <a:pos x="144" y="31"/>
                </a:cxn>
                <a:cxn ang="0">
                  <a:pos x="144" y="51"/>
                </a:cxn>
                <a:cxn ang="0">
                  <a:pos x="146" y="69"/>
                </a:cxn>
                <a:cxn ang="0">
                  <a:pos x="134" y="78"/>
                </a:cxn>
                <a:cxn ang="0">
                  <a:pos x="123" y="79"/>
                </a:cxn>
                <a:cxn ang="0">
                  <a:pos x="116" y="76"/>
                </a:cxn>
                <a:cxn ang="0">
                  <a:pos x="112" y="86"/>
                </a:cxn>
                <a:cxn ang="0">
                  <a:pos x="94" y="80"/>
                </a:cxn>
                <a:cxn ang="0">
                  <a:pos x="76" y="87"/>
                </a:cxn>
                <a:cxn ang="0">
                  <a:pos x="32" y="98"/>
                </a:cxn>
                <a:cxn ang="0">
                  <a:pos x="10" y="102"/>
                </a:cxn>
                <a:cxn ang="0">
                  <a:pos x="0" y="100"/>
                </a:cxn>
                <a:cxn ang="0">
                  <a:pos x="1" y="82"/>
                </a:cxn>
                <a:cxn ang="0">
                  <a:pos x="4" y="70"/>
                </a:cxn>
                <a:cxn ang="0">
                  <a:pos x="25" y="58"/>
                </a:cxn>
                <a:cxn ang="0">
                  <a:pos x="46" y="39"/>
                </a:cxn>
                <a:cxn ang="0">
                  <a:pos x="51" y="33"/>
                </a:cxn>
                <a:cxn ang="0">
                  <a:pos x="91" y="22"/>
                </a:cxn>
                <a:cxn ang="0">
                  <a:pos x="105" y="9"/>
                </a:cxn>
                <a:cxn ang="0">
                  <a:pos x="118" y="0"/>
                </a:cxn>
                <a:cxn ang="0">
                  <a:pos x="123" y="8"/>
                </a:cxn>
                <a:cxn ang="0">
                  <a:pos x="140" y="22"/>
                </a:cxn>
                <a:cxn ang="0">
                  <a:pos x="144" y="31"/>
                </a:cxn>
              </a:cxnLst>
              <a:rect l="0" t="0" r="r" b="b"/>
              <a:pathLst>
                <a:path w="146" h="102">
                  <a:moveTo>
                    <a:pt x="144" y="31"/>
                  </a:moveTo>
                  <a:lnTo>
                    <a:pt x="144" y="51"/>
                  </a:lnTo>
                  <a:lnTo>
                    <a:pt x="146" y="69"/>
                  </a:lnTo>
                  <a:lnTo>
                    <a:pt x="134" y="78"/>
                  </a:lnTo>
                  <a:lnTo>
                    <a:pt x="123" y="79"/>
                  </a:lnTo>
                  <a:lnTo>
                    <a:pt x="116" y="76"/>
                  </a:lnTo>
                  <a:lnTo>
                    <a:pt x="112" y="86"/>
                  </a:lnTo>
                  <a:lnTo>
                    <a:pt x="94" y="80"/>
                  </a:lnTo>
                  <a:lnTo>
                    <a:pt x="76" y="87"/>
                  </a:lnTo>
                  <a:lnTo>
                    <a:pt x="32" y="98"/>
                  </a:lnTo>
                  <a:lnTo>
                    <a:pt x="10" y="102"/>
                  </a:lnTo>
                  <a:lnTo>
                    <a:pt x="0" y="100"/>
                  </a:lnTo>
                  <a:lnTo>
                    <a:pt x="1" y="82"/>
                  </a:lnTo>
                  <a:lnTo>
                    <a:pt x="4" y="70"/>
                  </a:lnTo>
                  <a:lnTo>
                    <a:pt x="25" y="58"/>
                  </a:lnTo>
                  <a:lnTo>
                    <a:pt x="46" y="39"/>
                  </a:lnTo>
                  <a:lnTo>
                    <a:pt x="51" y="33"/>
                  </a:lnTo>
                  <a:lnTo>
                    <a:pt x="91" y="22"/>
                  </a:lnTo>
                  <a:lnTo>
                    <a:pt x="105" y="9"/>
                  </a:lnTo>
                  <a:lnTo>
                    <a:pt x="118" y="0"/>
                  </a:lnTo>
                  <a:lnTo>
                    <a:pt x="123" y="8"/>
                  </a:lnTo>
                  <a:lnTo>
                    <a:pt x="140" y="22"/>
                  </a:lnTo>
                  <a:lnTo>
                    <a:pt x="144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63" name="Freeform 232"/>
            <p:cNvSpPr>
              <a:spLocks noChangeAspect="1"/>
            </p:cNvSpPr>
            <p:nvPr/>
          </p:nvSpPr>
          <p:spPr bwMode="gray">
            <a:xfrm>
              <a:off x="5130786" y="2818048"/>
              <a:ext cx="14312" cy="5239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1" y="6"/>
                </a:cxn>
                <a:cxn ang="0">
                  <a:pos x="14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1" y="9"/>
                </a:cxn>
                <a:cxn ang="0">
                  <a:pos x="6" y="15"/>
                </a:cxn>
                <a:cxn ang="0">
                  <a:pos x="15" y="15"/>
                </a:cxn>
                <a:cxn ang="0">
                  <a:pos x="25" y="15"/>
                </a:cxn>
                <a:cxn ang="0">
                  <a:pos x="25" y="10"/>
                </a:cxn>
                <a:cxn ang="0">
                  <a:pos x="27" y="6"/>
                </a:cxn>
                <a:cxn ang="0">
                  <a:pos x="41" y="7"/>
                </a:cxn>
                <a:cxn ang="0">
                  <a:pos x="44" y="4"/>
                </a:cxn>
              </a:cxnLst>
              <a:rect l="0" t="0" r="r" b="b"/>
              <a:pathLst>
                <a:path w="44" h="15">
                  <a:moveTo>
                    <a:pt x="44" y="4"/>
                  </a:moveTo>
                  <a:lnTo>
                    <a:pt x="41" y="6"/>
                  </a:lnTo>
                  <a:lnTo>
                    <a:pt x="14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1" y="9"/>
                  </a:lnTo>
                  <a:lnTo>
                    <a:pt x="6" y="15"/>
                  </a:lnTo>
                  <a:lnTo>
                    <a:pt x="15" y="15"/>
                  </a:lnTo>
                  <a:lnTo>
                    <a:pt x="25" y="15"/>
                  </a:lnTo>
                  <a:lnTo>
                    <a:pt x="25" y="10"/>
                  </a:lnTo>
                  <a:lnTo>
                    <a:pt x="27" y="6"/>
                  </a:lnTo>
                  <a:lnTo>
                    <a:pt x="41" y="7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64" name="Freeform 233"/>
            <p:cNvSpPr>
              <a:spLocks noChangeAspect="1"/>
            </p:cNvSpPr>
            <p:nvPr/>
          </p:nvSpPr>
          <p:spPr bwMode="gray">
            <a:xfrm>
              <a:off x="4625121" y="1594008"/>
              <a:ext cx="965216" cy="1225786"/>
            </a:xfrm>
            <a:custGeom>
              <a:avLst/>
              <a:gdLst/>
              <a:ahLst/>
              <a:cxnLst>
                <a:cxn ang="0">
                  <a:pos x="334" y="269"/>
                </a:cxn>
                <a:cxn ang="0">
                  <a:pos x="56" y="423"/>
                </a:cxn>
                <a:cxn ang="0">
                  <a:pos x="87" y="620"/>
                </a:cxn>
                <a:cxn ang="0">
                  <a:pos x="345" y="649"/>
                </a:cxn>
                <a:cxn ang="0">
                  <a:pos x="370" y="802"/>
                </a:cxn>
                <a:cxn ang="0">
                  <a:pos x="203" y="910"/>
                </a:cxn>
                <a:cxn ang="0">
                  <a:pos x="382" y="1005"/>
                </a:cxn>
                <a:cxn ang="0">
                  <a:pos x="663" y="1060"/>
                </a:cxn>
                <a:cxn ang="0">
                  <a:pos x="789" y="1212"/>
                </a:cxn>
                <a:cxn ang="0">
                  <a:pos x="914" y="1457"/>
                </a:cxn>
                <a:cxn ang="0">
                  <a:pos x="957" y="1666"/>
                </a:cxn>
                <a:cxn ang="0">
                  <a:pos x="946" y="1937"/>
                </a:cxn>
                <a:cxn ang="0">
                  <a:pos x="1155" y="1924"/>
                </a:cxn>
                <a:cxn ang="0">
                  <a:pos x="1212" y="2100"/>
                </a:cxn>
                <a:cxn ang="0">
                  <a:pos x="1198" y="2196"/>
                </a:cxn>
                <a:cxn ang="0">
                  <a:pos x="1193" y="2371"/>
                </a:cxn>
                <a:cxn ang="0">
                  <a:pos x="1189" y="2458"/>
                </a:cxn>
                <a:cxn ang="0">
                  <a:pos x="1066" y="2539"/>
                </a:cxn>
                <a:cxn ang="0">
                  <a:pos x="1064" y="2750"/>
                </a:cxn>
                <a:cxn ang="0">
                  <a:pos x="1125" y="2895"/>
                </a:cxn>
                <a:cxn ang="0">
                  <a:pos x="1211" y="2960"/>
                </a:cxn>
                <a:cxn ang="0">
                  <a:pos x="1195" y="3116"/>
                </a:cxn>
                <a:cxn ang="0">
                  <a:pos x="1279" y="3272"/>
                </a:cxn>
                <a:cxn ang="0">
                  <a:pos x="1338" y="3337"/>
                </a:cxn>
                <a:cxn ang="0">
                  <a:pos x="1363" y="3416"/>
                </a:cxn>
                <a:cxn ang="0">
                  <a:pos x="1470" y="3433"/>
                </a:cxn>
                <a:cxn ang="0">
                  <a:pos x="1537" y="3452"/>
                </a:cxn>
                <a:cxn ang="0">
                  <a:pos x="1629" y="3467"/>
                </a:cxn>
                <a:cxn ang="0">
                  <a:pos x="1687" y="3305"/>
                </a:cxn>
                <a:cxn ang="0">
                  <a:pos x="1689" y="3152"/>
                </a:cxn>
                <a:cxn ang="0">
                  <a:pos x="1764" y="3101"/>
                </a:cxn>
                <a:cxn ang="0">
                  <a:pos x="1753" y="2943"/>
                </a:cxn>
                <a:cxn ang="0">
                  <a:pos x="1812" y="2852"/>
                </a:cxn>
                <a:cxn ang="0">
                  <a:pos x="1901" y="2792"/>
                </a:cxn>
                <a:cxn ang="0">
                  <a:pos x="1930" y="2799"/>
                </a:cxn>
                <a:cxn ang="0">
                  <a:pos x="2028" y="2774"/>
                </a:cxn>
                <a:cxn ang="0">
                  <a:pos x="2118" y="2690"/>
                </a:cxn>
                <a:cxn ang="0">
                  <a:pos x="2174" y="2551"/>
                </a:cxn>
                <a:cxn ang="0">
                  <a:pos x="2221" y="2438"/>
                </a:cxn>
                <a:cxn ang="0">
                  <a:pos x="2324" y="2497"/>
                </a:cxn>
                <a:cxn ang="0">
                  <a:pos x="2398" y="2454"/>
                </a:cxn>
                <a:cxn ang="0">
                  <a:pos x="2533" y="2404"/>
                </a:cxn>
                <a:cxn ang="0">
                  <a:pos x="2608" y="2324"/>
                </a:cxn>
                <a:cxn ang="0">
                  <a:pos x="2693" y="2260"/>
                </a:cxn>
                <a:cxn ang="0">
                  <a:pos x="2744" y="2191"/>
                </a:cxn>
                <a:cxn ang="0">
                  <a:pos x="2518" y="2132"/>
                </a:cxn>
                <a:cxn ang="0">
                  <a:pos x="2535" y="1960"/>
                </a:cxn>
                <a:cxn ang="0">
                  <a:pos x="2675" y="2082"/>
                </a:cxn>
                <a:cxn ang="0">
                  <a:pos x="2798" y="2021"/>
                </a:cxn>
                <a:cxn ang="0">
                  <a:pos x="2734" y="1919"/>
                </a:cxn>
                <a:cxn ang="0">
                  <a:pos x="2637" y="1764"/>
                </a:cxn>
                <a:cxn ang="0">
                  <a:pos x="2526" y="1666"/>
                </a:cxn>
                <a:cxn ang="0">
                  <a:pos x="2780" y="1635"/>
                </a:cxn>
                <a:cxn ang="0">
                  <a:pos x="2761" y="1433"/>
                </a:cxn>
                <a:cxn ang="0">
                  <a:pos x="2855" y="1350"/>
                </a:cxn>
                <a:cxn ang="0">
                  <a:pos x="2914" y="1260"/>
                </a:cxn>
                <a:cxn ang="0">
                  <a:pos x="2866" y="1034"/>
                </a:cxn>
                <a:cxn ang="0">
                  <a:pos x="2763" y="931"/>
                </a:cxn>
                <a:cxn ang="0">
                  <a:pos x="3000" y="845"/>
                </a:cxn>
                <a:cxn ang="0">
                  <a:pos x="2868" y="650"/>
                </a:cxn>
                <a:cxn ang="0">
                  <a:pos x="2831" y="472"/>
                </a:cxn>
                <a:cxn ang="0">
                  <a:pos x="2931" y="232"/>
                </a:cxn>
                <a:cxn ang="0">
                  <a:pos x="3035" y="0"/>
                </a:cxn>
              </a:cxnLst>
              <a:rect l="0" t="0" r="r" b="b"/>
              <a:pathLst>
                <a:path w="3035" h="3510">
                  <a:moveTo>
                    <a:pt x="430" y="18"/>
                  </a:moveTo>
                  <a:lnTo>
                    <a:pt x="443" y="28"/>
                  </a:lnTo>
                  <a:lnTo>
                    <a:pt x="454" y="26"/>
                  </a:lnTo>
                  <a:lnTo>
                    <a:pt x="467" y="50"/>
                  </a:lnTo>
                  <a:lnTo>
                    <a:pt x="458" y="63"/>
                  </a:lnTo>
                  <a:lnTo>
                    <a:pt x="442" y="66"/>
                  </a:lnTo>
                  <a:lnTo>
                    <a:pt x="427" y="63"/>
                  </a:lnTo>
                  <a:lnTo>
                    <a:pt x="420" y="93"/>
                  </a:lnTo>
                  <a:lnTo>
                    <a:pt x="430" y="101"/>
                  </a:lnTo>
                  <a:lnTo>
                    <a:pt x="438" y="117"/>
                  </a:lnTo>
                  <a:lnTo>
                    <a:pt x="442" y="131"/>
                  </a:lnTo>
                  <a:lnTo>
                    <a:pt x="442" y="147"/>
                  </a:lnTo>
                  <a:lnTo>
                    <a:pt x="443" y="157"/>
                  </a:lnTo>
                  <a:lnTo>
                    <a:pt x="424" y="183"/>
                  </a:lnTo>
                  <a:lnTo>
                    <a:pt x="416" y="204"/>
                  </a:lnTo>
                  <a:lnTo>
                    <a:pt x="406" y="212"/>
                  </a:lnTo>
                  <a:lnTo>
                    <a:pt x="382" y="255"/>
                  </a:lnTo>
                  <a:lnTo>
                    <a:pt x="377" y="276"/>
                  </a:lnTo>
                  <a:lnTo>
                    <a:pt x="368" y="283"/>
                  </a:lnTo>
                  <a:lnTo>
                    <a:pt x="363" y="278"/>
                  </a:lnTo>
                  <a:lnTo>
                    <a:pt x="351" y="278"/>
                  </a:lnTo>
                  <a:lnTo>
                    <a:pt x="334" y="269"/>
                  </a:lnTo>
                  <a:lnTo>
                    <a:pt x="322" y="278"/>
                  </a:lnTo>
                  <a:lnTo>
                    <a:pt x="311" y="258"/>
                  </a:lnTo>
                  <a:lnTo>
                    <a:pt x="275" y="274"/>
                  </a:lnTo>
                  <a:lnTo>
                    <a:pt x="274" y="284"/>
                  </a:lnTo>
                  <a:lnTo>
                    <a:pt x="263" y="278"/>
                  </a:lnTo>
                  <a:lnTo>
                    <a:pt x="231" y="285"/>
                  </a:lnTo>
                  <a:lnTo>
                    <a:pt x="204" y="305"/>
                  </a:lnTo>
                  <a:lnTo>
                    <a:pt x="195" y="314"/>
                  </a:lnTo>
                  <a:lnTo>
                    <a:pt x="201" y="325"/>
                  </a:lnTo>
                  <a:lnTo>
                    <a:pt x="217" y="330"/>
                  </a:lnTo>
                  <a:lnTo>
                    <a:pt x="216" y="343"/>
                  </a:lnTo>
                  <a:lnTo>
                    <a:pt x="199" y="337"/>
                  </a:lnTo>
                  <a:lnTo>
                    <a:pt x="191" y="341"/>
                  </a:lnTo>
                  <a:lnTo>
                    <a:pt x="189" y="350"/>
                  </a:lnTo>
                  <a:lnTo>
                    <a:pt x="183" y="355"/>
                  </a:lnTo>
                  <a:lnTo>
                    <a:pt x="153" y="357"/>
                  </a:lnTo>
                  <a:lnTo>
                    <a:pt x="140" y="370"/>
                  </a:lnTo>
                  <a:lnTo>
                    <a:pt x="114" y="378"/>
                  </a:lnTo>
                  <a:lnTo>
                    <a:pt x="106" y="411"/>
                  </a:lnTo>
                  <a:lnTo>
                    <a:pt x="87" y="402"/>
                  </a:lnTo>
                  <a:lnTo>
                    <a:pt x="65" y="409"/>
                  </a:lnTo>
                  <a:lnTo>
                    <a:pt x="56" y="423"/>
                  </a:lnTo>
                  <a:lnTo>
                    <a:pt x="32" y="432"/>
                  </a:lnTo>
                  <a:lnTo>
                    <a:pt x="18" y="443"/>
                  </a:lnTo>
                  <a:lnTo>
                    <a:pt x="15" y="458"/>
                  </a:lnTo>
                  <a:lnTo>
                    <a:pt x="16" y="464"/>
                  </a:lnTo>
                  <a:lnTo>
                    <a:pt x="5" y="485"/>
                  </a:lnTo>
                  <a:lnTo>
                    <a:pt x="6" y="494"/>
                  </a:lnTo>
                  <a:lnTo>
                    <a:pt x="26" y="499"/>
                  </a:lnTo>
                  <a:lnTo>
                    <a:pt x="13" y="504"/>
                  </a:lnTo>
                  <a:lnTo>
                    <a:pt x="13" y="510"/>
                  </a:lnTo>
                  <a:lnTo>
                    <a:pt x="10" y="526"/>
                  </a:lnTo>
                  <a:lnTo>
                    <a:pt x="0" y="529"/>
                  </a:lnTo>
                  <a:lnTo>
                    <a:pt x="4" y="540"/>
                  </a:lnTo>
                  <a:lnTo>
                    <a:pt x="18" y="555"/>
                  </a:lnTo>
                  <a:lnTo>
                    <a:pt x="33" y="563"/>
                  </a:lnTo>
                  <a:lnTo>
                    <a:pt x="37" y="572"/>
                  </a:lnTo>
                  <a:lnTo>
                    <a:pt x="37" y="586"/>
                  </a:lnTo>
                  <a:lnTo>
                    <a:pt x="39" y="591"/>
                  </a:lnTo>
                  <a:lnTo>
                    <a:pt x="58" y="601"/>
                  </a:lnTo>
                  <a:lnTo>
                    <a:pt x="65" y="598"/>
                  </a:lnTo>
                  <a:lnTo>
                    <a:pt x="76" y="607"/>
                  </a:lnTo>
                  <a:lnTo>
                    <a:pt x="91" y="608"/>
                  </a:lnTo>
                  <a:lnTo>
                    <a:pt x="87" y="620"/>
                  </a:lnTo>
                  <a:lnTo>
                    <a:pt x="92" y="634"/>
                  </a:lnTo>
                  <a:lnTo>
                    <a:pt x="114" y="630"/>
                  </a:lnTo>
                  <a:lnTo>
                    <a:pt x="155" y="614"/>
                  </a:lnTo>
                  <a:lnTo>
                    <a:pt x="134" y="641"/>
                  </a:lnTo>
                  <a:lnTo>
                    <a:pt x="128" y="660"/>
                  </a:lnTo>
                  <a:lnTo>
                    <a:pt x="160" y="660"/>
                  </a:lnTo>
                  <a:lnTo>
                    <a:pt x="180" y="649"/>
                  </a:lnTo>
                  <a:lnTo>
                    <a:pt x="180" y="657"/>
                  </a:lnTo>
                  <a:lnTo>
                    <a:pt x="153" y="678"/>
                  </a:lnTo>
                  <a:lnTo>
                    <a:pt x="158" y="693"/>
                  </a:lnTo>
                  <a:lnTo>
                    <a:pt x="196" y="709"/>
                  </a:lnTo>
                  <a:lnTo>
                    <a:pt x="214" y="711"/>
                  </a:lnTo>
                  <a:lnTo>
                    <a:pt x="236" y="700"/>
                  </a:lnTo>
                  <a:lnTo>
                    <a:pt x="237" y="685"/>
                  </a:lnTo>
                  <a:lnTo>
                    <a:pt x="230" y="663"/>
                  </a:lnTo>
                  <a:lnTo>
                    <a:pt x="239" y="660"/>
                  </a:lnTo>
                  <a:lnTo>
                    <a:pt x="253" y="678"/>
                  </a:lnTo>
                  <a:lnTo>
                    <a:pt x="258" y="694"/>
                  </a:lnTo>
                  <a:lnTo>
                    <a:pt x="289" y="694"/>
                  </a:lnTo>
                  <a:lnTo>
                    <a:pt x="314" y="688"/>
                  </a:lnTo>
                  <a:lnTo>
                    <a:pt x="329" y="663"/>
                  </a:lnTo>
                  <a:lnTo>
                    <a:pt x="345" y="649"/>
                  </a:lnTo>
                  <a:lnTo>
                    <a:pt x="356" y="646"/>
                  </a:lnTo>
                  <a:lnTo>
                    <a:pt x="354" y="658"/>
                  </a:lnTo>
                  <a:lnTo>
                    <a:pt x="340" y="666"/>
                  </a:lnTo>
                  <a:lnTo>
                    <a:pt x="345" y="673"/>
                  </a:lnTo>
                  <a:lnTo>
                    <a:pt x="352" y="671"/>
                  </a:lnTo>
                  <a:lnTo>
                    <a:pt x="360" y="658"/>
                  </a:lnTo>
                  <a:lnTo>
                    <a:pt x="375" y="655"/>
                  </a:lnTo>
                  <a:lnTo>
                    <a:pt x="379" y="665"/>
                  </a:lnTo>
                  <a:lnTo>
                    <a:pt x="381" y="678"/>
                  </a:lnTo>
                  <a:lnTo>
                    <a:pt x="393" y="688"/>
                  </a:lnTo>
                  <a:lnTo>
                    <a:pt x="389" y="706"/>
                  </a:lnTo>
                  <a:lnTo>
                    <a:pt x="381" y="716"/>
                  </a:lnTo>
                  <a:lnTo>
                    <a:pt x="365" y="714"/>
                  </a:lnTo>
                  <a:lnTo>
                    <a:pt x="356" y="725"/>
                  </a:lnTo>
                  <a:lnTo>
                    <a:pt x="359" y="736"/>
                  </a:lnTo>
                  <a:lnTo>
                    <a:pt x="365" y="747"/>
                  </a:lnTo>
                  <a:lnTo>
                    <a:pt x="395" y="763"/>
                  </a:lnTo>
                  <a:lnTo>
                    <a:pt x="398" y="769"/>
                  </a:lnTo>
                  <a:lnTo>
                    <a:pt x="397" y="776"/>
                  </a:lnTo>
                  <a:lnTo>
                    <a:pt x="391" y="785"/>
                  </a:lnTo>
                  <a:lnTo>
                    <a:pt x="373" y="791"/>
                  </a:lnTo>
                  <a:lnTo>
                    <a:pt x="370" y="802"/>
                  </a:lnTo>
                  <a:lnTo>
                    <a:pt x="360" y="803"/>
                  </a:lnTo>
                  <a:lnTo>
                    <a:pt x="346" y="796"/>
                  </a:lnTo>
                  <a:lnTo>
                    <a:pt x="289" y="781"/>
                  </a:lnTo>
                  <a:lnTo>
                    <a:pt x="258" y="789"/>
                  </a:lnTo>
                  <a:lnTo>
                    <a:pt x="203" y="776"/>
                  </a:lnTo>
                  <a:lnTo>
                    <a:pt x="146" y="774"/>
                  </a:lnTo>
                  <a:lnTo>
                    <a:pt x="117" y="787"/>
                  </a:lnTo>
                  <a:lnTo>
                    <a:pt x="119" y="797"/>
                  </a:lnTo>
                  <a:lnTo>
                    <a:pt x="106" y="800"/>
                  </a:lnTo>
                  <a:lnTo>
                    <a:pt x="88" y="829"/>
                  </a:lnTo>
                  <a:lnTo>
                    <a:pt x="81" y="840"/>
                  </a:lnTo>
                  <a:lnTo>
                    <a:pt x="87" y="838"/>
                  </a:lnTo>
                  <a:lnTo>
                    <a:pt x="110" y="851"/>
                  </a:lnTo>
                  <a:lnTo>
                    <a:pt x="114" y="860"/>
                  </a:lnTo>
                  <a:lnTo>
                    <a:pt x="113" y="872"/>
                  </a:lnTo>
                  <a:lnTo>
                    <a:pt x="129" y="884"/>
                  </a:lnTo>
                  <a:lnTo>
                    <a:pt x="149" y="881"/>
                  </a:lnTo>
                  <a:lnTo>
                    <a:pt x="173" y="828"/>
                  </a:lnTo>
                  <a:lnTo>
                    <a:pt x="179" y="833"/>
                  </a:lnTo>
                  <a:lnTo>
                    <a:pt x="160" y="870"/>
                  </a:lnTo>
                  <a:lnTo>
                    <a:pt x="166" y="894"/>
                  </a:lnTo>
                  <a:lnTo>
                    <a:pt x="203" y="910"/>
                  </a:lnTo>
                  <a:lnTo>
                    <a:pt x="233" y="915"/>
                  </a:lnTo>
                  <a:lnTo>
                    <a:pt x="262" y="909"/>
                  </a:lnTo>
                  <a:lnTo>
                    <a:pt x="260" y="924"/>
                  </a:lnTo>
                  <a:lnTo>
                    <a:pt x="243" y="937"/>
                  </a:lnTo>
                  <a:lnTo>
                    <a:pt x="222" y="937"/>
                  </a:lnTo>
                  <a:lnTo>
                    <a:pt x="185" y="976"/>
                  </a:lnTo>
                  <a:lnTo>
                    <a:pt x="198" y="996"/>
                  </a:lnTo>
                  <a:lnTo>
                    <a:pt x="214" y="1012"/>
                  </a:lnTo>
                  <a:lnTo>
                    <a:pt x="225" y="1031"/>
                  </a:lnTo>
                  <a:lnTo>
                    <a:pt x="262" y="1061"/>
                  </a:lnTo>
                  <a:lnTo>
                    <a:pt x="292" y="1070"/>
                  </a:lnTo>
                  <a:lnTo>
                    <a:pt x="309" y="1081"/>
                  </a:lnTo>
                  <a:lnTo>
                    <a:pt x="336" y="1087"/>
                  </a:lnTo>
                  <a:lnTo>
                    <a:pt x="362" y="1099"/>
                  </a:lnTo>
                  <a:lnTo>
                    <a:pt x="329" y="1048"/>
                  </a:lnTo>
                  <a:lnTo>
                    <a:pt x="313" y="1037"/>
                  </a:lnTo>
                  <a:lnTo>
                    <a:pt x="328" y="1016"/>
                  </a:lnTo>
                  <a:lnTo>
                    <a:pt x="340" y="1016"/>
                  </a:lnTo>
                  <a:lnTo>
                    <a:pt x="357" y="1043"/>
                  </a:lnTo>
                  <a:lnTo>
                    <a:pt x="368" y="1044"/>
                  </a:lnTo>
                  <a:lnTo>
                    <a:pt x="372" y="1024"/>
                  </a:lnTo>
                  <a:lnTo>
                    <a:pt x="382" y="1005"/>
                  </a:lnTo>
                  <a:lnTo>
                    <a:pt x="410" y="1015"/>
                  </a:lnTo>
                  <a:lnTo>
                    <a:pt x="404" y="1028"/>
                  </a:lnTo>
                  <a:lnTo>
                    <a:pt x="402" y="1054"/>
                  </a:lnTo>
                  <a:lnTo>
                    <a:pt x="419" y="1071"/>
                  </a:lnTo>
                  <a:lnTo>
                    <a:pt x="430" y="1062"/>
                  </a:lnTo>
                  <a:lnTo>
                    <a:pt x="440" y="1042"/>
                  </a:lnTo>
                  <a:lnTo>
                    <a:pt x="453" y="1034"/>
                  </a:lnTo>
                  <a:lnTo>
                    <a:pt x="462" y="1038"/>
                  </a:lnTo>
                  <a:lnTo>
                    <a:pt x="465" y="1023"/>
                  </a:lnTo>
                  <a:lnTo>
                    <a:pt x="476" y="1010"/>
                  </a:lnTo>
                  <a:lnTo>
                    <a:pt x="491" y="1001"/>
                  </a:lnTo>
                  <a:lnTo>
                    <a:pt x="491" y="1021"/>
                  </a:lnTo>
                  <a:lnTo>
                    <a:pt x="502" y="1039"/>
                  </a:lnTo>
                  <a:lnTo>
                    <a:pt x="521" y="1022"/>
                  </a:lnTo>
                  <a:lnTo>
                    <a:pt x="534" y="992"/>
                  </a:lnTo>
                  <a:lnTo>
                    <a:pt x="554" y="997"/>
                  </a:lnTo>
                  <a:lnTo>
                    <a:pt x="562" y="1018"/>
                  </a:lnTo>
                  <a:lnTo>
                    <a:pt x="575" y="1024"/>
                  </a:lnTo>
                  <a:lnTo>
                    <a:pt x="581" y="1019"/>
                  </a:lnTo>
                  <a:lnTo>
                    <a:pt x="593" y="1021"/>
                  </a:lnTo>
                  <a:lnTo>
                    <a:pt x="657" y="1040"/>
                  </a:lnTo>
                  <a:lnTo>
                    <a:pt x="663" y="1060"/>
                  </a:lnTo>
                  <a:lnTo>
                    <a:pt x="671" y="1066"/>
                  </a:lnTo>
                  <a:lnTo>
                    <a:pt x="672" y="1075"/>
                  </a:lnTo>
                  <a:lnTo>
                    <a:pt x="672" y="1054"/>
                  </a:lnTo>
                  <a:lnTo>
                    <a:pt x="673" y="1054"/>
                  </a:lnTo>
                  <a:lnTo>
                    <a:pt x="698" y="1075"/>
                  </a:lnTo>
                  <a:lnTo>
                    <a:pt x="715" y="1085"/>
                  </a:lnTo>
                  <a:lnTo>
                    <a:pt x="723" y="1082"/>
                  </a:lnTo>
                  <a:lnTo>
                    <a:pt x="727" y="1092"/>
                  </a:lnTo>
                  <a:lnTo>
                    <a:pt x="725" y="1118"/>
                  </a:lnTo>
                  <a:lnTo>
                    <a:pt x="737" y="1115"/>
                  </a:lnTo>
                  <a:lnTo>
                    <a:pt x="750" y="1099"/>
                  </a:lnTo>
                  <a:lnTo>
                    <a:pt x="758" y="1121"/>
                  </a:lnTo>
                  <a:lnTo>
                    <a:pt x="763" y="1123"/>
                  </a:lnTo>
                  <a:lnTo>
                    <a:pt x="771" y="1132"/>
                  </a:lnTo>
                  <a:lnTo>
                    <a:pt x="787" y="1128"/>
                  </a:lnTo>
                  <a:lnTo>
                    <a:pt x="791" y="1140"/>
                  </a:lnTo>
                  <a:lnTo>
                    <a:pt x="798" y="1153"/>
                  </a:lnTo>
                  <a:lnTo>
                    <a:pt x="800" y="1166"/>
                  </a:lnTo>
                  <a:lnTo>
                    <a:pt x="803" y="1169"/>
                  </a:lnTo>
                  <a:lnTo>
                    <a:pt x="802" y="1180"/>
                  </a:lnTo>
                  <a:lnTo>
                    <a:pt x="792" y="1199"/>
                  </a:lnTo>
                  <a:lnTo>
                    <a:pt x="789" y="1212"/>
                  </a:lnTo>
                  <a:lnTo>
                    <a:pt x="800" y="1200"/>
                  </a:lnTo>
                  <a:lnTo>
                    <a:pt x="802" y="1215"/>
                  </a:lnTo>
                  <a:lnTo>
                    <a:pt x="801" y="1221"/>
                  </a:lnTo>
                  <a:lnTo>
                    <a:pt x="812" y="1241"/>
                  </a:lnTo>
                  <a:lnTo>
                    <a:pt x="814" y="1261"/>
                  </a:lnTo>
                  <a:lnTo>
                    <a:pt x="823" y="1275"/>
                  </a:lnTo>
                  <a:lnTo>
                    <a:pt x="877" y="1314"/>
                  </a:lnTo>
                  <a:lnTo>
                    <a:pt x="878" y="1322"/>
                  </a:lnTo>
                  <a:lnTo>
                    <a:pt x="871" y="1329"/>
                  </a:lnTo>
                  <a:lnTo>
                    <a:pt x="867" y="1336"/>
                  </a:lnTo>
                  <a:lnTo>
                    <a:pt x="872" y="1349"/>
                  </a:lnTo>
                  <a:lnTo>
                    <a:pt x="886" y="1352"/>
                  </a:lnTo>
                  <a:lnTo>
                    <a:pt x="914" y="1392"/>
                  </a:lnTo>
                  <a:lnTo>
                    <a:pt x="906" y="1397"/>
                  </a:lnTo>
                  <a:lnTo>
                    <a:pt x="882" y="1404"/>
                  </a:lnTo>
                  <a:lnTo>
                    <a:pt x="900" y="1409"/>
                  </a:lnTo>
                  <a:lnTo>
                    <a:pt x="913" y="1406"/>
                  </a:lnTo>
                  <a:lnTo>
                    <a:pt x="915" y="1422"/>
                  </a:lnTo>
                  <a:lnTo>
                    <a:pt x="892" y="1422"/>
                  </a:lnTo>
                  <a:lnTo>
                    <a:pt x="915" y="1433"/>
                  </a:lnTo>
                  <a:lnTo>
                    <a:pt x="918" y="1440"/>
                  </a:lnTo>
                  <a:lnTo>
                    <a:pt x="914" y="1457"/>
                  </a:lnTo>
                  <a:lnTo>
                    <a:pt x="911" y="1483"/>
                  </a:lnTo>
                  <a:lnTo>
                    <a:pt x="922" y="1480"/>
                  </a:lnTo>
                  <a:lnTo>
                    <a:pt x="930" y="1489"/>
                  </a:lnTo>
                  <a:lnTo>
                    <a:pt x="921" y="1501"/>
                  </a:lnTo>
                  <a:lnTo>
                    <a:pt x="941" y="1521"/>
                  </a:lnTo>
                  <a:lnTo>
                    <a:pt x="937" y="1542"/>
                  </a:lnTo>
                  <a:lnTo>
                    <a:pt x="938" y="1549"/>
                  </a:lnTo>
                  <a:lnTo>
                    <a:pt x="929" y="1544"/>
                  </a:lnTo>
                  <a:lnTo>
                    <a:pt x="927" y="1555"/>
                  </a:lnTo>
                  <a:lnTo>
                    <a:pt x="929" y="1564"/>
                  </a:lnTo>
                  <a:lnTo>
                    <a:pt x="952" y="1581"/>
                  </a:lnTo>
                  <a:lnTo>
                    <a:pt x="954" y="1587"/>
                  </a:lnTo>
                  <a:lnTo>
                    <a:pt x="956" y="1597"/>
                  </a:lnTo>
                  <a:lnTo>
                    <a:pt x="949" y="1618"/>
                  </a:lnTo>
                  <a:lnTo>
                    <a:pt x="958" y="1616"/>
                  </a:lnTo>
                  <a:lnTo>
                    <a:pt x="975" y="1607"/>
                  </a:lnTo>
                  <a:lnTo>
                    <a:pt x="967" y="1615"/>
                  </a:lnTo>
                  <a:lnTo>
                    <a:pt x="963" y="1624"/>
                  </a:lnTo>
                  <a:lnTo>
                    <a:pt x="960" y="1636"/>
                  </a:lnTo>
                  <a:lnTo>
                    <a:pt x="972" y="1646"/>
                  </a:lnTo>
                  <a:lnTo>
                    <a:pt x="962" y="1652"/>
                  </a:lnTo>
                  <a:lnTo>
                    <a:pt x="957" y="1666"/>
                  </a:lnTo>
                  <a:lnTo>
                    <a:pt x="947" y="1673"/>
                  </a:lnTo>
                  <a:lnTo>
                    <a:pt x="980" y="1683"/>
                  </a:lnTo>
                  <a:lnTo>
                    <a:pt x="999" y="1693"/>
                  </a:lnTo>
                  <a:lnTo>
                    <a:pt x="1006" y="1710"/>
                  </a:lnTo>
                  <a:lnTo>
                    <a:pt x="1005" y="1728"/>
                  </a:lnTo>
                  <a:lnTo>
                    <a:pt x="1000" y="1733"/>
                  </a:lnTo>
                  <a:lnTo>
                    <a:pt x="999" y="1748"/>
                  </a:lnTo>
                  <a:lnTo>
                    <a:pt x="1000" y="1765"/>
                  </a:lnTo>
                  <a:lnTo>
                    <a:pt x="1001" y="1781"/>
                  </a:lnTo>
                  <a:lnTo>
                    <a:pt x="992" y="1785"/>
                  </a:lnTo>
                  <a:lnTo>
                    <a:pt x="996" y="1801"/>
                  </a:lnTo>
                  <a:lnTo>
                    <a:pt x="990" y="1808"/>
                  </a:lnTo>
                  <a:lnTo>
                    <a:pt x="986" y="1825"/>
                  </a:lnTo>
                  <a:lnTo>
                    <a:pt x="981" y="1834"/>
                  </a:lnTo>
                  <a:lnTo>
                    <a:pt x="967" y="1854"/>
                  </a:lnTo>
                  <a:lnTo>
                    <a:pt x="953" y="1860"/>
                  </a:lnTo>
                  <a:lnTo>
                    <a:pt x="969" y="1878"/>
                  </a:lnTo>
                  <a:lnTo>
                    <a:pt x="992" y="1869"/>
                  </a:lnTo>
                  <a:lnTo>
                    <a:pt x="968" y="1898"/>
                  </a:lnTo>
                  <a:lnTo>
                    <a:pt x="951" y="1906"/>
                  </a:lnTo>
                  <a:lnTo>
                    <a:pt x="941" y="1921"/>
                  </a:lnTo>
                  <a:lnTo>
                    <a:pt x="946" y="1937"/>
                  </a:lnTo>
                  <a:lnTo>
                    <a:pt x="963" y="1968"/>
                  </a:lnTo>
                  <a:lnTo>
                    <a:pt x="973" y="1954"/>
                  </a:lnTo>
                  <a:lnTo>
                    <a:pt x="988" y="1970"/>
                  </a:lnTo>
                  <a:lnTo>
                    <a:pt x="1007" y="1976"/>
                  </a:lnTo>
                  <a:lnTo>
                    <a:pt x="1037" y="1960"/>
                  </a:lnTo>
                  <a:lnTo>
                    <a:pt x="1038" y="1943"/>
                  </a:lnTo>
                  <a:lnTo>
                    <a:pt x="1028" y="1931"/>
                  </a:lnTo>
                  <a:lnTo>
                    <a:pt x="1032" y="1919"/>
                  </a:lnTo>
                  <a:lnTo>
                    <a:pt x="1039" y="1926"/>
                  </a:lnTo>
                  <a:lnTo>
                    <a:pt x="1046" y="1917"/>
                  </a:lnTo>
                  <a:lnTo>
                    <a:pt x="1044" y="1908"/>
                  </a:lnTo>
                  <a:lnTo>
                    <a:pt x="1061" y="1895"/>
                  </a:lnTo>
                  <a:lnTo>
                    <a:pt x="1062" y="1865"/>
                  </a:lnTo>
                  <a:lnTo>
                    <a:pt x="1069" y="1882"/>
                  </a:lnTo>
                  <a:lnTo>
                    <a:pt x="1078" y="1899"/>
                  </a:lnTo>
                  <a:lnTo>
                    <a:pt x="1096" y="1883"/>
                  </a:lnTo>
                  <a:lnTo>
                    <a:pt x="1087" y="1904"/>
                  </a:lnTo>
                  <a:lnTo>
                    <a:pt x="1086" y="1919"/>
                  </a:lnTo>
                  <a:lnTo>
                    <a:pt x="1105" y="1926"/>
                  </a:lnTo>
                  <a:lnTo>
                    <a:pt x="1104" y="1930"/>
                  </a:lnTo>
                  <a:lnTo>
                    <a:pt x="1114" y="1930"/>
                  </a:lnTo>
                  <a:lnTo>
                    <a:pt x="1155" y="1924"/>
                  </a:lnTo>
                  <a:lnTo>
                    <a:pt x="1141" y="1941"/>
                  </a:lnTo>
                  <a:lnTo>
                    <a:pt x="1104" y="1953"/>
                  </a:lnTo>
                  <a:lnTo>
                    <a:pt x="1092" y="1969"/>
                  </a:lnTo>
                  <a:lnTo>
                    <a:pt x="1120" y="1973"/>
                  </a:lnTo>
                  <a:lnTo>
                    <a:pt x="1152" y="1962"/>
                  </a:lnTo>
                  <a:lnTo>
                    <a:pt x="1132" y="1975"/>
                  </a:lnTo>
                  <a:lnTo>
                    <a:pt x="1128" y="1994"/>
                  </a:lnTo>
                  <a:lnTo>
                    <a:pt x="1118" y="2011"/>
                  </a:lnTo>
                  <a:lnTo>
                    <a:pt x="1164" y="1981"/>
                  </a:lnTo>
                  <a:lnTo>
                    <a:pt x="1136" y="2017"/>
                  </a:lnTo>
                  <a:lnTo>
                    <a:pt x="1180" y="2012"/>
                  </a:lnTo>
                  <a:lnTo>
                    <a:pt x="1175" y="2025"/>
                  </a:lnTo>
                  <a:lnTo>
                    <a:pt x="1183" y="2033"/>
                  </a:lnTo>
                  <a:lnTo>
                    <a:pt x="1180" y="2041"/>
                  </a:lnTo>
                  <a:lnTo>
                    <a:pt x="1152" y="2029"/>
                  </a:lnTo>
                  <a:lnTo>
                    <a:pt x="1167" y="2045"/>
                  </a:lnTo>
                  <a:lnTo>
                    <a:pt x="1199" y="2059"/>
                  </a:lnTo>
                  <a:lnTo>
                    <a:pt x="1212" y="2075"/>
                  </a:lnTo>
                  <a:lnTo>
                    <a:pt x="1218" y="2091"/>
                  </a:lnTo>
                  <a:lnTo>
                    <a:pt x="1196" y="2082"/>
                  </a:lnTo>
                  <a:lnTo>
                    <a:pt x="1212" y="2092"/>
                  </a:lnTo>
                  <a:lnTo>
                    <a:pt x="1212" y="2100"/>
                  </a:lnTo>
                  <a:lnTo>
                    <a:pt x="1200" y="2103"/>
                  </a:lnTo>
                  <a:lnTo>
                    <a:pt x="1204" y="2111"/>
                  </a:lnTo>
                  <a:lnTo>
                    <a:pt x="1188" y="2105"/>
                  </a:lnTo>
                  <a:lnTo>
                    <a:pt x="1190" y="2121"/>
                  </a:lnTo>
                  <a:lnTo>
                    <a:pt x="1199" y="2132"/>
                  </a:lnTo>
                  <a:lnTo>
                    <a:pt x="1218" y="2124"/>
                  </a:lnTo>
                  <a:lnTo>
                    <a:pt x="1223" y="2136"/>
                  </a:lnTo>
                  <a:lnTo>
                    <a:pt x="1221" y="2148"/>
                  </a:lnTo>
                  <a:lnTo>
                    <a:pt x="1191" y="2142"/>
                  </a:lnTo>
                  <a:lnTo>
                    <a:pt x="1164" y="2131"/>
                  </a:lnTo>
                  <a:lnTo>
                    <a:pt x="1124" y="2094"/>
                  </a:lnTo>
                  <a:lnTo>
                    <a:pt x="1102" y="2080"/>
                  </a:lnTo>
                  <a:lnTo>
                    <a:pt x="1039" y="2071"/>
                  </a:lnTo>
                  <a:lnTo>
                    <a:pt x="1023" y="2073"/>
                  </a:lnTo>
                  <a:lnTo>
                    <a:pt x="1010" y="2091"/>
                  </a:lnTo>
                  <a:lnTo>
                    <a:pt x="1042" y="2138"/>
                  </a:lnTo>
                  <a:lnTo>
                    <a:pt x="1070" y="2147"/>
                  </a:lnTo>
                  <a:lnTo>
                    <a:pt x="1102" y="2162"/>
                  </a:lnTo>
                  <a:lnTo>
                    <a:pt x="1125" y="2190"/>
                  </a:lnTo>
                  <a:lnTo>
                    <a:pt x="1174" y="2201"/>
                  </a:lnTo>
                  <a:lnTo>
                    <a:pt x="1183" y="2194"/>
                  </a:lnTo>
                  <a:lnTo>
                    <a:pt x="1198" y="2196"/>
                  </a:lnTo>
                  <a:lnTo>
                    <a:pt x="1204" y="2202"/>
                  </a:lnTo>
                  <a:lnTo>
                    <a:pt x="1234" y="2200"/>
                  </a:lnTo>
                  <a:lnTo>
                    <a:pt x="1232" y="2216"/>
                  </a:lnTo>
                  <a:lnTo>
                    <a:pt x="1238" y="2232"/>
                  </a:lnTo>
                  <a:lnTo>
                    <a:pt x="1221" y="2238"/>
                  </a:lnTo>
                  <a:lnTo>
                    <a:pt x="1225" y="2255"/>
                  </a:lnTo>
                  <a:lnTo>
                    <a:pt x="1211" y="2261"/>
                  </a:lnTo>
                  <a:lnTo>
                    <a:pt x="1215" y="2276"/>
                  </a:lnTo>
                  <a:lnTo>
                    <a:pt x="1217" y="2281"/>
                  </a:lnTo>
                  <a:lnTo>
                    <a:pt x="1204" y="2288"/>
                  </a:lnTo>
                  <a:lnTo>
                    <a:pt x="1202" y="2313"/>
                  </a:lnTo>
                  <a:lnTo>
                    <a:pt x="1217" y="2324"/>
                  </a:lnTo>
                  <a:lnTo>
                    <a:pt x="1234" y="2312"/>
                  </a:lnTo>
                  <a:lnTo>
                    <a:pt x="1242" y="2326"/>
                  </a:lnTo>
                  <a:lnTo>
                    <a:pt x="1226" y="2337"/>
                  </a:lnTo>
                  <a:lnTo>
                    <a:pt x="1234" y="2349"/>
                  </a:lnTo>
                  <a:lnTo>
                    <a:pt x="1221" y="2350"/>
                  </a:lnTo>
                  <a:lnTo>
                    <a:pt x="1215" y="2337"/>
                  </a:lnTo>
                  <a:lnTo>
                    <a:pt x="1201" y="2334"/>
                  </a:lnTo>
                  <a:lnTo>
                    <a:pt x="1194" y="2341"/>
                  </a:lnTo>
                  <a:lnTo>
                    <a:pt x="1193" y="2356"/>
                  </a:lnTo>
                  <a:lnTo>
                    <a:pt x="1193" y="2371"/>
                  </a:lnTo>
                  <a:lnTo>
                    <a:pt x="1199" y="2378"/>
                  </a:lnTo>
                  <a:lnTo>
                    <a:pt x="1188" y="2392"/>
                  </a:lnTo>
                  <a:lnTo>
                    <a:pt x="1191" y="2398"/>
                  </a:lnTo>
                  <a:lnTo>
                    <a:pt x="1204" y="2395"/>
                  </a:lnTo>
                  <a:lnTo>
                    <a:pt x="1199" y="2404"/>
                  </a:lnTo>
                  <a:lnTo>
                    <a:pt x="1193" y="2421"/>
                  </a:lnTo>
                  <a:lnTo>
                    <a:pt x="1171" y="2428"/>
                  </a:lnTo>
                  <a:lnTo>
                    <a:pt x="1155" y="2421"/>
                  </a:lnTo>
                  <a:lnTo>
                    <a:pt x="1140" y="2420"/>
                  </a:lnTo>
                  <a:lnTo>
                    <a:pt x="1118" y="2426"/>
                  </a:lnTo>
                  <a:lnTo>
                    <a:pt x="1114" y="2436"/>
                  </a:lnTo>
                  <a:lnTo>
                    <a:pt x="1098" y="2452"/>
                  </a:lnTo>
                  <a:lnTo>
                    <a:pt x="1102" y="2462"/>
                  </a:lnTo>
                  <a:lnTo>
                    <a:pt x="1099" y="2463"/>
                  </a:lnTo>
                  <a:lnTo>
                    <a:pt x="1103" y="2474"/>
                  </a:lnTo>
                  <a:lnTo>
                    <a:pt x="1115" y="2468"/>
                  </a:lnTo>
                  <a:lnTo>
                    <a:pt x="1128" y="2476"/>
                  </a:lnTo>
                  <a:lnTo>
                    <a:pt x="1182" y="2459"/>
                  </a:lnTo>
                  <a:lnTo>
                    <a:pt x="1172" y="2442"/>
                  </a:lnTo>
                  <a:lnTo>
                    <a:pt x="1191" y="2443"/>
                  </a:lnTo>
                  <a:lnTo>
                    <a:pt x="1194" y="2447"/>
                  </a:lnTo>
                  <a:lnTo>
                    <a:pt x="1189" y="2458"/>
                  </a:lnTo>
                  <a:lnTo>
                    <a:pt x="1174" y="2466"/>
                  </a:lnTo>
                  <a:lnTo>
                    <a:pt x="1198" y="2479"/>
                  </a:lnTo>
                  <a:lnTo>
                    <a:pt x="1184" y="2476"/>
                  </a:lnTo>
                  <a:lnTo>
                    <a:pt x="1188" y="2485"/>
                  </a:lnTo>
                  <a:lnTo>
                    <a:pt x="1205" y="2493"/>
                  </a:lnTo>
                  <a:lnTo>
                    <a:pt x="1199" y="2498"/>
                  </a:lnTo>
                  <a:lnTo>
                    <a:pt x="1188" y="2493"/>
                  </a:lnTo>
                  <a:lnTo>
                    <a:pt x="1171" y="2500"/>
                  </a:lnTo>
                  <a:lnTo>
                    <a:pt x="1155" y="2502"/>
                  </a:lnTo>
                  <a:lnTo>
                    <a:pt x="1114" y="2481"/>
                  </a:lnTo>
                  <a:lnTo>
                    <a:pt x="1101" y="2487"/>
                  </a:lnTo>
                  <a:lnTo>
                    <a:pt x="1101" y="2492"/>
                  </a:lnTo>
                  <a:lnTo>
                    <a:pt x="1078" y="2485"/>
                  </a:lnTo>
                  <a:lnTo>
                    <a:pt x="1071" y="2491"/>
                  </a:lnTo>
                  <a:lnTo>
                    <a:pt x="1088" y="2491"/>
                  </a:lnTo>
                  <a:lnTo>
                    <a:pt x="1104" y="2508"/>
                  </a:lnTo>
                  <a:lnTo>
                    <a:pt x="1098" y="2513"/>
                  </a:lnTo>
                  <a:lnTo>
                    <a:pt x="1081" y="2503"/>
                  </a:lnTo>
                  <a:lnTo>
                    <a:pt x="1091" y="2516"/>
                  </a:lnTo>
                  <a:lnTo>
                    <a:pt x="1078" y="2516"/>
                  </a:lnTo>
                  <a:lnTo>
                    <a:pt x="1064" y="2525"/>
                  </a:lnTo>
                  <a:lnTo>
                    <a:pt x="1066" y="2539"/>
                  </a:lnTo>
                  <a:lnTo>
                    <a:pt x="1065" y="2555"/>
                  </a:lnTo>
                  <a:lnTo>
                    <a:pt x="1067" y="2556"/>
                  </a:lnTo>
                  <a:lnTo>
                    <a:pt x="1056" y="2570"/>
                  </a:lnTo>
                  <a:lnTo>
                    <a:pt x="1067" y="2578"/>
                  </a:lnTo>
                  <a:lnTo>
                    <a:pt x="1072" y="2575"/>
                  </a:lnTo>
                  <a:lnTo>
                    <a:pt x="1051" y="2590"/>
                  </a:lnTo>
                  <a:lnTo>
                    <a:pt x="1055" y="2600"/>
                  </a:lnTo>
                  <a:lnTo>
                    <a:pt x="1049" y="2605"/>
                  </a:lnTo>
                  <a:lnTo>
                    <a:pt x="1044" y="2615"/>
                  </a:lnTo>
                  <a:lnTo>
                    <a:pt x="1043" y="2640"/>
                  </a:lnTo>
                  <a:lnTo>
                    <a:pt x="1061" y="2653"/>
                  </a:lnTo>
                  <a:lnTo>
                    <a:pt x="1059" y="2667"/>
                  </a:lnTo>
                  <a:lnTo>
                    <a:pt x="1074" y="2664"/>
                  </a:lnTo>
                  <a:lnTo>
                    <a:pt x="1091" y="2665"/>
                  </a:lnTo>
                  <a:lnTo>
                    <a:pt x="1089" y="2685"/>
                  </a:lnTo>
                  <a:lnTo>
                    <a:pt x="1082" y="2690"/>
                  </a:lnTo>
                  <a:lnTo>
                    <a:pt x="1071" y="2705"/>
                  </a:lnTo>
                  <a:lnTo>
                    <a:pt x="1085" y="2719"/>
                  </a:lnTo>
                  <a:lnTo>
                    <a:pt x="1065" y="2716"/>
                  </a:lnTo>
                  <a:lnTo>
                    <a:pt x="1060" y="2728"/>
                  </a:lnTo>
                  <a:lnTo>
                    <a:pt x="1061" y="2742"/>
                  </a:lnTo>
                  <a:lnTo>
                    <a:pt x="1064" y="2750"/>
                  </a:lnTo>
                  <a:lnTo>
                    <a:pt x="1076" y="2750"/>
                  </a:lnTo>
                  <a:lnTo>
                    <a:pt x="1065" y="2764"/>
                  </a:lnTo>
                  <a:lnTo>
                    <a:pt x="1072" y="2767"/>
                  </a:lnTo>
                  <a:lnTo>
                    <a:pt x="1086" y="2767"/>
                  </a:lnTo>
                  <a:lnTo>
                    <a:pt x="1097" y="2764"/>
                  </a:lnTo>
                  <a:lnTo>
                    <a:pt x="1071" y="2787"/>
                  </a:lnTo>
                  <a:lnTo>
                    <a:pt x="1071" y="2797"/>
                  </a:lnTo>
                  <a:lnTo>
                    <a:pt x="1085" y="2802"/>
                  </a:lnTo>
                  <a:lnTo>
                    <a:pt x="1086" y="2810"/>
                  </a:lnTo>
                  <a:lnTo>
                    <a:pt x="1102" y="2802"/>
                  </a:lnTo>
                  <a:lnTo>
                    <a:pt x="1096" y="2805"/>
                  </a:lnTo>
                  <a:lnTo>
                    <a:pt x="1089" y="2815"/>
                  </a:lnTo>
                  <a:lnTo>
                    <a:pt x="1092" y="2823"/>
                  </a:lnTo>
                  <a:lnTo>
                    <a:pt x="1086" y="2834"/>
                  </a:lnTo>
                  <a:lnTo>
                    <a:pt x="1099" y="2830"/>
                  </a:lnTo>
                  <a:lnTo>
                    <a:pt x="1108" y="2825"/>
                  </a:lnTo>
                  <a:lnTo>
                    <a:pt x="1110" y="2856"/>
                  </a:lnTo>
                  <a:lnTo>
                    <a:pt x="1125" y="2855"/>
                  </a:lnTo>
                  <a:lnTo>
                    <a:pt x="1125" y="2864"/>
                  </a:lnTo>
                  <a:lnTo>
                    <a:pt x="1137" y="2864"/>
                  </a:lnTo>
                  <a:lnTo>
                    <a:pt x="1120" y="2882"/>
                  </a:lnTo>
                  <a:lnTo>
                    <a:pt x="1125" y="2895"/>
                  </a:lnTo>
                  <a:lnTo>
                    <a:pt x="1135" y="2880"/>
                  </a:lnTo>
                  <a:lnTo>
                    <a:pt x="1137" y="2896"/>
                  </a:lnTo>
                  <a:lnTo>
                    <a:pt x="1134" y="2900"/>
                  </a:lnTo>
                  <a:lnTo>
                    <a:pt x="1131" y="2916"/>
                  </a:lnTo>
                  <a:lnTo>
                    <a:pt x="1140" y="2920"/>
                  </a:lnTo>
                  <a:lnTo>
                    <a:pt x="1141" y="2932"/>
                  </a:lnTo>
                  <a:lnTo>
                    <a:pt x="1144" y="2945"/>
                  </a:lnTo>
                  <a:lnTo>
                    <a:pt x="1151" y="2937"/>
                  </a:lnTo>
                  <a:lnTo>
                    <a:pt x="1151" y="2941"/>
                  </a:lnTo>
                  <a:lnTo>
                    <a:pt x="1157" y="2943"/>
                  </a:lnTo>
                  <a:lnTo>
                    <a:pt x="1145" y="2957"/>
                  </a:lnTo>
                  <a:lnTo>
                    <a:pt x="1142" y="2965"/>
                  </a:lnTo>
                  <a:lnTo>
                    <a:pt x="1142" y="2979"/>
                  </a:lnTo>
                  <a:lnTo>
                    <a:pt x="1141" y="2990"/>
                  </a:lnTo>
                  <a:lnTo>
                    <a:pt x="1141" y="3002"/>
                  </a:lnTo>
                  <a:lnTo>
                    <a:pt x="1145" y="3017"/>
                  </a:lnTo>
                  <a:lnTo>
                    <a:pt x="1151" y="3013"/>
                  </a:lnTo>
                  <a:lnTo>
                    <a:pt x="1164" y="3013"/>
                  </a:lnTo>
                  <a:lnTo>
                    <a:pt x="1175" y="2990"/>
                  </a:lnTo>
                  <a:lnTo>
                    <a:pt x="1190" y="2961"/>
                  </a:lnTo>
                  <a:lnTo>
                    <a:pt x="1198" y="2965"/>
                  </a:lnTo>
                  <a:lnTo>
                    <a:pt x="1211" y="2960"/>
                  </a:lnTo>
                  <a:lnTo>
                    <a:pt x="1218" y="2944"/>
                  </a:lnTo>
                  <a:lnTo>
                    <a:pt x="1237" y="2954"/>
                  </a:lnTo>
                  <a:lnTo>
                    <a:pt x="1248" y="2952"/>
                  </a:lnTo>
                  <a:lnTo>
                    <a:pt x="1255" y="2968"/>
                  </a:lnTo>
                  <a:lnTo>
                    <a:pt x="1226" y="2960"/>
                  </a:lnTo>
                  <a:lnTo>
                    <a:pt x="1216" y="2970"/>
                  </a:lnTo>
                  <a:lnTo>
                    <a:pt x="1215" y="2977"/>
                  </a:lnTo>
                  <a:lnTo>
                    <a:pt x="1228" y="2988"/>
                  </a:lnTo>
                  <a:lnTo>
                    <a:pt x="1247" y="2988"/>
                  </a:lnTo>
                  <a:lnTo>
                    <a:pt x="1218" y="3000"/>
                  </a:lnTo>
                  <a:lnTo>
                    <a:pt x="1206" y="3002"/>
                  </a:lnTo>
                  <a:lnTo>
                    <a:pt x="1202" y="3018"/>
                  </a:lnTo>
                  <a:lnTo>
                    <a:pt x="1191" y="3025"/>
                  </a:lnTo>
                  <a:lnTo>
                    <a:pt x="1175" y="3027"/>
                  </a:lnTo>
                  <a:lnTo>
                    <a:pt x="1173" y="3036"/>
                  </a:lnTo>
                  <a:lnTo>
                    <a:pt x="1179" y="3057"/>
                  </a:lnTo>
                  <a:lnTo>
                    <a:pt x="1177" y="3082"/>
                  </a:lnTo>
                  <a:lnTo>
                    <a:pt x="1187" y="3078"/>
                  </a:lnTo>
                  <a:lnTo>
                    <a:pt x="1177" y="3093"/>
                  </a:lnTo>
                  <a:lnTo>
                    <a:pt x="1187" y="3110"/>
                  </a:lnTo>
                  <a:lnTo>
                    <a:pt x="1190" y="3119"/>
                  </a:lnTo>
                  <a:lnTo>
                    <a:pt x="1195" y="3116"/>
                  </a:lnTo>
                  <a:lnTo>
                    <a:pt x="1198" y="3136"/>
                  </a:lnTo>
                  <a:lnTo>
                    <a:pt x="1212" y="3160"/>
                  </a:lnTo>
                  <a:lnTo>
                    <a:pt x="1217" y="3162"/>
                  </a:lnTo>
                  <a:lnTo>
                    <a:pt x="1217" y="3165"/>
                  </a:lnTo>
                  <a:lnTo>
                    <a:pt x="1218" y="3170"/>
                  </a:lnTo>
                  <a:lnTo>
                    <a:pt x="1234" y="3173"/>
                  </a:lnTo>
                  <a:lnTo>
                    <a:pt x="1236" y="3186"/>
                  </a:lnTo>
                  <a:lnTo>
                    <a:pt x="1241" y="3195"/>
                  </a:lnTo>
                  <a:lnTo>
                    <a:pt x="1242" y="3203"/>
                  </a:lnTo>
                  <a:lnTo>
                    <a:pt x="1249" y="3196"/>
                  </a:lnTo>
                  <a:lnTo>
                    <a:pt x="1254" y="3195"/>
                  </a:lnTo>
                  <a:lnTo>
                    <a:pt x="1247" y="3212"/>
                  </a:lnTo>
                  <a:lnTo>
                    <a:pt x="1247" y="3226"/>
                  </a:lnTo>
                  <a:lnTo>
                    <a:pt x="1250" y="3232"/>
                  </a:lnTo>
                  <a:lnTo>
                    <a:pt x="1260" y="3233"/>
                  </a:lnTo>
                  <a:lnTo>
                    <a:pt x="1269" y="3238"/>
                  </a:lnTo>
                  <a:lnTo>
                    <a:pt x="1265" y="3246"/>
                  </a:lnTo>
                  <a:lnTo>
                    <a:pt x="1265" y="3255"/>
                  </a:lnTo>
                  <a:lnTo>
                    <a:pt x="1276" y="3260"/>
                  </a:lnTo>
                  <a:lnTo>
                    <a:pt x="1285" y="3260"/>
                  </a:lnTo>
                  <a:lnTo>
                    <a:pt x="1275" y="3265"/>
                  </a:lnTo>
                  <a:lnTo>
                    <a:pt x="1279" y="3272"/>
                  </a:lnTo>
                  <a:lnTo>
                    <a:pt x="1288" y="3270"/>
                  </a:lnTo>
                  <a:lnTo>
                    <a:pt x="1281" y="3275"/>
                  </a:lnTo>
                  <a:lnTo>
                    <a:pt x="1273" y="3277"/>
                  </a:lnTo>
                  <a:lnTo>
                    <a:pt x="1276" y="3282"/>
                  </a:lnTo>
                  <a:lnTo>
                    <a:pt x="1277" y="3288"/>
                  </a:lnTo>
                  <a:lnTo>
                    <a:pt x="1291" y="3286"/>
                  </a:lnTo>
                  <a:lnTo>
                    <a:pt x="1308" y="3272"/>
                  </a:lnTo>
                  <a:lnTo>
                    <a:pt x="1313" y="3276"/>
                  </a:lnTo>
                  <a:lnTo>
                    <a:pt x="1314" y="3283"/>
                  </a:lnTo>
                  <a:lnTo>
                    <a:pt x="1300" y="3292"/>
                  </a:lnTo>
                  <a:lnTo>
                    <a:pt x="1291" y="3298"/>
                  </a:lnTo>
                  <a:lnTo>
                    <a:pt x="1293" y="3304"/>
                  </a:lnTo>
                  <a:lnTo>
                    <a:pt x="1300" y="3313"/>
                  </a:lnTo>
                  <a:lnTo>
                    <a:pt x="1308" y="3319"/>
                  </a:lnTo>
                  <a:lnTo>
                    <a:pt x="1308" y="3324"/>
                  </a:lnTo>
                  <a:lnTo>
                    <a:pt x="1316" y="3325"/>
                  </a:lnTo>
                  <a:lnTo>
                    <a:pt x="1311" y="3332"/>
                  </a:lnTo>
                  <a:lnTo>
                    <a:pt x="1297" y="3339"/>
                  </a:lnTo>
                  <a:lnTo>
                    <a:pt x="1300" y="3343"/>
                  </a:lnTo>
                  <a:lnTo>
                    <a:pt x="1312" y="3350"/>
                  </a:lnTo>
                  <a:lnTo>
                    <a:pt x="1320" y="3347"/>
                  </a:lnTo>
                  <a:lnTo>
                    <a:pt x="1338" y="3337"/>
                  </a:lnTo>
                  <a:lnTo>
                    <a:pt x="1344" y="3337"/>
                  </a:lnTo>
                  <a:lnTo>
                    <a:pt x="1355" y="3342"/>
                  </a:lnTo>
                  <a:lnTo>
                    <a:pt x="1311" y="3358"/>
                  </a:lnTo>
                  <a:lnTo>
                    <a:pt x="1314" y="3361"/>
                  </a:lnTo>
                  <a:lnTo>
                    <a:pt x="1322" y="3358"/>
                  </a:lnTo>
                  <a:lnTo>
                    <a:pt x="1334" y="3358"/>
                  </a:lnTo>
                  <a:lnTo>
                    <a:pt x="1336" y="3361"/>
                  </a:lnTo>
                  <a:lnTo>
                    <a:pt x="1335" y="3364"/>
                  </a:lnTo>
                  <a:lnTo>
                    <a:pt x="1334" y="3373"/>
                  </a:lnTo>
                  <a:lnTo>
                    <a:pt x="1340" y="3378"/>
                  </a:lnTo>
                  <a:lnTo>
                    <a:pt x="1344" y="3379"/>
                  </a:lnTo>
                  <a:lnTo>
                    <a:pt x="1356" y="3374"/>
                  </a:lnTo>
                  <a:lnTo>
                    <a:pt x="1360" y="3379"/>
                  </a:lnTo>
                  <a:lnTo>
                    <a:pt x="1362" y="3386"/>
                  </a:lnTo>
                  <a:lnTo>
                    <a:pt x="1363" y="3388"/>
                  </a:lnTo>
                  <a:lnTo>
                    <a:pt x="1373" y="3390"/>
                  </a:lnTo>
                  <a:lnTo>
                    <a:pt x="1382" y="3395"/>
                  </a:lnTo>
                  <a:lnTo>
                    <a:pt x="1386" y="3394"/>
                  </a:lnTo>
                  <a:lnTo>
                    <a:pt x="1389" y="3397"/>
                  </a:lnTo>
                  <a:lnTo>
                    <a:pt x="1388" y="3400"/>
                  </a:lnTo>
                  <a:lnTo>
                    <a:pt x="1373" y="3411"/>
                  </a:lnTo>
                  <a:lnTo>
                    <a:pt x="1363" y="3416"/>
                  </a:lnTo>
                  <a:lnTo>
                    <a:pt x="1359" y="3422"/>
                  </a:lnTo>
                  <a:lnTo>
                    <a:pt x="1370" y="3420"/>
                  </a:lnTo>
                  <a:lnTo>
                    <a:pt x="1377" y="3421"/>
                  </a:lnTo>
                  <a:lnTo>
                    <a:pt x="1400" y="3420"/>
                  </a:lnTo>
                  <a:lnTo>
                    <a:pt x="1397" y="3410"/>
                  </a:lnTo>
                  <a:lnTo>
                    <a:pt x="1397" y="3407"/>
                  </a:lnTo>
                  <a:lnTo>
                    <a:pt x="1399" y="3406"/>
                  </a:lnTo>
                  <a:lnTo>
                    <a:pt x="1410" y="3410"/>
                  </a:lnTo>
                  <a:lnTo>
                    <a:pt x="1419" y="3407"/>
                  </a:lnTo>
                  <a:lnTo>
                    <a:pt x="1442" y="3410"/>
                  </a:lnTo>
                  <a:lnTo>
                    <a:pt x="1462" y="3397"/>
                  </a:lnTo>
                  <a:lnTo>
                    <a:pt x="1464" y="3401"/>
                  </a:lnTo>
                  <a:lnTo>
                    <a:pt x="1480" y="3394"/>
                  </a:lnTo>
                  <a:lnTo>
                    <a:pt x="1478" y="3401"/>
                  </a:lnTo>
                  <a:lnTo>
                    <a:pt x="1476" y="3407"/>
                  </a:lnTo>
                  <a:lnTo>
                    <a:pt x="1483" y="3410"/>
                  </a:lnTo>
                  <a:lnTo>
                    <a:pt x="1499" y="3404"/>
                  </a:lnTo>
                  <a:lnTo>
                    <a:pt x="1495" y="3409"/>
                  </a:lnTo>
                  <a:lnTo>
                    <a:pt x="1470" y="3422"/>
                  </a:lnTo>
                  <a:lnTo>
                    <a:pt x="1478" y="3422"/>
                  </a:lnTo>
                  <a:lnTo>
                    <a:pt x="1465" y="3431"/>
                  </a:lnTo>
                  <a:lnTo>
                    <a:pt x="1470" y="3433"/>
                  </a:lnTo>
                  <a:lnTo>
                    <a:pt x="1474" y="3432"/>
                  </a:lnTo>
                  <a:lnTo>
                    <a:pt x="1483" y="3426"/>
                  </a:lnTo>
                  <a:lnTo>
                    <a:pt x="1491" y="3427"/>
                  </a:lnTo>
                  <a:lnTo>
                    <a:pt x="1501" y="3418"/>
                  </a:lnTo>
                  <a:lnTo>
                    <a:pt x="1508" y="3407"/>
                  </a:lnTo>
                  <a:lnTo>
                    <a:pt x="1512" y="3410"/>
                  </a:lnTo>
                  <a:lnTo>
                    <a:pt x="1508" y="3421"/>
                  </a:lnTo>
                  <a:lnTo>
                    <a:pt x="1496" y="3429"/>
                  </a:lnTo>
                  <a:lnTo>
                    <a:pt x="1491" y="3437"/>
                  </a:lnTo>
                  <a:lnTo>
                    <a:pt x="1495" y="3442"/>
                  </a:lnTo>
                  <a:lnTo>
                    <a:pt x="1497" y="3450"/>
                  </a:lnTo>
                  <a:lnTo>
                    <a:pt x="1500" y="3455"/>
                  </a:lnTo>
                  <a:lnTo>
                    <a:pt x="1502" y="3461"/>
                  </a:lnTo>
                  <a:lnTo>
                    <a:pt x="1506" y="3455"/>
                  </a:lnTo>
                  <a:lnTo>
                    <a:pt x="1511" y="3444"/>
                  </a:lnTo>
                  <a:lnTo>
                    <a:pt x="1516" y="3440"/>
                  </a:lnTo>
                  <a:lnTo>
                    <a:pt x="1521" y="3440"/>
                  </a:lnTo>
                  <a:lnTo>
                    <a:pt x="1519" y="3448"/>
                  </a:lnTo>
                  <a:lnTo>
                    <a:pt x="1516" y="3461"/>
                  </a:lnTo>
                  <a:lnTo>
                    <a:pt x="1518" y="3465"/>
                  </a:lnTo>
                  <a:lnTo>
                    <a:pt x="1528" y="3461"/>
                  </a:lnTo>
                  <a:lnTo>
                    <a:pt x="1537" y="3452"/>
                  </a:lnTo>
                  <a:lnTo>
                    <a:pt x="1537" y="3458"/>
                  </a:lnTo>
                  <a:lnTo>
                    <a:pt x="1534" y="3474"/>
                  </a:lnTo>
                  <a:lnTo>
                    <a:pt x="1529" y="3477"/>
                  </a:lnTo>
                  <a:lnTo>
                    <a:pt x="1522" y="3487"/>
                  </a:lnTo>
                  <a:lnTo>
                    <a:pt x="1522" y="3493"/>
                  </a:lnTo>
                  <a:lnTo>
                    <a:pt x="1524" y="3493"/>
                  </a:lnTo>
                  <a:lnTo>
                    <a:pt x="1527" y="3501"/>
                  </a:lnTo>
                  <a:lnTo>
                    <a:pt x="1530" y="3502"/>
                  </a:lnTo>
                  <a:lnTo>
                    <a:pt x="1542" y="3501"/>
                  </a:lnTo>
                  <a:lnTo>
                    <a:pt x="1550" y="3510"/>
                  </a:lnTo>
                  <a:lnTo>
                    <a:pt x="1564" y="3507"/>
                  </a:lnTo>
                  <a:lnTo>
                    <a:pt x="1577" y="3492"/>
                  </a:lnTo>
                  <a:lnTo>
                    <a:pt x="1583" y="3482"/>
                  </a:lnTo>
                  <a:lnTo>
                    <a:pt x="1583" y="3487"/>
                  </a:lnTo>
                  <a:lnTo>
                    <a:pt x="1586" y="3497"/>
                  </a:lnTo>
                  <a:lnTo>
                    <a:pt x="1618" y="3499"/>
                  </a:lnTo>
                  <a:lnTo>
                    <a:pt x="1636" y="3498"/>
                  </a:lnTo>
                  <a:lnTo>
                    <a:pt x="1636" y="3497"/>
                  </a:lnTo>
                  <a:lnTo>
                    <a:pt x="1634" y="3490"/>
                  </a:lnTo>
                  <a:lnTo>
                    <a:pt x="1635" y="3485"/>
                  </a:lnTo>
                  <a:lnTo>
                    <a:pt x="1632" y="3476"/>
                  </a:lnTo>
                  <a:lnTo>
                    <a:pt x="1629" y="3467"/>
                  </a:lnTo>
                  <a:lnTo>
                    <a:pt x="1624" y="3466"/>
                  </a:lnTo>
                  <a:lnTo>
                    <a:pt x="1605" y="3454"/>
                  </a:lnTo>
                  <a:lnTo>
                    <a:pt x="1624" y="3458"/>
                  </a:lnTo>
                  <a:lnTo>
                    <a:pt x="1632" y="3458"/>
                  </a:lnTo>
                  <a:lnTo>
                    <a:pt x="1636" y="3453"/>
                  </a:lnTo>
                  <a:lnTo>
                    <a:pt x="1645" y="3454"/>
                  </a:lnTo>
                  <a:lnTo>
                    <a:pt x="1650" y="3449"/>
                  </a:lnTo>
                  <a:lnTo>
                    <a:pt x="1648" y="3432"/>
                  </a:lnTo>
                  <a:lnTo>
                    <a:pt x="1650" y="3420"/>
                  </a:lnTo>
                  <a:lnTo>
                    <a:pt x="1651" y="3412"/>
                  </a:lnTo>
                  <a:lnTo>
                    <a:pt x="1656" y="3405"/>
                  </a:lnTo>
                  <a:lnTo>
                    <a:pt x="1661" y="3379"/>
                  </a:lnTo>
                  <a:lnTo>
                    <a:pt x="1661" y="3373"/>
                  </a:lnTo>
                  <a:lnTo>
                    <a:pt x="1658" y="3372"/>
                  </a:lnTo>
                  <a:lnTo>
                    <a:pt x="1661" y="3367"/>
                  </a:lnTo>
                  <a:lnTo>
                    <a:pt x="1669" y="3358"/>
                  </a:lnTo>
                  <a:lnTo>
                    <a:pt x="1674" y="3348"/>
                  </a:lnTo>
                  <a:lnTo>
                    <a:pt x="1669" y="3348"/>
                  </a:lnTo>
                  <a:lnTo>
                    <a:pt x="1672" y="3340"/>
                  </a:lnTo>
                  <a:lnTo>
                    <a:pt x="1684" y="3318"/>
                  </a:lnTo>
                  <a:lnTo>
                    <a:pt x="1690" y="3311"/>
                  </a:lnTo>
                  <a:lnTo>
                    <a:pt x="1687" y="3305"/>
                  </a:lnTo>
                  <a:lnTo>
                    <a:pt x="1690" y="3296"/>
                  </a:lnTo>
                  <a:lnTo>
                    <a:pt x="1689" y="3287"/>
                  </a:lnTo>
                  <a:lnTo>
                    <a:pt x="1682" y="3282"/>
                  </a:lnTo>
                  <a:lnTo>
                    <a:pt x="1679" y="3239"/>
                  </a:lnTo>
                  <a:lnTo>
                    <a:pt x="1673" y="3235"/>
                  </a:lnTo>
                  <a:lnTo>
                    <a:pt x="1674" y="3230"/>
                  </a:lnTo>
                  <a:lnTo>
                    <a:pt x="1669" y="3216"/>
                  </a:lnTo>
                  <a:lnTo>
                    <a:pt x="1651" y="3210"/>
                  </a:lnTo>
                  <a:lnTo>
                    <a:pt x="1667" y="3205"/>
                  </a:lnTo>
                  <a:lnTo>
                    <a:pt x="1669" y="3201"/>
                  </a:lnTo>
                  <a:lnTo>
                    <a:pt x="1669" y="3195"/>
                  </a:lnTo>
                  <a:lnTo>
                    <a:pt x="1673" y="3191"/>
                  </a:lnTo>
                  <a:lnTo>
                    <a:pt x="1680" y="3190"/>
                  </a:lnTo>
                  <a:lnTo>
                    <a:pt x="1684" y="3192"/>
                  </a:lnTo>
                  <a:lnTo>
                    <a:pt x="1691" y="3192"/>
                  </a:lnTo>
                  <a:lnTo>
                    <a:pt x="1711" y="3189"/>
                  </a:lnTo>
                  <a:lnTo>
                    <a:pt x="1715" y="3180"/>
                  </a:lnTo>
                  <a:lnTo>
                    <a:pt x="1723" y="3179"/>
                  </a:lnTo>
                  <a:lnTo>
                    <a:pt x="1723" y="3169"/>
                  </a:lnTo>
                  <a:lnTo>
                    <a:pt x="1714" y="3170"/>
                  </a:lnTo>
                  <a:lnTo>
                    <a:pt x="1700" y="3160"/>
                  </a:lnTo>
                  <a:lnTo>
                    <a:pt x="1689" y="3152"/>
                  </a:lnTo>
                  <a:lnTo>
                    <a:pt x="1696" y="3152"/>
                  </a:lnTo>
                  <a:lnTo>
                    <a:pt x="1702" y="3158"/>
                  </a:lnTo>
                  <a:lnTo>
                    <a:pt x="1709" y="3160"/>
                  </a:lnTo>
                  <a:lnTo>
                    <a:pt x="1729" y="3162"/>
                  </a:lnTo>
                  <a:lnTo>
                    <a:pt x="1729" y="3156"/>
                  </a:lnTo>
                  <a:lnTo>
                    <a:pt x="1716" y="3154"/>
                  </a:lnTo>
                  <a:lnTo>
                    <a:pt x="1714" y="3146"/>
                  </a:lnTo>
                  <a:lnTo>
                    <a:pt x="1720" y="3144"/>
                  </a:lnTo>
                  <a:lnTo>
                    <a:pt x="1722" y="3140"/>
                  </a:lnTo>
                  <a:lnTo>
                    <a:pt x="1716" y="3133"/>
                  </a:lnTo>
                  <a:lnTo>
                    <a:pt x="1717" y="3130"/>
                  </a:lnTo>
                  <a:lnTo>
                    <a:pt x="1728" y="3138"/>
                  </a:lnTo>
                  <a:lnTo>
                    <a:pt x="1739" y="3141"/>
                  </a:lnTo>
                  <a:lnTo>
                    <a:pt x="1737" y="3131"/>
                  </a:lnTo>
                  <a:lnTo>
                    <a:pt x="1745" y="3130"/>
                  </a:lnTo>
                  <a:lnTo>
                    <a:pt x="1742" y="3124"/>
                  </a:lnTo>
                  <a:lnTo>
                    <a:pt x="1741" y="3117"/>
                  </a:lnTo>
                  <a:lnTo>
                    <a:pt x="1748" y="3121"/>
                  </a:lnTo>
                  <a:lnTo>
                    <a:pt x="1755" y="3119"/>
                  </a:lnTo>
                  <a:lnTo>
                    <a:pt x="1757" y="3115"/>
                  </a:lnTo>
                  <a:lnTo>
                    <a:pt x="1758" y="3103"/>
                  </a:lnTo>
                  <a:lnTo>
                    <a:pt x="1764" y="3101"/>
                  </a:lnTo>
                  <a:lnTo>
                    <a:pt x="1764" y="3090"/>
                  </a:lnTo>
                  <a:lnTo>
                    <a:pt x="1760" y="3085"/>
                  </a:lnTo>
                  <a:lnTo>
                    <a:pt x="1727" y="3077"/>
                  </a:lnTo>
                  <a:lnTo>
                    <a:pt x="1728" y="3071"/>
                  </a:lnTo>
                  <a:lnTo>
                    <a:pt x="1759" y="3079"/>
                  </a:lnTo>
                  <a:lnTo>
                    <a:pt x="1774" y="3077"/>
                  </a:lnTo>
                  <a:lnTo>
                    <a:pt x="1763" y="3045"/>
                  </a:lnTo>
                  <a:lnTo>
                    <a:pt x="1768" y="3041"/>
                  </a:lnTo>
                  <a:lnTo>
                    <a:pt x="1770" y="3036"/>
                  </a:lnTo>
                  <a:lnTo>
                    <a:pt x="1764" y="3027"/>
                  </a:lnTo>
                  <a:lnTo>
                    <a:pt x="1726" y="3022"/>
                  </a:lnTo>
                  <a:lnTo>
                    <a:pt x="1722" y="3008"/>
                  </a:lnTo>
                  <a:lnTo>
                    <a:pt x="1732" y="3011"/>
                  </a:lnTo>
                  <a:lnTo>
                    <a:pt x="1755" y="2997"/>
                  </a:lnTo>
                  <a:lnTo>
                    <a:pt x="1772" y="2997"/>
                  </a:lnTo>
                  <a:lnTo>
                    <a:pt x="1784" y="3002"/>
                  </a:lnTo>
                  <a:lnTo>
                    <a:pt x="1786" y="2998"/>
                  </a:lnTo>
                  <a:lnTo>
                    <a:pt x="1777" y="2995"/>
                  </a:lnTo>
                  <a:lnTo>
                    <a:pt x="1770" y="2987"/>
                  </a:lnTo>
                  <a:lnTo>
                    <a:pt x="1766" y="2966"/>
                  </a:lnTo>
                  <a:lnTo>
                    <a:pt x="1758" y="2958"/>
                  </a:lnTo>
                  <a:lnTo>
                    <a:pt x="1753" y="2943"/>
                  </a:lnTo>
                  <a:lnTo>
                    <a:pt x="1747" y="2938"/>
                  </a:lnTo>
                  <a:lnTo>
                    <a:pt x="1744" y="2928"/>
                  </a:lnTo>
                  <a:lnTo>
                    <a:pt x="1733" y="2931"/>
                  </a:lnTo>
                  <a:lnTo>
                    <a:pt x="1743" y="2906"/>
                  </a:lnTo>
                  <a:lnTo>
                    <a:pt x="1749" y="2912"/>
                  </a:lnTo>
                  <a:lnTo>
                    <a:pt x="1760" y="2911"/>
                  </a:lnTo>
                  <a:lnTo>
                    <a:pt x="1768" y="2916"/>
                  </a:lnTo>
                  <a:lnTo>
                    <a:pt x="1768" y="2905"/>
                  </a:lnTo>
                  <a:lnTo>
                    <a:pt x="1776" y="2907"/>
                  </a:lnTo>
                  <a:lnTo>
                    <a:pt x="1782" y="2915"/>
                  </a:lnTo>
                  <a:lnTo>
                    <a:pt x="1786" y="2909"/>
                  </a:lnTo>
                  <a:lnTo>
                    <a:pt x="1793" y="2917"/>
                  </a:lnTo>
                  <a:lnTo>
                    <a:pt x="1801" y="2909"/>
                  </a:lnTo>
                  <a:lnTo>
                    <a:pt x="1801" y="2901"/>
                  </a:lnTo>
                  <a:lnTo>
                    <a:pt x="1813" y="2885"/>
                  </a:lnTo>
                  <a:lnTo>
                    <a:pt x="1808" y="2877"/>
                  </a:lnTo>
                  <a:lnTo>
                    <a:pt x="1809" y="2871"/>
                  </a:lnTo>
                  <a:lnTo>
                    <a:pt x="1807" y="2863"/>
                  </a:lnTo>
                  <a:lnTo>
                    <a:pt x="1793" y="2855"/>
                  </a:lnTo>
                  <a:lnTo>
                    <a:pt x="1801" y="2852"/>
                  </a:lnTo>
                  <a:lnTo>
                    <a:pt x="1804" y="2848"/>
                  </a:lnTo>
                  <a:lnTo>
                    <a:pt x="1812" y="2852"/>
                  </a:lnTo>
                  <a:lnTo>
                    <a:pt x="1819" y="2832"/>
                  </a:lnTo>
                  <a:lnTo>
                    <a:pt x="1827" y="2836"/>
                  </a:lnTo>
                  <a:lnTo>
                    <a:pt x="1829" y="2845"/>
                  </a:lnTo>
                  <a:lnTo>
                    <a:pt x="1836" y="2846"/>
                  </a:lnTo>
                  <a:lnTo>
                    <a:pt x="1841" y="2830"/>
                  </a:lnTo>
                  <a:lnTo>
                    <a:pt x="1851" y="2839"/>
                  </a:lnTo>
                  <a:lnTo>
                    <a:pt x="1854" y="2845"/>
                  </a:lnTo>
                  <a:lnTo>
                    <a:pt x="1862" y="2842"/>
                  </a:lnTo>
                  <a:lnTo>
                    <a:pt x="1878" y="2841"/>
                  </a:lnTo>
                  <a:lnTo>
                    <a:pt x="1871" y="2831"/>
                  </a:lnTo>
                  <a:lnTo>
                    <a:pt x="1886" y="2831"/>
                  </a:lnTo>
                  <a:lnTo>
                    <a:pt x="1898" y="2837"/>
                  </a:lnTo>
                  <a:lnTo>
                    <a:pt x="1899" y="2828"/>
                  </a:lnTo>
                  <a:lnTo>
                    <a:pt x="1904" y="2828"/>
                  </a:lnTo>
                  <a:lnTo>
                    <a:pt x="1901" y="2818"/>
                  </a:lnTo>
                  <a:lnTo>
                    <a:pt x="1904" y="2815"/>
                  </a:lnTo>
                  <a:lnTo>
                    <a:pt x="1900" y="2812"/>
                  </a:lnTo>
                  <a:lnTo>
                    <a:pt x="1895" y="2812"/>
                  </a:lnTo>
                  <a:lnTo>
                    <a:pt x="1888" y="2803"/>
                  </a:lnTo>
                  <a:lnTo>
                    <a:pt x="1890" y="2788"/>
                  </a:lnTo>
                  <a:lnTo>
                    <a:pt x="1900" y="2801"/>
                  </a:lnTo>
                  <a:lnTo>
                    <a:pt x="1901" y="2792"/>
                  </a:lnTo>
                  <a:lnTo>
                    <a:pt x="1906" y="2796"/>
                  </a:lnTo>
                  <a:lnTo>
                    <a:pt x="1911" y="2796"/>
                  </a:lnTo>
                  <a:lnTo>
                    <a:pt x="1914" y="2782"/>
                  </a:lnTo>
                  <a:lnTo>
                    <a:pt x="1904" y="2774"/>
                  </a:lnTo>
                  <a:lnTo>
                    <a:pt x="1916" y="2767"/>
                  </a:lnTo>
                  <a:lnTo>
                    <a:pt x="1914" y="2761"/>
                  </a:lnTo>
                  <a:lnTo>
                    <a:pt x="1919" y="2755"/>
                  </a:lnTo>
                  <a:lnTo>
                    <a:pt x="1925" y="2756"/>
                  </a:lnTo>
                  <a:lnTo>
                    <a:pt x="1911" y="2745"/>
                  </a:lnTo>
                  <a:lnTo>
                    <a:pt x="1910" y="2739"/>
                  </a:lnTo>
                  <a:lnTo>
                    <a:pt x="1919" y="2744"/>
                  </a:lnTo>
                  <a:lnTo>
                    <a:pt x="1922" y="2731"/>
                  </a:lnTo>
                  <a:lnTo>
                    <a:pt x="1933" y="2746"/>
                  </a:lnTo>
                  <a:lnTo>
                    <a:pt x="1941" y="2744"/>
                  </a:lnTo>
                  <a:lnTo>
                    <a:pt x="1947" y="2746"/>
                  </a:lnTo>
                  <a:lnTo>
                    <a:pt x="1960" y="2745"/>
                  </a:lnTo>
                  <a:lnTo>
                    <a:pt x="1936" y="2765"/>
                  </a:lnTo>
                  <a:lnTo>
                    <a:pt x="1935" y="2777"/>
                  </a:lnTo>
                  <a:lnTo>
                    <a:pt x="1925" y="2787"/>
                  </a:lnTo>
                  <a:lnTo>
                    <a:pt x="1927" y="2793"/>
                  </a:lnTo>
                  <a:lnTo>
                    <a:pt x="1927" y="2797"/>
                  </a:lnTo>
                  <a:lnTo>
                    <a:pt x="1930" y="2799"/>
                  </a:lnTo>
                  <a:lnTo>
                    <a:pt x="1936" y="2799"/>
                  </a:lnTo>
                  <a:lnTo>
                    <a:pt x="1943" y="2803"/>
                  </a:lnTo>
                  <a:lnTo>
                    <a:pt x="1954" y="2812"/>
                  </a:lnTo>
                  <a:lnTo>
                    <a:pt x="1956" y="2804"/>
                  </a:lnTo>
                  <a:lnTo>
                    <a:pt x="1947" y="2796"/>
                  </a:lnTo>
                  <a:lnTo>
                    <a:pt x="1957" y="2801"/>
                  </a:lnTo>
                  <a:lnTo>
                    <a:pt x="1956" y="2788"/>
                  </a:lnTo>
                  <a:lnTo>
                    <a:pt x="1957" y="2775"/>
                  </a:lnTo>
                  <a:lnTo>
                    <a:pt x="1967" y="2785"/>
                  </a:lnTo>
                  <a:lnTo>
                    <a:pt x="1973" y="2802"/>
                  </a:lnTo>
                  <a:lnTo>
                    <a:pt x="1983" y="2801"/>
                  </a:lnTo>
                  <a:lnTo>
                    <a:pt x="1987" y="2810"/>
                  </a:lnTo>
                  <a:lnTo>
                    <a:pt x="1992" y="2794"/>
                  </a:lnTo>
                  <a:lnTo>
                    <a:pt x="1997" y="2782"/>
                  </a:lnTo>
                  <a:lnTo>
                    <a:pt x="2005" y="2781"/>
                  </a:lnTo>
                  <a:lnTo>
                    <a:pt x="2002" y="2797"/>
                  </a:lnTo>
                  <a:lnTo>
                    <a:pt x="2007" y="2793"/>
                  </a:lnTo>
                  <a:lnTo>
                    <a:pt x="2012" y="2797"/>
                  </a:lnTo>
                  <a:lnTo>
                    <a:pt x="2014" y="2793"/>
                  </a:lnTo>
                  <a:lnTo>
                    <a:pt x="2022" y="2801"/>
                  </a:lnTo>
                  <a:lnTo>
                    <a:pt x="2023" y="2788"/>
                  </a:lnTo>
                  <a:lnTo>
                    <a:pt x="2028" y="2774"/>
                  </a:lnTo>
                  <a:lnTo>
                    <a:pt x="2038" y="2778"/>
                  </a:lnTo>
                  <a:lnTo>
                    <a:pt x="2038" y="2767"/>
                  </a:lnTo>
                  <a:lnTo>
                    <a:pt x="2042" y="2758"/>
                  </a:lnTo>
                  <a:lnTo>
                    <a:pt x="2034" y="2746"/>
                  </a:lnTo>
                  <a:lnTo>
                    <a:pt x="2030" y="2740"/>
                  </a:lnTo>
                  <a:lnTo>
                    <a:pt x="2033" y="2731"/>
                  </a:lnTo>
                  <a:lnTo>
                    <a:pt x="2044" y="2744"/>
                  </a:lnTo>
                  <a:lnTo>
                    <a:pt x="2065" y="2753"/>
                  </a:lnTo>
                  <a:lnTo>
                    <a:pt x="2072" y="2753"/>
                  </a:lnTo>
                  <a:lnTo>
                    <a:pt x="2065" y="2740"/>
                  </a:lnTo>
                  <a:lnTo>
                    <a:pt x="2073" y="2728"/>
                  </a:lnTo>
                  <a:lnTo>
                    <a:pt x="2076" y="2740"/>
                  </a:lnTo>
                  <a:lnTo>
                    <a:pt x="2081" y="2744"/>
                  </a:lnTo>
                  <a:lnTo>
                    <a:pt x="2086" y="2739"/>
                  </a:lnTo>
                  <a:lnTo>
                    <a:pt x="2093" y="2739"/>
                  </a:lnTo>
                  <a:lnTo>
                    <a:pt x="2097" y="2734"/>
                  </a:lnTo>
                  <a:lnTo>
                    <a:pt x="2098" y="2724"/>
                  </a:lnTo>
                  <a:lnTo>
                    <a:pt x="2102" y="2717"/>
                  </a:lnTo>
                  <a:lnTo>
                    <a:pt x="2105" y="2700"/>
                  </a:lnTo>
                  <a:lnTo>
                    <a:pt x="2110" y="2685"/>
                  </a:lnTo>
                  <a:lnTo>
                    <a:pt x="2114" y="2700"/>
                  </a:lnTo>
                  <a:lnTo>
                    <a:pt x="2118" y="2690"/>
                  </a:lnTo>
                  <a:lnTo>
                    <a:pt x="2120" y="2702"/>
                  </a:lnTo>
                  <a:lnTo>
                    <a:pt x="2123" y="2691"/>
                  </a:lnTo>
                  <a:lnTo>
                    <a:pt x="2126" y="2683"/>
                  </a:lnTo>
                  <a:lnTo>
                    <a:pt x="2126" y="2679"/>
                  </a:lnTo>
                  <a:lnTo>
                    <a:pt x="2131" y="2680"/>
                  </a:lnTo>
                  <a:lnTo>
                    <a:pt x="2130" y="2672"/>
                  </a:lnTo>
                  <a:lnTo>
                    <a:pt x="2137" y="2678"/>
                  </a:lnTo>
                  <a:lnTo>
                    <a:pt x="2132" y="2664"/>
                  </a:lnTo>
                  <a:lnTo>
                    <a:pt x="2134" y="2660"/>
                  </a:lnTo>
                  <a:lnTo>
                    <a:pt x="2140" y="2656"/>
                  </a:lnTo>
                  <a:lnTo>
                    <a:pt x="2142" y="2649"/>
                  </a:lnTo>
                  <a:lnTo>
                    <a:pt x="2156" y="2642"/>
                  </a:lnTo>
                  <a:lnTo>
                    <a:pt x="2158" y="2619"/>
                  </a:lnTo>
                  <a:lnTo>
                    <a:pt x="2161" y="2615"/>
                  </a:lnTo>
                  <a:lnTo>
                    <a:pt x="2159" y="2604"/>
                  </a:lnTo>
                  <a:lnTo>
                    <a:pt x="2156" y="2599"/>
                  </a:lnTo>
                  <a:lnTo>
                    <a:pt x="2164" y="2599"/>
                  </a:lnTo>
                  <a:lnTo>
                    <a:pt x="2163" y="2590"/>
                  </a:lnTo>
                  <a:lnTo>
                    <a:pt x="2168" y="2573"/>
                  </a:lnTo>
                  <a:lnTo>
                    <a:pt x="2175" y="2571"/>
                  </a:lnTo>
                  <a:lnTo>
                    <a:pt x="2177" y="2560"/>
                  </a:lnTo>
                  <a:lnTo>
                    <a:pt x="2174" y="2551"/>
                  </a:lnTo>
                  <a:lnTo>
                    <a:pt x="2184" y="2555"/>
                  </a:lnTo>
                  <a:lnTo>
                    <a:pt x="2196" y="2547"/>
                  </a:lnTo>
                  <a:lnTo>
                    <a:pt x="2209" y="2534"/>
                  </a:lnTo>
                  <a:lnTo>
                    <a:pt x="2207" y="2528"/>
                  </a:lnTo>
                  <a:lnTo>
                    <a:pt x="2215" y="2519"/>
                  </a:lnTo>
                  <a:lnTo>
                    <a:pt x="2220" y="2528"/>
                  </a:lnTo>
                  <a:lnTo>
                    <a:pt x="2226" y="2522"/>
                  </a:lnTo>
                  <a:lnTo>
                    <a:pt x="2229" y="2525"/>
                  </a:lnTo>
                  <a:lnTo>
                    <a:pt x="2231" y="2518"/>
                  </a:lnTo>
                  <a:lnTo>
                    <a:pt x="2234" y="2514"/>
                  </a:lnTo>
                  <a:lnTo>
                    <a:pt x="2233" y="2501"/>
                  </a:lnTo>
                  <a:lnTo>
                    <a:pt x="2242" y="2498"/>
                  </a:lnTo>
                  <a:lnTo>
                    <a:pt x="2237" y="2489"/>
                  </a:lnTo>
                  <a:lnTo>
                    <a:pt x="2217" y="2477"/>
                  </a:lnTo>
                  <a:lnTo>
                    <a:pt x="2225" y="2475"/>
                  </a:lnTo>
                  <a:lnTo>
                    <a:pt x="2216" y="2454"/>
                  </a:lnTo>
                  <a:lnTo>
                    <a:pt x="2202" y="2436"/>
                  </a:lnTo>
                  <a:lnTo>
                    <a:pt x="2201" y="2428"/>
                  </a:lnTo>
                  <a:lnTo>
                    <a:pt x="2214" y="2427"/>
                  </a:lnTo>
                  <a:lnTo>
                    <a:pt x="2211" y="2415"/>
                  </a:lnTo>
                  <a:lnTo>
                    <a:pt x="2221" y="2425"/>
                  </a:lnTo>
                  <a:lnTo>
                    <a:pt x="2221" y="2438"/>
                  </a:lnTo>
                  <a:lnTo>
                    <a:pt x="2223" y="2448"/>
                  </a:lnTo>
                  <a:lnTo>
                    <a:pt x="2229" y="2436"/>
                  </a:lnTo>
                  <a:lnTo>
                    <a:pt x="2232" y="2439"/>
                  </a:lnTo>
                  <a:lnTo>
                    <a:pt x="2233" y="2449"/>
                  </a:lnTo>
                  <a:lnTo>
                    <a:pt x="2239" y="2458"/>
                  </a:lnTo>
                  <a:lnTo>
                    <a:pt x="2241" y="2465"/>
                  </a:lnTo>
                  <a:lnTo>
                    <a:pt x="2260" y="2471"/>
                  </a:lnTo>
                  <a:lnTo>
                    <a:pt x="2256" y="2480"/>
                  </a:lnTo>
                  <a:lnTo>
                    <a:pt x="2248" y="2476"/>
                  </a:lnTo>
                  <a:lnTo>
                    <a:pt x="2250" y="2489"/>
                  </a:lnTo>
                  <a:lnTo>
                    <a:pt x="2261" y="2495"/>
                  </a:lnTo>
                  <a:lnTo>
                    <a:pt x="2260" y="2501"/>
                  </a:lnTo>
                  <a:lnTo>
                    <a:pt x="2270" y="2493"/>
                  </a:lnTo>
                  <a:lnTo>
                    <a:pt x="2280" y="2493"/>
                  </a:lnTo>
                  <a:lnTo>
                    <a:pt x="2297" y="2501"/>
                  </a:lnTo>
                  <a:lnTo>
                    <a:pt x="2288" y="2490"/>
                  </a:lnTo>
                  <a:lnTo>
                    <a:pt x="2291" y="2486"/>
                  </a:lnTo>
                  <a:lnTo>
                    <a:pt x="2290" y="2481"/>
                  </a:lnTo>
                  <a:lnTo>
                    <a:pt x="2295" y="2481"/>
                  </a:lnTo>
                  <a:lnTo>
                    <a:pt x="2296" y="2485"/>
                  </a:lnTo>
                  <a:lnTo>
                    <a:pt x="2314" y="2497"/>
                  </a:lnTo>
                  <a:lnTo>
                    <a:pt x="2324" y="2497"/>
                  </a:lnTo>
                  <a:lnTo>
                    <a:pt x="2322" y="2486"/>
                  </a:lnTo>
                  <a:lnTo>
                    <a:pt x="2311" y="2481"/>
                  </a:lnTo>
                  <a:lnTo>
                    <a:pt x="2311" y="2468"/>
                  </a:lnTo>
                  <a:lnTo>
                    <a:pt x="2317" y="2473"/>
                  </a:lnTo>
                  <a:lnTo>
                    <a:pt x="2330" y="2474"/>
                  </a:lnTo>
                  <a:lnTo>
                    <a:pt x="2330" y="2484"/>
                  </a:lnTo>
                  <a:lnTo>
                    <a:pt x="2339" y="2493"/>
                  </a:lnTo>
                  <a:lnTo>
                    <a:pt x="2346" y="2484"/>
                  </a:lnTo>
                  <a:lnTo>
                    <a:pt x="2338" y="2475"/>
                  </a:lnTo>
                  <a:lnTo>
                    <a:pt x="2341" y="2469"/>
                  </a:lnTo>
                  <a:lnTo>
                    <a:pt x="2351" y="2474"/>
                  </a:lnTo>
                  <a:lnTo>
                    <a:pt x="2349" y="2460"/>
                  </a:lnTo>
                  <a:lnTo>
                    <a:pt x="2350" y="2452"/>
                  </a:lnTo>
                  <a:lnTo>
                    <a:pt x="2357" y="2448"/>
                  </a:lnTo>
                  <a:lnTo>
                    <a:pt x="2360" y="2448"/>
                  </a:lnTo>
                  <a:lnTo>
                    <a:pt x="2366" y="2460"/>
                  </a:lnTo>
                  <a:lnTo>
                    <a:pt x="2378" y="2473"/>
                  </a:lnTo>
                  <a:lnTo>
                    <a:pt x="2381" y="2471"/>
                  </a:lnTo>
                  <a:lnTo>
                    <a:pt x="2384" y="2466"/>
                  </a:lnTo>
                  <a:lnTo>
                    <a:pt x="2387" y="2459"/>
                  </a:lnTo>
                  <a:lnTo>
                    <a:pt x="2395" y="2465"/>
                  </a:lnTo>
                  <a:lnTo>
                    <a:pt x="2398" y="2454"/>
                  </a:lnTo>
                  <a:lnTo>
                    <a:pt x="2424" y="2450"/>
                  </a:lnTo>
                  <a:lnTo>
                    <a:pt x="2435" y="2441"/>
                  </a:lnTo>
                  <a:lnTo>
                    <a:pt x="2443" y="2446"/>
                  </a:lnTo>
                  <a:lnTo>
                    <a:pt x="2443" y="2436"/>
                  </a:lnTo>
                  <a:lnTo>
                    <a:pt x="2452" y="2441"/>
                  </a:lnTo>
                  <a:lnTo>
                    <a:pt x="2458" y="2438"/>
                  </a:lnTo>
                  <a:lnTo>
                    <a:pt x="2460" y="2426"/>
                  </a:lnTo>
                  <a:lnTo>
                    <a:pt x="2468" y="2430"/>
                  </a:lnTo>
                  <a:lnTo>
                    <a:pt x="2473" y="2439"/>
                  </a:lnTo>
                  <a:lnTo>
                    <a:pt x="2478" y="2438"/>
                  </a:lnTo>
                  <a:lnTo>
                    <a:pt x="2476" y="2428"/>
                  </a:lnTo>
                  <a:lnTo>
                    <a:pt x="2483" y="2426"/>
                  </a:lnTo>
                  <a:lnTo>
                    <a:pt x="2489" y="2425"/>
                  </a:lnTo>
                  <a:lnTo>
                    <a:pt x="2494" y="2431"/>
                  </a:lnTo>
                  <a:lnTo>
                    <a:pt x="2499" y="2428"/>
                  </a:lnTo>
                  <a:lnTo>
                    <a:pt x="2499" y="2422"/>
                  </a:lnTo>
                  <a:lnTo>
                    <a:pt x="2501" y="2420"/>
                  </a:lnTo>
                  <a:lnTo>
                    <a:pt x="2510" y="2419"/>
                  </a:lnTo>
                  <a:lnTo>
                    <a:pt x="2514" y="2423"/>
                  </a:lnTo>
                  <a:lnTo>
                    <a:pt x="2517" y="2411"/>
                  </a:lnTo>
                  <a:lnTo>
                    <a:pt x="2521" y="2407"/>
                  </a:lnTo>
                  <a:lnTo>
                    <a:pt x="2533" y="2404"/>
                  </a:lnTo>
                  <a:lnTo>
                    <a:pt x="2537" y="2411"/>
                  </a:lnTo>
                  <a:lnTo>
                    <a:pt x="2539" y="2406"/>
                  </a:lnTo>
                  <a:lnTo>
                    <a:pt x="2554" y="2406"/>
                  </a:lnTo>
                  <a:lnTo>
                    <a:pt x="2551" y="2400"/>
                  </a:lnTo>
                  <a:lnTo>
                    <a:pt x="2555" y="2393"/>
                  </a:lnTo>
                  <a:lnTo>
                    <a:pt x="2573" y="2389"/>
                  </a:lnTo>
                  <a:lnTo>
                    <a:pt x="2577" y="2383"/>
                  </a:lnTo>
                  <a:lnTo>
                    <a:pt x="2577" y="2378"/>
                  </a:lnTo>
                  <a:lnTo>
                    <a:pt x="2586" y="2378"/>
                  </a:lnTo>
                  <a:lnTo>
                    <a:pt x="2591" y="2363"/>
                  </a:lnTo>
                  <a:lnTo>
                    <a:pt x="2600" y="2363"/>
                  </a:lnTo>
                  <a:lnTo>
                    <a:pt x="2593" y="2360"/>
                  </a:lnTo>
                  <a:lnTo>
                    <a:pt x="2591" y="2353"/>
                  </a:lnTo>
                  <a:lnTo>
                    <a:pt x="2591" y="2345"/>
                  </a:lnTo>
                  <a:lnTo>
                    <a:pt x="2608" y="2353"/>
                  </a:lnTo>
                  <a:lnTo>
                    <a:pt x="2607" y="2342"/>
                  </a:lnTo>
                  <a:lnTo>
                    <a:pt x="2613" y="2340"/>
                  </a:lnTo>
                  <a:lnTo>
                    <a:pt x="2623" y="2345"/>
                  </a:lnTo>
                  <a:lnTo>
                    <a:pt x="2620" y="2337"/>
                  </a:lnTo>
                  <a:lnTo>
                    <a:pt x="2621" y="2334"/>
                  </a:lnTo>
                  <a:lnTo>
                    <a:pt x="2621" y="2329"/>
                  </a:lnTo>
                  <a:lnTo>
                    <a:pt x="2608" y="2324"/>
                  </a:lnTo>
                  <a:lnTo>
                    <a:pt x="2619" y="2314"/>
                  </a:lnTo>
                  <a:lnTo>
                    <a:pt x="2627" y="2318"/>
                  </a:lnTo>
                  <a:lnTo>
                    <a:pt x="2635" y="2324"/>
                  </a:lnTo>
                  <a:lnTo>
                    <a:pt x="2639" y="2320"/>
                  </a:lnTo>
                  <a:lnTo>
                    <a:pt x="2634" y="2319"/>
                  </a:lnTo>
                  <a:lnTo>
                    <a:pt x="2635" y="2314"/>
                  </a:lnTo>
                  <a:lnTo>
                    <a:pt x="2646" y="2310"/>
                  </a:lnTo>
                  <a:lnTo>
                    <a:pt x="2646" y="2301"/>
                  </a:lnTo>
                  <a:lnTo>
                    <a:pt x="2661" y="2296"/>
                  </a:lnTo>
                  <a:lnTo>
                    <a:pt x="2658" y="2288"/>
                  </a:lnTo>
                  <a:lnTo>
                    <a:pt x="2673" y="2294"/>
                  </a:lnTo>
                  <a:lnTo>
                    <a:pt x="2666" y="2283"/>
                  </a:lnTo>
                  <a:lnTo>
                    <a:pt x="2674" y="2286"/>
                  </a:lnTo>
                  <a:lnTo>
                    <a:pt x="2669" y="2276"/>
                  </a:lnTo>
                  <a:lnTo>
                    <a:pt x="2661" y="2272"/>
                  </a:lnTo>
                  <a:lnTo>
                    <a:pt x="2666" y="2267"/>
                  </a:lnTo>
                  <a:lnTo>
                    <a:pt x="2675" y="2269"/>
                  </a:lnTo>
                  <a:lnTo>
                    <a:pt x="2679" y="2264"/>
                  </a:lnTo>
                  <a:lnTo>
                    <a:pt x="2684" y="2271"/>
                  </a:lnTo>
                  <a:lnTo>
                    <a:pt x="2693" y="2276"/>
                  </a:lnTo>
                  <a:lnTo>
                    <a:pt x="2698" y="2265"/>
                  </a:lnTo>
                  <a:lnTo>
                    <a:pt x="2693" y="2260"/>
                  </a:lnTo>
                  <a:lnTo>
                    <a:pt x="2698" y="2259"/>
                  </a:lnTo>
                  <a:lnTo>
                    <a:pt x="2686" y="2245"/>
                  </a:lnTo>
                  <a:lnTo>
                    <a:pt x="2699" y="2239"/>
                  </a:lnTo>
                  <a:lnTo>
                    <a:pt x="2717" y="2236"/>
                  </a:lnTo>
                  <a:lnTo>
                    <a:pt x="2720" y="2226"/>
                  </a:lnTo>
                  <a:lnTo>
                    <a:pt x="2736" y="2236"/>
                  </a:lnTo>
                  <a:lnTo>
                    <a:pt x="2732" y="2229"/>
                  </a:lnTo>
                  <a:lnTo>
                    <a:pt x="2726" y="2228"/>
                  </a:lnTo>
                  <a:lnTo>
                    <a:pt x="2722" y="2223"/>
                  </a:lnTo>
                  <a:lnTo>
                    <a:pt x="2728" y="2222"/>
                  </a:lnTo>
                  <a:lnTo>
                    <a:pt x="2729" y="2212"/>
                  </a:lnTo>
                  <a:lnTo>
                    <a:pt x="2738" y="2216"/>
                  </a:lnTo>
                  <a:lnTo>
                    <a:pt x="2744" y="2208"/>
                  </a:lnTo>
                  <a:lnTo>
                    <a:pt x="2750" y="2212"/>
                  </a:lnTo>
                  <a:lnTo>
                    <a:pt x="2758" y="2212"/>
                  </a:lnTo>
                  <a:lnTo>
                    <a:pt x="2763" y="2205"/>
                  </a:lnTo>
                  <a:lnTo>
                    <a:pt x="2769" y="2212"/>
                  </a:lnTo>
                  <a:lnTo>
                    <a:pt x="2781" y="2193"/>
                  </a:lnTo>
                  <a:lnTo>
                    <a:pt x="2786" y="2178"/>
                  </a:lnTo>
                  <a:lnTo>
                    <a:pt x="2783" y="2178"/>
                  </a:lnTo>
                  <a:lnTo>
                    <a:pt x="2760" y="2190"/>
                  </a:lnTo>
                  <a:lnTo>
                    <a:pt x="2744" y="2191"/>
                  </a:lnTo>
                  <a:lnTo>
                    <a:pt x="2693" y="2184"/>
                  </a:lnTo>
                  <a:lnTo>
                    <a:pt x="2634" y="2154"/>
                  </a:lnTo>
                  <a:lnTo>
                    <a:pt x="2627" y="2157"/>
                  </a:lnTo>
                  <a:lnTo>
                    <a:pt x="2627" y="2145"/>
                  </a:lnTo>
                  <a:lnTo>
                    <a:pt x="2618" y="2148"/>
                  </a:lnTo>
                  <a:lnTo>
                    <a:pt x="2607" y="2154"/>
                  </a:lnTo>
                  <a:lnTo>
                    <a:pt x="2602" y="2142"/>
                  </a:lnTo>
                  <a:lnTo>
                    <a:pt x="2564" y="2161"/>
                  </a:lnTo>
                  <a:lnTo>
                    <a:pt x="2549" y="2173"/>
                  </a:lnTo>
                  <a:lnTo>
                    <a:pt x="2529" y="2164"/>
                  </a:lnTo>
                  <a:lnTo>
                    <a:pt x="2507" y="2174"/>
                  </a:lnTo>
                  <a:lnTo>
                    <a:pt x="2497" y="2201"/>
                  </a:lnTo>
                  <a:lnTo>
                    <a:pt x="2463" y="2200"/>
                  </a:lnTo>
                  <a:lnTo>
                    <a:pt x="2427" y="2195"/>
                  </a:lnTo>
                  <a:lnTo>
                    <a:pt x="2446" y="2179"/>
                  </a:lnTo>
                  <a:lnTo>
                    <a:pt x="2463" y="2186"/>
                  </a:lnTo>
                  <a:lnTo>
                    <a:pt x="2479" y="2180"/>
                  </a:lnTo>
                  <a:lnTo>
                    <a:pt x="2508" y="2156"/>
                  </a:lnTo>
                  <a:lnTo>
                    <a:pt x="2528" y="2154"/>
                  </a:lnTo>
                  <a:lnTo>
                    <a:pt x="2541" y="2147"/>
                  </a:lnTo>
                  <a:lnTo>
                    <a:pt x="2534" y="2135"/>
                  </a:lnTo>
                  <a:lnTo>
                    <a:pt x="2518" y="2132"/>
                  </a:lnTo>
                  <a:lnTo>
                    <a:pt x="2465" y="2141"/>
                  </a:lnTo>
                  <a:lnTo>
                    <a:pt x="2437" y="2138"/>
                  </a:lnTo>
                  <a:lnTo>
                    <a:pt x="2425" y="2127"/>
                  </a:lnTo>
                  <a:lnTo>
                    <a:pt x="2409" y="2126"/>
                  </a:lnTo>
                  <a:lnTo>
                    <a:pt x="2441" y="2111"/>
                  </a:lnTo>
                  <a:lnTo>
                    <a:pt x="2449" y="2099"/>
                  </a:lnTo>
                  <a:lnTo>
                    <a:pt x="2458" y="2073"/>
                  </a:lnTo>
                  <a:lnTo>
                    <a:pt x="2444" y="2055"/>
                  </a:lnTo>
                  <a:lnTo>
                    <a:pt x="2448" y="2046"/>
                  </a:lnTo>
                  <a:lnTo>
                    <a:pt x="2465" y="2044"/>
                  </a:lnTo>
                  <a:lnTo>
                    <a:pt x="2476" y="2050"/>
                  </a:lnTo>
                  <a:lnTo>
                    <a:pt x="2478" y="2029"/>
                  </a:lnTo>
                  <a:lnTo>
                    <a:pt x="2494" y="2045"/>
                  </a:lnTo>
                  <a:lnTo>
                    <a:pt x="2535" y="2045"/>
                  </a:lnTo>
                  <a:lnTo>
                    <a:pt x="2571" y="2024"/>
                  </a:lnTo>
                  <a:lnTo>
                    <a:pt x="2584" y="2008"/>
                  </a:lnTo>
                  <a:lnTo>
                    <a:pt x="2578" y="1991"/>
                  </a:lnTo>
                  <a:lnTo>
                    <a:pt x="2594" y="2001"/>
                  </a:lnTo>
                  <a:lnTo>
                    <a:pt x="2592" y="1975"/>
                  </a:lnTo>
                  <a:lnTo>
                    <a:pt x="2577" y="1959"/>
                  </a:lnTo>
                  <a:lnTo>
                    <a:pt x="2553" y="1955"/>
                  </a:lnTo>
                  <a:lnTo>
                    <a:pt x="2535" y="1960"/>
                  </a:lnTo>
                  <a:lnTo>
                    <a:pt x="2516" y="1949"/>
                  </a:lnTo>
                  <a:lnTo>
                    <a:pt x="2499" y="1958"/>
                  </a:lnTo>
                  <a:lnTo>
                    <a:pt x="2501" y="1944"/>
                  </a:lnTo>
                  <a:lnTo>
                    <a:pt x="2490" y="1938"/>
                  </a:lnTo>
                  <a:lnTo>
                    <a:pt x="2471" y="1931"/>
                  </a:lnTo>
                  <a:lnTo>
                    <a:pt x="2487" y="1927"/>
                  </a:lnTo>
                  <a:lnTo>
                    <a:pt x="2483" y="1912"/>
                  </a:lnTo>
                  <a:lnTo>
                    <a:pt x="2480" y="1898"/>
                  </a:lnTo>
                  <a:lnTo>
                    <a:pt x="2505" y="1915"/>
                  </a:lnTo>
                  <a:lnTo>
                    <a:pt x="2521" y="1938"/>
                  </a:lnTo>
                  <a:lnTo>
                    <a:pt x="2538" y="1942"/>
                  </a:lnTo>
                  <a:lnTo>
                    <a:pt x="2550" y="1932"/>
                  </a:lnTo>
                  <a:lnTo>
                    <a:pt x="2565" y="1941"/>
                  </a:lnTo>
                  <a:lnTo>
                    <a:pt x="2583" y="1944"/>
                  </a:lnTo>
                  <a:lnTo>
                    <a:pt x="2604" y="1964"/>
                  </a:lnTo>
                  <a:lnTo>
                    <a:pt x="2620" y="1984"/>
                  </a:lnTo>
                  <a:lnTo>
                    <a:pt x="2640" y="1982"/>
                  </a:lnTo>
                  <a:lnTo>
                    <a:pt x="2646" y="1990"/>
                  </a:lnTo>
                  <a:lnTo>
                    <a:pt x="2651" y="2008"/>
                  </a:lnTo>
                  <a:lnTo>
                    <a:pt x="2667" y="2027"/>
                  </a:lnTo>
                  <a:lnTo>
                    <a:pt x="2669" y="2049"/>
                  </a:lnTo>
                  <a:lnTo>
                    <a:pt x="2675" y="2082"/>
                  </a:lnTo>
                  <a:lnTo>
                    <a:pt x="2689" y="2107"/>
                  </a:lnTo>
                  <a:lnTo>
                    <a:pt x="2710" y="2124"/>
                  </a:lnTo>
                  <a:lnTo>
                    <a:pt x="2734" y="2134"/>
                  </a:lnTo>
                  <a:lnTo>
                    <a:pt x="2755" y="2130"/>
                  </a:lnTo>
                  <a:lnTo>
                    <a:pt x="2756" y="2087"/>
                  </a:lnTo>
                  <a:lnTo>
                    <a:pt x="2759" y="2068"/>
                  </a:lnTo>
                  <a:lnTo>
                    <a:pt x="2765" y="2070"/>
                  </a:lnTo>
                  <a:lnTo>
                    <a:pt x="2768" y="2099"/>
                  </a:lnTo>
                  <a:lnTo>
                    <a:pt x="2772" y="2123"/>
                  </a:lnTo>
                  <a:lnTo>
                    <a:pt x="2788" y="2119"/>
                  </a:lnTo>
                  <a:lnTo>
                    <a:pt x="2796" y="2132"/>
                  </a:lnTo>
                  <a:lnTo>
                    <a:pt x="2811" y="2126"/>
                  </a:lnTo>
                  <a:lnTo>
                    <a:pt x="2812" y="2108"/>
                  </a:lnTo>
                  <a:lnTo>
                    <a:pt x="2803" y="2104"/>
                  </a:lnTo>
                  <a:lnTo>
                    <a:pt x="2804" y="2087"/>
                  </a:lnTo>
                  <a:lnTo>
                    <a:pt x="2797" y="2070"/>
                  </a:lnTo>
                  <a:lnTo>
                    <a:pt x="2802" y="2064"/>
                  </a:lnTo>
                  <a:lnTo>
                    <a:pt x="2799" y="2045"/>
                  </a:lnTo>
                  <a:lnTo>
                    <a:pt x="2802" y="2038"/>
                  </a:lnTo>
                  <a:lnTo>
                    <a:pt x="2797" y="2027"/>
                  </a:lnTo>
                  <a:lnTo>
                    <a:pt x="2785" y="2029"/>
                  </a:lnTo>
                  <a:lnTo>
                    <a:pt x="2798" y="2021"/>
                  </a:lnTo>
                  <a:lnTo>
                    <a:pt x="2799" y="2003"/>
                  </a:lnTo>
                  <a:lnTo>
                    <a:pt x="2797" y="1991"/>
                  </a:lnTo>
                  <a:lnTo>
                    <a:pt x="2801" y="1984"/>
                  </a:lnTo>
                  <a:lnTo>
                    <a:pt x="2802" y="1955"/>
                  </a:lnTo>
                  <a:lnTo>
                    <a:pt x="2795" y="1952"/>
                  </a:lnTo>
                  <a:lnTo>
                    <a:pt x="2781" y="1965"/>
                  </a:lnTo>
                  <a:lnTo>
                    <a:pt x="2774" y="1963"/>
                  </a:lnTo>
                  <a:lnTo>
                    <a:pt x="2766" y="1989"/>
                  </a:lnTo>
                  <a:lnTo>
                    <a:pt x="2759" y="1991"/>
                  </a:lnTo>
                  <a:lnTo>
                    <a:pt x="2759" y="1962"/>
                  </a:lnTo>
                  <a:lnTo>
                    <a:pt x="2781" y="1930"/>
                  </a:lnTo>
                  <a:lnTo>
                    <a:pt x="2786" y="1915"/>
                  </a:lnTo>
                  <a:lnTo>
                    <a:pt x="2776" y="1915"/>
                  </a:lnTo>
                  <a:lnTo>
                    <a:pt x="2769" y="1922"/>
                  </a:lnTo>
                  <a:lnTo>
                    <a:pt x="2760" y="1936"/>
                  </a:lnTo>
                  <a:lnTo>
                    <a:pt x="2754" y="1939"/>
                  </a:lnTo>
                  <a:lnTo>
                    <a:pt x="2761" y="1920"/>
                  </a:lnTo>
                  <a:lnTo>
                    <a:pt x="2763" y="1905"/>
                  </a:lnTo>
                  <a:lnTo>
                    <a:pt x="2742" y="1920"/>
                  </a:lnTo>
                  <a:lnTo>
                    <a:pt x="2732" y="1936"/>
                  </a:lnTo>
                  <a:lnTo>
                    <a:pt x="2726" y="1939"/>
                  </a:lnTo>
                  <a:lnTo>
                    <a:pt x="2734" y="1919"/>
                  </a:lnTo>
                  <a:lnTo>
                    <a:pt x="2747" y="1904"/>
                  </a:lnTo>
                  <a:lnTo>
                    <a:pt x="2749" y="1894"/>
                  </a:lnTo>
                  <a:lnTo>
                    <a:pt x="2758" y="1882"/>
                  </a:lnTo>
                  <a:lnTo>
                    <a:pt x="2723" y="1867"/>
                  </a:lnTo>
                  <a:lnTo>
                    <a:pt x="2720" y="1855"/>
                  </a:lnTo>
                  <a:lnTo>
                    <a:pt x="2691" y="1844"/>
                  </a:lnTo>
                  <a:lnTo>
                    <a:pt x="2689" y="1834"/>
                  </a:lnTo>
                  <a:lnTo>
                    <a:pt x="2680" y="1822"/>
                  </a:lnTo>
                  <a:lnTo>
                    <a:pt x="2643" y="1792"/>
                  </a:lnTo>
                  <a:lnTo>
                    <a:pt x="2632" y="1790"/>
                  </a:lnTo>
                  <a:lnTo>
                    <a:pt x="2616" y="1799"/>
                  </a:lnTo>
                  <a:lnTo>
                    <a:pt x="2609" y="1813"/>
                  </a:lnTo>
                  <a:lnTo>
                    <a:pt x="2605" y="1834"/>
                  </a:lnTo>
                  <a:lnTo>
                    <a:pt x="2597" y="1850"/>
                  </a:lnTo>
                  <a:lnTo>
                    <a:pt x="2597" y="1835"/>
                  </a:lnTo>
                  <a:lnTo>
                    <a:pt x="2602" y="1819"/>
                  </a:lnTo>
                  <a:lnTo>
                    <a:pt x="2605" y="1801"/>
                  </a:lnTo>
                  <a:lnTo>
                    <a:pt x="2593" y="1797"/>
                  </a:lnTo>
                  <a:lnTo>
                    <a:pt x="2594" y="1790"/>
                  </a:lnTo>
                  <a:lnTo>
                    <a:pt x="2621" y="1785"/>
                  </a:lnTo>
                  <a:lnTo>
                    <a:pt x="2637" y="1779"/>
                  </a:lnTo>
                  <a:lnTo>
                    <a:pt x="2637" y="1764"/>
                  </a:lnTo>
                  <a:lnTo>
                    <a:pt x="2634" y="1743"/>
                  </a:lnTo>
                  <a:lnTo>
                    <a:pt x="2599" y="1721"/>
                  </a:lnTo>
                  <a:lnTo>
                    <a:pt x="2583" y="1725"/>
                  </a:lnTo>
                  <a:lnTo>
                    <a:pt x="2564" y="1739"/>
                  </a:lnTo>
                  <a:lnTo>
                    <a:pt x="2549" y="1755"/>
                  </a:lnTo>
                  <a:lnTo>
                    <a:pt x="2546" y="1755"/>
                  </a:lnTo>
                  <a:lnTo>
                    <a:pt x="2546" y="1736"/>
                  </a:lnTo>
                  <a:lnTo>
                    <a:pt x="2526" y="1741"/>
                  </a:lnTo>
                  <a:lnTo>
                    <a:pt x="2533" y="1732"/>
                  </a:lnTo>
                  <a:lnTo>
                    <a:pt x="2540" y="1729"/>
                  </a:lnTo>
                  <a:lnTo>
                    <a:pt x="2530" y="1720"/>
                  </a:lnTo>
                  <a:lnTo>
                    <a:pt x="2561" y="1723"/>
                  </a:lnTo>
                  <a:lnTo>
                    <a:pt x="2580" y="1717"/>
                  </a:lnTo>
                  <a:lnTo>
                    <a:pt x="2593" y="1706"/>
                  </a:lnTo>
                  <a:lnTo>
                    <a:pt x="2612" y="1701"/>
                  </a:lnTo>
                  <a:lnTo>
                    <a:pt x="2624" y="1678"/>
                  </a:lnTo>
                  <a:lnTo>
                    <a:pt x="2613" y="1672"/>
                  </a:lnTo>
                  <a:lnTo>
                    <a:pt x="2592" y="1669"/>
                  </a:lnTo>
                  <a:lnTo>
                    <a:pt x="2580" y="1657"/>
                  </a:lnTo>
                  <a:lnTo>
                    <a:pt x="2564" y="1648"/>
                  </a:lnTo>
                  <a:lnTo>
                    <a:pt x="2539" y="1655"/>
                  </a:lnTo>
                  <a:lnTo>
                    <a:pt x="2526" y="1666"/>
                  </a:lnTo>
                  <a:lnTo>
                    <a:pt x="2517" y="1656"/>
                  </a:lnTo>
                  <a:lnTo>
                    <a:pt x="2534" y="1648"/>
                  </a:lnTo>
                  <a:lnTo>
                    <a:pt x="2544" y="1639"/>
                  </a:lnTo>
                  <a:lnTo>
                    <a:pt x="2521" y="1627"/>
                  </a:lnTo>
                  <a:lnTo>
                    <a:pt x="2543" y="1623"/>
                  </a:lnTo>
                  <a:lnTo>
                    <a:pt x="2557" y="1639"/>
                  </a:lnTo>
                  <a:lnTo>
                    <a:pt x="2577" y="1640"/>
                  </a:lnTo>
                  <a:lnTo>
                    <a:pt x="2598" y="1619"/>
                  </a:lnTo>
                  <a:lnTo>
                    <a:pt x="2605" y="1607"/>
                  </a:lnTo>
                  <a:lnTo>
                    <a:pt x="2634" y="1592"/>
                  </a:lnTo>
                  <a:lnTo>
                    <a:pt x="2630" y="1582"/>
                  </a:lnTo>
                  <a:lnTo>
                    <a:pt x="2625" y="1561"/>
                  </a:lnTo>
                  <a:lnTo>
                    <a:pt x="2643" y="1575"/>
                  </a:lnTo>
                  <a:lnTo>
                    <a:pt x="2655" y="1577"/>
                  </a:lnTo>
                  <a:lnTo>
                    <a:pt x="2658" y="1540"/>
                  </a:lnTo>
                  <a:lnTo>
                    <a:pt x="2668" y="1535"/>
                  </a:lnTo>
                  <a:lnTo>
                    <a:pt x="2677" y="1537"/>
                  </a:lnTo>
                  <a:lnTo>
                    <a:pt x="2680" y="1564"/>
                  </a:lnTo>
                  <a:lnTo>
                    <a:pt x="2696" y="1587"/>
                  </a:lnTo>
                  <a:lnTo>
                    <a:pt x="2732" y="1620"/>
                  </a:lnTo>
                  <a:lnTo>
                    <a:pt x="2766" y="1636"/>
                  </a:lnTo>
                  <a:lnTo>
                    <a:pt x="2780" y="1635"/>
                  </a:lnTo>
                  <a:lnTo>
                    <a:pt x="2786" y="1619"/>
                  </a:lnTo>
                  <a:lnTo>
                    <a:pt x="2802" y="1612"/>
                  </a:lnTo>
                  <a:lnTo>
                    <a:pt x="2820" y="1591"/>
                  </a:lnTo>
                  <a:lnTo>
                    <a:pt x="2840" y="1598"/>
                  </a:lnTo>
                  <a:lnTo>
                    <a:pt x="2863" y="1597"/>
                  </a:lnTo>
                  <a:lnTo>
                    <a:pt x="2872" y="1588"/>
                  </a:lnTo>
                  <a:lnTo>
                    <a:pt x="2869" y="1577"/>
                  </a:lnTo>
                  <a:lnTo>
                    <a:pt x="2871" y="1546"/>
                  </a:lnTo>
                  <a:lnTo>
                    <a:pt x="2878" y="1530"/>
                  </a:lnTo>
                  <a:lnTo>
                    <a:pt x="2879" y="1522"/>
                  </a:lnTo>
                  <a:lnTo>
                    <a:pt x="2867" y="1514"/>
                  </a:lnTo>
                  <a:lnTo>
                    <a:pt x="2835" y="1503"/>
                  </a:lnTo>
                  <a:lnTo>
                    <a:pt x="2819" y="1496"/>
                  </a:lnTo>
                  <a:lnTo>
                    <a:pt x="2808" y="1484"/>
                  </a:lnTo>
                  <a:lnTo>
                    <a:pt x="2785" y="1490"/>
                  </a:lnTo>
                  <a:lnTo>
                    <a:pt x="2766" y="1484"/>
                  </a:lnTo>
                  <a:lnTo>
                    <a:pt x="2768" y="1475"/>
                  </a:lnTo>
                  <a:lnTo>
                    <a:pt x="2774" y="1474"/>
                  </a:lnTo>
                  <a:lnTo>
                    <a:pt x="2771" y="1460"/>
                  </a:lnTo>
                  <a:lnTo>
                    <a:pt x="2782" y="1448"/>
                  </a:lnTo>
                  <a:lnTo>
                    <a:pt x="2781" y="1436"/>
                  </a:lnTo>
                  <a:lnTo>
                    <a:pt x="2761" y="1433"/>
                  </a:lnTo>
                  <a:lnTo>
                    <a:pt x="2792" y="1420"/>
                  </a:lnTo>
                  <a:lnTo>
                    <a:pt x="2791" y="1404"/>
                  </a:lnTo>
                  <a:lnTo>
                    <a:pt x="2786" y="1383"/>
                  </a:lnTo>
                  <a:lnTo>
                    <a:pt x="2797" y="1387"/>
                  </a:lnTo>
                  <a:lnTo>
                    <a:pt x="2806" y="1398"/>
                  </a:lnTo>
                  <a:lnTo>
                    <a:pt x="2833" y="1395"/>
                  </a:lnTo>
                  <a:lnTo>
                    <a:pt x="2852" y="1400"/>
                  </a:lnTo>
                  <a:lnTo>
                    <a:pt x="2868" y="1398"/>
                  </a:lnTo>
                  <a:lnTo>
                    <a:pt x="2881" y="1404"/>
                  </a:lnTo>
                  <a:lnTo>
                    <a:pt x="2887" y="1425"/>
                  </a:lnTo>
                  <a:lnTo>
                    <a:pt x="2897" y="1440"/>
                  </a:lnTo>
                  <a:lnTo>
                    <a:pt x="2922" y="1446"/>
                  </a:lnTo>
                  <a:lnTo>
                    <a:pt x="2949" y="1408"/>
                  </a:lnTo>
                  <a:lnTo>
                    <a:pt x="2946" y="1392"/>
                  </a:lnTo>
                  <a:lnTo>
                    <a:pt x="2935" y="1379"/>
                  </a:lnTo>
                  <a:lnTo>
                    <a:pt x="2927" y="1358"/>
                  </a:lnTo>
                  <a:lnTo>
                    <a:pt x="2905" y="1371"/>
                  </a:lnTo>
                  <a:lnTo>
                    <a:pt x="2890" y="1361"/>
                  </a:lnTo>
                  <a:lnTo>
                    <a:pt x="2862" y="1356"/>
                  </a:lnTo>
                  <a:lnTo>
                    <a:pt x="2844" y="1358"/>
                  </a:lnTo>
                  <a:lnTo>
                    <a:pt x="2842" y="1355"/>
                  </a:lnTo>
                  <a:lnTo>
                    <a:pt x="2855" y="1350"/>
                  </a:lnTo>
                  <a:lnTo>
                    <a:pt x="2857" y="1334"/>
                  </a:lnTo>
                  <a:lnTo>
                    <a:pt x="2856" y="1318"/>
                  </a:lnTo>
                  <a:lnTo>
                    <a:pt x="2858" y="1298"/>
                  </a:lnTo>
                  <a:lnTo>
                    <a:pt x="2860" y="1284"/>
                  </a:lnTo>
                  <a:lnTo>
                    <a:pt x="2852" y="1276"/>
                  </a:lnTo>
                  <a:lnTo>
                    <a:pt x="2840" y="1274"/>
                  </a:lnTo>
                  <a:lnTo>
                    <a:pt x="2825" y="1285"/>
                  </a:lnTo>
                  <a:lnTo>
                    <a:pt x="2812" y="1288"/>
                  </a:lnTo>
                  <a:lnTo>
                    <a:pt x="2826" y="1269"/>
                  </a:lnTo>
                  <a:lnTo>
                    <a:pt x="2852" y="1258"/>
                  </a:lnTo>
                  <a:lnTo>
                    <a:pt x="2866" y="1260"/>
                  </a:lnTo>
                  <a:lnTo>
                    <a:pt x="2863" y="1243"/>
                  </a:lnTo>
                  <a:lnTo>
                    <a:pt x="2833" y="1215"/>
                  </a:lnTo>
                  <a:lnTo>
                    <a:pt x="2818" y="1196"/>
                  </a:lnTo>
                  <a:lnTo>
                    <a:pt x="2796" y="1195"/>
                  </a:lnTo>
                  <a:lnTo>
                    <a:pt x="2782" y="1184"/>
                  </a:lnTo>
                  <a:lnTo>
                    <a:pt x="2817" y="1187"/>
                  </a:lnTo>
                  <a:lnTo>
                    <a:pt x="2797" y="1166"/>
                  </a:lnTo>
                  <a:lnTo>
                    <a:pt x="2889" y="1216"/>
                  </a:lnTo>
                  <a:lnTo>
                    <a:pt x="2898" y="1231"/>
                  </a:lnTo>
                  <a:lnTo>
                    <a:pt x="2900" y="1252"/>
                  </a:lnTo>
                  <a:lnTo>
                    <a:pt x="2914" y="1260"/>
                  </a:lnTo>
                  <a:lnTo>
                    <a:pt x="2922" y="1257"/>
                  </a:lnTo>
                  <a:lnTo>
                    <a:pt x="2930" y="1225"/>
                  </a:lnTo>
                  <a:lnTo>
                    <a:pt x="2930" y="1194"/>
                  </a:lnTo>
                  <a:lnTo>
                    <a:pt x="2925" y="1160"/>
                  </a:lnTo>
                  <a:lnTo>
                    <a:pt x="2925" y="1130"/>
                  </a:lnTo>
                  <a:lnTo>
                    <a:pt x="2910" y="1105"/>
                  </a:lnTo>
                  <a:lnTo>
                    <a:pt x="2897" y="1090"/>
                  </a:lnTo>
                  <a:lnTo>
                    <a:pt x="2883" y="1093"/>
                  </a:lnTo>
                  <a:lnTo>
                    <a:pt x="2873" y="1090"/>
                  </a:lnTo>
                  <a:lnTo>
                    <a:pt x="2862" y="1081"/>
                  </a:lnTo>
                  <a:lnTo>
                    <a:pt x="2842" y="1078"/>
                  </a:lnTo>
                  <a:lnTo>
                    <a:pt x="2842" y="1070"/>
                  </a:lnTo>
                  <a:lnTo>
                    <a:pt x="2868" y="1070"/>
                  </a:lnTo>
                  <a:lnTo>
                    <a:pt x="2885" y="1066"/>
                  </a:lnTo>
                  <a:lnTo>
                    <a:pt x="2898" y="1059"/>
                  </a:lnTo>
                  <a:lnTo>
                    <a:pt x="2911" y="1056"/>
                  </a:lnTo>
                  <a:lnTo>
                    <a:pt x="2912" y="1045"/>
                  </a:lnTo>
                  <a:lnTo>
                    <a:pt x="2904" y="1019"/>
                  </a:lnTo>
                  <a:lnTo>
                    <a:pt x="2889" y="1016"/>
                  </a:lnTo>
                  <a:lnTo>
                    <a:pt x="2869" y="1021"/>
                  </a:lnTo>
                  <a:lnTo>
                    <a:pt x="2844" y="1001"/>
                  </a:lnTo>
                  <a:lnTo>
                    <a:pt x="2866" y="1034"/>
                  </a:lnTo>
                  <a:lnTo>
                    <a:pt x="2854" y="1033"/>
                  </a:lnTo>
                  <a:lnTo>
                    <a:pt x="2841" y="1016"/>
                  </a:lnTo>
                  <a:lnTo>
                    <a:pt x="2833" y="1010"/>
                  </a:lnTo>
                  <a:lnTo>
                    <a:pt x="2839" y="1029"/>
                  </a:lnTo>
                  <a:lnTo>
                    <a:pt x="2824" y="1024"/>
                  </a:lnTo>
                  <a:lnTo>
                    <a:pt x="2820" y="1016"/>
                  </a:lnTo>
                  <a:lnTo>
                    <a:pt x="2808" y="1015"/>
                  </a:lnTo>
                  <a:lnTo>
                    <a:pt x="2809" y="1004"/>
                  </a:lnTo>
                  <a:lnTo>
                    <a:pt x="2809" y="990"/>
                  </a:lnTo>
                  <a:lnTo>
                    <a:pt x="2811" y="985"/>
                  </a:lnTo>
                  <a:lnTo>
                    <a:pt x="2808" y="973"/>
                  </a:lnTo>
                  <a:lnTo>
                    <a:pt x="2775" y="976"/>
                  </a:lnTo>
                  <a:lnTo>
                    <a:pt x="2759" y="968"/>
                  </a:lnTo>
                  <a:lnTo>
                    <a:pt x="2766" y="962"/>
                  </a:lnTo>
                  <a:lnTo>
                    <a:pt x="2801" y="968"/>
                  </a:lnTo>
                  <a:lnTo>
                    <a:pt x="2792" y="961"/>
                  </a:lnTo>
                  <a:lnTo>
                    <a:pt x="2799" y="951"/>
                  </a:lnTo>
                  <a:lnTo>
                    <a:pt x="2783" y="947"/>
                  </a:lnTo>
                  <a:lnTo>
                    <a:pt x="2779" y="934"/>
                  </a:lnTo>
                  <a:lnTo>
                    <a:pt x="2771" y="931"/>
                  </a:lnTo>
                  <a:lnTo>
                    <a:pt x="2763" y="946"/>
                  </a:lnTo>
                  <a:lnTo>
                    <a:pt x="2763" y="931"/>
                  </a:lnTo>
                  <a:lnTo>
                    <a:pt x="2753" y="906"/>
                  </a:lnTo>
                  <a:lnTo>
                    <a:pt x="2766" y="897"/>
                  </a:lnTo>
                  <a:lnTo>
                    <a:pt x="2768" y="884"/>
                  </a:lnTo>
                  <a:lnTo>
                    <a:pt x="2785" y="881"/>
                  </a:lnTo>
                  <a:lnTo>
                    <a:pt x="2797" y="898"/>
                  </a:lnTo>
                  <a:lnTo>
                    <a:pt x="2806" y="916"/>
                  </a:lnTo>
                  <a:lnTo>
                    <a:pt x="2823" y="903"/>
                  </a:lnTo>
                  <a:lnTo>
                    <a:pt x="2831" y="888"/>
                  </a:lnTo>
                  <a:lnTo>
                    <a:pt x="2855" y="881"/>
                  </a:lnTo>
                  <a:lnTo>
                    <a:pt x="2809" y="868"/>
                  </a:lnTo>
                  <a:lnTo>
                    <a:pt x="2815" y="862"/>
                  </a:lnTo>
                  <a:lnTo>
                    <a:pt x="2852" y="866"/>
                  </a:lnTo>
                  <a:lnTo>
                    <a:pt x="2863" y="859"/>
                  </a:lnTo>
                  <a:lnTo>
                    <a:pt x="2860" y="855"/>
                  </a:lnTo>
                  <a:lnTo>
                    <a:pt x="2807" y="841"/>
                  </a:lnTo>
                  <a:lnTo>
                    <a:pt x="2874" y="844"/>
                  </a:lnTo>
                  <a:lnTo>
                    <a:pt x="2915" y="854"/>
                  </a:lnTo>
                  <a:lnTo>
                    <a:pt x="2943" y="870"/>
                  </a:lnTo>
                  <a:lnTo>
                    <a:pt x="2985" y="884"/>
                  </a:lnTo>
                  <a:lnTo>
                    <a:pt x="2997" y="865"/>
                  </a:lnTo>
                  <a:lnTo>
                    <a:pt x="2997" y="856"/>
                  </a:lnTo>
                  <a:lnTo>
                    <a:pt x="3000" y="845"/>
                  </a:lnTo>
                  <a:lnTo>
                    <a:pt x="3000" y="833"/>
                  </a:lnTo>
                  <a:lnTo>
                    <a:pt x="3000" y="805"/>
                  </a:lnTo>
                  <a:lnTo>
                    <a:pt x="2995" y="757"/>
                  </a:lnTo>
                  <a:lnTo>
                    <a:pt x="2992" y="754"/>
                  </a:lnTo>
                  <a:lnTo>
                    <a:pt x="2986" y="758"/>
                  </a:lnTo>
                  <a:lnTo>
                    <a:pt x="2963" y="741"/>
                  </a:lnTo>
                  <a:lnTo>
                    <a:pt x="2954" y="752"/>
                  </a:lnTo>
                  <a:lnTo>
                    <a:pt x="2955" y="773"/>
                  </a:lnTo>
                  <a:lnTo>
                    <a:pt x="2949" y="775"/>
                  </a:lnTo>
                  <a:lnTo>
                    <a:pt x="2936" y="771"/>
                  </a:lnTo>
                  <a:lnTo>
                    <a:pt x="2935" y="754"/>
                  </a:lnTo>
                  <a:lnTo>
                    <a:pt x="2915" y="738"/>
                  </a:lnTo>
                  <a:lnTo>
                    <a:pt x="2868" y="733"/>
                  </a:lnTo>
                  <a:lnTo>
                    <a:pt x="2889" y="730"/>
                  </a:lnTo>
                  <a:lnTo>
                    <a:pt x="2887" y="720"/>
                  </a:lnTo>
                  <a:lnTo>
                    <a:pt x="2863" y="709"/>
                  </a:lnTo>
                  <a:lnTo>
                    <a:pt x="2873" y="706"/>
                  </a:lnTo>
                  <a:lnTo>
                    <a:pt x="2873" y="695"/>
                  </a:lnTo>
                  <a:lnTo>
                    <a:pt x="2889" y="696"/>
                  </a:lnTo>
                  <a:lnTo>
                    <a:pt x="2862" y="676"/>
                  </a:lnTo>
                  <a:lnTo>
                    <a:pt x="2858" y="667"/>
                  </a:lnTo>
                  <a:lnTo>
                    <a:pt x="2868" y="650"/>
                  </a:lnTo>
                  <a:lnTo>
                    <a:pt x="2884" y="657"/>
                  </a:lnTo>
                  <a:lnTo>
                    <a:pt x="2910" y="657"/>
                  </a:lnTo>
                  <a:lnTo>
                    <a:pt x="2941" y="689"/>
                  </a:lnTo>
                  <a:lnTo>
                    <a:pt x="2955" y="680"/>
                  </a:lnTo>
                  <a:lnTo>
                    <a:pt x="2953" y="660"/>
                  </a:lnTo>
                  <a:lnTo>
                    <a:pt x="2943" y="646"/>
                  </a:lnTo>
                  <a:lnTo>
                    <a:pt x="2884" y="618"/>
                  </a:lnTo>
                  <a:lnTo>
                    <a:pt x="2869" y="607"/>
                  </a:lnTo>
                  <a:lnTo>
                    <a:pt x="2867" y="592"/>
                  </a:lnTo>
                  <a:lnTo>
                    <a:pt x="2857" y="585"/>
                  </a:lnTo>
                  <a:lnTo>
                    <a:pt x="2846" y="593"/>
                  </a:lnTo>
                  <a:lnTo>
                    <a:pt x="2820" y="663"/>
                  </a:lnTo>
                  <a:lnTo>
                    <a:pt x="2807" y="666"/>
                  </a:lnTo>
                  <a:lnTo>
                    <a:pt x="2798" y="646"/>
                  </a:lnTo>
                  <a:lnTo>
                    <a:pt x="2808" y="619"/>
                  </a:lnTo>
                  <a:lnTo>
                    <a:pt x="2811" y="594"/>
                  </a:lnTo>
                  <a:lnTo>
                    <a:pt x="2813" y="579"/>
                  </a:lnTo>
                  <a:lnTo>
                    <a:pt x="2826" y="561"/>
                  </a:lnTo>
                  <a:lnTo>
                    <a:pt x="2829" y="550"/>
                  </a:lnTo>
                  <a:lnTo>
                    <a:pt x="2824" y="537"/>
                  </a:lnTo>
                  <a:lnTo>
                    <a:pt x="2829" y="505"/>
                  </a:lnTo>
                  <a:lnTo>
                    <a:pt x="2831" y="472"/>
                  </a:lnTo>
                  <a:lnTo>
                    <a:pt x="2844" y="425"/>
                  </a:lnTo>
                  <a:lnTo>
                    <a:pt x="2849" y="411"/>
                  </a:lnTo>
                  <a:lnTo>
                    <a:pt x="2833" y="413"/>
                  </a:lnTo>
                  <a:lnTo>
                    <a:pt x="2829" y="404"/>
                  </a:lnTo>
                  <a:lnTo>
                    <a:pt x="2841" y="403"/>
                  </a:lnTo>
                  <a:lnTo>
                    <a:pt x="2842" y="391"/>
                  </a:lnTo>
                  <a:lnTo>
                    <a:pt x="2842" y="376"/>
                  </a:lnTo>
                  <a:lnTo>
                    <a:pt x="2839" y="366"/>
                  </a:lnTo>
                  <a:lnTo>
                    <a:pt x="2842" y="359"/>
                  </a:lnTo>
                  <a:lnTo>
                    <a:pt x="2852" y="362"/>
                  </a:lnTo>
                  <a:lnTo>
                    <a:pt x="2872" y="345"/>
                  </a:lnTo>
                  <a:lnTo>
                    <a:pt x="2890" y="353"/>
                  </a:lnTo>
                  <a:lnTo>
                    <a:pt x="2908" y="333"/>
                  </a:lnTo>
                  <a:lnTo>
                    <a:pt x="2908" y="314"/>
                  </a:lnTo>
                  <a:lnTo>
                    <a:pt x="2904" y="297"/>
                  </a:lnTo>
                  <a:lnTo>
                    <a:pt x="2904" y="270"/>
                  </a:lnTo>
                  <a:lnTo>
                    <a:pt x="2908" y="274"/>
                  </a:lnTo>
                  <a:lnTo>
                    <a:pt x="2919" y="265"/>
                  </a:lnTo>
                  <a:lnTo>
                    <a:pt x="2920" y="273"/>
                  </a:lnTo>
                  <a:lnTo>
                    <a:pt x="2924" y="270"/>
                  </a:lnTo>
                  <a:lnTo>
                    <a:pt x="2924" y="248"/>
                  </a:lnTo>
                  <a:lnTo>
                    <a:pt x="2931" y="232"/>
                  </a:lnTo>
                  <a:lnTo>
                    <a:pt x="2941" y="228"/>
                  </a:lnTo>
                  <a:lnTo>
                    <a:pt x="2941" y="248"/>
                  </a:lnTo>
                  <a:lnTo>
                    <a:pt x="2944" y="240"/>
                  </a:lnTo>
                  <a:lnTo>
                    <a:pt x="2951" y="215"/>
                  </a:lnTo>
                  <a:lnTo>
                    <a:pt x="2924" y="211"/>
                  </a:lnTo>
                  <a:lnTo>
                    <a:pt x="2920" y="235"/>
                  </a:lnTo>
                  <a:lnTo>
                    <a:pt x="2910" y="260"/>
                  </a:lnTo>
                  <a:lnTo>
                    <a:pt x="2909" y="237"/>
                  </a:lnTo>
                  <a:lnTo>
                    <a:pt x="2919" y="211"/>
                  </a:lnTo>
                  <a:lnTo>
                    <a:pt x="2921" y="182"/>
                  </a:lnTo>
                  <a:lnTo>
                    <a:pt x="2916" y="173"/>
                  </a:lnTo>
                  <a:lnTo>
                    <a:pt x="2921" y="154"/>
                  </a:lnTo>
                  <a:lnTo>
                    <a:pt x="2925" y="104"/>
                  </a:lnTo>
                  <a:lnTo>
                    <a:pt x="2936" y="81"/>
                  </a:lnTo>
                  <a:lnTo>
                    <a:pt x="2944" y="74"/>
                  </a:lnTo>
                  <a:lnTo>
                    <a:pt x="2979" y="86"/>
                  </a:lnTo>
                  <a:lnTo>
                    <a:pt x="3005" y="77"/>
                  </a:lnTo>
                  <a:lnTo>
                    <a:pt x="3018" y="54"/>
                  </a:lnTo>
                  <a:lnTo>
                    <a:pt x="3021" y="39"/>
                  </a:lnTo>
                  <a:lnTo>
                    <a:pt x="3030" y="21"/>
                  </a:lnTo>
                  <a:lnTo>
                    <a:pt x="3033" y="5"/>
                  </a:lnTo>
                  <a:lnTo>
                    <a:pt x="3035" y="0"/>
                  </a:lnTo>
                  <a:lnTo>
                    <a:pt x="2920" y="0"/>
                  </a:lnTo>
                  <a:lnTo>
                    <a:pt x="2901" y="25"/>
                  </a:lnTo>
                  <a:lnTo>
                    <a:pt x="2894" y="47"/>
                  </a:lnTo>
                  <a:lnTo>
                    <a:pt x="2894" y="63"/>
                  </a:lnTo>
                  <a:lnTo>
                    <a:pt x="2906" y="65"/>
                  </a:lnTo>
                  <a:lnTo>
                    <a:pt x="2887" y="79"/>
                  </a:lnTo>
                  <a:lnTo>
                    <a:pt x="2877" y="52"/>
                  </a:lnTo>
                  <a:lnTo>
                    <a:pt x="2868" y="48"/>
                  </a:lnTo>
                  <a:lnTo>
                    <a:pt x="2877" y="20"/>
                  </a:lnTo>
                  <a:lnTo>
                    <a:pt x="2877" y="7"/>
                  </a:lnTo>
                  <a:lnTo>
                    <a:pt x="2874" y="0"/>
                  </a:lnTo>
                  <a:lnTo>
                    <a:pt x="451" y="0"/>
                  </a:lnTo>
                  <a:lnTo>
                    <a:pt x="430" y="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65" name="Freeform 234"/>
            <p:cNvSpPr>
              <a:spLocks noChangeAspect="1"/>
            </p:cNvSpPr>
            <p:nvPr/>
          </p:nvSpPr>
          <p:spPr bwMode="gray">
            <a:xfrm>
              <a:off x="4939969" y="2344846"/>
              <a:ext cx="52475" cy="57623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49" y="10"/>
                </a:cxn>
                <a:cxn ang="0">
                  <a:pos x="67" y="13"/>
                </a:cxn>
                <a:cxn ang="0">
                  <a:pos x="92" y="25"/>
                </a:cxn>
                <a:cxn ang="0">
                  <a:pos x="128" y="80"/>
                </a:cxn>
                <a:cxn ang="0">
                  <a:pos x="150" y="86"/>
                </a:cxn>
                <a:cxn ang="0">
                  <a:pos x="163" y="99"/>
                </a:cxn>
                <a:cxn ang="0">
                  <a:pos x="163" y="116"/>
                </a:cxn>
                <a:cxn ang="0">
                  <a:pos x="161" y="126"/>
                </a:cxn>
                <a:cxn ang="0">
                  <a:pos x="146" y="143"/>
                </a:cxn>
                <a:cxn ang="0">
                  <a:pos x="87" y="162"/>
                </a:cxn>
                <a:cxn ang="0">
                  <a:pos x="70" y="166"/>
                </a:cxn>
                <a:cxn ang="0">
                  <a:pos x="60" y="165"/>
                </a:cxn>
                <a:cxn ang="0">
                  <a:pos x="40" y="150"/>
                </a:cxn>
                <a:cxn ang="0">
                  <a:pos x="40" y="142"/>
                </a:cxn>
                <a:cxn ang="0">
                  <a:pos x="53" y="139"/>
                </a:cxn>
                <a:cxn ang="0">
                  <a:pos x="66" y="143"/>
                </a:cxn>
                <a:cxn ang="0">
                  <a:pos x="77" y="139"/>
                </a:cxn>
                <a:cxn ang="0">
                  <a:pos x="77" y="130"/>
                </a:cxn>
                <a:cxn ang="0">
                  <a:pos x="69" y="138"/>
                </a:cxn>
                <a:cxn ang="0">
                  <a:pos x="67" y="130"/>
                </a:cxn>
                <a:cxn ang="0">
                  <a:pos x="55" y="129"/>
                </a:cxn>
                <a:cxn ang="0">
                  <a:pos x="55" y="117"/>
                </a:cxn>
                <a:cxn ang="0">
                  <a:pos x="45" y="126"/>
                </a:cxn>
                <a:cxn ang="0">
                  <a:pos x="22" y="126"/>
                </a:cxn>
                <a:cxn ang="0">
                  <a:pos x="2" y="117"/>
                </a:cxn>
                <a:cxn ang="0">
                  <a:pos x="1" y="103"/>
                </a:cxn>
                <a:cxn ang="0">
                  <a:pos x="11" y="100"/>
                </a:cxn>
                <a:cxn ang="0">
                  <a:pos x="28" y="106"/>
                </a:cxn>
                <a:cxn ang="0">
                  <a:pos x="16" y="91"/>
                </a:cxn>
                <a:cxn ang="0">
                  <a:pos x="0" y="79"/>
                </a:cxn>
                <a:cxn ang="0">
                  <a:pos x="5" y="72"/>
                </a:cxn>
                <a:cxn ang="0">
                  <a:pos x="34" y="69"/>
                </a:cxn>
                <a:cxn ang="0">
                  <a:pos x="19" y="58"/>
                </a:cxn>
                <a:cxn ang="0">
                  <a:pos x="7" y="35"/>
                </a:cxn>
                <a:cxn ang="0">
                  <a:pos x="7" y="15"/>
                </a:cxn>
                <a:cxn ang="0">
                  <a:pos x="29" y="0"/>
                </a:cxn>
              </a:cxnLst>
              <a:rect l="0" t="0" r="r" b="b"/>
              <a:pathLst>
                <a:path w="163" h="166">
                  <a:moveTo>
                    <a:pt x="29" y="0"/>
                  </a:moveTo>
                  <a:lnTo>
                    <a:pt x="49" y="10"/>
                  </a:lnTo>
                  <a:lnTo>
                    <a:pt x="67" y="13"/>
                  </a:lnTo>
                  <a:lnTo>
                    <a:pt x="92" y="25"/>
                  </a:lnTo>
                  <a:lnTo>
                    <a:pt x="128" y="80"/>
                  </a:lnTo>
                  <a:lnTo>
                    <a:pt x="150" y="86"/>
                  </a:lnTo>
                  <a:lnTo>
                    <a:pt x="163" y="99"/>
                  </a:lnTo>
                  <a:lnTo>
                    <a:pt x="163" y="116"/>
                  </a:lnTo>
                  <a:lnTo>
                    <a:pt x="161" y="126"/>
                  </a:lnTo>
                  <a:lnTo>
                    <a:pt x="146" y="143"/>
                  </a:lnTo>
                  <a:lnTo>
                    <a:pt x="87" y="162"/>
                  </a:lnTo>
                  <a:lnTo>
                    <a:pt x="70" y="166"/>
                  </a:lnTo>
                  <a:lnTo>
                    <a:pt x="60" y="165"/>
                  </a:lnTo>
                  <a:lnTo>
                    <a:pt x="40" y="150"/>
                  </a:lnTo>
                  <a:lnTo>
                    <a:pt x="40" y="142"/>
                  </a:lnTo>
                  <a:lnTo>
                    <a:pt x="53" y="139"/>
                  </a:lnTo>
                  <a:lnTo>
                    <a:pt x="66" y="143"/>
                  </a:lnTo>
                  <a:lnTo>
                    <a:pt x="77" y="139"/>
                  </a:lnTo>
                  <a:lnTo>
                    <a:pt x="77" y="130"/>
                  </a:lnTo>
                  <a:lnTo>
                    <a:pt x="69" y="138"/>
                  </a:lnTo>
                  <a:lnTo>
                    <a:pt x="67" y="130"/>
                  </a:lnTo>
                  <a:lnTo>
                    <a:pt x="55" y="129"/>
                  </a:lnTo>
                  <a:lnTo>
                    <a:pt x="55" y="117"/>
                  </a:lnTo>
                  <a:lnTo>
                    <a:pt x="45" y="126"/>
                  </a:lnTo>
                  <a:lnTo>
                    <a:pt x="22" y="126"/>
                  </a:lnTo>
                  <a:lnTo>
                    <a:pt x="2" y="117"/>
                  </a:lnTo>
                  <a:lnTo>
                    <a:pt x="1" y="103"/>
                  </a:lnTo>
                  <a:lnTo>
                    <a:pt x="11" y="100"/>
                  </a:lnTo>
                  <a:lnTo>
                    <a:pt x="28" y="106"/>
                  </a:lnTo>
                  <a:lnTo>
                    <a:pt x="16" y="91"/>
                  </a:lnTo>
                  <a:lnTo>
                    <a:pt x="0" y="79"/>
                  </a:lnTo>
                  <a:lnTo>
                    <a:pt x="5" y="72"/>
                  </a:lnTo>
                  <a:lnTo>
                    <a:pt x="34" y="69"/>
                  </a:lnTo>
                  <a:lnTo>
                    <a:pt x="19" y="58"/>
                  </a:lnTo>
                  <a:lnTo>
                    <a:pt x="7" y="35"/>
                  </a:lnTo>
                  <a:lnTo>
                    <a:pt x="7" y="15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66" name="Freeform 235"/>
            <p:cNvSpPr>
              <a:spLocks noChangeAspect="1"/>
            </p:cNvSpPr>
            <p:nvPr/>
          </p:nvSpPr>
          <p:spPr bwMode="gray">
            <a:xfrm>
              <a:off x="4695087" y="1848944"/>
              <a:ext cx="52475" cy="20954"/>
            </a:xfrm>
            <a:custGeom>
              <a:avLst/>
              <a:gdLst/>
              <a:ahLst/>
              <a:cxnLst>
                <a:cxn ang="0">
                  <a:pos x="0" y="35"/>
                </a:cxn>
                <a:cxn ang="0">
                  <a:pos x="0" y="30"/>
                </a:cxn>
                <a:cxn ang="0">
                  <a:pos x="17" y="20"/>
                </a:cxn>
                <a:cxn ang="0">
                  <a:pos x="31" y="5"/>
                </a:cxn>
                <a:cxn ang="0">
                  <a:pos x="94" y="0"/>
                </a:cxn>
                <a:cxn ang="0">
                  <a:pos x="119" y="6"/>
                </a:cxn>
                <a:cxn ang="0">
                  <a:pos x="131" y="14"/>
                </a:cxn>
                <a:cxn ang="0">
                  <a:pos x="137" y="25"/>
                </a:cxn>
                <a:cxn ang="0">
                  <a:pos x="165" y="38"/>
                </a:cxn>
                <a:cxn ang="0">
                  <a:pos x="167" y="44"/>
                </a:cxn>
                <a:cxn ang="0">
                  <a:pos x="153" y="55"/>
                </a:cxn>
                <a:cxn ang="0">
                  <a:pos x="124" y="61"/>
                </a:cxn>
                <a:cxn ang="0">
                  <a:pos x="67" y="43"/>
                </a:cxn>
                <a:cxn ang="0">
                  <a:pos x="47" y="48"/>
                </a:cxn>
                <a:cxn ang="0">
                  <a:pos x="30" y="46"/>
                </a:cxn>
                <a:cxn ang="0">
                  <a:pos x="0" y="35"/>
                </a:cxn>
              </a:cxnLst>
              <a:rect l="0" t="0" r="r" b="b"/>
              <a:pathLst>
                <a:path w="167" h="61">
                  <a:moveTo>
                    <a:pt x="0" y="35"/>
                  </a:moveTo>
                  <a:lnTo>
                    <a:pt x="0" y="30"/>
                  </a:lnTo>
                  <a:lnTo>
                    <a:pt x="17" y="20"/>
                  </a:lnTo>
                  <a:lnTo>
                    <a:pt x="31" y="5"/>
                  </a:lnTo>
                  <a:lnTo>
                    <a:pt x="94" y="0"/>
                  </a:lnTo>
                  <a:lnTo>
                    <a:pt x="119" y="6"/>
                  </a:lnTo>
                  <a:lnTo>
                    <a:pt x="131" y="14"/>
                  </a:lnTo>
                  <a:lnTo>
                    <a:pt x="137" y="25"/>
                  </a:lnTo>
                  <a:lnTo>
                    <a:pt x="165" y="38"/>
                  </a:lnTo>
                  <a:lnTo>
                    <a:pt x="167" y="44"/>
                  </a:lnTo>
                  <a:lnTo>
                    <a:pt x="153" y="55"/>
                  </a:lnTo>
                  <a:lnTo>
                    <a:pt x="124" y="61"/>
                  </a:lnTo>
                  <a:lnTo>
                    <a:pt x="67" y="43"/>
                  </a:lnTo>
                  <a:lnTo>
                    <a:pt x="47" y="48"/>
                  </a:lnTo>
                  <a:lnTo>
                    <a:pt x="30" y="46"/>
                  </a:lnTo>
                  <a:lnTo>
                    <a:pt x="0" y="3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grpSp>
          <p:nvGrpSpPr>
            <p:cNvPr id="67" name="Group 236"/>
            <p:cNvGrpSpPr>
              <a:grpSpLocks noChangeAspect="1"/>
            </p:cNvGrpSpPr>
            <p:nvPr/>
          </p:nvGrpSpPr>
          <p:grpSpPr bwMode="gray">
            <a:xfrm>
              <a:off x="4478828" y="4021134"/>
              <a:ext cx="809382" cy="1501675"/>
              <a:chOff x="1624" y="2350"/>
              <a:chExt cx="509" cy="860"/>
            </a:xfrm>
            <a:grpFill/>
          </p:grpSpPr>
          <p:sp>
            <p:nvSpPr>
              <p:cNvPr id="263" name="Freeform 237"/>
              <p:cNvSpPr>
                <a:spLocks noChangeAspect="1"/>
              </p:cNvSpPr>
              <p:nvPr/>
            </p:nvSpPr>
            <p:spPr bwMode="gray">
              <a:xfrm>
                <a:off x="1709" y="3154"/>
                <a:ext cx="23" cy="27"/>
              </a:xfrm>
              <a:custGeom>
                <a:avLst/>
                <a:gdLst/>
                <a:ahLst/>
                <a:cxnLst>
                  <a:cxn ang="0">
                    <a:pos x="4" y="17"/>
                  </a:cxn>
                  <a:cxn ang="0">
                    <a:pos x="7" y="12"/>
                  </a:cxn>
                  <a:cxn ang="0">
                    <a:pos x="17" y="17"/>
                  </a:cxn>
                  <a:cxn ang="0">
                    <a:pos x="28" y="10"/>
                  </a:cxn>
                  <a:cxn ang="0">
                    <a:pos x="33" y="23"/>
                  </a:cxn>
                  <a:cxn ang="0">
                    <a:pos x="41" y="23"/>
                  </a:cxn>
                  <a:cxn ang="0">
                    <a:pos x="41" y="7"/>
                  </a:cxn>
                  <a:cxn ang="0">
                    <a:pos x="43" y="1"/>
                  </a:cxn>
                  <a:cxn ang="0">
                    <a:pos x="53" y="15"/>
                  </a:cxn>
                  <a:cxn ang="0">
                    <a:pos x="43" y="39"/>
                  </a:cxn>
                  <a:cxn ang="0">
                    <a:pos x="45" y="60"/>
                  </a:cxn>
                  <a:cxn ang="0">
                    <a:pos x="53" y="72"/>
                  </a:cxn>
                  <a:cxn ang="0">
                    <a:pos x="80" y="61"/>
                  </a:cxn>
                  <a:cxn ang="0">
                    <a:pos x="100" y="64"/>
                  </a:cxn>
                  <a:cxn ang="0">
                    <a:pos x="115" y="70"/>
                  </a:cxn>
                  <a:cxn ang="0">
                    <a:pos x="92" y="97"/>
                  </a:cxn>
                  <a:cxn ang="0">
                    <a:pos x="77" y="99"/>
                  </a:cxn>
                  <a:cxn ang="0">
                    <a:pos x="74" y="107"/>
                  </a:cxn>
                  <a:cxn ang="0">
                    <a:pos x="66" y="107"/>
                  </a:cxn>
                  <a:cxn ang="0">
                    <a:pos x="63" y="117"/>
                  </a:cxn>
                  <a:cxn ang="0">
                    <a:pos x="59" y="128"/>
                  </a:cxn>
                  <a:cxn ang="0">
                    <a:pos x="53" y="131"/>
                  </a:cxn>
                  <a:cxn ang="0">
                    <a:pos x="26" y="106"/>
                  </a:cxn>
                  <a:cxn ang="0">
                    <a:pos x="43" y="108"/>
                  </a:cxn>
                  <a:cxn ang="0">
                    <a:pos x="49" y="99"/>
                  </a:cxn>
                  <a:cxn ang="0">
                    <a:pos x="39" y="83"/>
                  </a:cxn>
                  <a:cxn ang="0">
                    <a:pos x="33" y="93"/>
                  </a:cxn>
                  <a:cxn ang="0">
                    <a:pos x="20" y="86"/>
                  </a:cxn>
                  <a:cxn ang="0">
                    <a:pos x="10" y="77"/>
                  </a:cxn>
                  <a:cxn ang="0">
                    <a:pos x="7" y="66"/>
                  </a:cxn>
                  <a:cxn ang="0">
                    <a:pos x="0" y="66"/>
                  </a:cxn>
                  <a:cxn ang="0">
                    <a:pos x="1" y="50"/>
                  </a:cxn>
                  <a:cxn ang="0">
                    <a:pos x="1" y="31"/>
                  </a:cxn>
                </a:cxnLst>
                <a:rect l="0" t="0" r="r" b="b"/>
                <a:pathLst>
                  <a:path w="115" h="134">
                    <a:moveTo>
                      <a:pt x="2" y="17"/>
                    </a:moveTo>
                    <a:lnTo>
                      <a:pt x="4" y="17"/>
                    </a:lnTo>
                    <a:lnTo>
                      <a:pt x="5" y="13"/>
                    </a:lnTo>
                    <a:lnTo>
                      <a:pt x="7" y="12"/>
                    </a:lnTo>
                    <a:lnTo>
                      <a:pt x="12" y="16"/>
                    </a:lnTo>
                    <a:lnTo>
                      <a:pt x="17" y="17"/>
                    </a:lnTo>
                    <a:lnTo>
                      <a:pt x="22" y="12"/>
                    </a:lnTo>
                    <a:lnTo>
                      <a:pt x="28" y="10"/>
                    </a:lnTo>
                    <a:lnTo>
                      <a:pt x="32" y="13"/>
                    </a:lnTo>
                    <a:lnTo>
                      <a:pt x="33" y="23"/>
                    </a:lnTo>
                    <a:lnTo>
                      <a:pt x="36" y="27"/>
                    </a:lnTo>
                    <a:lnTo>
                      <a:pt x="41" y="23"/>
                    </a:lnTo>
                    <a:lnTo>
                      <a:pt x="44" y="11"/>
                    </a:lnTo>
                    <a:lnTo>
                      <a:pt x="41" y="7"/>
                    </a:lnTo>
                    <a:lnTo>
                      <a:pt x="41" y="0"/>
                    </a:lnTo>
                    <a:lnTo>
                      <a:pt x="43" y="1"/>
                    </a:lnTo>
                    <a:lnTo>
                      <a:pt x="50" y="6"/>
                    </a:lnTo>
                    <a:lnTo>
                      <a:pt x="53" y="15"/>
                    </a:lnTo>
                    <a:lnTo>
                      <a:pt x="54" y="27"/>
                    </a:lnTo>
                    <a:lnTo>
                      <a:pt x="43" y="39"/>
                    </a:lnTo>
                    <a:lnTo>
                      <a:pt x="37" y="55"/>
                    </a:lnTo>
                    <a:lnTo>
                      <a:pt x="45" y="60"/>
                    </a:lnTo>
                    <a:lnTo>
                      <a:pt x="52" y="66"/>
                    </a:lnTo>
                    <a:lnTo>
                      <a:pt x="53" y="72"/>
                    </a:lnTo>
                    <a:lnTo>
                      <a:pt x="63" y="80"/>
                    </a:lnTo>
                    <a:lnTo>
                      <a:pt x="80" y="61"/>
                    </a:lnTo>
                    <a:lnTo>
                      <a:pt x="87" y="61"/>
                    </a:lnTo>
                    <a:lnTo>
                      <a:pt x="100" y="64"/>
                    </a:lnTo>
                    <a:lnTo>
                      <a:pt x="112" y="63"/>
                    </a:lnTo>
                    <a:lnTo>
                      <a:pt x="115" y="70"/>
                    </a:lnTo>
                    <a:lnTo>
                      <a:pt x="115" y="79"/>
                    </a:lnTo>
                    <a:lnTo>
                      <a:pt x="92" y="97"/>
                    </a:lnTo>
                    <a:lnTo>
                      <a:pt x="85" y="102"/>
                    </a:lnTo>
                    <a:lnTo>
                      <a:pt x="77" y="99"/>
                    </a:lnTo>
                    <a:lnTo>
                      <a:pt x="74" y="101"/>
                    </a:lnTo>
                    <a:lnTo>
                      <a:pt x="74" y="107"/>
                    </a:lnTo>
                    <a:lnTo>
                      <a:pt x="71" y="109"/>
                    </a:lnTo>
                    <a:lnTo>
                      <a:pt x="66" y="107"/>
                    </a:lnTo>
                    <a:lnTo>
                      <a:pt x="60" y="110"/>
                    </a:lnTo>
                    <a:lnTo>
                      <a:pt x="63" y="117"/>
                    </a:lnTo>
                    <a:lnTo>
                      <a:pt x="59" y="120"/>
                    </a:lnTo>
                    <a:lnTo>
                      <a:pt x="59" y="128"/>
                    </a:lnTo>
                    <a:lnTo>
                      <a:pt x="61" y="134"/>
                    </a:lnTo>
                    <a:lnTo>
                      <a:pt x="53" y="131"/>
                    </a:lnTo>
                    <a:lnTo>
                      <a:pt x="28" y="108"/>
                    </a:lnTo>
                    <a:lnTo>
                      <a:pt x="26" y="106"/>
                    </a:lnTo>
                    <a:lnTo>
                      <a:pt x="34" y="104"/>
                    </a:lnTo>
                    <a:lnTo>
                      <a:pt x="43" y="108"/>
                    </a:lnTo>
                    <a:lnTo>
                      <a:pt x="49" y="106"/>
                    </a:lnTo>
                    <a:lnTo>
                      <a:pt x="49" y="99"/>
                    </a:lnTo>
                    <a:lnTo>
                      <a:pt x="44" y="95"/>
                    </a:lnTo>
                    <a:lnTo>
                      <a:pt x="39" y="83"/>
                    </a:lnTo>
                    <a:lnTo>
                      <a:pt x="37" y="88"/>
                    </a:lnTo>
                    <a:lnTo>
                      <a:pt x="33" y="93"/>
                    </a:lnTo>
                    <a:lnTo>
                      <a:pt x="17" y="92"/>
                    </a:lnTo>
                    <a:lnTo>
                      <a:pt x="20" y="86"/>
                    </a:lnTo>
                    <a:lnTo>
                      <a:pt x="20" y="81"/>
                    </a:lnTo>
                    <a:lnTo>
                      <a:pt x="10" y="77"/>
                    </a:lnTo>
                    <a:lnTo>
                      <a:pt x="7" y="74"/>
                    </a:lnTo>
                    <a:lnTo>
                      <a:pt x="7" y="66"/>
                    </a:lnTo>
                    <a:lnTo>
                      <a:pt x="6" y="65"/>
                    </a:lnTo>
                    <a:lnTo>
                      <a:pt x="0" y="66"/>
                    </a:lnTo>
                    <a:lnTo>
                      <a:pt x="1" y="60"/>
                    </a:lnTo>
                    <a:lnTo>
                      <a:pt x="1" y="50"/>
                    </a:lnTo>
                    <a:lnTo>
                      <a:pt x="2" y="40"/>
                    </a:lnTo>
                    <a:lnTo>
                      <a:pt x="1" y="31"/>
                    </a:lnTo>
                    <a:lnTo>
                      <a:pt x="2" y="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64" name="Freeform 238"/>
              <p:cNvSpPr>
                <a:spLocks noChangeAspect="1"/>
              </p:cNvSpPr>
              <p:nvPr/>
            </p:nvSpPr>
            <p:spPr bwMode="gray">
              <a:xfrm>
                <a:off x="1712" y="2353"/>
                <a:ext cx="148" cy="126"/>
              </a:xfrm>
              <a:custGeom>
                <a:avLst/>
                <a:gdLst/>
                <a:ahLst/>
                <a:cxnLst>
                  <a:cxn ang="0">
                    <a:pos x="84" y="47"/>
                  </a:cxn>
                  <a:cxn ang="0">
                    <a:pos x="97" y="77"/>
                  </a:cxn>
                  <a:cxn ang="0">
                    <a:pos x="73" y="133"/>
                  </a:cxn>
                  <a:cxn ang="0">
                    <a:pos x="98" y="176"/>
                  </a:cxn>
                  <a:cxn ang="0">
                    <a:pos x="126" y="148"/>
                  </a:cxn>
                  <a:cxn ang="0">
                    <a:pos x="108" y="74"/>
                  </a:cxn>
                  <a:cxn ang="0">
                    <a:pos x="196" y="42"/>
                  </a:cxn>
                  <a:cxn ang="0">
                    <a:pos x="169" y="27"/>
                  </a:cxn>
                  <a:cxn ang="0">
                    <a:pos x="191" y="2"/>
                  </a:cxn>
                  <a:cxn ang="0">
                    <a:pos x="243" y="46"/>
                  </a:cxn>
                  <a:cxn ang="0">
                    <a:pos x="285" y="88"/>
                  </a:cxn>
                  <a:cxn ang="0">
                    <a:pos x="366" y="88"/>
                  </a:cxn>
                  <a:cxn ang="0">
                    <a:pos x="411" y="106"/>
                  </a:cxn>
                  <a:cxn ang="0">
                    <a:pos x="495" y="99"/>
                  </a:cxn>
                  <a:cxn ang="0">
                    <a:pos x="499" y="88"/>
                  </a:cxn>
                  <a:cxn ang="0">
                    <a:pos x="621" y="86"/>
                  </a:cxn>
                  <a:cxn ang="0">
                    <a:pos x="573" y="95"/>
                  </a:cxn>
                  <a:cxn ang="0">
                    <a:pos x="593" y="117"/>
                  </a:cxn>
                  <a:cxn ang="0">
                    <a:pos x="663" y="150"/>
                  </a:cxn>
                  <a:cxn ang="0">
                    <a:pos x="689" y="197"/>
                  </a:cxn>
                  <a:cxn ang="0">
                    <a:pos x="695" y="211"/>
                  </a:cxn>
                  <a:cxn ang="0">
                    <a:pos x="737" y="209"/>
                  </a:cxn>
                  <a:cxn ang="0">
                    <a:pos x="728" y="231"/>
                  </a:cxn>
                  <a:cxn ang="0">
                    <a:pos x="689" y="252"/>
                  </a:cxn>
                  <a:cxn ang="0">
                    <a:pos x="702" y="279"/>
                  </a:cxn>
                  <a:cxn ang="0">
                    <a:pos x="673" y="321"/>
                  </a:cxn>
                  <a:cxn ang="0">
                    <a:pos x="674" y="359"/>
                  </a:cxn>
                  <a:cxn ang="0">
                    <a:pos x="699" y="401"/>
                  </a:cxn>
                  <a:cxn ang="0">
                    <a:pos x="646" y="432"/>
                  </a:cxn>
                  <a:cxn ang="0">
                    <a:pos x="568" y="459"/>
                  </a:cxn>
                  <a:cxn ang="0">
                    <a:pos x="474" y="437"/>
                  </a:cxn>
                  <a:cxn ang="0">
                    <a:pos x="497" y="467"/>
                  </a:cxn>
                  <a:cxn ang="0">
                    <a:pos x="501" y="524"/>
                  </a:cxn>
                  <a:cxn ang="0">
                    <a:pos x="546" y="550"/>
                  </a:cxn>
                  <a:cxn ang="0">
                    <a:pos x="518" y="565"/>
                  </a:cxn>
                  <a:cxn ang="0">
                    <a:pos x="486" y="593"/>
                  </a:cxn>
                  <a:cxn ang="0">
                    <a:pos x="452" y="607"/>
                  </a:cxn>
                  <a:cxn ang="0">
                    <a:pos x="402" y="631"/>
                  </a:cxn>
                  <a:cxn ang="0">
                    <a:pos x="361" y="612"/>
                  </a:cxn>
                  <a:cxn ang="0">
                    <a:pos x="321" y="532"/>
                  </a:cxn>
                  <a:cxn ang="0">
                    <a:pos x="328" y="492"/>
                  </a:cxn>
                  <a:cxn ang="0">
                    <a:pos x="315" y="459"/>
                  </a:cxn>
                  <a:cxn ang="0">
                    <a:pos x="299" y="419"/>
                  </a:cxn>
                  <a:cxn ang="0">
                    <a:pos x="314" y="357"/>
                  </a:cxn>
                  <a:cxn ang="0">
                    <a:pos x="314" y="330"/>
                  </a:cxn>
                  <a:cxn ang="0">
                    <a:pos x="253" y="337"/>
                  </a:cxn>
                  <a:cxn ang="0">
                    <a:pos x="217" y="338"/>
                  </a:cxn>
                  <a:cxn ang="0">
                    <a:pos x="169" y="289"/>
                  </a:cxn>
                  <a:cxn ang="0">
                    <a:pos x="90" y="287"/>
                  </a:cxn>
                  <a:cxn ang="0">
                    <a:pos x="52" y="229"/>
                  </a:cxn>
                  <a:cxn ang="0">
                    <a:pos x="31" y="196"/>
                  </a:cxn>
                  <a:cxn ang="0">
                    <a:pos x="14" y="140"/>
                  </a:cxn>
                  <a:cxn ang="0">
                    <a:pos x="79" y="29"/>
                  </a:cxn>
                </a:cxnLst>
                <a:rect l="0" t="0" r="r" b="b"/>
                <a:pathLst>
                  <a:path w="743" h="631">
                    <a:moveTo>
                      <a:pt x="109" y="21"/>
                    </a:moveTo>
                    <a:lnTo>
                      <a:pt x="99" y="29"/>
                    </a:lnTo>
                    <a:lnTo>
                      <a:pt x="88" y="31"/>
                    </a:lnTo>
                    <a:lnTo>
                      <a:pt x="82" y="35"/>
                    </a:lnTo>
                    <a:lnTo>
                      <a:pt x="82" y="39"/>
                    </a:lnTo>
                    <a:lnTo>
                      <a:pt x="84" y="47"/>
                    </a:lnTo>
                    <a:lnTo>
                      <a:pt x="87" y="56"/>
                    </a:lnTo>
                    <a:lnTo>
                      <a:pt x="94" y="66"/>
                    </a:lnTo>
                    <a:lnTo>
                      <a:pt x="95" y="69"/>
                    </a:lnTo>
                    <a:lnTo>
                      <a:pt x="93" y="72"/>
                    </a:lnTo>
                    <a:lnTo>
                      <a:pt x="93" y="73"/>
                    </a:lnTo>
                    <a:lnTo>
                      <a:pt x="97" y="77"/>
                    </a:lnTo>
                    <a:lnTo>
                      <a:pt x="97" y="83"/>
                    </a:lnTo>
                    <a:lnTo>
                      <a:pt x="93" y="95"/>
                    </a:lnTo>
                    <a:lnTo>
                      <a:pt x="78" y="109"/>
                    </a:lnTo>
                    <a:lnTo>
                      <a:pt x="76" y="111"/>
                    </a:lnTo>
                    <a:lnTo>
                      <a:pt x="73" y="118"/>
                    </a:lnTo>
                    <a:lnTo>
                      <a:pt x="73" y="133"/>
                    </a:lnTo>
                    <a:lnTo>
                      <a:pt x="74" y="140"/>
                    </a:lnTo>
                    <a:lnTo>
                      <a:pt x="78" y="145"/>
                    </a:lnTo>
                    <a:lnTo>
                      <a:pt x="87" y="152"/>
                    </a:lnTo>
                    <a:lnTo>
                      <a:pt x="93" y="165"/>
                    </a:lnTo>
                    <a:lnTo>
                      <a:pt x="95" y="174"/>
                    </a:lnTo>
                    <a:lnTo>
                      <a:pt x="98" y="176"/>
                    </a:lnTo>
                    <a:lnTo>
                      <a:pt x="105" y="176"/>
                    </a:lnTo>
                    <a:lnTo>
                      <a:pt x="113" y="174"/>
                    </a:lnTo>
                    <a:lnTo>
                      <a:pt x="119" y="169"/>
                    </a:lnTo>
                    <a:lnTo>
                      <a:pt x="125" y="161"/>
                    </a:lnTo>
                    <a:lnTo>
                      <a:pt x="126" y="159"/>
                    </a:lnTo>
                    <a:lnTo>
                      <a:pt x="126" y="148"/>
                    </a:lnTo>
                    <a:lnTo>
                      <a:pt x="125" y="134"/>
                    </a:lnTo>
                    <a:lnTo>
                      <a:pt x="115" y="117"/>
                    </a:lnTo>
                    <a:lnTo>
                      <a:pt x="109" y="110"/>
                    </a:lnTo>
                    <a:lnTo>
                      <a:pt x="104" y="101"/>
                    </a:lnTo>
                    <a:lnTo>
                      <a:pt x="104" y="77"/>
                    </a:lnTo>
                    <a:lnTo>
                      <a:pt x="108" y="74"/>
                    </a:lnTo>
                    <a:lnTo>
                      <a:pt x="110" y="70"/>
                    </a:lnTo>
                    <a:lnTo>
                      <a:pt x="111" y="68"/>
                    </a:lnTo>
                    <a:lnTo>
                      <a:pt x="120" y="66"/>
                    </a:lnTo>
                    <a:lnTo>
                      <a:pt x="140" y="53"/>
                    </a:lnTo>
                    <a:lnTo>
                      <a:pt x="173" y="43"/>
                    </a:lnTo>
                    <a:lnTo>
                      <a:pt x="196" y="42"/>
                    </a:lnTo>
                    <a:lnTo>
                      <a:pt x="196" y="36"/>
                    </a:lnTo>
                    <a:lnTo>
                      <a:pt x="195" y="32"/>
                    </a:lnTo>
                    <a:lnTo>
                      <a:pt x="190" y="30"/>
                    </a:lnTo>
                    <a:lnTo>
                      <a:pt x="174" y="29"/>
                    </a:lnTo>
                    <a:lnTo>
                      <a:pt x="172" y="27"/>
                    </a:lnTo>
                    <a:lnTo>
                      <a:pt x="169" y="27"/>
                    </a:lnTo>
                    <a:lnTo>
                      <a:pt x="168" y="25"/>
                    </a:lnTo>
                    <a:lnTo>
                      <a:pt x="169" y="18"/>
                    </a:lnTo>
                    <a:lnTo>
                      <a:pt x="175" y="5"/>
                    </a:lnTo>
                    <a:lnTo>
                      <a:pt x="181" y="0"/>
                    </a:lnTo>
                    <a:lnTo>
                      <a:pt x="186" y="0"/>
                    </a:lnTo>
                    <a:lnTo>
                      <a:pt x="191" y="2"/>
                    </a:lnTo>
                    <a:lnTo>
                      <a:pt x="192" y="4"/>
                    </a:lnTo>
                    <a:lnTo>
                      <a:pt x="201" y="29"/>
                    </a:lnTo>
                    <a:lnTo>
                      <a:pt x="201" y="29"/>
                    </a:lnTo>
                    <a:lnTo>
                      <a:pt x="207" y="40"/>
                    </a:lnTo>
                    <a:lnTo>
                      <a:pt x="223" y="42"/>
                    </a:lnTo>
                    <a:lnTo>
                      <a:pt x="243" y="46"/>
                    </a:lnTo>
                    <a:lnTo>
                      <a:pt x="246" y="46"/>
                    </a:lnTo>
                    <a:lnTo>
                      <a:pt x="260" y="50"/>
                    </a:lnTo>
                    <a:lnTo>
                      <a:pt x="271" y="56"/>
                    </a:lnTo>
                    <a:lnTo>
                      <a:pt x="276" y="61"/>
                    </a:lnTo>
                    <a:lnTo>
                      <a:pt x="280" y="77"/>
                    </a:lnTo>
                    <a:lnTo>
                      <a:pt x="285" y="88"/>
                    </a:lnTo>
                    <a:lnTo>
                      <a:pt x="286" y="90"/>
                    </a:lnTo>
                    <a:lnTo>
                      <a:pt x="292" y="95"/>
                    </a:lnTo>
                    <a:lnTo>
                      <a:pt x="303" y="95"/>
                    </a:lnTo>
                    <a:lnTo>
                      <a:pt x="329" y="90"/>
                    </a:lnTo>
                    <a:lnTo>
                      <a:pt x="340" y="91"/>
                    </a:lnTo>
                    <a:lnTo>
                      <a:pt x="366" y="88"/>
                    </a:lnTo>
                    <a:lnTo>
                      <a:pt x="395" y="88"/>
                    </a:lnTo>
                    <a:lnTo>
                      <a:pt x="398" y="89"/>
                    </a:lnTo>
                    <a:lnTo>
                      <a:pt x="401" y="91"/>
                    </a:lnTo>
                    <a:lnTo>
                      <a:pt x="405" y="97"/>
                    </a:lnTo>
                    <a:lnTo>
                      <a:pt x="405" y="101"/>
                    </a:lnTo>
                    <a:lnTo>
                      <a:pt x="411" y="106"/>
                    </a:lnTo>
                    <a:lnTo>
                      <a:pt x="422" y="112"/>
                    </a:lnTo>
                    <a:lnTo>
                      <a:pt x="432" y="115"/>
                    </a:lnTo>
                    <a:lnTo>
                      <a:pt x="450" y="115"/>
                    </a:lnTo>
                    <a:lnTo>
                      <a:pt x="476" y="110"/>
                    </a:lnTo>
                    <a:lnTo>
                      <a:pt x="484" y="106"/>
                    </a:lnTo>
                    <a:lnTo>
                      <a:pt x="495" y="99"/>
                    </a:lnTo>
                    <a:lnTo>
                      <a:pt x="512" y="99"/>
                    </a:lnTo>
                    <a:lnTo>
                      <a:pt x="523" y="96"/>
                    </a:lnTo>
                    <a:lnTo>
                      <a:pt x="527" y="94"/>
                    </a:lnTo>
                    <a:lnTo>
                      <a:pt x="525" y="91"/>
                    </a:lnTo>
                    <a:lnTo>
                      <a:pt x="506" y="90"/>
                    </a:lnTo>
                    <a:lnTo>
                      <a:pt x="499" y="88"/>
                    </a:lnTo>
                    <a:lnTo>
                      <a:pt x="499" y="88"/>
                    </a:lnTo>
                    <a:lnTo>
                      <a:pt x="506" y="84"/>
                    </a:lnTo>
                    <a:lnTo>
                      <a:pt x="520" y="83"/>
                    </a:lnTo>
                    <a:lnTo>
                      <a:pt x="608" y="83"/>
                    </a:lnTo>
                    <a:lnTo>
                      <a:pt x="620" y="86"/>
                    </a:lnTo>
                    <a:lnTo>
                      <a:pt x="621" y="86"/>
                    </a:lnTo>
                    <a:lnTo>
                      <a:pt x="619" y="88"/>
                    </a:lnTo>
                    <a:lnTo>
                      <a:pt x="606" y="90"/>
                    </a:lnTo>
                    <a:lnTo>
                      <a:pt x="605" y="93"/>
                    </a:lnTo>
                    <a:lnTo>
                      <a:pt x="600" y="95"/>
                    </a:lnTo>
                    <a:lnTo>
                      <a:pt x="587" y="93"/>
                    </a:lnTo>
                    <a:lnTo>
                      <a:pt x="573" y="95"/>
                    </a:lnTo>
                    <a:lnTo>
                      <a:pt x="570" y="99"/>
                    </a:lnTo>
                    <a:lnTo>
                      <a:pt x="571" y="102"/>
                    </a:lnTo>
                    <a:lnTo>
                      <a:pt x="579" y="106"/>
                    </a:lnTo>
                    <a:lnTo>
                      <a:pt x="583" y="107"/>
                    </a:lnTo>
                    <a:lnTo>
                      <a:pt x="590" y="111"/>
                    </a:lnTo>
                    <a:lnTo>
                      <a:pt x="593" y="117"/>
                    </a:lnTo>
                    <a:lnTo>
                      <a:pt x="599" y="122"/>
                    </a:lnTo>
                    <a:lnTo>
                      <a:pt x="600" y="129"/>
                    </a:lnTo>
                    <a:lnTo>
                      <a:pt x="604" y="134"/>
                    </a:lnTo>
                    <a:lnTo>
                      <a:pt x="621" y="132"/>
                    </a:lnTo>
                    <a:lnTo>
                      <a:pt x="638" y="136"/>
                    </a:lnTo>
                    <a:lnTo>
                      <a:pt x="663" y="150"/>
                    </a:lnTo>
                    <a:lnTo>
                      <a:pt x="670" y="152"/>
                    </a:lnTo>
                    <a:lnTo>
                      <a:pt x="678" y="159"/>
                    </a:lnTo>
                    <a:lnTo>
                      <a:pt x="686" y="172"/>
                    </a:lnTo>
                    <a:lnTo>
                      <a:pt x="687" y="177"/>
                    </a:lnTo>
                    <a:lnTo>
                      <a:pt x="689" y="193"/>
                    </a:lnTo>
                    <a:lnTo>
                      <a:pt x="689" y="197"/>
                    </a:lnTo>
                    <a:lnTo>
                      <a:pt x="686" y="199"/>
                    </a:lnTo>
                    <a:lnTo>
                      <a:pt x="676" y="203"/>
                    </a:lnTo>
                    <a:lnTo>
                      <a:pt x="676" y="206"/>
                    </a:lnTo>
                    <a:lnTo>
                      <a:pt x="679" y="207"/>
                    </a:lnTo>
                    <a:lnTo>
                      <a:pt x="689" y="208"/>
                    </a:lnTo>
                    <a:lnTo>
                      <a:pt x="695" y="211"/>
                    </a:lnTo>
                    <a:lnTo>
                      <a:pt x="701" y="211"/>
                    </a:lnTo>
                    <a:lnTo>
                      <a:pt x="705" y="209"/>
                    </a:lnTo>
                    <a:lnTo>
                      <a:pt x="712" y="202"/>
                    </a:lnTo>
                    <a:lnTo>
                      <a:pt x="721" y="201"/>
                    </a:lnTo>
                    <a:lnTo>
                      <a:pt x="727" y="203"/>
                    </a:lnTo>
                    <a:lnTo>
                      <a:pt x="737" y="209"/>
                    </a:lnTo>
                    <a:lnTo>
                      <a:pt x="741" y="214"/>
                    </a:lnTo>
                    <a:lnTo>
                      <a:pt x="743" y="217"/>
                    </a:lnTo>
                    <a:lnTo>
                      <a:pt x="743" y="225"/>
                    </a:lnTo>
                    <a:lnTo>
                      <a:pt x="739" y="228"/>
                    </a:lnTo>
                    <a:lnTo>
                      <a:pt x="734" y="228"/>
                    </a:lnTo>
                    <a:lnTo>
                      <a:pt x="728" y="231"/>
                    </a:lnTo>
                    <a:lnTo>
                      <a:pt x="724" y="234"/>
                    </a:lnTo>
                    <a:lnTo>
                      <a:pt x="708" y="241"/>
                    </a:lnTo>
                    <a:lnTo>
                      <a:pt x="705" y="245"/>
                    </a:lnTo>
                    <a:lnTo>
                      <a:pt x="702" y="247"/>
                    </a:lnTo>
                    <a:lnTo>
                      <a:pt x="691" y="250"/>
                    </a:lnTo>
                    <a:lnTo>
                      <a:pt x="689" y="252"/>
                    </a:lnTo>
                    <a:lnTo>
                      <a:pt x="686" y="258"/>
                    </a:lnTo>
                    <a:lnTo>
                      <a:pt x="686" y="267"/>
                    </a:lnTo>
                    <a:lnTo>
                      <a:pt x="689" y="279"/>
                    </a:lnTo>
                    <a:lnTo>
                      <a:pt x="694" y="281"/>
                    </a:lnTo>
                    <a:lnTo>
                      <a:pt x="700" y="279"/>
                    </a:lnTo>
                    <a:lnTo>
                      <a:pt x="702" y="279"/>
                    </a:lnTo>
                    <a:lnTo>
                      <a:pt x="707" y="284"/>
                    </a:lnTo>
                    <a:lnTo>
                      <a:pt x="702" y="290"/>
                    </a:lnTo>
                    <a:lnTo>
                      <a:pt x="691" y="298"/>
                    </a:lnTo>
                    <a:lnTo>
                      <a:pt x="674" y="304"/>
                    </a:lnTo>
                    <a:lnTo>
                      <a:pt x="673" y="306"/>
                    </a:lnTo>
                    <a:lnTo>
                      <a:pt x="673" y="321"/>
                    </a:lnTo>
                    <a:lnTo>
                      <a:pt x="669" y="327"/>
                    </a:lnTo>
                    <a:lnTo>
                      <a:pt x="663" y="336"/>
                    </a:lnTo>
                    <a:lnTo>
                      <a:pt x="662" y="337"/>
                    </a:lnTo>
                    <a:lnTo>
                      <a:pt x="662" y="341"/>
                    </a:lnTo>
                    <a:lnTo>
                      <a:pt x="662" y="343"/>
                    </a:lnTo>
                    <a:lnTo>
                      <a:pt x="674" y="359"/>
                    </a:lnTo>
                    <a:lnTo>
                      <a:pt x="685" y="370"/>
                    </a:lnTo>
                    <a:lnTo>
                      <a:pt x="689" y="378"/>
                    </a:lnTo>
                    <a:lnTo>
                      <a:pt x="695" y="384"/>
                    </a:lnTo>
                    <a:lnTo>
                      <a:pt x="699" y="386"/>
                    </a:lnTo>
                    <a:lnTo>
                      <a:pt x="699" y="389"/>
                    </a:lnTo>
                    <a:lnTo>
                      <a:pt x="699" y="401"/>
                    </a:lnTo>
                    <a:lnTo>
                      <a:pt x="687" y="414"/>
                    </a:lnTo>
                    <a:lnTo>
                      <a:pt x="680" y="421"/>
                    </a:lnTo>
                    <a:lnTo>
                      <a:pt x="676" y="423"/>
                    </a:lnTo>
                    <a:lnTo>
                      <a:pt x="660" y="424"/>
                    </a:lnTo>
                    <a:lnTo>
                      <a:pt x="654" y="428"/>
                    </a:lnTo>
                    <a:lnTo>
                      <a:pt x="646" y="432"/>
                    </a:lnTo>
                    <a:lnTo>
                      <a:pt x="640" y="440"/>
                    </a:lnTo>
                    <a:lnTo>
                      <a:pt x="635" y="443"/>
                    </a:lnTo>
                    <a:lnTo>
                      <a:pt x="606" y="445"/>
                    </a:lnTo>
                    <a:lnTo>
                      <a:pt x="590" y="449"/>
                    </a:lnTo>
                    <a:lnTo>
                      <a:pt x="572" y="455"/>
                    </a:lnTo>
                    <a:lnTo>
                      <a:pt x="568" y="459"/>
                    </a:lnTo>
                    <a:lnTo>
                      <a:pt x="567" y="460"/>
                    </a:lnTo>
                    <a:lnTo>
                      <a:pt x="542" y="459"/>
                    </a:lnTo>
                    <a:lnTo>
                      <a:pt x="524" y="454"/>
                    </a:lnTo>
                    <a:lnTo>
                      <a:pt x="503" y="441"/>
                    </a:lnTo>
                    <a:lnTo>
                      <a:pt x="481" y="439"/>
                    </a:lnTo>
                    <a:lnTo>
                      <a:pt x="474" y="437"/>
                    </a:lnTo>
                    <a:lnTo>
                      <a:pt x="470" y="437"/>
                    </a:lnTo>
                    <a:lnTo>
                      <a:pt x="469" y="437"/>
                    </a:lnTo>
                    <a:lnTo>
                      <a:pt x="470" y="446"/>
                    </a:lnTo>
                    <a:lnTo>
                      <a:pt x="474" y="455"/>
                    </a:lnTo>
                    <a:lnTo>
                      <a:pt x="485" y="460"/>
                    </a:lnTo>
                    <a:lnTo>
                      <a:pt x="497" y="467"/>
                    </a:lnTo>
                    <a:lnTo>
                      <a:pt x="499" y="470"/>
                    </a:lnTo>
                    <a:lnTo>
                      <a:pt x="498" y="482"/>
                    </a:lnTo>
                    <a:lnTo>
                      <a:pt x="495" y="495"/>
                    </a:lnTo>
                    <a:lnTo>
                      <a:pt x="495" y="502"/>
                    </a:lnTo>
                    <a:lnTo>
                      <a:pt x="496" y="507"/>
                    </a:lnTo>
                    <a:lnTo>
                      <a:pt x="501" y="524"/>
                    </a:lnTo>
                    <a:lnTo>
                      <a:pt x="502" y="532"/>
                    </a:lnTo>
                    <a:lnTo>
                      <a:pt x="503" y="538"/>
                    </a:lnTo>
                    <a:lnTo>
                      <a:pt x="518" y="541"/>
                    </a:lnTo>
                    <a:lnTo>
                      <a:pt x="522" y="542"/>
                    </a:lnTo>
                    <a:lnTo>
                      <a:pt x="546" y="541"/>
                    </a:lnTo>
                    <a:lnTo>
                      <a:pt x="546" y="550"/>
                    </a:lnTo>
                    <a:lnTo>
                      <a:pt x="546" y="551"/>
                    </a:lnTo>
                    <a:lnTo>
                      <a:pt x="544" y="554"/>
                    </a:lnTo>
                    <a:lnTo>
                      <a:pt x="533" y="556"/>
                    </a:lnTo>
                    <a:lnTo>
                      <a:pt x="525" y="559"/>
                    </a:lnTo>
                    <a:lnTo>
                      <a:pt x="524" y="562"/>
                    </a:lnTo>
                    <a:lnTo>
                      <a:pt x="518" y="565"/>
                    </a:lnTo>
                    <a:lnTo>
                      <a:pt x="511" y="565"/>
                    </a:lnTo>
                    <a:lnTo>
                      <a:pt x="506" y="573"/>
                    </a:lnTo>
                    <a:lnTo>
                      <a:pt x="499" y="588"/>
                    </a:lnTo>
                    <a:lnTo>
                      <a:pt x="496" y="591"/>
                    </a:lnTo>
                    <a:lnTo>
                      <a:pt x="491" y="593"/>
                    </a:lnTo>
                    <a:lnTo>
                      <a:pt x="486" y="593"/>
                    </a:lnTo>
                    <a:lnTo>
                      <a:pt x="480" y="596"/>
                    </a:lnTo>
                    <a:lnTo>
                      <a:pt x="477" y="597"/>
                    </a:lnTo>
                    <a:lnTo>
                      <a:pt x="475" y="602"/>
                    </a:lnTo>
                    <a:lnTo>
                      <a:pt x="466" y="602"/>
                    </a:lnTo>
                    <a:lnTo>
                      <a:pt x="454" y="607"/>
                    </a:lnTo>
                    <a:lnTo>
                      <a:pt x="452" y="607"/>
                    </a:lnTo>
                    <a:lnTo>
                      <a:pt x="444" y="611"/>
                    </a:lnTo>
                    <a:lnTo>
                      <a:pt x="436" y="615"/>
                    </a:lnTo>
                    <a:lnTo>
                      <a:pt x="431" y="618"/>
                    </a:lnTo>
                    <a:lnTo>
                      <a:pt x="423" y="626"/>
                    </a:lnTo>
                    <a:lnTo>
                      <a:pt x="421" y="627"/>
                    </a:lnTo>
                    <a:lnTo>
                      <a:pt x="402" y="631"/>
                    </a:lnTo>
                    <a:lnTo>
                      <a:pt x="385" y="631"/>
                    </a:lnTo>
                    <a:lnTo>
                      <a:pt x="383" y="629"/>
                    </a:lnTo>
                    <a:lnTo>
                      <a:pt x="380" y="629"/>
                    </a:lnTo>
                    <a:lnTo>
                      <a:pt x="368" y="621"/>
                    </a:lnTo>
                    <a:lnTo>
                      <a:pt x="364" y="617"/>
                    </a:lnTo>
                    <a:lnTo>
                      <a:pt x="361" y="612"/>
                    </a:lnTo>
                    <a:lnTo>
                      <a:pt x="358" y="607"/>
                    </a:lnTo>
                    <a:lnTo>
                      <a:pt x="353" y="600"/>
                    </a:lnTo>
                    <a:lnTo>
                      <a:pt x="348" y="591"/>
                    </a:lnTo>
                    <a:lnTo>
                      <a:pt x="346" y="580"/>
                    </a:lnTo>
                    <a:lnTo>
                      <a:pt x="330" y="543"/>
                    </a:lnTo>
                    <a:lnTo>
                      <a:pt x="321" y="532"/>
                    </a:lnTo>
                    <a:lnTo>
                      <a:pt x="304" y="519"/>
                    </a:lnTo>
                    <a:lnTo>
                      <a:pt x="304" y="515"/>
                    </a:lnTo>
                    <a:lnTo>
                      <a:pt x="316" y="504"/>
                    </a:lnTo>
                    <a:lnTo>
                      <a:pt x="321" y="497"/>
                    </a:lnTo>
                    <a:lnTo>
                      <a:pt x="324" y="495"/>
                    </a:lnTo>
                    <a:lnTo>
                      <a:pt x="328" y="492"/>
                    </a:lnTo>
                    <a:lnTo>
                      <a:pt x="330" y="491"/>
                    </a:lnTo>
                    <a:lnTo>
                      <a:pt x="331" y="488"/>
                    </a:lnTo>
                    <a:lnTo>
                      <a:pt x="330" y="481"/>
                    </a:lnTo>
                    <a:lnTo>
                      <a:pt x="328" y="476"/>
                    </a:lnTo>
                    <a:lnTo>
                      <a:pt x="323" y="467"/>
                    </a:lnTo>
                    <a:lnTo>
                      <a:pt x="315" y="459"/>
                    </a:lnTo>
                    <a:lnTo>
                      <a:pt x="308" y="454"/>
                    </a:lnTo>
                    <a:lnTo>
                      <a:pt x="307" y="451"/>
                    </a:lnTo>
                    <a:lnTo>
                      <a:pt x="305" y="441"/>
                    </a:lnTo>
                    <a:lnTo>
                      <a:pt x="303" y="435"/>
                    </a:lnTo>
                    <a:lnTo>
                      <a:pt x="303" y="427"/>
                    </a:lnTo>
                    <a:lnTo>
                      <a:pt x="299" y="419"/>
                    </a:lnTo>
                    <a:lnTo>
                      <a:pt x="299" y="407"/>
                    </a:lnTo>
                    <a:lnTo>
                      <a:pt x="303" y="401"/>
                    </a:lnTo>
                    <a:lnTo>
                      <a:pt x="305" y="391"/>
                    </a:lnTo>
                    <a:lnTo>
                      <a:pt x="305" y="380"/>
                    </a:lnTo>
                    <a:lnTo>
                      <a:pt x="314" y="370"/>
                    </a:lnTo>
                    <a:lnTo>
                      <a:pt x="314" y="357"/>
                    </a:lnTo>
                    <a:lnTo>
                      <a:pt x="316" y="352"/>
                    </a:lnTo>
                    <a:lnTo>
                      <a:pt x="323" y="346"/>
                    </a:lnTo>
                    <a:lnTo>
                      <a:pt x="323" y="341"/>
                    </a:lnTo>
                    <a:lnTo>
                      <a:pt x="320" y="332"/>
                    </a:lnTo>
                    <a:lnTo>
                      <a:pt x="318" y="330"/>
                    </a:lnTo>
                    <a:lnTo>
                      <a:pt x="314" y="330"/>
                    </a:lnTo>
                    <a:lnTo>
                      <a:pt x="304" y="330"/>
                    </a:lnTo>
                    <a:lnTo>
                      <a:pt x="285" y="338"/>
                    </a:lnTo>
                    <a:lnTo>
                      <a:pt x="273" y="341"/>
                    </a:lnTo>
                    <a:lnTo>
                      <a:pt x="266" y="341"/>
                    </a:lnTo>
                    <a:lnTo>
                      <a:pt x="257" y="338"/>
                    </a:lnTo>
                    <a:lnTo>
                      <a:pt x="253" y="337"/>
                    </a:lnTo>
                    <a:lnTo>
                      <a:pt x="248" y="335"/>
                    </a:lnTo>
                    <a:lnTo>
                      <a:pt x="242" y="333"/>
                    </a:lnTo>
                    <a:lnTo>
                      <a:pt x="234" y="336"/>
                    </a:lnTo>
                    <a:lnTo>
                      <a:pt x="232" y="338"/>
                    </a:lnTo>
                    <a:lnTo>
                      <a:pt x="226" y="338"/>
                    </a:lnTo>
                    <a:lnTo>
                      <a:pt x="217" y="338"/>
                    </a:lnTo>
                    <a:lnTo>
                      <a:pt x="213" y="336"/>
                    </a:lnTo>
                    <a:lnTo>
                      <a:pt x="212" y="336"/>
                    </a:lnTo>
                    <a:lnTo>
                      <a:pt x="184" y="295"/>
                    </a:lnTo>
                    <a:lnTo>
                      <a:pt x="183" y="293"/>
                    </a:lnTo>
                    <a:lnTo>
                      <a:pt x="180" y="290"/>
                    </a:lnTo>
                    <a:lnTo>
                      <a:pt x="169" y="289"/>
                    </a:lnTo>
                    <a:lnTo>
                      <a:pt x="163" y="285"/>
                    </a:lnTo>
                    <a:lnTo>
                      <a:pt x="151" y="281"/>
                    </a:lnTo>
                    <a:lnTo>
                      <a:pt x="133" y="282"/>
                    </a:lnTo>
                    <a:lnTo>
                      <a:pt x="115" y="287"/>
                    </a:lnTo>
                    <a:lnTo>
                      <a:pt x="105" y="288"/>
                    </a:lnTo>
                    <a:lnTo>
                      <a:pt x="90" y="287"/>
                    </a:lnTo>
                    <a:lnTo>
                      <a:pt x="73" y="279"/>
                    </a:lnTo>
                    <a:lnTo>
                      <a:pt x="70" y="272"/>
                    </a:lnTo>
                    <a:lnTo>
                      <a:pt x="66" y="271"/>
                    </a:lnTo>
                    <a:lnTo>
                      <a:pt x="54" y="265"/>
                    </a:lnTo>
                    <a:lnTo>
                      <a:pt x="52" y="262"/>
                    </a:lnTo>
                    <a:lnTo>
                      <a:pt x="52" y="229"/>
                    </a:lnTo>
                    <a:lnTo>
                      <a:pt x="50" y="220"/>
                    </a:lnTo>
                    <a:lnTo>
                      <a:pt x="47" y="214"/>
                    </a:lnTo>
                    <a:lnTo>
                      <a:pt x="43" y="211"/>
                    </a:lnTo>
                    <a:lnTo>
                      <a:pt x="41" y="208"/>
                    </a:lnTo>
                    <a:lnTo>
                      <a:pt x="34" y="199"/>
                    </a:lnTo>
                    <a:lnTo>
                      <a:pt x="31" y="196"/>
                    </a:lnTo>
                    <a:lnTo>
                      <a:pt x="28" y="176"/>
                    </a:lnTo>
                    <a:lnTo>
                      <a:pt x="25" y="170"/>
                    </a:lnTo>
                    <a:lnTo>
                      <a:pt x="24" y="168"/>
                    </a:lnTo>
                    <a:lnTo>
                      <a:pt x="0" y="169"/>
                    </a:lnTo>
                    <a:lnTo>
                      <a:pt x="6" y="155"/>
                    </a:lnTo>
                    <a:lnTo>
                      <a:pt x="14" y="140"/>
                    </a:lnTo>
                    <a:lnTo>
                      <a:pt x="27" y="95"/>
                    </a:lnTo>
                    <a:lnTo>
                      <a:pt x="40" y="73"/>
                    </a:lnTo>
                    <a:lnTo>
                      <a:pt x="65" y="50"/>
                    </a:lnTo>
                    <a:lnTo>
                      <a:pt x="68" y="45"/>
                    </a:lnTo>
                    <a:lnTo>
                      <a:pt x="73" y="35"/>
                    </a:lnTo>
                    <a:lnTo>
                      <a:pt x="79" y="29"/>
                    </a:lnTo>
                    <a:lnTo>
                      <a:pt x="94" y="23"/>
                    </a:lnTo>
                    <a:lnTo>
                      <a:pt x="109" y="2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65" name="Freeform 239"/>
              <p:cNvSpPr>
                <a:spLocks noChangeAspect="1"/>
              </p:cNvSpPr>
              <p:nvPr/>
            </p:nvSpPr>
            <p:spPr bwMode="gray">
              <a:xfrm>
                <a:off x="1629" y="2473"/>
                <a:ext cx="62" cy="69"/>
              </a:xfrm>
              <a:custGeom>
                <a:avLst/>
                <a:gdLst/>
                <a:ahLst/>
                <a:cxnLst>
                  <a:cxn ang="0">
                    <a:pos x="112" y="2"/>
                  </a:cxn>
                  <a:cxn ang="0">
                    <a:pos x="147" y="18"/>
                  </a:cxn>
                  <a:cxn ang="0">
                    <a:pos x="189" y="41"/>
                  </a:cxn>
                  <a:cxn ang="0">
                    <a:pos x="194" y="57"/>
                  </a:cxn>
                  <a:cxn ang="0">
                    <a:pos x="209" y="62"/>
                  </a:cxn>
                  <a:cxn ang="0">
                    <a:pos x="222" y="60"/>
                  </a:cxn>
                  <a:cxn ang="0">
                    <a:pos x="253" y="62"/>
                  </a:cxn>
                  <a:cxn ang="0">
                    <a:pos x="259" y="54"/>
                  </a:cxn>
                  <a:cxn ang="0">
                    <a:pos x="271" y="56"/>
                  </a:cxn>
                  <a:cxn ang="0">
                    <a:pos x="284" y="65"/>
                  </a:cxn>
                  <a:cxn ang="0">
                    <a:pos x="304" y="76"/>
                  </a:cxn>
                  <a:cxn ang="0">
                    <a:pos x="291" y="78"/>
                  </a:cxn>
                  <a:cxn ang="0">
                    <a:pos x="295" y="89"/>
                  </a:cxn>
                  <a:cxn ang="0">
                    <a:pos x="302" y="103"/>
                  </a:cxn>
                  <a:cxn ang="0">
                    <a:pos x="311" y="125"/>
                  </a:cxn>
                  <a:cxn ang="0">
                    <a:pos x="302" y="126"/>
                  </a:cxn>
                  <a:cxn ang="0">
                    <a:pos x="280" y="165"/>
                  </a:cxn>
                  <a:cxn ang="0">
                    <a:pos x="260" y="186"/>
                  </a:cxn>
                  <a:cxn ang="0">
                    <a:pos x="241" y="207"/>
                  </a:cxn>
                  <a:cxn ang="0">
                    <a:pos x="216" y="221"/>
                  </a:cxn>
                  <a:cxn ang="0">
                    <a:pos x="162" y="239"/>
                  </a:cxn>
                  <a:cxn ang="0">
                    <a:pos x="152" y="247"/>
                  </a:cxn>
                  <a:cxn ang="0">
                    <a:pos x="146" y="266"/>
                  </a:cxn>
                  <a:cxn ang="0">
                    <a:pos x="140" y="269"/>
                  </a:cxn>
                  <a:cxn ang="0">
                    <a:pos x="134" y="265"/>
                  </a:cxn>
                  <a:cxn ang="0">
                    <a:pos x="120" y="286"/>
                  </a:cxn>
                  <a:cxn ang="0">
                    <a:pos x="118" y="320"/>
                  </a:cxn>
                  <a:cxn ang="0">
                    <a:pos x="114" y="329"/>
                  </a:cxn>
                  <a:cxn ang="0">
                    <a:pos x="97" y="340"/>
                  </a:cxn>
                  <a:cxn ang="0">
                    <a:pos x="78" y="344"/>
                  </a:cxn>
                  <a:cxn ang="0">
                    <a:pos x="71" y="330"/>
                  </a:cxn>
                  <a:cxn ang="0">
                    <a:pos x="60" y="321"/>
                  </a:cxn>
                  <a:cxn ang="0">
                    <a:pos x="46" y="318"/>
                  </a:cxn>
                  <a:cxn ang="0">
                    <a:pos x="33" y="314"/>
                  </a:cxn>
                  <a:cxn ang="0">
                    <a:pos x="21" y="320"/>
                  </a:cxn>
                  <a:cxn ang="0">
                    <a:pos x="17" y="304"/>
                  </a:cxn>
                  <a:cxn ang="0">
                    <a:pos x="15" y="297"/>
                  </a:cxn>
                  <a:cxn ang="0">
                    <a:pos x="28" y="290"/>
                  </a:cxn>
                  <a:cxn ang="0">
                    <a:pos x="32" y="276"/>
                  </a:cxn>
                  <a:cxn ang="0">
                    <a:pos x="28" y="264"/>
                  </a:cxn>
                  <a:cxn ang="0">
                    <a:pos x="27" y="261"/>
                  </a:cxn>
                  <a:cxn ang="0">
                    <a:pos x="40" y="254"/>
                  </a:cxn>
                  <a:cxn ang="0">
                    <a:pos x="53" y="243"/>
                  </a:cxn>
                  <a:cxn ang="0">
                    <a:pos x="59" y="213"/>
                  </a:cxn>
                  <a:cxn ang="0">
                    <a:pos x="53" y="205"/>
                  </a:cxn>
                  <a:cxn ang="0">
                    <a:pos x="45" y="197"/>
                  </a:cxn>
                  <a:cxn ang="0">
                    <a:pos x="30" y="217"/>
                  </a:cxn>
                  <a:cxn ang="0">
                    <a:pos x="21" y="210"/>
                  </a:cxn>
                  <a:cxn ang="0">
                    <a:pos x="2" y="199"/>
                  </a:cxn>
                  <a:cxn ang="0">
                    <a:pos x="0" y="164"/>
                  </a:cxn>
                  <a:cxn ang="0">
                    <a:pos x="1" y="130"/>
                  </a:cxn>
                  <a:cxn ang="0">
                    <a:pos x="17" y="120"/>
                  </a:cxn>
                  <a:cxn ang="0">
                    <a:pos x="26" y="97"/>
                  </a:cxn>
                  <a:cxn ang="0">
                    <a:pos x="40" y="72"/>
                  </a:cxn>
                  <a:cxn ang="0">
                    <a:pos x="44" y="60"/>
                  </a:cxn>
                  <a:cxn ang="0">
                    <a:pos x="42" y="33"/>
                  </a:cxn>
                  <a:cxn ang="0">
                    <a:pos x="66" y="27"/>
                  </a:cxn>
                  <a:cxn ang="0">
                    <a:pos x="71" y="24"/>
                  </a:cxn>
                  <a:cxn ang="0">
                    <a:pos x="88" y="9"/>
                  </a:cxn>
                  <a:cxn ang="0">
                    <a:pos x="103" y="7"/>
                  </a:cxn>
                  <a:cxn ang="0">
                    <a:pos x="109" y="0"/>
                  </a:cxn>
                </a:cxnLst>
                <a:rect l="0" t="0" r="r" b="b"/>
                <a:pathLst>
                  <a:path w="311" h="345">
                    <a:moveTo>
                      <a:pt x="109" y="0"/>
                    </a:moveTo>
                    <a:lnTo>
                      <a:pt x="112" y="2"/>
                    </a:lnTo>
                    <a:lnTo>
                      <a:pt x="115" y="5"/>
                    </a:lnTo>
                    <a:lnTo>
                      <a:pt x="147" y="18"/>
                    </a:lnTo>
                    <a:lnTo>
                      <a:pt x="177" y="33"/>
                    </a:lnTo>
                    <a:lnTo>
                      <a:pt x="189" y="41"/>
                    </a:lnTo>
                    <a:lnTo>
                      <a:pt x="191" y="46"/>
                    </a:lnTo>
                    <a:lnTo>
                      <a:pt x="194" y="57"/>
                    </a:lnTo>
                    <a:lnTo>
                      <a:pt x="196" y="61"/>
                    </a:lnTo>
                    <a:lnTo>
                      <a:pt x="209" y="62"/>
                    </a:lnTo>
                    <a:lnTo>
                      <a:pt x="217" y="60"/>
                    </a:lnTo>
                    <a:lnTo>
                      <a:pt x="222" y="60"/>
                    </a:lnTo>
                    <a:lnTo>
                      <a:pt x="243" y="62"/>
                    </a:lnTo>
                    <a:lnTo>
                      <a:pt x="253" y="62"/>
                    </a:lnTo>
                    <a:lnTo>
                      <a:pt x="254" y="60"/>
                    </a:lnTo>
                    <a:lnTo>
                      <a:pt x="259" y="54"/>
                    </a:lnTo>
                    <a:lnTo>
                      <a:pt x="264" y="54"/>
                    </a:lnTo>
                    <a:lnTo>
                      <a:pt x="271" y="56"/>
                    </a:lnTo>
                    <a:lnTo>
                      <a:pt x="277" y="62"/>
                    </a:lnTo>
                    <a:lnTo>
                      <a:pt x="284" y="65"/>
                    </a:lnTo>
                    <a:lnTo>
                      <a:pt x="298" y="76"/>
                    </a:lnTo>
                    <a:lnTo>
                      <a:pt x="304" y="76"/>
                    </a:lnTo>
                    <a:lnTo>
                      <a:pt x="302" y="78"/>
                    </a:lnTo>
                    <a:lnTo>
                      <a:pt x="291" y="78"/>
                    </a:lnTo>
                    <a:lnTo>
                      <a:pt x="290" y="87"/>
                    </a:lnTo>
                    <a:lnTo>
                      <a:pt x="295" y="89"/>
                    </a:lnTo>
                    <a:lnTo>
                      <a:pt x="297" y="92"/>
                    </a:lnTo>
                    <a:lnTo>
                      <a:pt x="302" y="103"/>
                    </a:lnTo>
                    <a:lnTo>
                      <a:pt x="303" y="108"/>
                    </a:lnTo>
                    <a:lnTo>
                      <a:pt x="311" y="125"/>
                    </a:lnTo>
                    <a:lnTo>
                      <a:pt x="311" y="126"/>
                    </a:lnTo>
                    <a:lnTo>
                      <a:pt x="302" y="126"/>
                    </a:lnTo>
                    <a:lnTo>
                      <a:pt x="295" y="141"/>
                    </a:lnTo>
                    <a:lnTo>
                      <a:pt x="280" y="165"/>
                    </a:lnTo>
                    <a:lnTo>
                      <a:pt x="268" y="180"/>
                    </a:lnTo>
                    <a:lnTo>
                      <a:pt x="260" y="186"/>
                    </a:lnTo>
                    <a:lnTo>
                      <a:pt x="250" y="195"/>
                    </a:lnTo>
                    <a:lnTo>
                      <a:pt x="241" y="207"/>
                    </a:lnTo>
                    <a:lnTo>
                      <a:pt x="232" y="213"/>
                    </a:lnTo>
                    <a:lnTo>
                      <a:pt x="216" y="221"/>
                    </a:lnTo>
                    <a:lnTo>
                      <a:pt x="180" y="232"/>
                    </a:lnTo>
                    <a:lnTo>
                      <a:pt x="162" y="239"/>
                    </a:lnTo>
                    <a:lnTo>
                      <a:pt x="155" y="244"/>
                    </a:lnTo>
                    <a:lnTo>
                      <a:pt x="152" y="247"/>
                    </a:lnTo>
                    <a:lnTo>
                      <a:pt x="147" y="256"/>
                    </a:lnTo>
                    <a:lnTo>
                      <a:pt x="146" y="266"/>
                    </a:lnTo>
                    <a:lnTo>
                      <a:pt x="142" y="269"/>
                    </a:lnTo>
                    <a:lnTo>
                      <a:pt x="140" y="269"/>
                    </a:lnTo>
                    <a:lnTo>
                      <a:pt x="136" y="265"/>
                    </a:lnTo>
                    <a:lnTo>
                      <a:pt x="134" y="265"/>
                    </a:lnTo>
                    <a:lnTo>
                      <a:pt x="134" y="266"/>
                    </a:lnTo>
                    <a:lnTo>
                      <a:pt x="120" y="286"/>
                    </a:lnTo>
                    <a:lnTo>
                      <a:pt x="118" y="299"/>
                    </a:lnTo>
                    <a:lnTo>
                      <a:pt x="118" y="320"/>
                    </a:lnTo>
                    <a:lnTo>
                      <a:pt x="115" y="328"/>
                    </a:lnTo>
                    <a:lnTo>
                      <a:pt x="114" y="329"/>
                    </a:lnTo>
                    <a:lnTo>
                      <a:pt x="104" y="333"/>
                    </a:lnTo>
                    <a:lnTo>
                      <a:pt x="97" y="340"/>
                    </a:lnTo>
                    <a:lnTo>
                      <a:pt x="86" y="345"/>
                    </a:lnTo>
                    <a:lnTo>
                      <a:pt x="78" y="344"/>
                    </a:lnTo>
                    <a:lnTo>
                      <a:pt x="73" y="336"/>
                    </a:lnTo>
                    <a:lnTo>
                      <a:pt x="71" y="330"/>
                    </a:lnTo>
                    <a:lnTo>
                      <a:pt x="66" y="321"/>
                    </a:lnTo>
                    <a:lnTo>
                      <a:pt x="60" y="321"/>
                    </a:lnTo>
                    <a:lnTo>
                      <a:pt x="50" y="321"/>
                    </a:lnTo>
                    <a:lnTo>
                      <a:pt x="46" y="318"/>
                    </a:lnTo>
                    <a:lnTo>
                      <a:pt x="43" y="314"/>
                    </a:lnTo>
                    <a:lnTo>
                      <a:pt x="33" y="314"/>
                    </a:lnTo>
                    <a:lnTo>
                      <a:pt x="26" y="319"/>
                    </a:lnTo>
                    <a:lnTo>
                      <a:pt x="21" y="320"/>
                    </a:lnTo>
                    <a:lnTo>
                      <a:pt x="18" y="318"/>
                    </a:lnTo>
                    <a:lnTo>
                      <a:pt x="17" y="304"/>
                    </a:lnTo>
                    <a:lnTo>
                      <a:pt x="15" y="299"/>
                    </a:lnTo>
                    <a:lnTo>
                      <a:pt x="15" y="297"/>
                    </a:lnTo>
                    <a:lnTo>
                      <a:pt x="18" y="292"/>
                    </a:lnTo>
                    <a:lnTo>
                      <a:pt x="28" y="290"/>
                    </a:lnTo>
                    <a:lnTo>
                      <a:pt x="33" y="285"/>
                    </a:lnTo>
                    <a:lnTo>
                      <a:pt x="32" y="276"/>
                    </a:lnTo>
                    <a:lnTo>
                      <a:pt x="30" y="274"/>
                    </a:lnTo>
                    <a:lnTo>
                      <a:pt x="28" y="264"/>
                    </a:lnTo>
                    <a:lnTo>
                      <a:pt x="27" y="264"/>
                    </a:lnTo>
                    <a:lnTo>
                      <a:pt x="27" y="261"/>
                    </a:lnTo>
                    <a:lnTo>
                      <a:pt x="30" y="258"/>
                    </a:lnTo>
                    <a:lnTo>
                      <a:pt x="40" y="254"/>
                    </a:lnTo>
                    <a:lnTo>
                      <a:pt x="46" y="250"/>
                    </a:lnTo>
                    <a:lnTo>
                      <a:pt x="53" y="243"/>
                    </a:lnTo>
                    <a:lnTo>
                      <a:pt x="55" y="237"/>
                    </a:lnTo>
                    <a:lnTo>
                      <a:pt x="59" y="213"/>
                    </a:lnTo>
                    <a:lnTo>
                      <a:pt x="56" y="207"/>
                    </a:lnTo>
                    <a:lnTo>
                      <a:pt x="53" y="205"/>
                    </a:lnTo>
                    <a:lnTo>
                      <a:pt x="51" y="191"/>
                    </a:lnTo>
                    <a:lnTo>
                      <a:pt x="45" y="197"/>
                    </a:lnTo>
                    <a:lnTo>
                      <a:pt x="37" y="210"/>
                    </a:lnTo>
                    <a:lnTo>
                      <a:pt x="30" y="217"/>
                    </a:lnTo>
                    <a:lnTo>
                      <a:pt x="26" y="215"/>
                    </a:lnTo>
                    <a:lnTo>
                      <a:pt x="21" y="210"/>
                    </a:lnTo>
                    <a:lnTo>
                      <a:pt x="11" y="206"/>
                    </a:lnTo>
                    <a:lnTo>
                      <a:pt x="2" y="199"/>
                    </a:lnTo>
                    <a:lnTo>
                      <a:pt x="0" y="173"/>
                    </a:lnTo>
                    <a:lnTo>
                      <a:pt x="0" y="164"/>
                    </a:lnTo>
                    <a:lnTo>
                      <a:pt x="2" y="156"/>
                    </a:lnTo>
                    <a:lnTo>
                      <a:pt x="1" y="130"/>
                    </a:lnTo>
                    <a:lnTo>
                      <a:pt x="3" y="126"/>
                    </a:lnTo>
                    <a:lnTo>
                      <a:pt x="17" y="120"/>
                    </a:lnTo>
                    <a:lnTo>
                      <a:pt x="24" y="111"/>
                    </a:lnTo>
                    <a:lnTo>
                      <a:pt x="26" y="97"/>
                    </a:lnTo>
                    <a:lnTo>
                      <a:pt x="28" y="89"/>
                    </a:lnTo>
                    <a:lnTo>
                      <a:pt x="40" y="72"/>
                    </a:lnTo>
                    <a:lnTo>
                      <a:pt x="44" y="66"/>
                    </a:lnTo>
                    <a:lnTo>
                      <a:pt x="44" y="60"/>
                    </a:lnTo>
                    <a:lnTo>
                      <a:pt x="42" y="46"/>
                    </a:lnTo>
                    <a:lnTo>
                      <a:pt x="42" y="33"/>
                    </a:lnTo>
                    <a:lnTo>
                      <a:pt x="46" y="27"/>
                    </a:lnTo>
                    <a:lnTo>
                      <a:pt x="66" y="27"/>
                    </a:lnTo>
                    <a:lnTo>
                      <a:pt x="67" y="27"/>
                    </a:lnTo>
                    <a:lnTo>
                      <a:pt x="71" y="24"/>
                    </a:lnTo>
                    <a:lnTo>
                      <a:pt x="82" y="13"/>
                    </a:lnTo>
                    <a:lnTo>
                      <a:pt x="88" y="9"/>
                    </a:lnTo>
                    <a:lnTo>
                      <a:pt x="97" y="8"/>
                    </a:lnTo>
                    <a:lnTo>
                      <a:pt x="103" y="7"/>
                    </a:lnTo>
                    <a:lnTo>
                      <a:pt x="108" y="2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66" name="Freeform 240"/>
              <p:cNvSpPr>
                <a:spLocks noChangeAspect="1"/>
              </p:cNvSpPr>
              <p:nvPr/>
            </p:nvSpPr>
            <p:spPr bwMode="gray">
              <a:xfrm>
                <a:off x="1828" y="2701"/>
                <a:ext cx="92" cy="98"/>
              </a:xfrm>
              <a:custGeom>
                <a:avLst/>
                <a:gdLst/>
                <a:ahLst/>
                <a:cxnLst>
                  <a:cxn ang="0">
                    <a:pos x="8" y="164"/>
                  </a:cxn>
                  <a:cxn ang="0">
                    <a:pos x="19" y="117"/>
                  </a:cxn>
                  <a:cxn ang="0">
                    <a:pos x="18" y="87"/>
                  </a:cxn>
                  <a:cxn ang="0">
                    <a:pos x="29" y="66"/>
                  </a:cxn>
                  <a:cxn ang="0">
                    <a:pos x="43" y="35"/>
                  </a:cxn>
                  <a:cxn ang="0">
                    <a:pos x="64" y="25"/>
                  </a:cxn>
                  <a:cxn ang="0">
                    <a:pos x="121" y="8"/>
                  </a:cxn>
                  <a:cxn ang="0">
                    <a:pos x="156" y="0"/>
                  </a:cxn>
                  <a:cxn ang="0">
                    <a:pos x="212" y="3"/>
                  </a:cxn>
                  <a:cxn ang="0">
                    <a:pos x="232" y="19"/>
                  </a:cxn>
                  <a:cxn ang="0">
                    <a:pos x="248" y="44"/>
                  </a:cxn>
                  <a:cxn ang="0">
                    <a:pos x="252" y="55"/>
                  </a:cxn>
                  <a:cxn ang="0">
                    <a:pos x="260" y="71"/>
                  </a:cxn>
                  <a:cxn ang="0">
                    <a:pos x="261" y="121"/>
                  </a:cxn>
                  <a:cxn ang="0">
                    <a:pos x="265" y="163"/>
                  </a:cxn>
                  <a:cxn ang="0">
                    <a:pos x="286" y="169"/>
                  </a:cxn>
                  <a:cxn ang="0">
                    <a:pos x="311" y="175"/>
                  </a:cxn>
                  <a:cxn ang="0">
                    <a:pos x="335" y="174"/>
                  </a:cxn>
                  <a:cxn ang="0">
                    <a:pos x="349" y="168"/>
                  </a:cxn>
                  <a:cxn ang="0">
                    <a:pos x="378" y="180"/>
                  </a:cxn>
                  <a:cxn ang="0">
                    <a:pos x="386" y="195"/>
                  </a:cxn>
                  <a:cxn ang="0">
                    <a:pos x="392" y="230"/>
                  </a:cxn>
                  <a:cxn ang="0">
                    <a:pos x="392" y="260"/>
                  </a:cxn>
                  <a:cxn ang="0">
                    <a:pos x="404" y="272"/>
                  </a:cxn>
                  <a:cxn ang="0">
                    <a:pos x="421" y="275"/>
                  </a:cxn>
                  <a:cxn ang="0">
                    <a:pos x="440" y="272"/>
                  </a:cxn>
                  <a:cxn ang="0">
                    <a:pos x="454" y="275"/>
                  </a:cxn>
                  <a:cxn ang="0">
                    <a:pos x="459" y="308"/>
                  </a:cxn>
                  <a:cxn ang="0">
                    <a:pos x="454" y="327"/>
                  </a:cxn>
                  <a:cxn ang="0">
                    <a:pos x="449" y="374"/>
                  </a:cxn>
                  <a:cxn ang="0">
                    <a:pos x="443" y="420"/>
                  </a:cxn>
                  <a:cxn ang="0">
                    <a:pos x="433" y="438"/>
                  </a:cxn>
                  <a:cxn ang="0">
                    <a:pos x="411" y="458"/>
                  </a:cxn>
                  <a:cxn ang="0">
                    <a:pos x="404" y="463"/>
                  </a:cxn>
                  <a:cxn ang="0">
                    <a:pos x="388" y="479"/>
                  </a:cxn>
                  <a:cxn ang="0">
                    <a:pos x="378" y="482"/>
                  </a:cxn>
                  <a:cxn ang="0">
                    <a:pos x="356" y="483"/>
                  </a:cxn>
                  <a:cxn ang="0">
                    <a:pos x="345" y="491"/>
                  </a:cxn>
                  <a:cxn ang="0">
                    <a:pos x="333" y="488"/>
                  </a:cxn>
                  <a:cxn ang="0">
                    <a:pos x="313" y="487"/>
                  </a:cxn>
                  <a:cxn ang="0">
                    <a:pos x="290" y="474"/>
                  </a:cxn>
                  <a:cxn ang="0">
                    <a:pos x="236" y="469"/>
                  </a:cxn>
                  <a:cxn ang="0">
                    <a:pos x="233" y="459"/>
                  </a:cxn>
                  <a:cxn ang="0">
                    <a:pos x="238" y="442"/>
                  </a:cxn>
                  <a:cxn ang="0">
                    <a:pos x="264" y="395"/>
                  </a:cxn>
                  <a:cxn ang="0">
                    <a:pos x="273" y="372"/>
                  </a:cxn>
                  <a:cxn ang="0">
                    <a:pos x="269" y="358"/>
                  </a:cxn>
                  <a:cxn ang="0">
                    <a:pos x="260" y="348"/>
                  </a:cxn>
                  <a:cxn ang="0">
                    <a:pos x="238" y="339"/>
                  </a:cxn>
                  <a:cxn ang="0">
                    <a:pos x="214" y="319"/>
                  </a:cxn>
                  <a:cxn ang="0">
                    <a:pos x="173" y="293"/>
                  </a:cxn>
                  <a:cxn ang="0">
                    <a:pos x="155" y="287"/>
                  </a:cxn>
                  <a:cxn ang="0">
                    <a:pos x="118" y="283"/>
                  </a:cxn>
                  <a:cxn ang="0">
                    <a:pos x="102" y="276"/>
                  </a:cxn>
                  <a:cxn ang="0">
                    <a:pos x="89" y="256"/>
                  </a:cxn>
                  <a:cxn ang="0">
                    <a:pos x="74" y="246"/>
                  </a:cxn>
                  <a:cxn ang="0">
                    <a:pos x="46" y="223"/>
                  </a:cxn>
                  <a:cxn ang="0">
                    <a:pos x="22" y="189"/>
                  </a:cxn>
                  <a:cxn ang="0">
                    <a:pos x="0" y="179"/>
                  </a:cxn>
                </a:cxnLst>
                <a:rect l="0" t="0" r="r" b="b"/>
                <a:pathLst>
                  <a:path w="459" h="491">
                    <a:moveTo>
                      <a:pt x="0" y="179"/>
                    </a:moveTo>
                    <a:lnTo>
                      <a:pt x="8" y="164"/>
                    </a:lnTo>
                    <a:lnTo>
                      <a:pt x="19" y="124"/>
                    </a:lnTo>
                    <a:lnTo>
                      <a:pt x="19" y="117"/>
                    </a:lnTo>
                    <a:lnTo>
                      <a:pt x="18" y="113"/>
                    </a:lnTo>
                    <a:lnTo>
                      <a:pt x="18" y="87"/>
                    </a:lnTo>
                    <a:lnTo>
                      <a:pt x="18" y="84"/>
                    </a:lnTo>
                    <a:lnTo>
                      <a:pt x="29" y="66"/>
                    </a:lnTo>
                    <a:lnTo>
                      <a:pt x="40" y="50"/>
                    </a:lnTo>
                    <a:lnTo>
                      <a:pt x="43" y="35"/>
                    </a:lnTo>
                    <a:lnTo>
                      <a:pt x="45" y="29"/>
                    </a:lnTo>
                    <a:lnTo>
                      <a:pt x="64" y="25"/>
                    </a:lnTo>
                    <a:lnTo>
                      <a:pt x="118" y="8"/>
                    </a:lnTo>
                    <a:lnTo>
                      <a:pt x="121" y="8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99" y="0"/>
                    </a:lnTo>
                    <a:lnTo>
                      <a:pt x="212" y="3"/>
                    </a:lnTo>
                    <a:lnTo>
                      <a:pt x="222" y="11"/>
                    </a:lnTo>
                    <a:lnTo>
                      <a:pt x="232" y="19"/>
                    </a:lnTo>
                    <a:lnTo>
                      <a:pt x="247" y="40"/>
                    </a:lnTo>
                    <a:lnTo>
                      <a:pt x="248" y="44"/>
                    </a:lnTo>
                    <a:lnTo>
                      <a:pt x="254" y="50"/>
                    </a:lnTo>
                    <a:lnTo>
                      <a:pt x="252" y="55"/>
                    </a:lnTo>
                    <a:lnTo>
                      <a:pt x="252" y="57"/>
                    </a:lnTo>
                    <a:lnTo>
                      <a:pt x="260" y="71"/>
                    </a:lnTo>
                    <a:lnTo>
                      <a:pt x="261" y="73"/>
                    </a:lnTo>
                    <a:lnTo>
                      <a:pt x="261" y="121"/>
                    </a:lnTo>
                    <a:lnTo>
                      <a:pt x="261" y="154"/>
                    </a:lnTo>
                    <a:lnTo>
                      <a:pt x="265" y="163"/>
                    </a:lnTo>
                    <a:lnTo>
                      <a:pt x="271" y="165"/>
                    </a:lnTo>
                    <a:lnTo>
                      <a:pt x="286" y="169"/>
                    </a:lnTo>
                    <a:lnTo>
                      <a:pt x="293" y="173"/>
                    </a:lnTo>
                    <a:lnTo>
                      <a:pt x="311" y="175"/>
                    </a:lnTo>
                    <a:lnTo>
                      <a:pt x="323" y="175"/>
                    </a:lnTo>
                    <a:lnTo>
                      <a:pt x="335" y="174"/>
                    </a:lnTo>
                    <a:lnTo>
                      <a:pt x="340" y="171"/>
                    </a:lnTo>
                    <a:lnTo>
                      <a:pt x="349" y="168"/>
                    </a:lnTo>
                    <a:lnTo>
                      <a:pt x="355" y="173"/>
                    </a:lnTo>
                    <a:lnTo>
                      <a:pt x="378" y="180"/>
                    </a:lnTo>
                    <a:lnTo>
                      <a:pt x="384" y="189"/>
                    </a:lnTo>
                    <a:lnTo>
                      <a:pt x="386" y="195"/>
                    </a:lnTo>
                    <a:lnTo>
                      <a:pt x="388" y="218"/>
                    </a:lnTo>
                    <a:lnTo>
                      <a:pt x="392" y="230"/>
                    </a:lnTo>
                    <a:lnTo>
                      <a:pt x="390" y="255"/>
                    </a:lnTo>
                    <a:lnTo>
                      <a:pt x="392" y="260"/>
                    </a:lnTo>
                    <a:lnTo>
                      <a:pt x="397" y="267"/>
                    </a:lnTo>
                    <a:lnTo>
                      <a:pt x="404" y="272"/>
                    </a:lnTo>
                    <a:lnTo>
                      <a:pt x="411" y="275"/>
                    </a:lnTo>
                    <a:lnTo>
                      <a:pt x="421" y="275"/>
                    </a:lnTo>
                    <a:lnTo>
                      <a:pt x="426" y="272"/>
                    </a:lnTo>
                    <a:lnTo>
                      <a:pt x="440" y="272"/>
                    </a:lnTo>
                    <a:lnTo>
                      <a:pt x="449" y="270"/>
                    </a:lnTo>
                    <a:lnTo>
                      <a:pt x="454" y="275"/>
                    </a:lnTo>
                    <a:lnTo>
                      <a:pt x="459" y="283"/>
                    </a:lnTo>
                    <a:lnTo>
                      <a:pt x="459" y="308"/>
                    </a:lnTo>
                    <a:lnTo>
                      <a:pt x="458" y="311"/>
                    </a:lnTo>
                    <a:lnTo>
                      <a:pt x="454" y="327"/>
                    </a:lnTo>
                    <a:lnTo>
                      <a:pt x="451" y="353"/>
                    </a:lnTo>
                    <a:lnTo>
                      <a:pt x="449" y="374"/>
                    </a:lnTo>
                    <a:lnTo>
                      <a:pt x="446" y="404"/>
                    </a:lnTo>
                    <a:lnTo>
                      <a:pt x="443" y="420"/>
                    </a:lnTo>
                    <a:lnTo>
                      <a:pt x="440" y="428"/>
                    </a:lnTo>
                    <a:lnTo>
                      <a:pt x="433" y="438"/>
                    </a:lnTo>
                    <a:lnTo>
                      <a:pt x="425" y="447"/>
                    </a:lnTo>
                    <a:lnTo>
                      <a:pt x="411" y="458"/>
                    </a:lnTo>
                    <a:lnTo>
                      <a:pt x="409" y="461"/>
                    </a:lnTo>
                    <a:lnTo>
                      <a:pt x="404" y="463"/>
                    </a:lnTo>
                    <a:lnTo>
                      <a:pt x="390" y="475"/>
                    </a:lnTo>
                    <a:lnTo>
                      <a:pt x="388" y="479"/>
                    </a:lnTo>
                    <a:lnTo>
                      <a:pt x="386" y="480"/>
                    </a:lnTo>
                    <a:lnTo>
                      <a:pt x="378" y="482"/>
                    </a:lnTo>
                    <a:lnTo>
                      <a:pt x="363" y="480"/>
                    </a:lnTo>
                    <a:lnTo>
                      <a:pt x="356" y="483"/>
                    </a:lnTo>
                    <a:lnTo>
                      <a:pt x="352" y="488"/>
                    </a:lnTo>
                    <a:lnTo>
                      <a:pt x="345" y="491"/>
                    </a:lnTo>
                    <a:lnTo>
                      <a:pt x="338" y="491"/>
                    </a:lnTo>
                    <a:lnTo>
                      <a:pt x="333" y="488"/>
                    </a:lnTo>
                    <a:lnTo>
                      <a:pt x="323" y="490"/>
                    </a:lnTo>
                    <a:lnTo>
                      <a:pt x="313" y="487"/>
                    </a:lnTo>
                    <a:lnTo>
                      <a:pt x="296" y="476"/>
                    </a:lnTo>
                    <a:lnTo>
                      <a:pt x="290" y="474"/>
                    </a:lnTo>
                    <a:lnTo>
                      <a:pt x="258" y="469"/>
                    </a:lnTo>
                    <a:lnTo>
                      <a:pt x="236" y="469"/>
                    </a:lnTo>
                    <a:lnTo>
                      <a:pt x="233" y="465"/>
                    </a:lnTo>
                    <a:lnTo>
                      <a:pt x="233" y="459"/>
                    </a:lnTo>
                    <a:lnTo>
                      <a:pt x="236" y="450"/>
                    </a:lnTo>
                    <a:lnTo>
                      <a:pt x="238" y="442"/>
                    </a:lnTo>
                    <a:lnTo>
                      <a:pt x="249" y="417"/>
                    </a:lnTo>
                    <a:lnTo>
                      <a:pt x="264" y="395"/>
                    </a:lnTo>
                    <a:lnTo>
                      <a:pt x="273" y="382"/>
                    </a:lnTo>
                    <a:lnTo>
                      <a:pt x="273" y="372"/>
                    </a:lnTo>
                    <a:lnTo>
                      <a:pt x="271" y="363"/>
                    </a:lnTo>
                    <a:lnTo>
                      <a:pt x="269" y="358"/>
                    </a:lnTo>
                    <a:lnTo>
                      <a:pt x="265" y="357"/>
                    </a:lnTo>
                    <a:lnTo>
                      <a:pt x="260" y="348"/>
                    </a:lnTo>
                    <a:lnTo>
                      <a:pt x="252" y="342"/>
                    </a:lnTo>
                    <a:lnTo>
                      <a:pt x="238" y="339"/>
                    </a:lnTo>
                    <a:lnTo>
                      <a:pt x="230" y="327"/>
                    </a:lnTo>
                    <a:lnTo>
                      <a:pt x="214" y="319"/>
                    </a:lnTo>
                    <a:lnTo>
                      <a:pt x="199" y="311"/>
                    </a:lnTo>
                    <a:lnTo>
                      <a:pt x="173" y="293"/>
                    </a:lnTo>
                    <a:lnTo>
                      <a:pt x="167" y="291"/>
                    </a:lnTo>
                    <a:lnTo>
                      <a:pt x="155" y="287"/>
                    </a:lnTo>
                    <a:lnTo>
                      <a:pt x="126" y="286"/>
                    </a:lnTo>
                    <a:lnTo>
                      <a:pt x="118" y="283"/>
                    </a:lnTo>
                    <a:lnTo>
                      <a:pt x="107" y="280"/>
                    </a:lnTo>
                    <a:lnTo>
                      <a:pt x="102" y="276"/>
                    </a:lnTo>
                    <a:lnTo>
                      <a:pt x="101" y="275"/>
                    </a:lnTo>
                    <a:lnTo>
                      <a:pt x="89" y="256"/>
                    </a:lnTo>
                    <a:lnTo>
                      <a:pt x="85" y="253"/>
                    </a:lnTo>
                    <a:lnTo>
                      <a:pt x="74" y="246"/>
                    </a:lnTo>
                    <a:lnTo>
                      <a:pt x="49" y="228"/>
                    </a:lnTo>
                    <a:lnTo>
                      <a:pt x="46" y="223"/>
                    </a:lnTo>
                    <a:lnTo>
                      <a:pt x="33" y="210"/>
                    </a:lnTo>
                    <a:lnTo>
                      <a:pt x="22" y="189"/>
                    </a:lnTo>
                    <a:lnTo>
                      <a:pt x="16" y="184"/>
                    </a:lnTo>
                    <a:lnTo>
                      <a:pt x="0" y="17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67" name="Freeform 241"/>
              <p:cNvSpPr>
                <a:spLocks noChangeAspect="1"/>
              </p:cNvSpPr>
              <p:nvPr/>
            </p:nvSpPr>
            <p:spPr bwMode="gray">
              <a:xfrm>
                <a:off x="1687" y="2681"/>
                <a:ext cx="93" cy="506"/>
              </a:xfrm>
              <a:custGeom>
                <a:avLst/>
                <a:gdLst/>
                <a:ahLst/>
                <a:cxnLst>
                  <a:cxn ang="0">
                    <a:pos x="375" y="93"/>
                  </a:cxn>
                  <a:cxn ang="0">
                    <a:pos x="368" y="149"/>
                  </a:cxn>
                  <a:cxn ang="0">
                    <a:pos x="398" y="209"/>
                  </a:cxn>
                  <a:cxn ang="0">
                    <a:pos x="429" y="311"/>
                  </a:cxn>
                  <a:cxn ang="0">
                    <a:pos x="436" y="385"/>
                  </a:cxn>
                  <a:cxn ang="0">
                    <a:pos x="387" y="508"/>
                  </a:cxn>
                  <a:cxn ang="0">
                    <a:pos x="329" y="628"/>
                  </a:cxn>
                  <a:cxn ang="0">
                    <a:pos x="300" y="766"/>
                  </a:cxn>
                  <a:cxn ang="0">
                    <a:pos x="284" y="863"/>
                  </a:cxn>
                  <a:cxn ang="0">
                    <a:pos x="298" y="1032"/>
                  </a:cxn>
                  <a:cxn ang="0">
                    <a:pos x="269" y="1148"/>
                  </a:cxn>
                  <a:cxn ang="0">
                    <a:pos x="242" y="1290"/>
                  </a:cxn>
                  <a:cxn ang="0">
                    <a:pos x="208" y="1440"/>
                  </a:cxn>
                  <a:cxn ang="0">
                    <a:pos x="190" y="1597"/>
                  </a:cxn>
                  <a:cxn ang="0">
                    <a:pos x="201" y="1739"/>
                  </a:cxn>
                  <a:cxn ang="0">
                    <a:pos x="214" y="1785"/>
                  </a:cxn>
                  <a:cxn ang="0">
                    <a:pos x="212" y="1915"/>
                  </a:cxn>
                  <a:cxn ang="0">
                    <a:pos x="171" y="2027"/>
                  </a:cxn>
                  <a:cxn ang="0">
                    <a:pos x="137" y="2139"/>
                  </a:cxn>
                  <a:cxn ang="0">
                    <a:pos x="129" y="2264"/>
                  </a:cxn>
                  <a:cxn ang="0">
                    <a:pos x="179" y="2283"/>
                  </a:cxn>
                  <a:cxn ang="0">
                    <a:pos x="306" y="2367"/>
                  </a:cxn>
                  <a:cxn ang="0">
                    <a:pos x="355" y="2386"/>
                  </a:cxn>
                  <a:cxn ang="0">
                    <a:pos x="268" y="2429"/>
                  </a:cxn>
                  <a:cxn ang="0">
                    <a:pos x="214" y="2525"/>
                  </a:cxn>
                  <a:cxn ang="0">
                    <a:pos x="208" y="2477"/>
                  </a:cxn>
                  <a:cxn ang="0">
                    <a:pos x="189" y="2413"/>
                  </a:cxn>
                  <a:cxn ang="0">
                    <a:pos x="171" y="2376"/>
                  </a:cxn>
                  <a:cxn ang="0">
                    <a:pos x="160" y="2345"/>
                  </a:cxn>
                  <a:cxn ang="0">
                    <a:pos x="125" y="2343"/>
                  </a:cxn>
                  <a:cxn ang="0">
                    <a:pos x="81" y="2285"/>
                  </a:cxn>
                  <a:cxn ang="0">
                    <a:pos x="79" y="2240"/>
                  </a:cxn>
                  <a:cxn ang="0">
                    <a:pos x="70" y="2173"/>
                  </a:cxn>
                  <a:cxn ang="0">
                    <a:pos x="93" y="2117"/>
                  </a:cxn>
                  <a:cxn ang="0">
                    <a:pos x="70" y="2076"/>
                  </a:cxn>
                  <a:cxn ang="0">
                    <a:pos x="59" y="2042"/>
                  </a:cxn>
                  <a:cxn ang="0">
                    <a:pos x="109" y="2032"/>
                  </a:cxn>
                  <a:cxn ang="0">
                    <a:pos x="63" y="1979"/>
                  </a:cxn>
                  <a:cxn ang="0">
                    <a:pos x="66" y="1920"/>
                  </a:cxn>
                  <a:cxn ang="0">
                    <a:pos x="15" y="1930"/>
                  </a:cxn>
                  <a:cxn ang="0">
                    <a:pos x="44" y="1871"/>
                  </a:cxn>
                  <a:cxn ang="0">
                    <a:pos x="72" y="1856"/>
                  </a:cxn>
                  <a:cxn ang="0">
                    <a:pos x="91" y="1888"/>
                  </a:cxn>
                  <a:cxn ang="0">
                    <a:pos x="118" y="1879"/>
                  </a:cxn>
                  <a:cxn ang="0">
                    <a:pos x="114" y="1849"/>
                  </a:cxn>
                  <a:cxn ang="0">
                    <a:pos x="117" y="1818"/>
                  </a:cxn>
                  <a:cxn ang="0">
                    <a:pos x="120" y="1806"/>
                  </a:cxn>
                  <a:cxn ang="0">
                    <a:pos x="149" y="1740"/>
                  </a:cxn>
                  <a:cxn ang="0">
                    <a:pos x="146" y="1691"/>
                  </a:cxn>
                  <a:cxn ang="0">
                    <a:pos x="158" y="1601"/>
                  </a:cxn>
                  <a:cxn ang="0">
                    <a:pos x="153" y="1558"/>
                  </a:cxn>
                  <a:cxn ang="0">
                    <a:pos x="141" y="1525"/>
                  </a:cxn>
                  <a:cxn ang="0">
                    <a:pos x="92" y="1504"/>
                  </a:cxn>
                  <a:cxn ang="0">
                    <a:pos x="115" y="1329"/>
                  </a:cxn>
                  <a:cxn ang="0">
                    <a:pos x="122" y="1219"/>
                  </a:cxn>
                  <a:cxn ang="0">
                    <a:pos x="166" y="1105"/>
                  </a:cxn>
                  <a:cxn ang="0">
                    <a:pos x="221" y="928"/>
                  </a:cxn>
                  <a:cxn ang="0">
                    <a:pos x="226" y="719"/>
                  </a:cxn>
                  <a:cxn ang="0">
                    <a:pos x="253" y="565"/>
                  </a:cxn>
                  <a:cxn ang="0">
                    <a:pos x="275" y="461"/>
                  </a:cxn>
                  <a:cxn ang="0">
                    <a:pos x="279" y="317"/>
                  </a:cxn>
                  <a:cxn ang="0">
                    <a:pos x="292" y="142"/>
                  </a:cxn>
                  <a:cxn ang="0">
                    <a:pos x="312" y="25"/>
                  </a:cxn>
                </a:cxnLst>
                <a:rect l="0" t="0" r="r" b="b"/>
                <a:pathLst>
                  <a:path w="463" h="2531">
                    <a:moveTo>
                      <a:pt x="325" y="0"/>
                    </a:moveTo>
                    <a:lnTo>
                      <a:pt x="328" y="0"/>
                    </a:lnTo>
                    <a:lnTo>
                      <a:pt x="339" y="14"/>
                    </a:lnTo>
                    <a:lnTo>
                      <a:pt x="343" y="18"/>
                    </a:lnTo>
                    <a:lnTo>
                      <a:pt x="350" y="27"/>
                    </a:lnTo>
                    <a:lnTo>
                      <a:pt x="350" y="37"/>
                    </a:lnTo>
                    <a:lnTo>
                      <a:pt x="354" y="69"/>
                    </a:lnTo>
                    <a:lnTo>
                      <a:pt x="357" y="78"/>
                    </a:lnTo>
                    <a:lnTo>
                      <a:pt x="362" y="83"/>
                    </a:lnTo>
                    <a:lnTo>
                      <a:pt x="375" y="93"/>
                    </a:lnTo>
                    <a:lnTo>
                      <a:pt x="382" y="100"/>
                    </a:lnTo>
                    <a:lnTo>
                      <a:pt x="383" y="110"/>
                    </a:lnTo>
                    <a:lnTo>
                      <a:pt x="379" y="115"/>
                    </a:lnTo>
                    <a:lnTo>
                      <a:pt x="378" y="121"/>
                    </a:lnTo>
                    <a:lnTo>
                      <a:pt x="382" y="127"/>
                    </a:lnTo>
                    <a:lnTo>
                      <a:pt x="382" y="131"/>
                    </a:lnTo>
                    <a:lnTo>
                      <a:pt x="379" y="132"/>
                    </a:lnTo>
                    <a:lnTo>
                      <a:pt x="372" y="136"/>
                    </a:lnTo>
                    <a:lnTo>
                      <a:pt x="371" y="137"/>
                    </a:lnTo>
                    <a:lnTo>
                      <a:pt x="368" y="149"/>
                    </a:lnTo>
                    <a:lnTo>
                      <a:pt x="368" y="155"/>
                    </a:lnTo>
                    <a:lnTo>
                      <a:pt x="376" y="159"/>
                    </a:lnTo>
                    <a:lnTo>
                      <a:pt x="379" y="164"/>
                    </a:lnTo>
                    <a:lnTo>
                      <a:pt x="379" y="172"/>
                    </a:lnTo>
                    <a:lnTo>
                      <a:pt x="379" y="180"/>
                    </a:lnTo>
                    <a:lnTo>
                      <a:pt x="382" y="183"/>
                    </a:lnTo>
                    <a:lnTo>
                      <a:pt x="387" y="185"/>
                    </a:lnTo>
                    <a:lnTo>
                      <a:pt x="394" y="192"/>
                    </a:lnTo>
                    <a:lnTo>
                      <a:pt x="395" y="196"/>
                    </a:lnTo>
                    <a:lnTo>
                      <a:pt x="398" y="209"/>
                    </a:lnTo>
                    <a:lnTo>
                      <a:pt x="398" y="218"/>
                    </a:lnTo>
                    <a:lnTo>
                      <a:pt x="404" y="228"/>
                    </a:lnTo>
                    <a:lnTo>
                      <a:pt x="407" y="250"/>
                    </a:lnTo>
                    <a:lnTo>
                      <a:pt x="407" y="268"/>
                    </a:lnTo>
                    <a:lnTo>
                      <a:pt x="411" y="290"/>
                    </a:lnTo>
                    <a:lnTo>
                      <a:pt x="411" y="294"/>
                    </a:lnTo>
                    <a:lnTo>
                      <a:pt x="415" y="306"/>
                    </a:lnTo>
                    <a:lnTo>
                      <a:pt x="415" y="308"/>
                    </a:lnTo>
                    <a:lnTo>
                      <a:pt x="422" y="311"/>
                    </a:lnTo>
                    <a:lnTo>
                      <a:pt x="429" y="311"/>
                    </a:lnTo>
                    <a:lnTo>
                      <a:pt x="441" y="311"/>
                    </a:lnTo>
                    <a:lnTo>
                      <a:pt x="447" y="309"/>
                    </a:lnTo>
                    <a:lnTo>
                      <a:pt x="457" y="309"/>
                    </a:lnTo>
                    <a:lnTo>
                      <a:pt x="457" y="311"/>
                    </a:lnTo>
                    <a:lnTo>
                      <a:pt x="458" y="311"/>
                    </a:lnTo>
                    <a:lnTo>
                      <a:pt x="458" y="314"/>
                    </a:lnTo>
                    <a:lnTo>
                      <a:pt x="463" y="319"/>
                    </a:lnTo>
                    <a:lnTo>
                      <a:pt x="463" y="331"/>
                    </a:lnTo>
                    <a:lnTo>
                      <a:pt x="454" y="378"/>
                    </a:lnTo>
                    <a:lnTo>
                      <a:pt x="436" y="385"/>
                    </a:lnTo>
                    <a:lnTo>
                      <a:pt x="388" y="407"/>
                    </a:lnTo>
                    <a:lnTo>
                      <a:pt x="387" y="414"/>
                    </a:lnTo>
                    <a:lnTo>
                      <a:pt x="387" y="422"/>
                    </a:lnTo>
                    <a:lnTo>
                      <a:pt x="389" y="432"/>
                    </a:lnTo>
                    <a:lnTo>
                      <a:pt x="389" y="441"/>
                    </a:lnTo>
                    <a:lnTo>
                      <a:pt x="383" y="449"/>
                    </a:lnTo>
                    <a:lnTo>
                      <a:pt x="382" y="451"/>
                    </a:lnTo>
                    <a:lnTo>
                      <a:pt x="382" y="467"/>
                    </a:lnTo>
                    <a:lnTo>
                      <a:pt x="387" y="482"/>
                    </a:lnTo>
                    <a:lnTo>
                      <a:pt x="387" y="508"/>
                    </a:lnTo>
                    <a:lnTo>
                      <a:pt x="389" y="519"/>
                    </a:lnTo>
                    <a:lnTo>
                      <a:pt x="393" y="534"/>
                    </a:lnTo>
                    <a:lnTo>
                      <a:pt x="395" y="548"/>
                    </a:lnTo>
                    <a:lnTo>
                      <a:pt x="394" y="551"/>
                    </a:lnTo>
                    <a:lnTo>
                      <a:pt x="389" y="554"/>
                    </a:lnTo>
                    <a:lnTo>
                      <a:pt x="379" y="558"/>
                    </a:lnTo>
                    <a:lnTo>
                      <a:pt x="364" y="573"/>
                    </a:lnTo>
                    <a:lnTo>
                      <a:pt x="361" y="575"/>
                    </a:lnTo>
                    <a:lnTo>
                      <a:pt x="354" y="600"/>
                    </a:lnTo>
                    <a:lnTo>
                      <a:pt x="329" y="628"/>
                    </a:lnTo>
                    <a:lnTo>
                      <a:pt x="323" y="654"/>
                    </a:lnTo>
                    <a:lnTo>
                      <a:pt x="318" y="675"/>
                    </a:lnTo>
                    <a:lnTo>
                      <a:pt x="317" y="682"/>
                    </a:lnTo>
                    <a:lnTo>
                      <a:pt x="311" y="696"/>
                    </a:lnTo>
                    <a:lnTo>
                      <a:pt x="308" y="704"/>
                    </a:lnTo>
                    <a:lnTo>
                      <a:pt x="307" y="729"/>
                    </a:lnTo>
                    <a:lnTo>
                      <a:pt x="308" y="739"/>
                    </a:lnTo>
                    <a:lnTo>
                      <a:pt x="308" y="749"/>
                    </a:lnTo>
                    <a:lnTo>
                      <a:pt x="305" y="762"/>
                    </a:lnTo>
                    <a:lnTo>
                      <a:pt x="300" y="766"/>
                    </a:lnTo>
                    <a:lnTo>
                      <a:pt x="300" y="769"/>
                    </a:lnTo>
                    <a:lnTo>
                      <a:pt x="298" y="776"/>
                    </a:lnTo>
                    <a:lnTo>
                      <a:pt x="292" y="782"/>
                    </a:lnTo>
                    <a:lnTo>
                      <a:pt x="289" y="796"/>
                    </a:lnTo>
                    <a:lnTo>
                      <a:pt x="281" y="811"/>
                    </a:lnTo>
                    <a:lnTo>
                      <a:pt x="280" y="814"/>
                    </a:lnTo>
                    <a:lnTo>
                      <a:pt x="276" y="825"/>
                    </a:lnTo>
                    <a:lnTo>
                      <a:pt x="274" y="841"/>
                    </a:lnTo>
                    <a:lnTo>
                      <a:pt x="274" y="854"/>
                    </a:lnTo>
                    <a:lnTo>
                      <a:pt x="284" y="863"/>
                    </a:lnTo>
                    <a:lnTo>
                      <a:pt x="284" y="892"/>
                    </a:lnTo>
                    <a:lnTo>
                      <a:pt x="296" y="925"/>
                    </a:lnTo>
                    <a:lnTo>
                      <a:pt x="297" y="935"/>
                    </a:lnTo>
                    <a:lnTo>
                      <a:pt x="296" y="947"/>
                    </a:lnTo>
                    <a:lnTo>
                      <a:pt x="303" y="955"/>
                    </a:lnTo>
                    <a:lnTo>
                      <a:pt x="306" y="960"/>
                    </a:lnTo>
                    <a:lnTo>
                      <a:pt x="309" y="979"/>
                    </a:lnTo>
                    <a:lnTo>
                      <a:pt x="311" y="997"/>
                    </a:lnTo>
                    <a:lnTo>
                      <a:pt x="311" y="1013"/>
                    </a:lnTo>
                    <a:lnTo>
                      <a:pt x="298" y="1032"/>
                    </a:lnTo>
                    <a:lnTo>
                      <a:pt x="292" y="1045"/>
                    </a:lnTo>
                    <a:lnTo>
                      <a:pt x="290" y="1052"/>
                    </a:lnTo>
                    <a:lnTo>
                      <a:pt x="286" y="1075"/>
                    </a:lnTo>
                    <a:lnTo>
                      <a:pt x="285" y="1078"/>
                    </a:lnTo>
                    <a:lnTo>
                      <a:pt x="274" y="1088"/>
                    </a:lnTo>
                    <a:lnTo>
                      <a:pt x="275" y="1117"/>
                    </a:lnTo>
                    <a:lnTo>
                      <a:pt x="278" y="1134"/>
                    </a:lnTo>
                    <a:lnTo>
                      <a:pt x="278" y="1142"/>
                    </a:lnTo>
                    <a:lnTo>
                      <a:pt x="275" y="1144"/>
                    </a:lnTo>
                    <a:lnTo>
                      <a:pt x="269" y="1148"/>
                    </a:lnTo>
                    <a:lnTo>
                      <a:pt x="266" y="1151"/>
                    </a:lnTo>
                    <a:lnTo>
                      <a:pt x="265" y="1159"/>
                    </a:lnTo>
                    <a:lnTo>
                      <a:pt x="263" y="1161"/>
                    </a:lnTo>
                    <a:lnTo>
                      <a:pt x="257" y="1161"/>
                    </a:lnTo>
                    <a:lnTo>
                      <a:pt x="253" y="1164"/>
                    </a:lnTo>
                    <a:lnTo>
                      <a:pt x="247" y="1172"/>
                    </a:lnTo>
                    <a:lnTo>
                      <a:pt x="242" y="1186"/>
                    </a:lnTo>
                    <a:lnTo>
                      <a:pt x="238" y="1225"/>
                    </a:lnTo>
                    <a:lnTo>
                      <a:pt x="238" y="1262"/>
                    </a:lnTo>
                    <a:lnTo>
                      <a:pt x="242" y="1290"/>
                    </a:lnTo>
                    <a:lnTo>
                      <a:pt x="247" y="1301"/>
                    </a:lnTo>
                    <a:lnTo>
                      <a:pt x="247" y="1314"/>
                    </a:lnTo>
                    <a:lnTo>
                      <a:pt x="243" y="1323"/>
                    </a:lnTo>
                    <a:lnTo>
                      <a:pt x="235" y="1332"/>
                    </a:lnTo>
                    <a:lnTo>
                      <a:pt x="230" y="1337"/>
                    </a:lnTo>
                    <a:lnTo>
                      <a:pt x="227" y="1343"/>
                    </a:lnTo>
                    <a:lnTo>
                      <a:pt x="225" y="1358"/>
                    </a:lnTo>
                    <a:lnTo>
                      <a:pt x="208" y="1419"/>
                    </a:lnTo>
                    <a:lnTo>
                      <a:pt x="206" y="1424"/>
                    </a:lnTo>
                    <a:lnTo>
                      <a:pt x="208" y="1440"/>
                    </a:lnTo>
                    <a:lnTo>
                      <a:pt x="199" y="1481"/>
                    </a:lnTo>
                    <a:lnTo>
                      <a:pt x="196" y="1510"/>
                    </a:lnTo>
                    <a:lnTo>
                      <a:pt x="200" y="1525"/>
                    </a:lnTo>
                    <a:lnTo>
                      <a:pt x="209" y="1533"/>
                    </a:lnTo>
                    <a:lnTo>
                      <a:pt x="210" y="1537"/>
                    </a:lnTo>
                    <a:lnTo>
                      <a:pt x="210" y="1549"/>
                    </a:lnTo>
                    <a:lnTo>
                      <a:pt x="209" y="1554"/>
                    </a:lnTo>
                    <a:lnTo>
                      <a:pt x="205" y="1563"/>
                    </a:lnTo>
                    <a:lnTo>
                      <a:pt x="195" y="1576"/>
                    </a:lnTo>
                    <a:lnTo>
                      <a:pt x="190" y="1597"/>
                    </a:lnTo>
                    <a:lnTo>
                      <a:pt x="190" y="1633"/>
                    </a:lnTo>
                    <a:lnTo>
                      <a:pt x="193" y="1639"/>
                    </a:lnTo>
                    <a:lnTo>
                      <a:pt x="196" y="1641"/>
                    </a:lnTo>
                    <a:lnTo>
                      <a:pt x="198" y="1646"/>
                    </a:lnTo>
                    <a:lnTo>
                      <a:pt x="196" y="1673"/>
                    </a:lnTo>
                    <a:lnTo>
                      <a:pt x="198" y="1678"/>
                    </a:lnTo>
                    <a:lnTo>
                      <a:pt x="203" y="1688"/>
                    </a:lnTo>
                    <a:lnTo>
                      <a:pt x="205" y="1703"/>
                    </a:lnTo>
                    <a:lnTo>
                      <a:pt x="201" y="1732"/>
                    </a:lnTo>
                    <a:lnTo>
                      <a:pt x="201" y="1739"/>
                    </a:lnTo>
                    <a:lnTo>
                      <a:pt x="209" y="1739"/>
                    </a:lnTo>
                    <a:lnTo>
                      <a:pt x="223" y="1742"/>
                    </a:lnTo>
                    <a:lnTo>
                      <a:pt x="231" y="1751"/>
                    </a:lnTo>
                    <a:lnTo>
                      <a:pt x="232" y="1759"/>
                    </a:lnTo>
                    <a:lnTo>
                      <a:pt x="230" y="1768"/>
                    </a:lnTo>
                    <a:lnTo>
                      <a:pt x="216" y="1769"/>
                    </a:lnTo>
                    <a:lnTo>
                      <a:pt x="200" y="1767"/>
                    </a:lnTo>
                    <a:lnTo>
                      <a:pt x="196" y="1769"/>
                    </a:lnTo>
                    <a:lnTo>
                      <a:pt x="200" y="1779"/>
                    </a:lnTo>
                    <a:lnTo>
                      <a:pt x="214" y="1785"/>
                    </a:lnTo>
                    <a:lnTo>
                      <a:pt x="223" y="1797"/>
                    </a:lnTo>
                    <a:lnTo>
                      <a:pt x="223" y="1807"/>
                    </a:lnTo>
                    <a:lnTo>
                      <a:pt x="219" y="1812"/>
                    </a:lnTo>
                    <a:lnTo>
                      <a:pt x="215" y="1817"/>
                    </a:lnTo>
                    <a:lnTo>
                      <a:pt x="214" y="1827"/>
                    </a:lnTo>
                    <a:lnTo>
                      <a:pt x="214" y="1853"/>
                    </a:lnTo>
                    <a:lnTo>
                      <a:pt x="212" y="1858"/>
                    </a:lnTo>
                    <a:lnTo>
                      <a:pt x="212" y="1871"/>
                    </a:lnTo>
                    <a:lnTo>
                      <a:pt x="214" y="1879"/>
                    </a:lnTo>
                    <a:lnTo>
                      <a:pt x="212" y="1915"/>
                    </a:lnTo>
                    <a:lnTo>
                      <a:pt x="206" y="1930"/>
                    </a:lnTo>
                    <a:lnTo>
                      <a:pt x="200" y="1945"/>
                    </a:lnTo>
                    <a:lnTo>
                      <a:pt x="199" y="1955"/>
                    </a:lnTo>
                    <a:lnTo>
                      <a:pt x="189" y="1973"/>
                    </a:lnTo>
                    <a:lnTo>
                      <a:pt x="176" y="1992"/>
                    </a:lnTo>
                    <a:lnTo>
                      <a:pt x="172" y="1998"/>
                    </a:lnTo>
                    <a:lnTo>
                      <a:pt x="171" y="2004"/>
                    </a:lnTo>
                    <a:lnTo>
                      <a:pt x="169" y="2019"/>
                    </a:lnTo>
                    <a:lnTo>
                      <a:pt x="171" y="2019"/>
                    </a:lnTo>
                    <a:lnTo>
                      <a:pt x="171" y="2027"/>
                    </a:lnTo>
                    <a:lnTo>
                      <a:pt x="173" y="2033"/>
                    </a:lnTo>
                    <a:lnTo>
                      <a:pt x="176" y="2044"/>
                    </a:lnTo>
                    <a:lnTo>
                      <a:pt x="176" y="2053"/>
                    </a:lnTo>
                    <a:lnTo>
                      <a:pt x="172" y="2055"/>
                    </a:lnTo>
                    <a:lnTo>
                      <a:pt x="171" y="2059"/>
                    </a:lnTo>
                    <a:lnTo>
                      <a:pt x="168" y="2080"/>
                    </a:lnTo>
                    <a:lnTo>
                      <a:pt x="165" y="2093"/>
                    </a:lnTo>
                    <a:lnTo>
                      <a:pt x="162" y="2098"/>
                    </a:lnTo>
                    <a:lnTo>
                      <a:pt x="151" y="2112"/>
                    </a:lnTo>
                    <a:lnTo>
                      <a:pt x="137" y="2139"/>
                    </a:lnTo>
                    <a:lnTo>
                      <a:pt x="133" y="2143"/>
                    </a:lnTo>
                    <a:lnTo>
                      <a:pt x="128" y="2154"/>
                    </a:lnTo>
                    <a:lnTo>
                      <a:pt x="120" y="2186"/>
                    </a:lnTo>
                    <a:lnTo>
                      <a:pt x="120" y="2198"/>
                    </a:lnTo>
                    <a:lnTo>
                      <a:pt x="119" y="2208"/>
                    </a:lnTo>
                    <a:lnTo>
                      <a:pt x="119" y="2238"/>
                    </a:lnTo>
                    <a:lnTo>
                      <a:pt x="120" y="2241"/>
                    </a:lnTo>
                    <a:lnTo>
                      <a:pt x="123" y="2256"/>
                    </a:lnTo>
                    <a:lnTo>
                      <a:pt x="125" y="2263"/>
                    </a:lnTo>
                    <a:lnTo>
                      <a:pt x="129" y="2264"/>
                    </a:lnTo>
                    <a:lnTo>
                      <a:pt x="133" y="2261"/>
                    </a:lnTo>
                    <a:lnTo>
                      <a:pt x="136" y="2253"/>
                    </a:lnTo>
                    <a:lnTo>
                      <a:pt x="144" y="2248"/>
                    </a:lnTo>
                    <a:lnTo>
                      <a:pt x="163" y="2252"/>
                    </a:lnTo>
                    <a:lnTo>
                      <a:pt x="168" y="2246"/>
                    </a:lnTo>
                    <a:lnTo>
                      <a:pt x="169" y="2246"/>
                    </a:lnTo>
                    <a:lnTo>
                      <a:pt x="173" y="2247"/>
                    </a:lnTo>
                    <a:lnTo>
                      <a:pt x="176" y="2249"/>
                    </a:lnTo>
                    <a:lnTo>
                      <a:pt x="178" y="2268"/>
                    </a:lnTo>
                    <a:lnTo>
                      <a:pt x="179" y="2283"/>
                    </a:lnTo>
                    <a:lnTo>
                      <a:pt x="178" y="2340"/>
                    </a:lnTo>
                    <a:lnTo>
                      <a:pt x="179" y="2345"/>
                    </a:lnTo>
                    <a:lnTo>
                      <a:pt x="185" y="2359"/>
                    </a:lnTo>
                    <a:lnTo>
                      <a:pt x="190" y="2364"/>
                    </a:lnTo>
                    <a:lnTo>
                      <a:pt x="204" y="2370"/>
                    </a:lnTo>
                    <a:lnTo>
                      <a:pt x="259" y="2370"/>
                    </a:lnTo>
                    <a:lnTo>
                      <a:pt x="264" y="2371"/>
                    </a:lnTo>
                    <a:lnTo>
                      <a:pt x="269" y="2371"/>
                    </a:lnTo>
                    <a:lnTo>
                      <a:pt x="289" y="2371"/>
                    </a:lnTo>
                    <a:lnTo>
                      <a:pt x="306" y="2367"/>
                    </a:lnTo>
                    <a:lnTo>
                      <a:pt x="317" y="2369"/>
                    </a:lnTo>
                    <a:lnTo>
                      <a:pt x="343" y="2377"/>
                    </a:lnTo>
                    <a:lnTo>
                      <a:pt x="375" y="2383"/>
                    </a:lnTo>
                    <a:lnTo>
                      <a:pt x="389" y="2391"/>
                    </a:lnTo>
                    <a:lnTo>
                      <a:pt x="394" y="2392"/>
                    </a:lnTo>
                    <a:lnTo>
                      <a:pt x="394" y="2396"/>
                    </a:lnTo>
                    <a:lnTo>
                      <a:pt x="391" y="2397"/>
                    </a:lnTo>
                    <a:lnTo>
                      <a:pt x="379" y="2393"/>
                    </a:lnTo>
                    <a:lnTo>
                      <a:pt x="368" y="2393"/>
                    </a:lnTo>
                    <a:lnTo>
                      <a:pt x="355" y="2386"/>
                    </a:lnTo>
                    <a:lnTo>
                      <a:pt x="348" y="2385"/>
                    </a:lnTo>
                    <a:lnTo>
                      <a:pt x="333" y="2392"/>
                    </a:lnTo>
                    <a:lnTo>
                      <a:pt x="330" y="2399"/>
                    </a:lnTo>
                    <a:lnTo>
                      <a:pt x="327" y="2405"/>
                    </a:lnTo>
                    <a:lnTo>
                      <a:pt x="311" y="2409"/>
                    </a:lnTo>
                    <a:lnTo>
                      <a:pt x="294" y="2419"/>
                    </a:lnTo>
                    <a:lnTo>
                      <a:pt x="290" y="2424"/>
                    </a:lnTo>
                    <a:lnTo>
                      <a:pt x="281" y="2426"/>
                    </a:lnTo>
                    <a:lnTo>
                      <a:pt x="275" y="2425"/>
                    </a:lnTo>
                    <a:lnTo>
                      <a:pt x="268" y="2429"/>
                    </a:lnTo>
                    <a:lnTo>
                      <a:pt x="259" y="2431"/>
                    </a:lnTo>
                    <a:lnTo>
                      <a:pt x="259" y="2455"/>
                    </a:lnTo>
                    <a:lnTo>
                      <a:pt x="253" y="2479"/>
                    </a:lnTo>
                    <a:lnTo>
                      <a:pt x="251" y="2512"/>
                    </a:lnTo>
                    <a:lnTo>
                      <a:pt x="249" y="2521"/>
                    </a:lnTo>
                    <a:lnTo>
                      <a:pt x="246" y="2527"/>
                    </a:lnTo>
                    <a:lnTo>
                      <a:pt x="243" y="2531"/>
                    </a:lnTo>
                    <a:lnTo>
                      <a:pt x="237" y="2531"/>
                    </a:lnTo>
                    <a:lnTo>
                      <a:pt x="222" y="2526"/>
                    </a:lnTo>
                    <a:lnTo>
                      <a:pt x="214" y="2525"/>
                    </a:lnTo>
                    <a:lnTo>
                      <a:pt x="194" y="2515"/>
                    </a:lnTo>
                    <a:lnTo>
                      <a:pt x="183" y="2505"/>
                    </a:lnTo>
                    <a:lnTo>
                      <a:pt x="178" y="2495"/>
                    </a:lnTo>
                    <a:lnTo>
                      <a:pt x="179" y="2485"/>
                    </a:lnTo>
                    <a:lnTo>
                      <a:pt x="188" y="2480"/>
                    </a:lnTo>
                    <a:lnTo>
                      <a:pt x="190" y="2488"/>
                    </a:lnTo>
                    <a:lnTo>
                      <a:pt x="189" y="2494"/>
                    </a:lnTo>
                    <a:lnTo>
                      <a:pt x="198" y="2490"/>
                    </a:lnTo>
                    <a:lnTo>
                      <a:pt x="201" y="2483"/>
                    </a:lnTo>
                    <a:lnTo>
                      <a:pt x="208" y="2477"/>
                    </a:lnTo>
                    <a:lnTo>
                      <a:pt x="220" y="2475"/>
                    </a:lnTo>
                    <a:lnTo>
                      <a:pt x="231" y="2468"/>
                    </a:lnTo>
                    <a:lnTo>
                      <a:pt x="238" y="2461"/>
                    </a:lnTo>
                    <a:lnTo>
                      <a:pt x="243" y="2450"/>
                    </a:lnTo>
                    <a:lnTo>
                      <a:pt x="244" y="2442"/>
                    </a:lnTo>
                    <a:lnTo>
                      <a:pt x="233" y="2436"/>
                    </a:lnTo>
                    <a:lnTo>
                      <a:pt x="227" y="2428"/>
                    </a:lnTo>
                    <a:lnTo>
                      <a:pt x="222" y="2417"/>
                    </a:lnTo>
                    <a:lnTo>
                      <a:pt x="211" y="2414"/>
                    </a:lnTo>
                    <a:lnTo>
                      <a:pt x="189" y="2413"/>
                    </a:lnTo>
                    <a:lnTo>
                      <a:pt x="176" y="2418"/>
                    </a:lnTo>
                    <a:lnTo>
                      <a:pt x="171" y="2424"/>
                    </a:lnTo>
                    <a:lnTo>
                      <a:pt x="171" y="2417"/>
                    </a:lnTo>
                    <a:lnTo>
                      <a:pt x="168" y="2412"/>
                    </a:lnTo>
                    <a:lnTo>
                      <a:pt x="153" y="2414"/>
                    </a:lnTo>
                    <a:lnTo>
                      <a:pt x="153" y="2409"/>
                    </a:lnTo>
                    <a:lnTo>
                      <a:pt x="156" y="2404"/>
                    </a:lnTo>
                    <a:lnTo>
                      <a:pt x="168" y="2398"/>
                    </a:lnTo>
                    <a:lnTo>
                      <a:pt x="171" y="2388"/>
                    </a:lnTo>
                    <a:lnTo>
                      <a:pt x="171" y="2376"/>
                    </a:lnTo>
                    <a:lnTo>
                      <a:pt x="160" y="2364"/>
                    </a:lnTo>
                    <a:lnTo>
                      <a:pt x="168" y="2360"/>
                    </a:lnTo>
                    <a:lnTo>
                      <a:pt x="169" y="2354"/>
                    </a:lnTo>
                    <a:lnTo>
                      <a:pt x="168" y="2345"/>
                    </a:lnTo>
                    <a:lnTo>
                      <a:pt x="160" y="2335"/>
                    </a:lnTo>
                    <a:lnTo>
                      <a:pt x="145" y="2322"/>
                    </a:lnTo>
                    <a:lnTo>
                      <a:pt x="134" y="2316"/>
                    </a:lnTo>
                    <a:lnTo>
                      <a:pt x="129" y="2316"/>
                    </a:lnTo>
                    <a:lnTo>
                      <a:pt x="160" y="2338"/>
                    </a:lnTo>
                    <a:lnTo>
                      <a:pt x="160" y="2345"/>
                    </a:lnTo>
                    <a:lnTo>
                      <a:pt x="153" y="2348"/>
                    </a:lnTo>
                    <a:lnTo>
                      <a:pt x="146" y="2344"/>
                    </a:lnTo>
                    <a:lnTo>
                      <a:pt x="137" y="2335"/>
                    </a:lnTo>
                    <a:lnTo>
                      <a:pt x="135" y="2338"/>
                    </a:lnTo>
                    <a:lnTo>
                      <a:pt x="141" y="2351"/>
                    </a:lnTo>
                    <a:lnTo>
                      <a:pt x="137" y="2361"/>
                    </a:lnTo>
                    <a:lnTo>
                      <a:pt x="133" y="2365"/>
                    </a:lnTo>
                    <a:lnTo>
                      <a:pt x="130" y="2360"/>
                    </a:lnTo>
                    <a:lnTo>
                      <a:pt x="126" y="2353"/>
                    </a:lnTo>
                    <a:lnTo>
                      <a:pt x="125" y="2343"/>
                    </a:lnTo>
                    <a:lnTo>
                      <a:pt x="119" y="2329"/>
                    </a:lnTo>
                    <a:lnTo>
                      <a:pt x="125" y="2344"/>
                    </a:lnTo>
                    <a:lnTo>
                      <a:pt x="126" y="2359"/>
                    </a:lnTo>
                    <a:lnTo>
                      <a:pt x="125" y="2371"/>
                    </a:lnTo>
                    <a:lnTo>
                      <a:pt x="119" y="2370"/>
                    </a:lnTo>
                    <a:lnTo>
                      <a:pt x="114" y="2367"/>
                    </a:lnTo>
                    <a:lnTo>
                      <a:pt x="110" y="2355"/>
                    </a:lnTo>
                    <a:lnTo>
                      <a:pt x="113" y="2332"/>
                    </a:lnTo>
                    <a:lnTo>
                      <a:pt x="106" y="2312"/>
                    </a:lnTo>
                    <a:lnTo>
                      <a:pt x="81" y="2285"/>
                    </a:lnTo>
                    <a:lnTo>
                      <a:pt x="79" y="2274"/>
                    </a:lnTo>
                    <a:lnTo>
                      <a:pt x="81" y="2267"/>
                    </a:lnTo>
                    <a:lnTo>
                      <a:pt x="92" y="2267"/>
                    </a:lnTo>
                    <a:lnTo>
                      <a:pt x="102" y="2263"/>
                    </a:lnTo>
                    <a:lnTo>
                      <a:pt x="101" y="2252"/>
                    </a:lnTo>
                    <a:lnTo>
                      <a:pt x="97" y="2249"/>
                    </a:lnTo>
                    <a:lnTo>
                      <a:pt x="94" y="2256"/>
                    </a:lnTo>
                    <a:lnTo>
                      <a:pt x="90" y="2256"/>
                    </a:lnTo>
                    <a:lnTo>
                      <a:pt x="83" y="2251"/>
                    </a:lnTo>
                    <a:lnTo>
                      <a:pt x="79" y="2240"/>
                    </a:lnTo>
                    <a:lnTo>
                      <a:pt x="82" y="2234"/>
                    </a:lnTo>
                    <a:lnTo>
                      <a:pt x="93" y="2237"/>
                    </a:lnTo>
                    <a:lnTo>
                      <a:pt x="92" y="2234"/>
                    </a:lnTo>
                    <a:lnTo>
                      <a:pt x="86" y="2227"/>
                    </a:lnTo>
                    <a:lnTo>
                      <a:pt x="74" y="2225"/>
                    </a:lnTo>
                    <a:lnTo>
                      <a:pt x="66" y="2221"/>
                    </a:lnTo>
                    <a:lnTo>
                      <a:pt x="60" y="2214"/>
                    </a:lnTo>
                    <a:lnTo>
                      <a:pt x="55" y="2204"/>
                    </a:lnTo>
                    <a:lnTo>
                      <a:pt x="69" y="2189"/>
                    </a:lnTo>
                    <a:lnTo>
                      <a:pt x="70" y="2173"/>
                    </a:lnTo>
                    <a:lnTo>
                      <a:pt x="72" y="2170"/>
                    </a:lnTo>
                    <a:lnTo>
                      <a:pt x="72" y="2164"/>
                    </a:lnTo>
                    <a:lnTo>
                      <a:pt x="87" y="2154"/>
                    </a:lnTo>
                    <a:lnTo>
                      <a:pt x="93" y="2156"/>
                    </a:lnTo>
                    <a:lnTo>
                      <a:pt x="97" y="2156"/>
                    </a:lnTo>
                    <a:lnTo>
                      <a:pt x="97" y="2154"/>
                    </a:lnTo>
                    <a:lnTo>
                      <a:pt x="92" y="2150"/>
                    </a:lnTo>
                    <a:lnTo>
                      <a:pt x="90" y="2144"/>
                    </a:lnTo>
                    <a:lnTo>
                      <a:pt x="97" y="2116"/>
                    </a:lnTo>
                    <a:lnTo>
                      <a:pt x="93" y="2117"/>
                    </a:lnTo>
                    <a:lnTo>
                      <a:pt x="85" y="2125"/>
                    </a:lnTo>
                    <a:lnTo>
                      <a:pt x="82" y="2134"/>
                    </a:lnTo>
                    <a:lnTo>
                      <a:pt x="77" y="2144"/>
                    </a:lnTo>
                    <a:lnTo>
                      <a:pt x="72" y="2141"/>
                    </a:lnTo>
                    <a:lnTo>
                      <a:pt x="70" y="2134"/>
                    </a:lnTo>
                    <a:lnTo>
                      <a:pt x="69" y="2119"/>
                    </a:lnTo>
                    <a:lnTo>
                      <a:pt x="69" y="2089"/>
                    </a:lnTo>
                    <a:lnTo>
                      <a:pt x="72" y="2082"/>
                    </a:lnTo>
                    <a:lnTo>
                      <a:pt x="77" y="2084"/>
                    </a:lnTo>
                    <a:lnTo>
                      <a:pt x="70" y="2076"/>
                    </a:lnTo>
                    <a:lnTo>
                      <a:pt x="72" y="2065"/>
                    </a:lnTo>
                    <a:lnTo>
                      <a:pt x="88" y="2064"/>
                    </a:lnTo>
                    <a:lnTo>
                      <a:pt x="98" y="2073"/>
                    </a:lnTo>
                    <a:lnTo>
                      <a:pt x="96" y="2064"/>
                    </a:lnTo>
                    <a:lnTo>
                      <a:pt x="93" y="2052"/>
                    </a:lnTo>
                    <a:lnTo>
                      <a:pt x="90" y="2057"/>
                    </a:lnTo>
                    <a:lnTo>
                      <a:pt x="69" y="2062"/>
                    </a:lnTo>
                    <a:lnTo>
                      <a:pt x="65" y="2058"/>
                    </a:lnTo>
                    <a:lnTo>
                      <a:pt x="63" y="2048"/>
                    </a:lnTo>
                    <a:lnTo>
                      <a:pt x="59" y="2042"/>
                    </a:lnTo>
                    <a:lnTo>
                      <a:pt x="59" y="2021"/>
                    </a:lnTo>
                    <a:lnTo>
                      <a:pt x="66" y="2022"/>
                    </a:lnTo>
                    <a:lnTo>
                      <a:pt x="72" y="2032"/>
                    </a:lnTo>
                    <a:lnTo>
                      <a:pt x="76" y="2042"/>
                    </a:lnTo>
                    <a:lnTo>
                      <a:pt x="75" y="2027"/>
                    </a:lnTo>
                    <a:lnTo>
                      <a:pt x="79" y="2025"/>
                    </a:lnTo>
                    <a:lnTo>
                      <a:pt x="99" y="2028"/>
                    </a:lnTo>
                    <a:lnTo>
                      <a:pt x="115" y="2041"/>
                    </a:lnTo>
                    <a:lnTo>
                      <a:pt x="122" y="2041"/>
                    </a:lnTo>
                    <a:lnTo>
                      <a:pt x="109" y="2032"/>
                    </a:lnTo>
                    <a:lnTo>
                      <a:pt x="102" y="2019"/>
                    </a:lnTo>
                    <a:lnTo>
                      <a:pt x="99" y="2005"/>
                    </a:lnTo>
                    <a:lnTo>
                      <a:pt x="97" y="1999"/>
                    </a:lnTo>
                    <a:lnTo>
                      <a:pt x="94" y="2006"/>
                    </a:lnTo>
                    <a:lnTo>
                      <a:pt x="81" y="2005"/>
                    </a:lnTo>
                    <a:lnTo>
                      <a:pt x="76" y="2000"/>
                    </a:lnTo>
                    <a:lnTo>
                      <a:pt x="77" y="1995"/>
                    </a:lnTo>
                    <a:lnTo>
                      <a:pt x="85" y="1989"/>
                    </a:lnTo>
                    <a:lnTo>
                      <a:pt x="76" y="1987"/>
                    </a:lnTo>
                    <a:lnTo>
                      <a:pt x="63" y="1979"/>
                    </a:lnTo>
                    <a:lnTo>
                      <a:pt x="60" y="1976"/>
                    </a:lnTo>
                    <a:lnTo>
                      <a:pt x="65" y="1966"/>
                    </a:lnTo>
                    <a:lnTo>
                      <a:pt x="76" y="1961"/>
                    </a:lnTo>
                    <a:lnTo>
                      <a:pt x="85" y="1958"/>
                    </a:lnTo>
                    <a:lnTo>
                      <a:pt x="77" y="1951"/>
                    </a:lnTo>
                    <a:lnTo>
                      <a:pt x="87" y="1941"/>
                    </a:lnTo>
                    <a:lnTo>
                      <a:pt x="83" y="1939"/>
                    </a:lnTo>
                    <a:lnTo>
                      <a:pt x="81" y="1931"/>
                    </a:lnTo>
                    <a:lnTo>
                      <a:pt x="74" y="1925"/>
                    </a:lnTo>
                    <a:lnTo>
                      <a:pt x="66" y="1920"/>
                    </a:lnTo>
                    <a:lnTo>
                      <a:pt x="59" y="1920"/>
                    </a:lnTo>
                    <a:lnTo>
                      <a:pt x="54" y="1926"/>
                    </a:lnTo>
                    <a:lnTo>
                      <a:pt x="48" y="1929"/>
                    </a:lnTo>
                    <a:lnTo>
                      <a:pt x="33" y="1922"/>
                    </a:lnTo>
                    <a:lnTo>
                      <a:pt x="28" y="1914"/>
                    </a:lnTo>
                    <a:lnTo>
                      <a:pt x="22" y="1909"/>
                    </a:lnTo>
                    <a:lnTo>
                      <a:pt x="13" y="1914"/>
                    </a:lnTo>
                    <a:lnTo>
                      <a:pt x="7" y="1919"/>
                    </a:lnTo>
                    <a:lnTo>
                      <a:pt x="12" y="1923"/>
                    </a:lnTo>
                    <a:lnTo>
                      <a:pt x="15" y="1930"/>
                    </a:lnTo>
                    <a:lnTo>
                      <a:pt x="12" y="1939"/>
                    </a:lnTo>
                    <a:lnTo>
                      <a:pt x="1" y="1937"/>
                    </a:lnTo>
                    <a:lnTo>
                      <a:pt x="0" y="1929"/>
                    </a:lnTo>
                    <a:lnTo>
                      <a:pt x="4" y="1908"/>
                    </a:lnTo>
                    <a:lnTo>
                      <a:pt x="12" y="1903"/>
                    </a:lnTo>
                    <a:lnTo>
                      <a:pt x="20" y="1896"/>
                    </a:lnTo>
                    <a:lnTo>
                      <a:pt x="27" y="1885"/>
                    </a:lnTo>
                    <a:lnTo>
                      <a:pt x="36" y="1883"/>
                    </a:lnTo>
                    <a:lnTo>
                      <a:pt x="44" y="1879"/>
                    </a:lnTo>
                    <a:lnTo>
                      <a:pt x="44" y="1871"/>
                    </a:lnTo>
                    <a:lnTo>
                      <a:pt x="42" y="1870"/>
                    </a:lnTo>
                    <a:lnTo>
                      <a:pt x="36" y="1871"/>
                    </a:lnTo>
                    <a:lnTo>
                      <a:pt x="32" y="1869"/>
                    </a:lnTo>
                    <a:lnTo>
                      <a:pt x="29" y="1865"/>
                    </a:lnTo>
                    <a:lnTo>
                      <a:pt x="29" y="1856"/>
                    </a:lnTo>
                    <a:lnTo>
                      <a:pt x="47" y="1853"/>
                    </a:lnTo>
                    <a:lnTo>
                      <a:pt x="55" y="1855"/>
                    </a:lnTo>
                    <a:lnTo>
                      <a:pt x="59" y="1859"/>
                    </a:lnTo>
                    <a:lnTo>
                      <a:pt x="66" y="1853"/>
                    </a:lnTo>
                    <a:lnTo>
                      <a:pt x="72" y="1856"/>
                    </a:lnTo>
                    <a:lnTo>
                      <a:pt x="79" y="1860"/>
                    </a:lnTo>
                    <a:lnTo>
                      <a:pt x="76" y="1867"/>
                    </a:lnTo>
                    <a:lnTo>
                      <a:pt x="77" y="1874"/>
                    </a:lnTo>
                    <a:lnTo>
                      <a:pt x="82" y="1869"/>
                    </a:lnTo>
                    <a:lnTo>
                      <a:pt x="82" y="1876"/>
                    </a:lnTo>
                    <a:lnTo>
                      <a:pt x="76" y="1883"/>
                    </a:lnTo>
                    <a:lnTo>
                      <a:pt x="74" y="1890"/>
                    </a:lnTo>
                    <a:lnTo>
                      <a:pt x="79" y="1897"/>
                    </a:lnTo>
                    <a:lnTo>
                      <a:pt x="86" y="1898"/>
                    </a:lnTo>
                    <a:lnTo>
                      <a:pt x="91" y="1888"/>
                    </a:lnTo>
                    <a:lnTo>
                      <a:pt x="96" y="1882"/>
                    </a:lnTo>
                    <a:lnTo>
                      <a:pt x="97" y="1888"/>
                    </a:lnTo>
                    <a:lnTo>
                      <a:pt x="94" y="1899"/>
                    </a:lnTo>
                    <a:lnTo>
                      <a:pt x="94" y="1906"/>
                    </a:lnTo>
                    <a:lnTo>
                      <a:pt x="99" y="1903"/>
                    </a:lnTo>
                    <a:lnTo>
                      <a:pt x="101" y="1896"/>
                    </a:lnTo>
                    <a:lnTo>
                      <a:pt x="104" y="1892"/>
                    </a:lnTo>
                    <a:lnTo>
                      <a:pt x="112" y="1886"/>
                    </a:lnTo>
                    <a:lnTo>
                      <a:pt x="118" y="1882"/>
                    </a:lnTo>
                    <a:lnTo>
                      <a:pt x="118" y="1879"/>
                    </a:lnTo>
                    <a:lnTo>
                      <a:pt x="120" y="1870"/>
                    </a:lnTo>
                    <a:lnTo>
                      <a:pt x="125" y="1859"/>
                    </a:lnTo>
                    <a:lnTo>
                      <a:pt x="125" y="1852"/>
                    </a:lnTo>
                    <a:lnTo>
                      <a:pt x="120" y="1855"/>
                    </a:lnTo>
                    <a:lnTo>
                      <a:pt x="117" y="1860"/>
                    </a:lnTo>
                    <a:lnTo>
                      <a:pt x="115" y="1866"/>
                    </a:lnTo>
                    <a:lnTo>
                      <a:pt x="108" y="1880"/>
                    </a:lnTo>
                    <a:lnTo>
                      <a:pt x="110" y="1855"/>
                    </a:lnTo>
                    <a:lnTo>
                      <a:pt x="113" y="1850"/>
                    </a:lnTo>
                    <a:lnTo>
                      <a:pt x="114" y="1849"/>
                    </a:lnTo>
                    <a:lnTo>
                      <a:pt x="128" y="1847"/>
                    </a:lnTo>
                    <a:lnTo>
                      <a:pt x="119" y="1844"/>
                    </a:lnTo>
                    <a:lnTo>
                      <a:pt x="119" y="1839"/>
                    </a:lnTo>
                    <a:lnTo>
                      <a:pt x="124" y="1834"/>
                    </a:lnTo>
                    <a:lnTo>
                      <a:pt x="131" y="1831"/>
                    </a:lnTo>
                    <a:lnTo>
                      <a:pt x="131" y="1827"/>
                    </a:lnTo>
                    <a:lnTo>
                      <a:pt x="124" y="1828"/>
                    </a:lnTo>
                    <a:lnTo>
                      <a:pt x="112" y="1833"/>
                    </a:lnTo>
                    <a:lnTo>
                      <a:pt x="113" y="1823"/>
                    </a:lnTo>
                    <a:lnTo>
                      <a:pt x="117" y="1818"/>
                    </a:lnTo>
                    <a:lnTo>
                      <a:pt x="122" y="1813"/>
                    </a:lnTo>
                    <a:lnTo>
                      <a:pt x="126" y="1812"/>
                    </a:lnTo>
                    <a:lnTo>
                      <a:pt x="134" y="1818"/>
                    </a:lnTo>
                    <a:lnTo>
                      <a:pt x="140" y="1821"/>
                    </a:lnTo>
                    <a:lnTo>
                      <a:pt x="144" y="1824"/>
                    </a:lnTo>
                    <a:lnTo>
                      <a:pt x="150" y="1823"/>
                    </a:lnTo>
                    <a:lnTo>
                      <a:pt x="150" y="1816"/>
                    </a:lnTo>
                    <a:lnTo>
                      <a:pt x="142" y="1816"/>
                    </a:lnTo>
                    <a:lnTo>
                      <a:pt x="129" y="1807"/>
                    </a:lnTo>
                    <a:lnTo>
                      <a:pt x="120" y="1806"/>
                    </a:lnTo>
                    <a:lnTo>
                      <a:pt x="122" y="1795"/>
                    </a:lnTo>
                    <a:lnTo>
                      <a:pt x="122" y="1789"/>
                    </a:lnTo>
                    <a:lnTo>
                      <a:pt x="126" y="1786"/>
                    </a:lnTo>
                    <a:lnTo>
                      <a:pt x="136" y="1786"/>
                    </a:lnTo>
                    <a:lnTo>
                      <a:pt x="145" y="1784"/>
                    </a:lnTo>
                    <a:lnTo>
                      <a:pt x="156" y="1773"/>
                    </a:lnTo>
                    <a:lnTo>
                      <a:pt x="157" y="1767"/>
                    </a:lnTo>
                    <a:lnTo>
                      <a:pt x="157" y="1750"/>
                    </a:lnTo>
                    <a:lnTo>
                      <a:pt x="153" y="1742"/>
                    </a:lnTo>
                    <a:lnTo>
                      <a:pt x="149" y="1740"/>
                    </a:lnTo>
                    <a:lnTo>
                      <a:pt x="136" y="1729"/>
                    </a:lnTo>
                    <a:lnTo>
                      <a:pt x="130" y="1726"/>
                    </a:lnTo>
                    <a:lnTo>
                      <a:pt x="126" y="1723"/>
                    </a:lnTo>
                    <a:lnTo>
                      <a:pt x="126" y="1720"/>
                    </a:lnTo>
                    <a:lnTo>
                      <a:pt x="128" y="1720"/>
                    </a:lnTo>
                    <a:lnTo>
                      <a:pt x="129" y="1718"/>
                    </a:lnTo>
                    <a:lnTo>
                      <a:pt x="135" y="1711"/>
                    </a:lnTo>
                    <a:lnTo>
                      <a:pt x="137" y="1704"/>
                    </a:lnTo>
                    <a:lnTo>
                      <a:pt x="141" y="1697"/>
                    </a:lnTo>
                    <a:lnTo>
                      <a:pt x="146" y="1691"/>
                    </a:lnTo>
                    <a:lnTo>
                      <a:pt x="144" y="1686"/>
                    </a:lnTo>
                    <a:lnTo>
                      <a:pt x="146" y="1680"/>
                    </a:lnTo>
                    <a:lnTo>
                      <a:pt x="140" y="1675"/>
                    </a:lnTo>
                    <a:lnTo>
                      <a:pt x="139" y="1667"/>
                    </a:lnTo>
                    <a:lnTo>
                      <a:pt x="140" y="1661"/>
                    </a:lnTo>
                    <a:lnTo>
                      <a:pt x="142" y="1656"/>
                    </a:lnTo>
                    <a:lnTo>
                      <a:pt x="149" y="1651"/>
                    </a:lnTo>
                    <a:lnTo>
                      <a:pt x="153" y="1633"/>
                    </a:lnTo>
                    <a:lnTo>
                      <a:pt x="151" y="1612"/>
                    </a:lnTo>
                    <a:lnTo>
                      <a:pt x="158" y="1601"/>
                    </a:lnTo>
                    <a:lnTo>
                      <a:pt x="166" y="1603"/>
                    </a:lnTo>
                    <a:lnTo>
                      <a:pt x="161" y="1597"/>
                    </a:lnTo>
                    <a:lnTo>
                      <a:pt x="155" y="1587"/>
                    </a:lnTo>
                    <a:lnTo>
                      <a:pt x="160" y="1578"/>
                    </a:lnTo>
                    <a:lnTo>
                      <a:pt x="167" y="1580"/>
                    </a:lnTo>
                    <a:lnTo>
                      <a:pt x="172" y="1594"/>
                    </a:lnTo>
                    <a:lnTo>
                      <a:pt x="172" y="1583"/>
                    </a:lnTo>
                    <a:lnTo>
                      <a:pt x="171" y="1562"/>
                    </a:lnTo>
                    <a:lnTo>
                      <a:pt x="162" y="1562"/>
                    </a:lnTo>
                    <a:lnTo>
                      <a:pt x="153" y="1558"/>
                    </a:lnTo>
                    <a:lnTo>
                      <a:pt x="156" y="1548"/>
                    </a:lnTo>
                    <a:lnTo>
                      <a:pt x="166" y="1541"/>
                    </a:lnTo>
                    <a:lnTo>
                      <a:pt x="172" y="1540"/>
                    </a:lnTo>
                    <a:lnTo>
                      <a:pt x="178" y="1533"/>
                    </a:lnTo>
                    <a:lnTo>
                      <a:pt x="178" y="1532"/>
                    </a:lnTo>
                    <a:lnTo>
                      <a:pt x="169" y="1536"/>
                    </a:lnTo>
                    <a:lnTo>
                      <a:pt x="163" y="1536"/>
                    </a:lnTo>
                    <a:lnTo>
                      <a:pt x="157" y="1533"/>
                    </a:lnTo>
                    <a:lnTo>
                      <a:pt x="151" y="1525"/>
                    </a:lnTo>
                    <a:lnTo>
                      <a:pt x="141" y="1525"/>
                    </a:lnTo>
                    <a:lnTo>
                      <a:pt x="135" y="1528"/>
                    </a:lnTo>
                    <a:lnTo>
                      <a:pt x="134" y="1535"/>
                    </a:lnTo>
                    <a:lnTo>
                      <a:pt x="130" y="1540"/>
                    </a:lnTo>
                    <a:lnTo>
                      <a:pt x="117" y="1543"/>
                    </a:lnTo>
                    <a:lnTo>
                      <a:pt x="103" y="1537"/>
                    </a:lnTo>
                    <a:lnTo>
                      <a:pt x="104" y="1531"/>
                    </a:lnTo>
                    <a:lnTo>
                      <a:pt x="101" y="1525"/>
                    </a:lnTo>
                    <a:lnTo>
                      <a:pt x="97" y="1524"/>
                    </a:lnTo>
                    <a:lnTo>
                      <a:pt x="93" y="1516"/>
                    </a:lnTo>
                    <a:lnTo>
                      <a:pt x="92" y="1504"/>
                    </a:lnTo>
                    <a:lnTo>
                      <a:pt x="93" y="1489"/>
                    </a:lnTo>
                    <a:lnTo>
                      <a:pt x="96" y="1466"/>
                    </a:lnTo>
                    <a:lnTo>
                      <a:pt x="101" y="1454"/>
                    </a:lnTo>
                    <a:lnTo>
                      <a:pt x="102" y="1407"/>
                    </a:lnTo>
                    <a:lnTo>
                      <a:pt x="112" y="1402"/>
                    </a:lnTo>
                    <a:lnTo>
                      <a:pt x="113" y="1396"/>
                    </a:lnTo>
                    <a:lnTo>
                      <a:pt x="118" y="1390"/>
                    </a:lnTo>
                    <a:lnTo>
                      <a:pt x="122" y="1379"/>
                    </a:lnTo>
                    <a:lnTo>
                      <a:pt x="120" y="1349"/>
                    </a:lnTo>
                    <a:lnTo>
                      <a:pt x="115" y="1329"/>
                    </a:lnTo>
                    <a:lnTo>
                      <a:pt x="108" y="1314"/>
                    </a:lnTo>
                    <a:lnTo>
                      <a:pt x="108" y="1311"/>
                    </a:lnTo>
                    <a:lnTo>
                      <a:pt x="109" y="1311"/>
                    </a:lnTo>
                    <a:lnTo>
                      <a:pt x="112" y="1285"/>
                    </a:lnTo>
                    <a:lnTo>
                      <a:pt x="109" y="1274"/>
                    </a:lnTo>
                    <a:lnTo>
                      <a:pt x="104" y="1261"/>
                    </a:lnTo>
                    <a:lnTo>
                      <a:pt x="106" y="1244"/>
                    </a:lnTo>
                    <a:lnTo>
                      <a:pt x="106" y="1225"/>
                    </a:lnTo>
                    <a:lnTo>
                      <a:pt x="113" y="1215"/>
                    </a:lnTo>
                    <a:lnTo>
                      <a:pt x="122" y="1219"/>
                    </a:lnTo>
                    <a:lnTo>
                      <a:pt x="130" y="1215"/>
                    </a:lnTo>
                    <a:lnTo>
                      <a:pt x="129" y="1182"/>
                    </a:lnTo>
                    <a:lnTo>
                      <a:pt x="134" y="1178"/>
                    </a:lnTo>
                    <a:lnTo>
                      <a:pt x="137" y="1182"/>
                    </a:lnTo>
                    <a:lnTo>
                      <a:pt x="141" y="1180"/>
                    </a:lnTo>
                    <a:lnTo>
                      <a:pt x="149" y="1161"/>
                    </a:lnTo>
                    <a:lnTo>
                      <a:pt x="152" y="1139"/>
                    </a:lnTo>
                    <a:lnTo>
                      <a:pt x="158" y="1132"/>
                    </a:lnTo>
                    <a:lnTo>
                      <a:pt x="162" y="1116"/>
                    </a:lnTo>
                    <a:lnTo>
                      <a:pt x="166" y="1105"/>
                    </a:lnTo>
                    <a:lnTo>
                      <a:pt x="182" y="1076"/>
                    </a:lnTo>
                    <a:lnTo>
                      <a:pt x="183" y="1068"/>
                    </a:lnTo>
                    <a:lnTo>
                      <a:pt x="194" y="1037"/>
                    </a:lnTo>
                    <a:lnTo>
                      <a:pt x="195" y="1025"/>
                    </a:lnTo>
                    <a:lnTo>
                      <a:pt x="196" y="1024"/>
                    </a:lnTo>
                    <a:lnTo>
                      <a:pt x="204" y="994"/>
                    </a:lnTo>
                    <a:lnTo>
                      <a:pt x="210" y="987"/>
                    </a:lnTo>
                    <a:lnTo>
                      <a:pt x="210" y="950"/>
                    </a:lnTo>
                    <a:lnTo>
                      <a:pt x="217" y="939"/>
                    </a:lnTo>
                    <a:lnTo>
                      <a:pt x="221" y="928"/>
                    </a:lnTo>
                    <a:lnTo>
                      <a:pt x="221" y="903"/>
                    </a:lnTo>
                    <a:lnTo>
                      <a:pt x="216" y="882"/>
                    </a:lnTo>
                    <a:lnTo>
                      <a:pt x="215" y="855"/>
                    </a:lnTo>
                    <a:lnTo>
                      <a:pt x="210" y="821"/>
                    </a:lnTo>
                    <a:lnTo>
                      <a:pt x="209" y="789"/>
                    </a:lnTo>
                    <a:lnTo>
                      <a:pt x="211" y="763"/>
                    </a:lnTo>
                    <a:lnTo>
                      <a:pt x="223" y="756"/>
                    </a:lnTo>
                    <a:lnTo>
                      <a:pt x="228" y="737"/>
                    </a:lnTo>
                    <a:lnTo>
                      <a:pt x="226" y="731"/>
                    </a:lnTo>
                    <a:lnTo>
                      <a:pt x="226" y="719"/>
                    </a:lnTo>
                    <a:lnTo>
                      <a:pt x="219" y="698"/>
                    </a:lnTo>
                    <a:lnTo>
                      <a:pt x="216" y="694"/>
                    </a:lnTo>
                    <a:lnTo>
                      <a:pt x="217" y="685"/>
                    </a:lnTo>
                    <a:lnTo>
                      <a:pt x="220" y="678"/>
                    </a:lnTo>
                    <a:lnTo>
                      <a:pt x="231" y="664"/>
                    </a:lnTo>
                    <a:lnTo>
                      <a:pt x="236" y="643"/>
                    </a:lnTo>
                    <a:lnTo>
                      <a:pt x="242" y="606"/>
                    </a:lnTo>
                    <a:lnTo>
                      <a:pt x="251" y="591"/>
                    </a:lnTo>
                    <a:lnTo>
                      <a:pt x="251" y="572"/>
                    </a:lnTo>
                    <a:lnTo>
                      <a:pt x="253" y="565"/>
                    </a:lnTo>
                    <a:lnTo>
                      <a:pt x="257" y="562"/>
                    </a:lnTo>
                    <a:lnTo>
                      <a:pt x="262" y="548"/>
                    </a:lnTo>
                    <a:lnTo>
                      <a:pt x="263" y="530"/>
                    </a:lnTo>
                    <a:lnTo>
                      <a:pt x="265" y="521"/>
                    </a:lnTo>
                    <a:lnTo>
                      <a:pt x="265" y="511"/>
                    </a:lnTo>
                    <a:lnTo>
                      <a:pt x="262" y="497"/>
                    </a:lnTo>
                    <a:lnTo>
                      <a:pt x="262" y="483"/>
                    </a:lnTo>
                    <a:lnTo>
                      <a:pt x="264" y="475"/>
                    </a:lnTo>
                    <a:lnTo>
                      <a:pt x="268" y="467"/>
                    </a:lnTo>
                    <a:lnTo>
                      <a:pt x="275" y="461"/>
                    </a:lnTo>
                    <a:lnTo>
                      <a:pt x="275" y="452"/>
                    </a:lnTo>
                    <a:lnTo>
                      <a:pt x="275" y="438"/>
                    </a:lnTo>
                    <a:lnTo>
                      <a:pt x="274" y="423"/>
                    </a:lnTo>
                    <a:lnTo>
                      <a:pt x="274" y="375"/>
                    </a:lnTo>
                    <a:lnTo>
                      <a:pt x="276" y="363"/>
                    </a:lnTo>
                    <a:lnTo>
                      <a:pt x="276" y="351"/>
                    </a:lnTo>
                    <a:lnTo>
                      <a:pt x="270" y="343"/>
                    </a:lnTo>
                    <a:lnTo>
                      <a:pt x="270" y="337"/>
                    </a:lnTo>
                    <a:lnTo>
                      <a:pt x="274" y="324"/>
                    </a:lnTo>
                    <a:lnTo>
                      <a:pt x="279" y="317"/>
                    </a:lnTo>
                    <a:lnTo>
                      <a:pt x="284" y="317"/>
                    </a:lnTo>
                    <a:lnTo>
                      <a:pt x="286" y="310"/>
                    </a:lnTo>
                    <a:lnTo>
                      <a:pt x="289" y="268"/>
                    </a:lnTo>
                    <a:lnTo>
                      <a:pt x="292" y="256"/>
                    </a:lnTo>
                    <a:lnTo>
                      <a:pt x="292" y="244"/>
                    </a:lnTo>
                    <a:lnTo>
                      <a:pt x="296" y="233"/>
                    </a:lnTo>
                    <a:lnTo>
                      <a:pt x="297" y="224"/>
                    </a:lnTo>
                    <a:lnTo>
                      <a:pt x="296" y="222"/>
                    </a:lnTo>
                    <a:lnTo>
                      <a:pt x="290" y="195"/>
                    </a:lnTo>
                    <a:lnTo>
                      <a:pt x="292" y="142"/>
                    </a:lnTo>
                    <a:lnTo>
                      <a:pt x="290" y="132"/>
                    </a:lnTo>
                    <a:lnTo>
                      <a:pt x="287" y="122"/>
                    </a:lnTo>
                    <a:lnTo>
                      <a:pt x="285" y="95"/>
                    </a:lnTo>
                    <a:lnTo>
                      <a:pt x="279" y="57"/>
                    </a:lnTo>
                    <a:lnTo>
                      <a:pt x="274" y="39"/>
                    </a:lnTo>
                    <a:lnTo>
                      <a:pt x="284" y="30"/>
                    </a:lnTo>
                    <a:lnTo>
                      <a:pt x="286" y="30"/>
                    </a:lnTo>
                    <a:lnTo>
                      <a:pt x="303" y="29"/>
                    </a:lnTo>
                    <a:lnTo>
                      <a:pt x="311" y="26"/>
                    </a:lnTo>
                    <a:lnTo>
                      <a:pt x="312" y="25"/>
                    </a:lnTo>
                    <a:lnTo>
                      <a:pt x="313" y="16"/>
                    </a:lnTo>
                    <a:lnTo>
                      <a:pt x="318" y="7"/>
                    </a:lnTo>
                    <a:lnTo>
                      <a:pt x="323" y="2"/>
                    </a:lnTo>
                    <a:lnTo>
                      <a:pt x="325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68" name="Freeform 242"/>
              <p:cNvSpPr>
                <a:spLocks noChangeAspect="1"/>
              </p:cNvSpPr>
              <p:nvPr/>
            </p:nvSpPr>
            <p:spPr bwMode="gray">
              <a:xfrm>
                <a:off x="1733" y="3162"/>
                <a:ext cx="31" cy="47"/>
              </a:xfrm>
              <a:custGeom>
                <a:avLst/>
                <a:gdLst/>
                <a:ahLst/>
                <a:cxnLst>
                  <a:cxn ang="0">
                    <a:pos x="141" y="225"/>
                  </a:cxn>
                  <a:cxn ang="0">
                    <a:pos x="135" y="231"/>
                  </a:cxn>
                  <a:cxn ang="0">
                    <a:pos x="115" y="225"/>
                  </a:cxn>
                  <a:cxn ang="0">
                    <a:pos x="77" y="221"/>
                  </a:cxn>
                  <a:cxn ang="0">
                    <a:pos x="61" y="225"/>
                  </a:cxn>
                  <a:cxn ang="0">
                    <a:pos x="35" y="220"/>
                  </a:cxn>
                  <a:cxn ang="0">
                    <a:pos x="30" y="215"/>
                  </a:cxn>
                  <a:cxn ang="0">
                    <a:pos x="23" y="213"/>
                  </a:cxn>
                  <a:cxn ang="0">
                    <a:pos x="30" y="205"/>
                  </a:cxn>
                  <a:cxn ang="0">
                    <a:pos x="12" y="205"/>
                  </a:cxn>
                  <a:cxn ang="0">
                    <a:pos x="5" y="202"/>
                  </a:cxn>
                  <a:cxn ang="0">
                    <a:pos x="0" y="189"/>
                  </a:cxn>
                  <a:cxn ang="0">
                    <a:pos x="16" y="181"/>
                  </a:cxn>
                  <a:cxn ang="0">
                    <a:pos x="29" y="176"/>
                  </a:cxn>
                  <a:cxn ang="0">
                    <a:pos x="36" y="176"/>
                  </a:cxn>
                  <a:cxn ang="0">
                    <a:pos x="23" y="160"/>
                  </a:cxn>
                  <a:cxn ang="0">
                    <a:pos x="38" y="165"/>
                  </a:cxn>
                  <a:cxn ang="0">
                    <a:pos x="64" y="184"/>
                  </a:cxn>
                  <a:cxn ang="0">
                    <a:pos x="73" y="178"/>
                  </a:cxn>
                  <a:cxn ang="0">
                    <a:pos x="62" y="171"/>
                  </a:cxn>
                  <a:cxn ang="0">
                    <a:pos x="81" y="178"/>
                  </a:cxn>
                  <a:cxn ang="0">
                    <a:pos x="92" y="170"/>
                  </a:cxn>
                  <a:cxn ang="0">
                    <a:pos x="100" y="176"/>
                  </a:cxn>
                  <a:cxn ang="0">
                    <a:pos x="106" y="167"/>
                  </a:cxn>
                  <a:cxn ang="0">
                    <a:pos x="72" y="151"/>
                  </a:cxn>
                  <a:cxn ang="0">
                    <a:pos x="70" y="113"/>
                  </a:cxn>
                  <a:cxn ang="0">
                    <a:pos x="82" y="108"/>
                  </a:cxn>
                  <a:cxn ang="0">
                    <a:pos x="111" y="89"/>
                  </a:cxn>
                  <a:cxn ang="0">
                    <a:pos x="99" y="79"/>
                  </a:cxn>
                  <a:cxn ang="0">
                    <a:pos x="66" y="90"/>
                  </a:cxn>
                  <a:cxn ang="0">
                    <a:pos x="49" y="73"/>
                  </a:cxn>
                  <a:cxn ang="0">
                    <a:pos x="50" y="51"/>
                  </a:cxn>
                  <a:cxn ang="0">
                    <a:pos x="60" y="53"/>
                  </a:cxn>
                  <a:cxn ang="0">
                    <a:pos x="68" y="43"/>
                  </a:cxn>
                  <a:cxn ang="0">
                    <a:pos x="62" y="30"/>
                  </a:cxn>
                  <a:cxn ang="0">
                    <a:pos x="67" y="25"/>
                  </a:cxn>
                  <a:cxn ang="0">
                    <a:pos x="78" y="29"/>
                  </a:cxn>
                  <a:cxn ang="0">
                    <a:pos x="94" y="5"/>
                  </a:cxn>
                  <a:cxn ang="0">
                    <a:pos x="115" y="16"/>
                  </a:cxn>
                  <a:cxn ang="0">
                    <a:pos x="135" y="15"/>
                  </a:cxn>
                  <a:cxn ang="0">
                    <a:pos x="148" y="17"/>
                  </a:cxn>
                  <a:cxn ang="0">
                    <a:pos x="152" y="213"/>
                  </a:cxn>
                </a:cxnLst>
                <a:rect l="0" t="0" r="r" b="b"/>
                <a:pathLst>
                  <a:path w="152" h="235">
                    <a:moveTo>
                      <a:pt x="152" y="225"/>
                    </a:moveTo>
                    <a:lnTo>
                      <a:pt x="141" y="225"/>
                    </a:lnTo>
                    <a:lnTo>
                      <a:pt x="143" y="231"/>
                    </a:lnTo>
                    <a:lnTo>
                      <a:pt x="135" y="231"/>
                    </a:lnTo>
                    <a:lnTo>
                      <a:pt x="129" y="235"/>
                    </a:lnTo>
                    <a:lnTo>
                      <a:pt x="115" y="225"/>
                    </a:lnTo>
                    <a:lnTo>
                      <a:pt x="99" y="221"/>
                    </a:lnTo>
                    <a:lnTo>
                      <a:pt x="77" y="221"/>
                    </a:lnTo>
                    <a:lnTo>
                      <a:pt x="75" y="225"/>
                    </a:lnTo>
                    <a:lnTo>
                      <a:pt x="61" y="225"/>
                    </a:lnTo>
                    <a:lnTo>
                      <a:pt x="41" y="216"/>
                    </a:lnTo>
                    <a:lnTo>
                      <a:pt x="35" y="220"/>
                    </a:lnTo>
                    <a:lnTo>
                      <a:pt x="25" y="219"/>
                    </a:lnTo>
                    <a:lnTo>
                      <a:pt x="30" y="215"/>
                    </a:lnTo>
                    <a:lnTo>
                      <a:pt x="30" y="213"/>
                    </a:lnTo>
                    <a:lnTo>
                      <a:pt x="23" y="213"/>
                    </a:lnTo>
                    <a:lnTo>
                      <a:pt x="24" y="209"/>
                    </a:lnTo>
                    <a:lnTo>
                      <a:pt x="30" y="205"/>
                    </a:lnTo>
                    <a:lnTo>
                      <a:pt x="16" y="202"/>
                    </a:lnTo>
                    <a:lnTo>
                      <a:pt x="12" y="205"/>
                    </a:lnTo>
                    <a:lnTo>
                      <a:pt x="3" y="205"/>
                    </a:lnTo>
                    <a:lnTo>
                      <a:pt x="5" y="202"/>
                    </a:lnTo>
                    <a:lnTo>
                      <a:pt x="5" y="194"/>
                    </a:lnTo>
                    <a:lnTo>
                      <a:pt x="0" y="189"/>
                    </a:lnTo>
                    <a:lnTo>
                      <a:pt x="16" y="186"/>
                    </a:lnTo>
                    <a:lnTo>
                      <a:pt x="16" y="181"/>
                    </a:lnTo>
                    <a:lnTo>
                      <a:pt x="24" y="181"/>
                    </a:lnTo>
                    <a:lnTo>
                      <a:pt x="29" y="176"/>
                    </a:lnTo>
                    <a:lnTo>
                      <a:pt x="34" y="177"/>
                    </a:lnTo>
                    <a:lnTo>
                      <a:pt x="36" y="176"/>
                    </a:lnTo>
                    <a:lnTo>
                      <a:pt x="34" y="167"/>
                    </a:lnTo>
                    <a:lnTo>
                      <a:pt x="23" y="160"/>
                    </a:lnTo>
                    <a:lnTo>
                      <a:pt x="23" y="151"/>
                    </a:lnTo>
                    <a:lnTo>
                      <a:pt x="38" y="165"/>
                    </a:lnTo>
                    <a:lnTo>
                      <a:pt x="59" y="177"/>
                    </a:lnTo>
                    <a:lnTo>
                      <a:pt x="64" y="184"/>
                    </a:lnTo>
                    <a:lnTo>
                      <a:pt x="67" y="181"/>
                    </a:lnTo>
                    <a:lnTo>
                      <a:pt x="73" y="178"/>
                    </a:lnTo>
                    <a:lnTo>
                      <a:pt x="64" y="176"/>
                    </a:lnTo>
                    <a:lnTo>
                      <a:pt x="62" y="171"/>
                    </a:lnTo>
                    <a:lnTo>
                      <a:pt x="68" y="165"/>
                    </a:lnTo>
                    <a:lnTo>
                      <a:pt x="81" y="178"/>
                    </a:lnTo>
                    <a:lnTo>
                      <a:pt x="82" y="167"/>
                    </a:lnTo>
                    <a:lnTo>
                      <a:pt x="92" y="170"/>
                    </a:lnTo>
                    <a:lnTo>
                      <a:pt x="99" y="181"/>
                    </a:lnTo>
                    <a:lnTo>
                      <a:pt x="100" y="176"/>
                    </a:lnTo>
                    <a:lnTo>
                      <a:pt x="110" y="176"/>
                    </a:lnTo>
                    <a:lnTo>
                      <a:pt x="106" y="167"/>
                    </a:lnTo>
                    <a:lnTo>
                      <a:pt x="75" y="156"/>
                    </a:lnTo>
                    <a:lnTo>
                      <a:pt x="72" y="151"/>
                    </a:lnTo>
                    <a:lnTo>
                      <a:pt x="67" y="121"/>
                    </a:lnTo>
                    <a:lnTo>
                      <a:pt x="70" y="113"/>
                    </a:lnTo>
                    <a:lnTo>
                      <a:pt x="79" y="113"/>
                    </a:lnTo>
                    <a:lnTo>
                      <a:pt x="82" y="108"/>
                    </a:lnTo>
                    <a:lnTo>
                      <a:pt x="109" y="101"/>
                    </a:lnTo>
                    <a:lnTo>
                      <a:pt x="111" y="89"/>
                    </a:lnTo>
                    <a:lnTo>
                      <a:pt x="106" y="80"/>
                    </a:lnTo>
                    <a:lnTo>
                      <a:pt x="99" y="79"/>
                    </a:lnTo>
                    <a:lnTo>
                      <a:pt x="87" y="80"/>
                    </a:lnTo>
                    <a:lnTo>
                      <a:pt x="66" y="90"/>
                    </a:lnTo>
                    <a:lnTo>
                      <a:pt x="52" y="80"/>
                    </a:lnTo>
                    <a:lnTo>
                      <a:pt x="49" y="73"/>
                    </a:lnTo>
                    <a:lnTo>
                      <a:pt x="50" y="62"/>
                    </a:lnTo>
                    <a:lnTo>
                      <a:pt x="50" y="51"/>
                    </a:lnTo>
                    <a:lnTo>
                      <a:pt x="55" y="48"/>
                    </a:lnTo>
                    <a:lnTo>
                      <a:pt x="60" y="53"/>
                    </a:lnTo>
                    <a:lnTo>
                      <a:pt x="66" y="52"/>
                    </a:lnTo>
                    <a:lnTo>
                      <a:pt x="68" y="43"/>
                    </a:lnTo>
                    <a:lnTo>
                      <a:pt x="64" y="36"/>
                    </a:lnTo>
                    <a:lnTo>
                      <a:pt x="62" y="30"/>
                    </a:lnTo>
                    <a:lnTo>
                      <a:pt x="52" y="27"/>
                    </a:lnTo>
                    <a:lnTo>
                      <a:pt x="67" y="25"/>
                    </a:lnTo>
                    <a:lnTo>
                      <a:pt x="75" y="31"/>
                    </a:lnTo>
                    <a:lnTo>
                      <a:pt x="78" y="29"/>
                    </a:lnTo>
                    <a:lnTo>
                      <a:pt x="88" y="25"/>
                    </a:lnTo>
                    <a:lnTo>
                      <a:pt x="94" y="5"/>
                    </a:lnTo>
                    <a:lnTo>
                      <a:pt x="106" y="0"/>
                    </a:lnTo>
                    <a:lnTo>
                      <a:pt x="115" y="16"/>
                    </a:lnTo>
                    <a:lnTo>
                      <a:pt x="124" y="17"/>
                    </a:lnTo>
                    <a:lnTo>
                      <a:pt x="135" y="15"/>
                    </a:lnTo>
                    <a:lnTo>
                      <a:pt x="143" y="8"/>
                    </a:lnTo>
                    <a:lnTo>
                      <a:pt x="148" y="17"/>
                    </a:lnTo>
                    <a:lnTo>
                      <a:pt x="151" y="209"/>
                    </a:lnTo>
                    <a:lnTo>
                      <a:pt x="152" y="213"/>
                    </a:lnTo>
                    <a:lnTo>
                      <a:pt x="152" y="22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69" name="Freeform 243"/>
              <p:cNvSpPr>
                <a:spLocks noChangeAspect="1"/>
              </p:cNvSpPr>
              <p:nvPr/>
            </p:nvSpPr>
            <p:spPr bwMode="gray">
              <a:xfrm>
                <a:off x="1964" y="2482"/>
                <a:ext cx="6" cy="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6" y="22"/>
                  </a:cxn>
                  <a:cxn ang="0">
                    <a:pos x="16" y="23"/>
                  </a:cxn>
                  <a:cxn ang="0">
                    <a:pos x="23" y="27"/>
                  </a:cxn>
                  <a:cxn ang="0">
                    <a:pos x="31" y="26"/>
                  </a:cxn>
                  <a:cxn ang="0">
                    <a:pos x="32" y="19"/>
                  </a:cxn>
                  <a:cxn ang="0">
                    <a:pos x="26" y="14"/>
                  </a:cxn>
                  <a:cxn ang="0">
                    <a:pos x="19" y="12"/>
                  </a:cxn>
                  <a:cxn ang="0">
                    <a:pos x="11" y="7"/>
                  </a:cxn>
                  <a:cxn ang="0">
                    <a:pos x="7" y="0"/>
                  </a:cxn>
                </a:cxnLst>
                <a:rect l="0" t="0" r="r" b="b"/>
                <a:pathLst>
                  <a:path w="32" h="27">
                    <a:moveTo>
                      <a:pt x="7" y="0"/>
                    </a:moveTo>
                    <a:lnTo>
                      <a:pt x="0" y="9"/>
                    </a:lnTo>
                    <a:lnTo>
                      <a:pt x="0" y="15"/>
                    </a:lnTo>
                    <a:lnTo>
                      <a:pt x="6" y="22"/>
                    </a:lnTo>
                    <a:lnTo>
                      <a:pt x="16" y="23"/>
                    </a:lnTo>
                    <a:lnTo>
                      <a:pt x="23" y="27"/>
                    </a:lnTo>
                    <a:lnTo>
                      <a:pt x="31" y="26"/>
                    </a:lnTo>
                    <a:lnTo>
                      <a:pt x="32" y="19"/>
                    </a:lnTo>
                    <a:lnTo>
                      <a:pt x="26" y="14"/>
                    </a:lnTo>
                    <a:lnTo>
                      <a:pt x="19" y="12"/>
                    </a:lnTo>
                    <a:lnTo>
                      <a:pt x="11" y="7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70" name="Freeform 244"/>
              <p:cNvSpPr>
                <a:spLocks noChangeAspect="1"/>
              </p:cNvSpPr>
              <p:nvPr/>
            </p:nvSpPr>
            <p:spPr bwMode="gray">
              <a:xfrm>
                <a:off x="1971" y="2487"/>
                <a:ext cx="4" cy="2"/>
              </a:xfrm>
              <a:custGeom>
                <a:avLst/>
                <a:gdLst/>
                <a:ahLst/>
                <a:cxnLst>
                  <a:cxn ang="0">
                    <a:pos x="17" y="8"/>
                  </a:cxn>
                  <a:cxn ang="0">
                    <a:pos x="11" y="12"/>
                  </a:cxn>
                  <a:cxn ang="0">
                    <a:pos x="1" y="12"/>
                  </a:cxn>
                  <a:cxn ang="0">
                    <a:pos x="0" y="11"/>
                  </a:cxn>
                  <a:cxn ang="0">
                    <a:pos x="0" y="8"/>
                  </a:cxn>
                  <a:cxn ang="0">
                    <a:pos x="1" y="6"/>
                  </a:cxn>
                  <a:cxn ang="0">
                    <a:pos x="2" y="6"/>
                  </a:cxn>
                  <a:cxn ang="0">
                    <a:pos x="8" y="1"/>
                  </a:cxn>
                  <a:cxn ang="0">
                    <a:pos x="11" y="0"/>
                  </a:cxn>
                  <a:cxn ang="0">
                    <a:pos x="14" y="0"/>
                  </a:cxn>
                  <a:cxn ang="0">
                    <a:pos x="18" y="1"/>
                  </a:cxn>
                  <a:cxn ang="0">
                    <a:pos x="18" y="6"/>
                  </a:cxn>
                  <a:cxn ang="0">
                    <a:pos x="17" y="8"/>
                  </a:cxn>
                </a:cxnLst>
                <a:rect l="0" t="0" r="r" b="b"/>
                <a:pathLst>
                  <a:path w="18" h="12">
                    <a:moveTo>
                      <a:pt x="17" y="8"/>
                    </a:moveTo>
                    <a:lnTo>
                      <a:pt x="11" y="12"/>
                    </a:lnTo>
                    <a:lnTo>
                      <a:pt x="1" y="12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2" y="6"/>
                    </a:lnTo>
                    <a:lnTo>
                      <a:pt x="8" y="1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8" y="1"/>
                    </a:lnTo>
                    <a:lnTo>
                      <a:pt x="18" y="6"/>
                    </a:lnTo>
                    <a:lnTo>
                      <a:pt x="17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71" name="Freeform 245"/>
              <p:cNvSpPr>
                <a:spLocks noChangeAspect="1"/>
              </p:cNvSpPr>
              <p:nvPr/>
            </p:nvSpPr>
            <p:spPr bwMode="gray">
              <a:xfrm>
                <a:off x="1962" y="2489"/>
                <a:ext cx="23" cy="17"/>
              </a:xfrm>
              <a:custGeom>
                <a:avLst/>
                <a:gdLst/>
                <a:ahLst/>
                <a:cxnLst>
                  <a:cxn ang="0">
                    <a:pos x="116" y="9"/>
                  </a:cxn>
                  <a:cxn ang="0">
                    <a:pos x="116" y="33"/>
                  </a:cxn>
                  <a:cxn ang="0">
                    <a:pos x="116" y="38"/>
                  </a:cxn>
                  <a:cxn ang="0">
                    <a:pos x="96" y="64"/>
                  </a:cxn>
                  <a:cxn ang="0">
                    <a:pos x="82" y="75"/>
                  </a:cxn>
                  <a:cxn ang="0">
                    <a:pos x="70" y="80"/>
                  </a:cxn>
                  <a:cxn ang="0">
                    <a:pos x="42" y="87"/>
                  </a:cxn>
                  <a:cxn ang="0">
                    <a:pos x="37" y="86"/>
                  </a:cxn>
                  <a:cxn ang="0">
                    <a:pos x="16" y="86"/>
                  </a:cxn>
                  <a:cxn ang="0">
                    <a:pos x="7" y="82"/>
                  </a:cxn>
                  <a:cxn ang="0">
                    <a:pos x="4" y="77"/>
                  </a:cxn>
                  <a:cxn ang="0">
                    <a:pos x="4" y="64"/>
                  </a:cxn>
                  <a:cxn ang="0">
                    <a:pos x="3" y="54"/>
                  </a:cxn>
                  <a:cxn ang="0">
                    <a:pos x="3" y="48"/>
                  </a:cxn>
                  <a:cxn ang="0">
                    <a:pos x="0" y="39"/>
                  </a:cxn>
                  <a:cxn ang="0">
                    <a:pos x="0" y="16"/>
                  </a:cxn>
                  <a:cxn ang="0">
                    <a:pos x="4" y="11"/>
                  </a:cxn>
                  <a:cxn ang="0">
                    <a:pos x="14" y="7"/>
                  </a:cxn>
                  <a:cxn ang="0">
                    <a:pos x="15" y="4"/>
                  </a:cxn>
                  <a:cxn ang="0">
                    <a:pos x="25" y="1"/>
                  </a:cxn>
                  <a:cxn ang="0">
                    <a:pos x="37" y="1"/>
                  </a:cxn>
                  <a:cxn ang="0">
                    <a:pos x="43" y="1"/>
                  </a:cxn>
                  <a:cxn ang="0">
                    <a:pos x="55" y="5"/>
                  </a:cxn>
                  <a:cxn ang="0">
                    <a:pos x="63" y="5"/>
                  </a:cxn>
                  <a:cxn ang="0">
                    <a:pos x="76" y="1"/>
                  </a:cxn>
                  <a:cxn ang="0">
                    <a:pos x="95" y="0"/>
                  </a:cxn>
                  <a:cxn ang="0">
                    <a:pos x="107" y="1"/>
                  </a:cxn>
                  <a:cxn ang="0">
                    <a:pos x="111" y="4"/>
                  </a:cxn>
                  <a:cxn ang="0">
                    <a:pos x="114" y="7"/>
                  </a:cxn>
                  <a:cxn ang="0">
                    <a:pos x="114" y="9"/>
                  </a:cxn>
                  <a:cxn ang="0">
                    <a:pos x="116" y="9"/>
                  </a:cxn>
                </a:cxnLst>
                <a:rect l="0" t="0" r="r" b="b"/>
                <a:pathLst>
                  <a:path w="116" h="87">
                    <a:moveTo>
                      <a:pt x="116" y="9"/>
                    </a:moveTo>
                    <a:lnTo>
                      <a:pt x="116" y="33"/>
                    </a:lnTo>
                    <a:lnTo>
                      <a:pt x="116" y="38"/>
                    </a:lnTo>
                    <a:lnTo>
                      <a:pt x="96" y="64"/>
                    </a:lnTo>
                    <a:lnTo>
                      <a:pt x="82" y="75"/>
                    </a:lnTo>
                    <a:lnTo>
                      <a:pt x="70" y="80"/>
                    </a:lnTo>
                    <a:lnTo>
                      <a:pt x="42" y="87"/>
                    </a:lnTo>
                    <a:lnTo>
                      <a:pt x="37" y="86"/>
                    </a:lnTo>
                    <a:lnTo>
                      <a:pt x="16" y="86"/>
                    </a:lnTo>
                    <a:lnTo>
                      <a:pt x="7" y="82"/>
                    </a:lnTo>
                    <a:lnTo>
                      <a:pt x="4" y="77"/>
                    </a:lnTo>
                    <a:lnTo>
                      <a:pt x="4" y="64"/>
                    </a:lnTo>
                    <a:lnTo>
                      <a:pt x="3" y="54"/>
                    </a:lnTo>
                    <a:lnTo>
                      <a:pt x="3" y="48"/>
                    </a:lnTo>
                    <a:lnTo>
                      <a:pt x="0" y="39"/>
                    </a:lnTo>
                    <a:lnTo>
                      <a:pt x="0" y="16"/>
                    </a:lnTo>
                    <a:lnTo>
                      <a:pt x="4" y="11"/>
                    </a:lnTo>
                    <a:lnTo>
                      <a:pt x="14" y="7"/>
                    </a:lnTo>
                    <a:lnTo>
                      <a:pt x="15" y="4"/>
                    </a:lnTo>
                    <a:lnTo>
                      <a:pt x="25" y="1"/>
                    </a:lnTo>
                    <a:lnTo>
                      <a:pt x="37" y="1"/>
                    </a:lnTo>
                    <a:lnTo>
                      <a:pt x="43" y="1"/>
                    </a:lnTo>
                    <a:lnTo>
                      <a:pt x="55" y="5"/>
                    </a:lnTo>
                    <a:lnTo>
                      <a:pt x="63" y="5"/>
                    </a:lnTo>
                    <a:lnTo>
                      <a:pt x="76" y="1"/>
                    </a:lnTo>
                    <a:lnTo>
                      <a:pt x="95" y="0"/>
                    </a:lnTo>
                    <a:lnTo>
                      <a:pt x="107" y="1"/>
                    </a:lnTo>
                    <a:lnTo>
                      <a:pt x="111" y="4"/>
                    </a:lnTo>
                    <a:lnTo>
                      <a:pt x="114" y="7"/>
                    </a:lnTo>
                    <a:lnTo>
                      <a:pt x="114" y="9"/>
                    </a:lnTo>
                    <a:lnTo>
                      <a:pt x="116" y="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72" name="Freeform 246"/>
              <p:cNvSpPr>
                <a:spLocks noChangeAspect="1"/>
              </p:cNvSpPr>
              <p:nvPr/>
            </p:nvSpPr>
            <p:spPr bwMode="gray">
              <a:xfrm>
                <a:off x="1955" y="2487"/>
                <a:ext cx="7" cy="8"/>
              </a:xfrm>
              <a:custGeom>
                <a:avLst/>
                <a:gdLst/>
                <a:ahLst/>
                <a:cxnLst>
                  <a:cxn ang="0">
                    <a:pos x="31" y="16"/>
                  </a:cxn>
                  <a:cxn ang="0">
                    <a:pos x="31" y="18"/>
                  </a:cxn>
                  <a:cxn ang="0">
                    <a:pos x="24" y="25"/>
                  </a:cxn>
                  <a:cxn ang="0">
                    <a:pos x="24" y="27"/>
                  </a:cxn>
                  <a:cxn ang="0">
                    <a:pos x="13" y="38"/>
                  </a:cxn>
                  <a:cxn ang="0">
                    <a:pos x="5" y="38"/>
                  </a:cxn>
                  <a:cxn ang="0">
                    <a:pos x="5" y="34"/>
                  </a:cxn>
                  <a:cxn ang="0">
                    <a:pos x="0" y="30"/>
                  </a:cxn>
                  <a:cxn ang="0">
                    <a:pos x="0" y="27"/>
                  </a:cxn>
                  <a:cxn ang="0">
                    <a:pos x="2" y="22"/>
                  </a:cxn>
                  <a:cxn ang="0">
                    <a:pos x="9" y="15"/>
                  </a:cxn>
                  <a:cxn ang="0">
                    <a:pos x="10" y="10"/>
                  </a:cxn>
                  <a:cxn ang="0">
                    <a:pos x="11" y="6"/>
                  </a:cxn>
                  <a:cxn ang="0">
                    <a:pos x="15" y="5"/>
                  </a:cxn>
                  <a:cxn ang="0">
                    <a:pos x="24" y="3"/>
                  </a:cxn>
                  <a:cxn ang="0">
                    <a:pos x="24" y="2"/>
                  </a:cxn>
                  <a:cxn ang="0">
                    <a:pos x="31" y="0"/>
                  </a:cxn>
                  <a:cxn ang="0">
                    <a:pos x="31" y="3"/>
                  </a:cxn>
                  <a:cxn ang="0">
                    <a:pos x="24" y="6"/>
                  </a:cxn>
                  <a:cxn ang="0">
                    <a:pos x="20" y="10"/>
                  </a:cxn>
                  <a:cxn ang="0">
                    <a:pos x="20" y="13"/>
                  </a:cxn>
                  <a:cxn ang="0">
                    <a:pos x="30" y="11"/>
                  </a:cxn>
                  <a:cxn ang="0">
                    <a:pos x="30" y="15"/>
                  </a:cxn>
                  <a:cxn ang="0">
                    <a:pos x="31" y="16"/>
                  </a:cxn>
                </a:cxnLst>
                <a:rect l="0" t="0" r="r" b="b"/>
                <a:pathLst>
                  <a:path w="31" h="38">
                    <a:moveTo>
                      <a:pt x="31" y="16"/>
                    </a:moveTo>
                    <a:lnTo>
                      <a:pt x="31" y="18"/>
                    </a:lnTo>
                    <a:lnTo>
                      <a:pt x="24" y="25"/>
                    </a:lnTo>
                    <a:lnTo>
                      <a:pt x="24" y="27"/>
                    </a:lnTo>
                    <a:lnTo>
                      <a:pt x="13" y="38"/>
                    </a:lnTo>
                    <a:lnTo>
                      <a:pt x="5" y="38"/>
                    </a:lnTo>
                    <a:lnTo>
                      <a:pt x="5" y="34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2" y="22"/>
                    </a:lnTo>
                    <a:lnTo>
                      <a:pt x="9" y="15"/>
                    </a:lnTo>
                    <a:lnTo>
                      <a:pt x="10" y="10"/>
                    </a:lnTo>
                    <a:lnTo>
                      <a:pt x="11" y="6"/>
                    </a:lnTo>
                    <a:lnTo>
                      <a:pt x="15" y="5"/>
                    </a:lnTo>
                    <a:lnTo>
                      <a:pt x="24" y="3"/>
                    </a:lnTo>
                    <a:lnTo>
                      <a:pt x="24" y="2"/>
                    </a:lnTo>
                    <a:lnTo>
                      <a:pt x="31" y="0"/>
                    </a:lnTo>
                    <a:lnTo>
                      <a:pt x="31" y="3"/>
                    </a:lnTo>
                    <a:lnTo>
                      <a:pt x="24" y="6"/>
                    </a:lnTo>
                    <a:lnTo>
                      <a:pt x="20" y="10"/>
                    </a:lnTo>
                    <a:lnTo>
                      <a:pt x="20" y="13"/>
                    </a:lnTo>
                    <a:lnTo>
                      <a:pt x="30" y="11"/>
                    </a:lnTo>
                    <a:lnTo>
                      <a:pt x="30" y="15"/>
                    </a:lnTo>
                    <a:lnTo>
                      <a:pt x="31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73" name="Freeform 247"/>
              <p:cNvSpPr>
                <a:spLocks noChangeAspect="1"/>
              </p:cNvSpPr>
              <p:nvPr/>
            </p:nvSpPr>
            <p:spPr bwMode="gray">
              <a:xfrm>
                <a:off x="1967" y="2482"/>
                <a:ext cx="1" cy="1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6" y="5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1" y="1"/>
                  </a:cxn>
                  <a:cxn ang="0">
                    <a:pos x="5" y="0"/>
                  </a:cxn>
                </a:cxnLst>
                <a:rect l="0" t="0" r="r" b="b"/>
                <a:pathLst>
                  <a:path w="6" h="7">
                    <a:moveTo>
                      <a:pt x="5" y="0"/>
                    </a:moveTo>
                    <a:lnTo>
                      <a:pt x="6" y="5"/>
                    </a:lnTo>
                    <a:lnTo>
                      <a:pt x="5" y="7"/>
                    </a:lnTo>
                    <a:lnTo>
                      <a:pt x="3" y="7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74" name="Freeform 248"/>
              <p:cNvSpPr>
                <a:spLocks noChangeAspect="1"/>
              </p:cNvSpPr>
              <p:nvPr/>
            </p:nvSpPr>
            <p:spPr bwMode="gray">
              <a:xfrm>
                <a:off x="1963" y="2487"/>
                <a:ext cx="2" cy="1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8" y="2"/>
                  </a:cxn>
                  <a:cxn ang="0">
                    <a:pos x="8" y="6"/>
                  </a:cxn>
                  <a:cxn ang="0">
                    <a:pos x="3" y="6"/>
                  </a:cxn>
                  <a:cxn ang="0">
                    <a:pos x="0" y="1"/>
                  </a:cxn>
                  <a:cxn ang="0">
                    <a:pos x="7" y="0"/>
                  </a:cxn>
                </a:cxnLst>
                <a:rect l="0" t="0" r="r" b="b"/>
                <a:pathLst>
                  <a:path w="8" h="6">
                    <a:moveTo>
                      <a:pt x="7" y="0"/>
                    </a:moveTo>
                    <a:lnTo>
                      <a:pt x="8" y="2"/>
                    </a:lnTo>
                    <a:lnTo>
                      <a:pt x="8" y="6"/>
                    </a:lnTo>
                    <a:lnTo>
                      <a:pt x="3" y="6"/>
                    </a:lnTo>
                    <a:lnTo>
                      <a:pt x="0" y="1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75" name="Freeform 249"/>
              <p:cNvSpPr>
                <a:spLocks noChangeAspect="1"/>
              </p:cNvSpPr>
              <p:nvPr/>
            </p:nvSpPr>
            <p:spPr bwMode="gray">
              <a:xfrm>
                <a:off x="1706" y="2430"/>
                <a:ext cx="427" cy="448"/>
              </a:xfrm>
              <a:custGeom>
                <a:avLst/>
                <a:gdLst/>
                <a:ahLst/>
                <a:cxnLst>
                  <a:cxn ang="0">
                    <a:pos x="598" y="69"/>
                  </a:cxn>
                  <a:cxn ang="0">
                    <a:pos x="523" y="81"/>
                  </a:cxn>
                  <a:cxn ang="0">
                    <a:pos x="572" y="165"/>
                  </a:cxn>
                  <a:cxn ang="0">
                    <a:pos x="503" y="211"/>
                  </a:cxn>
                  <a:cxn ang="0">
                    <a:pos x="408" y="243"/>
                  </a:cxn>
                  <a:cxn ang="0">
                    <a:pos x="317" y="186"/>
                  </a:cxn>
                  <a:cxn ang="0">
                    <a:pos x="225" y="231"/>
                  </a:cxn>
                  <a:cxn ang="0">
                    <a:pos x="210" y="254"/>
                  </a:cxn>
                  <a:cxn ang="0">
                    <a:pos x="220" y="460"/>
                  </a:cxn>
                  <a:cxn ang="0">
                    <a:pos x="83" y="554"/>
                  </a:cxn>
                  <a:cxn ang="0">
                    <a:pos x="0" y="698"/>
                  </a:cxn>
                  <a:cxn ang="0">
                    <a:pos x="82" y="806"/>
                  </a:cxn>
                  <a:cxn ang="0">
                    <a:pos x="180" y="853"/>
                  </a:cxn>
                  <a:cxn ang="0">
                    <a:pos x="303" y="883"/>
                  </a:cxn>
                  <a:cxn ang="0">
                    <a:pos x="468" y="840"/>
                  </a:cxn>
                  <a:cxn ang="0">
                    <a:pos x="573" y="973"/>
                  </a:cxn>
                  <a:cxn ang="0">
                    <a:pos x="720" y="1039"/>
                  </a:cxn>
                  <a:cxn ang="0">
                    <a:pos x="749" y="1181"/>
                  </a:cxn>
                  <a:cxn ang="0">
                    <a:pos x="863" y="1243"/>
                  </a:cxn>
                  <a:cxn ang="0">
                    <a:pos x="872" y="1398"/>
                  </a:cxn>
                  <a:cxn ang="0">
                    <a:pos x="901" y="1526"/>
                  </a:cxn>
                  <a:cxn ang="0">
                    <a:pos x="1000" y="1613"/>
                  </a:cxn>
                  <a:cxn ang="0">
                    <a:pos x="1059" y="1706"/>
                  </a:cxn>
                  <a:cxn ang="0">
                    <a:pos x="1054" y="1841"/>
                  </a:cxn>
                  <a:cxn ang="0">
                    <a:pos x="904" y="2000"/>
                  </a:cxn>
                  <a:cxn ang="0">
                    <a:pos x="973" y="2055"/>
                  </a:cxn>
                  <a:cxn ang="0">
                    <a:pos x="1052" y="2092"/>
                  </a:cxn>
                  <a:cxn ang="0">
                    <a:pos x="1126" y="2180"/>
                  </a:cxn>
                  <a:cxn ang="0">
                    <a:pos x="1156" y="2196"/>
                  </a:cxn>
                  <a:cxn ang="0">
                    <a:pos x="1275" y="2045"/>
                  </a:cxn>
                  <a:cxn ang="0">
                    <a:pos x="1377" y="1895"/>
                  </a:cxn>
                  <a:cxn ang="0">
                    <a:pos x="1376" y="1762"/>
                  </a:cxn>
                  <a:cxn ang="0">
                    <a:pos x="1474" y="1650"/>
                  </a:cxn>
                  <a:cxn ang="0">
                    <a:pos x="1598" y="1588"/>
                  </a:cxn>
                  <a:cxn ang="0">
                    <a:pos x="1657" y="1570"/>
                  </a:cxn>
                  <a:cxn ang="0">
                    <a:pos x="1787" y="1512"/>
                  </a:cxn>
                  <a:cxn ang="0">
                    <a:pos x="1868" y="1305"/>
                  </a:cxn>
                  <a:cxn ang="0">
                    <a:pos x="1901" y="1102"/>
                  </a:cxn>
                  <a:cxn ang="0">
                    <a:pos x="1975" y="947"/>
                  </a:cxn>
                  <a:cxn ang="0">
                    <a:pos x="2115" y="776"/>
                  </a:cxn>
                  <a:cxn ang="0">
                    <a:pos x="2040" y="565"/>
                  </a:cxn>
                  <a:cxn ang="0">
                    <a:pos x="1896" y="463"/>
                  </a:cxn>
                  <a:cxn ang="0">
                    <a:pos x="1659" y="413"/>
                  </a:cxn>
                  <a:cxn ang="0">
                    <a:pos x="1605" y="404"/>
                  </a:cxn>
                  <a:cxn ang="0">
                    <a:pos x="1561" y="364"/>
                  </a:cxn>
                  <a:cxn ang="0">
                    <a:pos x="1403" y="342"/>
                  </a:cxn>
                  <a:cxn ang="0">
                    <a:pos x="1344" y="419"/>
                  </a:cxn>
                  <a:cxn ang="0">
                    <a:pos x="1277" y="387"/>
                  </a:cxn>
                  <a:cxn ang="0">
                    <a:pos x="1238" y="381"/>
                  </a:cxn>
                  <a:cxn ang="0">
                    <a:pos x="1261" y="339"/>
                  </a:cxn>
                  <a:cxn ang="0">
                    <a:pos x="1231" y="308"/>
                  </a:cxn>
                  <a:cxn ang="0">
                    <a:pos x="1312" y="195"/>
                  </a:cxn>
                  <a:cxn ang="0">
                    <a:pos x="1247" y="69"/>
                  </a:cxn>
                  <a:cxn ang="0">
                    <a:pos x="1141" y="170"/>
                  </a:cxn>
                  <a:cxn ang="0">
                    <a:pos x="1034" y="149"/>
                  </a:cxn>
                  <a:cxn ang="0">
                    <a:pos x="921" y="177"/>
                  </a:cxn>
                  <a:cxn ang="0">
                    <a:pos x="812" y="213"/>
                  </a:cxn>
                  <a:cxn ang="0">
                    <a:pos x="774" y="96"/>
                  </a:cxn>
                  <a:cxn ang="0">
                    <a:pos x="755" y="0"/>
                  </a:cxn>
                </a:cxnLst>
                <a:rect l="0" t="0" r="r" b="b"/>
                <a:pathLst>
                  <a:path w="2135" h="2241">
                    <a:moveTo>
                      <a:pt x="725" y="3"/>
                    </a:moveTo>
                    <a:lnTo>
                      <a:pt x="725" y="15"/>
                    </a:lnTo>
                    <a:lnTo>
                      <a:pt x="713" y="28"/>
                    </a:lnTo>
                    <a:lnTo>
                      <a:pt x="706" y="35"/>
                    </a:lnTo>
                    <a:lnTo>
                      <a:pt x="702" y="37"/>
                    </a:lnTo>
                    <a:lnTo>
                      <a:pt x="686" y="38"/>
                    </a:lnTo>
                    <a:lnTo>
                      <a:pt x="680" y="42"/>
                    </a:lnTo>
                    <a:lnTo>
                      <a:pt x="672" y="46"/>
                    </a:lnTo>
                    <a:lnTo>
                      <a:pt x="666" y="54"/>
                    </a:lnTo>
                    <a:lnTo>
                      <a:pt x="661" y="57"/>
                    </a:lnTo>
                    <a:lnTo>
                      <a:pt x="632" y="59"/>
                    </a:lnTo>
                    <a:lnTo>
                      <a:pt x="616" y="63"/>
                    </a:lnTo>
                    <a:lnTo>
                      <a:pt x="598" y="69"/>
                    </a:lnTo>
                    <a:lnTo>
                      <a:pt x="594" y="73"/>
                    </a:lnTo>
                    <a:lnTo>
                      <a:pt x="593" y="74"/>
                    </a:lnTo>
                    <a:lnTo>
                      <a:pt x="568" y="73"/>
                    </a:lnTo>
                    <a:lnTo>
                      <a:pt x="550" y="68"/>
                    </a:lnTo>
                    <a:lnTo>
                      <a:pt x="529" y="55"/>
                    </a:lnTo>
                    <a:lnTo>
                      <a:pt x="507" y="53"/>
                    </a:lnTo>
                    <a:lnTo>
                      <a:pt x="500" y="51"/>
                    </a:lnTo>
                    <a:lnTo>
                      <a:pt x="496" y="51"/>
                    </a:lnTo>
                    <a:lnTo>
                      <a:pt x="495" y="51"/>
                    </a:lnTo>
                    <a:lnTo>
                      <a:pt x="496" y="60"/>
                    </a:lnTo>
                    <a:lnTo>
                      <a:pt x="500" y="69"/>
                    </a:lnTo>
                    <a:lnTo>
                      <a:pt x="511" y="74"/>
                    </a:lnTo>
                    <a:lnTo>
                      <a:pt x="523" y="81"/>
                    </a:lnTo>
                    <a:lnTo>
                      <a:pt x="525" y="84"/>
                    </a:lnTo>
                    <a:lnTo>
                      <a:pt x="524" y="96"/>
                    </a:lnTo>
                    <a:lnTo>
                      <a:pt x="521" y="109"/>
                    </a:lnTo>
                    <a:lnTo>
                      <a:pt x="521" y="116"/>
                    </a:lnTo>
                    <a:lnTo>
                      <a:pt x="522" y="121"/>
                    </a:lnTo>
                    <a:lnTo>
                      <a:pt x="527" y="138"/>
                    </a:lnTo>
                    <a:lnTo>
                      <a:pt x="528" y="146"/>
                    </a:lnTo>
                    <a:lnTo>
                      <a:pt x="530" y="152"/>
                    </a:lnTo>
                    <a:lnTo>
                      <a:pt x="545" y="155"/>
                    </a:lnTo>
                    <a:lnTo>
                      <a:pt x="548" y="156"/>
                    </a:lnTo>
                    <a:lnTo>
                      <a:pt x="572" y="155"/>
                    </a:lnTo>
                    <a:lnTo>
                      <a:pt x="572" y="164"/>
                    </a:lnTo>
                    <a:lnTo>
                      <a:pt x="572" y="165"/>
                    </a:lnTo>
                    <a:lnTo>
                      <a:pt x="570" y="168"/>
                    </a:lnTo>
                    <a:lnTo>
                      <a:pt x="559" y="170"/>
                    </a:lnTo>
                    <a:lnTo>
                      <a:pt x="551" y="173"/>
                    </a:lnTo>
                    <a:lnTo>
                      <a:pt x="550" y="176"/>
                    </a:lnTo>
                    <a:lnTo>
                      <a:pt x="545" y="179"/>
                    </a:lnTo>
                    <a:lnTo>
                      <a:pt x="537" y="179"/>
                    </a:lnTo>
                    <a:lnTo>
                      <a:pt x="532" y="187"/>
                    </a:lnTo>
                    <a:lnTo>
                      <a:pt x="527" y="202"/>
                    </a:lnTo>
                    <a:lnTo>
                      <a:pt x="522" y="205"/>
                    </a:lnTo>
                    <a:lnTo>
                      <a:pt x="517" y="207"/>
                    </a:lnTo>
                    <a:lnTo>
                      <a:pt x="512" y="207"/>
                    </a:lnTo>
                    <a:lnTo>
                      <a:pt x="506" y="210"/>
                    </a:lnTo>
                    <a:lnTo>
                      <a:pt x="503" y="211"/>
                    </a:lnTo>
                    <a:lnTo>
                      <a:pt x="501" y="216"/>
                    </a:lnTo>
                    <a:lnTo>
                      <a:pt x="492" y="216"/>
                    </a:lnTo>
                    <a:lnTo>
                      <a:pt x="480" y="221"/>
                    </a:lnTo>
                    <a:lnTo>
                      <a:pt x="478" y="221"/>
                    </a:lnTo>
                    <a:lnTo>
                      <a:pt x="470" y="225"/>
                    </a:lnTo>
                    <a:lnTo>
                      <a:pt x="462" y="229"/>
                    </a:lnTo>
                    <a:lnTo>
                      <a:pt x="457" y="232"/>
                    </a:lnTo>
                    <a:lnTo>
                      <a:pt x="449" y="240"/>
                    </a:lnTo>
                    <a:lnTo>
                      <a:pt x="447" y="241"/>
                    </a:lnTo>
                    <a:lnTo>
                      <a:pt x="428" y="245"/>
                    </a:lnTo>
                    <a:lnTo>
                      <a:pt x="411" y="245"/>
                    </a:lnTo>
                    <a:lnTo>
                      <a:pt x="409" y="243"/>
                    </a:lnTo>
                    <a:lnTo>
                      <a:pt x="408" y="243"/>
                    </a:lnTo>
                    <a:lnTo>
                      <a:pt x="394" y="235"/>
                    </a:lnTo>
                    <a:lnTo>
                      <a:pt x="390" y="231"/>
                    </a:lnTo>
                    <a:lnTo>
                      <a:pt x="387" y="226"/>
                    </a:lnTo>
                    <a:lnTo>
                      <a:pt x="384" y="221"/>
                    </a:lnTo>
                    <a:lnTo>
                      <a:pt x="379" y="214"/>
                    </a:lnTo>
                    <a:lnTo>
                      <a:pt x="379" y="216"/>
                    </a:lnTo>
                    <a:lnTo>
                      <a:pt x="368" y="221"/>
                    </a:lnTo>
                    <a:lnTo>
                      <a:pt x="362" y="192"/>
                    </a:lnTo>
                    <a:lnTo>
                      <a:pt x="354" y="181"/>
                    </a:lnTo>
                    <a:lnTo>
                      <a:pt x="349" y="176"/>
                    </a:lnTo>
                    <a:lnTo>
                      <a:pt x="338" y="176"/>
                    </a:lnTo>
                    <a:lnTo>
                      <a:pt x="319" y="186"/>
                    </a:lnTo>
                    <a:lnTo>
                      <a:pt x="317" y="186"/>
                    </a:lnTo>
                    <a:lnTo>
                      <a:pt x="313" y="179"/>
                    </a:lnTo>
                    <a:lnTo>
                      <a:pt x="309" y="177"/>
                    </a:lnTo>
                    <a:lnTo>
                      <a:pt x="307" y="177"/>
                    </a:lnTo>
                    <a:lnTo>
                      <a:pt x="303" y="182"/>
                    </a:lnTo>
                    <a:lnTo>
                      <a:pt x="302" y="188"/>
                    </a:lnTo>
                    <a:lnTo>
                      <a:pt x="298" y="192"/>
                    </a:lnTo>
                    <a:lnTo>
                      <a:pt x="218" y="192"/>
                    </a:lnTo>
                    <a:lnTo>
                      <a:pt x="217" y="191"/>
                    </a:lnTo>
                    <a:lnTo>
                      <a:pt x="217" y="222"/>
                    </a:lnTo>
                    <a:lnTo>
                      <a:pt x="217" y="222"/>
                    </a:lnTo>
                    <a:lnTo>
                      <a:pt x="217" y="225"/>
                    </a:lnTo>
                    <a:lnTo>
                      <a:pt x="221" y="226"/>
                    </a:lnTo>
                    <a:lnTo>
                      <a:pt x="225" y="231"/>
                    </a:lnTo>
                    <a:lnTo>
                      <a:pt x="232" y="231"/>
                    </a:lnTo>
                    <a:lnTo>
                      <a:pt x="234" y="229"/>
                    </a:lnTo>
                    <a:lnTo>
                      <a:pt x="244" y="227"/>
                    </a:lnTo>
                    <a:lnTo>
                      <a:pt x="249" y="235"/>
                    </a:lnTo>
                    <a:lnTo>
                      <a:pt x="250" y="242"/>
                    </a:lnTo>
                    <a:lnTo>
                      <a:pt x="254" y="252"/>
                    </a:lnTo>
                    <a:lnTo>
                      <a:pt x="254" y="253"/>
                    </a:lnTo>
                    <a:lnTo>
                      <a:pt x="249" y="254"/>
                    </a:lnTo>
                    <a:lnTo>
                      <a:pt x="248" y="252"/>
                    </a:lnTo>
                    <a:lnTo>
                      <a:pt x="244" y="251"/>
                    </a:lnTo>
                    <a:lnTo>
                      <a:pt x="234" y="249"/>
                    </a:lnTo>
                    <a:lnTo>
                      <a:pt x="227" y="252"/>
                    </a:lnTo>
                    <a:lnTo>
                      <a:pt x="210" y="254"/>
                    </a:lnTo>
                    <a:lnTo>
                      <a:pt x="205" y="257"/>
                    </a:lnTo>
                    <a:lnTo>
                      <a:pt x="205" y="295"/>
                    </a:lnTo>
                    <a:lnTo>
                      <a:pt x="210" y="300"/>
                    </a:lnTo>
                    <a:lnTo>
                      <a:pt x="222" y="310"/>
                    </a:lnTo>
                    <a:lnTo>
                      <a:pt x="228" y="316"/>
                    </a:lnTo>
                    <a:lnTo>
                      <a:pt x="233" y="326"/>
                    </a:lnTo>
                    <a:lnTo>
                      <a:pt x="240" y="354"/>
                    </a:lnTo>
                    <a:lnTo>
                      <a:pt x="239" y="360"/>
                    </a:lnTo>
                    <a:lnTo>
                      <a:pt x="238" y="370"/>
                    </a:lnTo>
                    <a:lnTo>
                      <a:pt x="228" y="433"/>
                    </a:lnTo>
                    <a:lnTo>
                      <a:pt x="227" y="434"/>
                    </a:lnTo>
                    <a:lnTo>
                      <a:pt x="223" y="452"/>
                    </a:lnTo>
                    <a:lnTo>
                      <a:pt x="220" y="460"/>
                    </a:lnTo>
                    <a:lnTo>
                      <a:pt x="218" y="472"/>
                    </a:lnTo>
                    <a:lnTo>
                      <a:pt x="217" y="475"/>
                    </a:lnTo>
                    <a:lnTo>
                      <a:pt x="216" y="483"/>
                    </a:lnTo>
                    <a:lnTo>
                      <a:pt x="213" y="498"/>
                    </a:lnTo>
                    <a:lnTo>
                      <a:pt x="211" y="504"/>
                    </a:lnTo>
                    <a:lnTo>
                      <a:pt x="210" y="511"/>
                    </a:lnTo>
                    <a:lnTo>
                      <a:pt x="209" y="514"/>
                    </a:lnTo>
                    <a:lnTo>
                      <a:pt x="202" y="517"/>
                    </a:lnTo>
                    <a:lnTo>
                      <a:pt x="182" y="516"/>
                    </a:lnTo>
                    <a:lnTo>
                      <a:pt x="169" y="521"/>
                    </a:lnTo>
                    <a:lnTo>
                      <a:pt x="118" y="536"/>
                    </a:lnTo>
                    <a:lnTo>
                      <a:pt x="99" y="543"/>
                    </a:lnTo>
                    <a:lnTo>
                      <a:pt x="83" y="554"/>
                    </a:lnTo>
                    <a:lnTo>
                      <a:pt x="72" y="563"/>
                    </a:lnTo>
                    <a:lnTo>
                      <a:pt x="59" y="579"/>
                    </a:lnTo>
                    <a:lnTo>
                      <a:pt x="50" y="591"/>
                    </a:lnTo>
                    <a:lnTo>
                      <a:pt x="41" y="607"/>
                    </a:lnTo>
                    <a:lnTo>
                      <a:pt x="39" y="613"/>
                    </a:lnTo>
                    <a:lnTo>
                      <a:pt x="39" y="643"/>
                    </a:lnTo>
                    <a:lnTo>
                      <a:pt x="30" y="644"/>
                    </a:lnTo>
                    <a:lnTo>
                      <a:pt x="21" y="646"/>
                    </a:lnTo>
                    <a:lnTo>
                      <a:pt x="17" y="651"/>
                    </a:lnTo>
                    <a:lnTo>
                      <a:pt x="13" y="668"/>
                    </a:lnTo>
                    <a:lnTo>
                      <a:pt x="1" y="690"/>
                    </a:lnTo>
                    <a:lnTo>
                      <a:pt x="0" y="694"/>
                    </a:lnTo>
                    <a:lnTo>
                      <a:pt x="0" y="698"/>
                    </a:lnTo>
                    <a:lnTo>
                      <a:pt x="11" y="721"/>
                    </a:lnTo>
                    <a:lnTo>
                      <a:pt x="13" y="733"/>
                    </a:lnTo>
                    <a:lnTo>
                      <a:pt x="14" y="737"/>
                    </a:lnTo>
                    <a:lnTo>
                      <a:pt x="23" y="748"/>
                    </a:lnTo>
                    <a:lnTo>
                      <a:pt x="27" y="756"/>
                    </a:lnTo>
                    <a:lnTo>
                      <a:pt x="39" y="769"/>
                    </a:lnTo>
                    <a:lnTo>
                      <a:pt x="49" y="775"/>
                    </a:lnTo>
                    <a:lnTo>
                      <a:pt x="50" y="784"/>
                    </a:lnTo>
                    <a:lnTo>
                      <a:pt x="44" y="794"/>
                    </a:lnTo>
                    <a:lnTo>
                      <a:pt x="45" y="797"/>
                    </a:lnTo>
                    <a:lnTo>
                      <a:pt x="57" y="801"/>
                    </a:lnTo>
                    <a:lnTo>
                      <a:pt x="77" y="802"/>
                    </a:lnTo>
                    <a:lnTo>
                      <a:pt x="82" y="806"/>
                    </a:lnTo>
                    <a:lnTo>
                      <a:pt x="86" y="811"/>
                    </a:lnTo>
                    <a:lnTo>
                      <a:pt x="88" y="822"/>
                    </a:lnTo>
                    <a:lnTo>
                      <a:pt x="91" y="826"/>
                    </a:lnTo>
                    <a:lnTo>
                      <a:pt x="104" y="829"/>
                    </a:lnTo>
                    <a:lnTo>
                      <a:pt x="119" y="830"/>
                    </a:lnTo>
                    <a:lnTo>
                      <a:pt x="127" y="829"/>
                    </a:lnTo>
                    <a:lnTo>
                      <a:pt x="145" y="819"/>
                    </a:lnTo>
                    <a:lnTo>
                      <a:pt x="167" y="803"/>
                    </a:lnTo>
                    <a:lnTo>
                      <a:pt x="177" y="794"/>
                    </a:lnTo>
                    <a:lnTo>
                      <a:pt x="180" y="792"/>
                    </a:lnTo>
                    <a:lnTo>
                      <a:pt x="180" y="795"/>
                    </a:lnTo>
                    <a:lnTo>
                      <a:pt x="180" y="849"/>
                    </a:lnTo>
                    <a:lnTo>
                      <a:pt x="180" y="853"/>
                    </a:lnTo>
                    <a:lnTo>
                      <a:pt x="180" y="882"/>
                    </a:lnTo>
                    <a:lnTo>
                      <a:pt x="183" y="886"/>
                    </a:lnTo>
                    <a:lnTo>
                      <a:pt x="189" y="889"/>
                    </a:lnTo>
                    <a:lnTo>
                      <a:pt x="194" y="889"/>
                    </a:lnTo>
                    <a:lnTo>
                      <a:pt x="201" y="887"/>
                    </a:lnTo>
                    <a:lnTo>
                      <a:pt x="201" y="887"/>
                    </a:lnTo>
                    <a:lnTo>
                      <a:pt x="209" y="883"/>
                    </a:lnTo>
                    <a:lnTo>
                      <a:pt x="226" y="882"/>
                    </a:lnTo>
                    <a:lnTo>
                      <a:pt x="228" y="880"/>
                    </a:lnTo>
                    <a:lnTo>
                      <a:pt x="236" y="880"/>
                    </a:lnTo>
                    <a:lnTo>
                      <a:pt x="254" y="886"/>
                    </a:lnTo>
                    <a:lnTo>
                      <a:pt x="295" y="887"/>
                    </a:lnTo>
                    <a:lnTo>
                      <a:pt x="303" y="883"/>
                    </a:lnTo>
                    <a:lnTo>
                      <a:pt x="308" y="880"/>
                    </a:lnTo>
                    <a:lnTo>
                      <a:pt x="334" y="871"/>
                    </a:lnTo>
                    <a:lnTo>
                      <a:pt x="341" y="867"/>
                    </a:lnTo>
                    <a:lnTo>
                      <a:pt x="366" y="845"/>
                    </a:lnTo>
                    <a:lnTo>
                      <a:pt x="383" y="826"/>
                    </a:lnTo>
                    <a:lnTo>
                      <a:pt x="389" y="819"/>
                    </a:lnTo>
                    <a:lnTo>
                      <a:pt x="405" y="816"/>
                    </a:lnTo>
                    <a:lnTo>
                      <a:pt x="411" y="816"/>
                    </a:lnTo>
                    <a:lnTo>
                      <a:pt x="438" y="812"/>
                    </a:lnTo>
                    <a:lnTo>
                      <a:pt x="457" y="813"/>
                    </a:lnTo>
                    <a:lnTo>
                      <a:pt x="460" y="816"/>
                    </a:lnTo>
                    <a:lnTo>
                      <a:pt x="465" y="823"/>
                    </a:lnTo>
                    <a:lnTo>
                      <a:pt x="468" y="840"/>
                    </a:lnTo>
                    <a:lnTo>
                      <a:pt x="468" y="872"/>
                    </a:lnTo>
                    <a:lnTo>
                      <a:pt x="467" y="882"/>
                    </a:lnTo>
                    <a:lnTo>
                      <a:pt x="462" y="889"/>
                    </a:lnTo>
                    <a:lnTo>
                      <a:pt x="460" y="893"/>
                    </a:lnTo>
                    <a:lnTo>
                      <a:pt x="459" y="900"/>
                    </a:lnTo>
                    <a:lnTo>
                      <a:pt x="465" y="924"/>
                    </a:lnTo>
                    <a:lnTo>
                      <a:pt x="474" y="937"/>
                    </a:lnTo>
                    <a:lnTo>
                      <a:pt x="481" y="943"/>
                    </a:lnTo>
                    <a:lnTo>
                      <a:pt x="508" y="963"/>
                    </a:lnTo>
                    <a:lnTo>
                      <a:pt x="521" y="967"/>
                    </a:lnTo>
                    <a:lnTo>
                      <a:pt x="538" y="969"/>
                    </a:lnTo>
                    <a:lnTo>
                      <a:pt x="557" y="969"/>
                    </a:lnTo>
                    <a:lnTo>
                      <a:pt x="573" y="973"/>
                    </a:lnTo>
                    <a:lnTo>
                      <a:pt x="580" y="979"/>
                    </a:lnTo>
                    <a:lnTo>
                      <a:pt x="582" y="983"/>
                    </a:lnTo>
                    <a:lnTo>
                      <a:pt x="589" y="991"/>
                    </a:lnTo>
                    <a:lnTo>
                      <a:pt x="597" y="995"/>
                    </a:lnTo>
                    <a:lnTo>
                      <a:pt x="635" y="1005"/>
                    </a:lnTo>
                    <a:lnTo>
                      <a:pt x="651" y="1020"/>
                    </a:lnTo>
                    <a:lnTo>
                      <a:pt x="656" y="1023"/>
                    </a:lnTo>
                    <a:lnTo>
                      <a:pt x="666" y="1023"/>
                    </a:lnTo>
                    <a:lnTo>
                      <a:pt x="675" y="1021"/>
                    </a:lnTo>
                    <a:lnTo>
                      <a:pt x="680" y="1021"/>
                    </a:lnTo>
                    <a:lnTo>
                      <a:pt x="693" y="1023"/>
                    </a:lnTo>
                    <a:lnTo>
                      <a:pt x="712" y="1034"/>
                    </a:lnTo>
                    <a:lnTo>
                      <a:pt x="720" y="1039"/>
                    </a:lnTo>
                    <a:lnTo>
                      <a:pt x="726" y="1050"/>
                    </a:lnTo>
                    <a:lnTo>
                      <a:pt x="731" y="1065"/>
                    </a:lnTo>
                    <a:lnTo>
                      <a:pt x="732" y="1080"/>
                    </a:lnTo>
                    <a:lnTo>
                      <a:pt x="736" y="1088"/>
                    </a:lnTo>
                    <a:lnTo>
                      <a:pt x="739" y="1093"/>
                    </a:lnTo>
                    <a:lnTo>
                      <a:pt x="739" y="1102"/>
                    </a:lnTo>
                    <a:lnTo>
                      <a:pt x="737" y="1119"/>
                    </a:lnTo>
                    <a:lnTo>
                      <a:pt x="729" y="1120"/>
                    </a:lnTo>
                    <a:lnTo>
                      <a:pt x="729" y="1124"/>
                    </a:lnTo>
                    <a:lnTo>
                      <a:pt x="729" y="1129"/>
                    </a:lnTo>
                    <a:lnTo>
                      <a:pt x="736" y="1145"/>
                    </a:lnTo>
                    <a:lnTo>
                      <a:pt x="743" y="1168"/>
                    </a:lnTo>
                    <a:lnTo>
                      <a:pt x="749" y="1181"/>
                    </a:lnTo>
                    <a:lnTo>
                      <a:pt x="764" y="1181"/>
                    </a:lnTo>
                    <a:lnTo>
                      <a:pt x="775" y="1182"/>
                    </a:lnTo>
                    <a:lnTo>
                      <a:pt x="788" y="1182"/>
                    </a:lnTo>
                    <a:lnTo>
                      <a:pt x="793" y="1184"/>
                    </a:lnTo>
                    <a:lnTo>
                      <a:pt x="836" y="1184"/>
                    </a:lnTo>
                    <a:lnTo>
                      <a:pt x="841" y="1185"/>
                    </a:lnTo>
                    <a:lnTo>
                      <a:pt x="844" y="1188"/>
                    </a:lnTo>
                    <a:lnTo>
                      <a:pt x="846" y="1193"/>
                    </a:lnTo>
                    <a:lnTo>
                      <a:pt x="844" y="1203"/>
                    </a:lnTo>
                    <a:lnTo>
                      <a:pt x="841" y="1211"/>
                    </a:lnTo>
                    <a:lnTo>
                      <a:pt x="841" y="1217"/>
                    </a:lnTo>
                    <a:lnTo>
                      <a:pt x="846" y="1237"/>
                    </a:lnTo>
                    <a:lnTo>
                      <a:pt x="863" y="1243"/>
                    </a:lnTo>
                    <a:lnTo>
                      <a:pt x="866" y="1246"/>
                    </a:lnTo>
                    <a:lnTo>
                      <a:pt x="871" y="1260"/>
                    </a:lnTo>
                    <a:lnTo>
                      <a:pt x="881" y="1279"/>
                    </a:lnTo>
                    <a:lnTo>
                      <a:pt x="883" y="1289"/>
                    </a:lnTo>
                    <a:lnTo>
                      <a:pt x="883" y="1312"/>
                    </a:lnTo>
                    <a:lnTo>
                      <a:pt x="882" y="1341"/>
                    </a:lnTo>
                    <a:lnTo>
                      <a:pt x="881" y="1345"/>
                    </a:lnTo>
                    <a:lnTo>
                      <a:pt x="876" y="1356"/>
                    </a:lnTo>
                    <a:lnTo>
                      <a:pt x="871" y="1367"/>
                    </a:lnTo>
                    <a:lnTo>
                      <a:pt x="869" y="1373"/>
                    </a:lnTo>
                    <a:lnTo>
                      <a:pt x="869" y="1381"/>
                    </a:lnTo>
                    <a:lnTo>
                      <a:pt x="871" y="1386"/>
                    </a:lnTo>
                    <a:lnTo>
                      <a:pt x="872" y="1398"/>
                    </a:lnTo>
                    <a:lnTo>
                      <a:pt x="871" y="1399"/>
                    </a:lnTo>
                    <a:lnTo>
                      <a:pt x="863" y="1402"/>
                    </a:lnTo>
                    <a:lnTo>
                      <a:pt x="862" y="1403"/>
                    </a:lnTo>
                    <a:lnTo>
                      <a:pt x="861" y="1408"/>
                    </a:lnTo>
                    <a:lnTo>
                      <a:pt x="861" y="1410"/>
                    </a:lnTo>
                    <a:lnTo>
                      <a:pt x="868" y="1424"/>
                    </a:lnTo>
                    <a:lnTo>
                      <a:pt x="869" y="1426"/>
                    </a:lnTo>
                    <a:lnTo>
                      <a:pt x="871" y="1474"/>
                    </a:lnTo>
                    <a:lnTo>
                      <a:pt x="869" y="1507"/>
                    </a:lnTo>
                    <a:lnTo>
                      <a:pt x="873" y="1516"/>
                    </a:lnTo>
                    <a:lnTo>
                      <a:pt x="879" y="1518"/>
                    </a:lnTo>
                    <a:lnTo>
                      <a:pt x="894" y="1522"/>
                    </a:lnTo>
                    <a:lnTo>
                      <a:pt x="901" y="1526"/>
                    </a:lnTo>
                    <a:lnTo>
                      <a:pt x="919" y="1528"/>
                    </a:lnTo>
                    <a:lnTo>
                      <a:pt x="931" y="1528"/>
                    </a:lnTo>
                    <a:lnTo>
                      <a:pt x="943" y="1527"/>
                    </a:lnTo>
                    <a:lnTo>
                      <a:pt x="948" y="1524"/>
                    </a:lnTo>
                    <a:lnTo>
                      <a:pt x="957" y="1521"/>
                    </a:lnTo>
                    <a:lnTo>
                      <a:pt x="963" y="1526"/>
                    </a:lnTo>
                    <a:lnTo>
                      <a:pt x="986" y="1533"/>
                    </a:lnTo>
                    <a:lnTo>
                      <a:pt x="992" y="1542"/>
                    </a:lnTo>
                    <a:lnTo>
                      <a:pt x="994" y="1548"/>
                    </a:lnTo>
                    <a:lnTo>
                      <a:pt x="996" y="1571"/>
                    </a:lnTo>
                    <a:lnTo>
                      <a:pt x="1000" y="1583"/>
                    </a:lnTo>
                    <a:lnTo>
                      <a:pt x="998" y="1608"/>
                    </a:lnTo>
                    <a:lnTo>
                      <a:pt x="1000" y="1613"/>
                    </a:lnTo>
                    <a:lnTo>
                      <a:pt x="1006" y="1620"/>
                    </a:lnTo>
                    <a:lnTo>
                      <a:pt x="1013" y="1625"/>
                    </a:lnTo>
                    <a:lnTo>
                      <a:pt x="1019" y="1628"/>
                    </a:lnTo>
                    <a:lnTo>
                      <a:pt x="1029" y="1628"/>
                    </a:lnTo>
                    <a:lnTo>
                      <a:pt x="1035" y="1625"/>
                    </a:lnTo>
                    <a:lnTo>
                      <a:pt x="1048" y="1625"/>
                    </a:lnTo>
                    <a:lnTo>
                      <a:pt x="1057" y="1623"/>
                    </a:lnTo>
                    <a:lnTo>
                      <a:pt x="1062" y="1628"/>
                    </a:lnTo>
                    <a:lnTo>
                      <a:pt x="1067" y="1636"/>
                    </a:lnTo>
                    <a:lnTo>
                      <a:pt x="1067" y="1661"/>
                    </a:lnTo>
                    <a:lnTo>
                      <a:pt x="1066" y="1664"/>
                    </a:lnTo>
                    <a:lnTo>
                      <a:pt x="1062" y="1680"/>
                    </a:lnTo>
                    <a:lnTo>
                      <a:pt x="1059" y="1706"/>
                    </a:lnTo>
                    <a:lnTo>
                      <a:pt x="1057" y="1726"/>
                    </a:lnTo>
                    <a:lnTo>
                      <a:pt x="1066" y="1726"/>
                    </a:lnTo>
                    <a:lnTo>
                      <a:pt x="1070" y="1725"/>
                    </a:lnTo>
                    <a:lnTo>
                      <a:pt x="1084" y="1725"/>
                    </a:lnTo>
                    <a:lnTo>
                      <a:pt x="1091" y="1732"/>
                    </a:lnTo>
                    <a:lnTo>
                      <a:pt x="1103" y="1771"/>
                    </a:lnTo>
                    <a:lnTo>
                      <a:pt x="1103" y="1803"/>
                    </a:lnTo>
                    <a:lnTo>
                      <a:pt x="1102" y="1814"/>
                    </a:lnTo>
                    <a:lnTo>
                      <a:pt x="1099" y="1818"/>
                    </a:lnTo>
                    <a:lnTo>
                      <a:pt x="1097" y="1822"/>
                    </a:lnTo>
                    <a:lnTo>
                      <a:pt x="1073" y="1838"/>
                    </a:lnTo>
                    <a:lnTo>
                      <a:pt x="1066" y="1840"/>
                    </a:lnTo>
                    <a:lnTo>
                      <a:pt x="1054" y="1841"/>
                    </a:lnTo>
                    <a:lnTo>
                      <a:pt x="1046" y="1845"/>
                    </a:lnTo>
                    <a:lnTo>
                      <a:pt x="1037" y="1857"/>
                    </a:lnTo>
                    <a:lnTo>
                      <a:pt x="1028" y="1867"/>
                    </a:lnTo>
                    <a:lnTo>
                      <a:pt x="984" y="1905"/>
                    </a:lnTo>
                    <a:lnTo>
                      <a:pt x="982" y="1909"/>
                    </a:lnTo>
                    <a:lnTo>
                      <a:pt x="978" y="1916"/>
                    </a:lnTo>
                    <a:lnTo>
                      <a:pt x="958" y="1941"/>
                    </a:lnTo>
                    <a:lnTo>
                      <a:pt x="955" y="1947"/>
                    </a:lnTo>
                    <a:lnTo>
                      <a:pt x="937" y="1968"/>
                    </a:lnTo>
                    <a:lnTo>
                      <a:pt x="922" y="1980"/>
                    </a:lnTo>
                    <a:lnTo>
                      <a:pt x="915" y="1989"/>
                    </a:lnTo>
                    <a:lnTo>
                      <a:pt x="906" y="1995"/>
                    </a:lnTo>
                    <a:lnTo>
                      <a:pt x="904" y="2000"/>
                    </a:lnTo>
                    <a:lnTo>
                      <a:pt x="895" y="2010"/>
                    </a:lnTo>
                    <a:lnTo>
                      <a:pt x="885" y="2015"/>
                    </a:lnTo>
                    <a:lnTo>
                      <a:pt x="904" y="2017"/>
                    </a:lnTo>
                    <a:lnTo>
                      <a:pt x="911" y="2013"/>
                    </a:lnTo>
                    <a:lnTo>
                      <a:pt x="915" y="2007"/>
                    </a:lnTo>
                    <a:lnTo>
                      <a:pt x="920" y="2005"/>
                    </a:lnTo>
                    <a:lnTo>
                      <a:pt x="925" y="2005"/>
                    </a:lnTo>
                    <a:lnTo>
                      <a:pt x="931" y="2007"/>
                    </a:lnTo>
                    <a:lnTo>
                      <a:pt x="943" y="2017"/>
                    </a:lnTo>
                    <a:lnTo>
                      <a:pt x="948" y="2022"/>
                    </a:lnTo>
                    <a:lnTo>
                      <a:pt x="959" y="2032"/>
                    </a:lnTo>
                    <a:lnTo>
                      <a:pt x="968" y="2040"/>
                    </a:lnTo>
                    <a:lnTo>
                      <a:pt x="973" y="2055"/>
                    </a:lnTo>
                    <a:lnTo>
                      <a:pt x="974" y="2064"/>
                    </a:lnTo>
                    <a:lnTo>
                      <a:pt x="982" y="2065"/>
                    </a:lnTo>
                    <a:lnTo>
                      <a:pt x="986" y="2064"/>
                    </a:lnTo>
                    <a:lnTo>
                      <a:pt x="1000" y="2053"/>
                    </a:lnTo>
                    <a:lnTo>
                      <a:pt x="1005" y="2056"/>
                    </a:lnTo>
                    <a:lnTo>
                      <a:pt x="1006" y="2060"/>
                    </a:lnTo>
                    <a:lnTo>
                      <a:pt x="1011" y="2070"/>
                    </a:lnTo>
                    <a:lnTo>
                      <a:pt x="1018" y="2078"/>
                    </a:lnTo>
                    <a:lnTo>
                      <a:pt x="1021" y="2081"/>
                    </a:lnTo>
                    <a:lnTo>
                      <a:pt x="1025" y="2082"/>
                    </a:lnTo>
                    <a:lnTo>
                      <a:pt x="1033" y="2082"/>
                    </a:lnTo>
                    <a:lnTo>
                      <a:pt x="1040" y="2091"/>
                    </a:lnTo>
                    <a:lnTo>
                      <a:pt x="1052" y="2092"/>
                    </a:lnTo>
                    <a:lnTo>
                      <a:pt x="1055" y="2096"/>
                    </a:lnTo>
                    <a:lnTo>
                      <a:pt x="1062" y="2107"/>
                    </a:lnTo>
                    <a:lnTo>
                      <a:pt x="1068" y="2112"/>
                    </a:lnTo>
                    <a:lnTo>
                      <a:pt x="1077" y="2117"/>
                    </a:lnTo>
                    <a:lnTo>
                      <a:pt x="1082" y="2118"/>
                    </a:lnTo>
                    <a:lnTo>
                      <a:pt x="1097" y="2125"/>
                    </a:lnTo>
                    <a:lnTo>
                      <a:pt x="1100" y="2131"/>
                    </a:lnTo>
                    <a:lnTo>
                      <a:pt x="1104" y="2150"/>
                    </a:lnTo>
                    <a:lnTo>
                      <a:pt x="1107" y="2153"/>
                    </a:lnTo>
                    <a:lnTo>
                      <a:pt x="1127" y="2168"/>
                    </a:lnTo>
                    <a:lnTo>
                      <a:pt x="1132" y="2177"/>
                    </a:lnTo>
                    <a:lnTo>
                      <a:pt x="1131" y="2179"/>
                    </a:lnTo>
                    <a:lnTo>
                      <a:pt x="1126" y="2180"/>
                    </a:lnTo>
                    <a:lnTo>
                      <a:pt x="1124" y="2188"/>
                    </a:lnTo>
                    <a:lnTo>
                      <a:pt x="1121" y="2189"/>
                    </a:lnTo>
                    <a:lnTo>
                      <a:pt x="1116" y="2196"/>
                    </a:lnTo>
                    <a:lnTo>
                      <a:pt x="1114" y="2204"/>
                    </a:lnTo>
                    <a:lnTo>
                      <a:pt x="1114" y="2220"/>
                    </a:lnTo>
                    <a:lnTo>
                      <a:pt x="1111" y="2234"/>
                    </a:lnTo>
                    <a:lnTo>
                      <a:pt x="1113" y="2236"/>
                    </a:lnTo>
                    <a:lnTo>
                      <a:pt x="1116" y="2241"/>
                    </a:lnTo>
                    <a:lnTo>
                      <a:pt x="1116" y="2237"/>
                    </a:lnTo>
                    <a:lnTo>
                      <a:pt x="1121" y="2232"/>
                    </a:lnTo>
                    <a:lnTo>
                      <a:pt x="1130" y="2227"/>
                    </a:lnTo>
                    <a:lnTo>
                      <a:pt x="1145" y="2215"/>
                    </a:lnTo>
                    <a:lnTo>
                      <a:pt x="1156" y="2196"/>
                    </a:lnTo>
                    <a:lnTo>
                      <a:pt x="1167" y="2184"/>
                    </a:lnTo>
                    <a:lnTo>
                      <a:pt x="1173" y="2156"/>
                    </a:lnTo>
                    <a:lnTo>
                      <a:pt x="1178" y="2148"/>
                    </a:lnTo>
                    <a:lnTo>
                      <a:pt x="1193" y="2132"/>
                    </a:lnTo>
                    <a:lnTo>
                      <a:pt x="1199" y="2129"/>
                    </a:lnTo>
                    <a:lnTo>
                      <a:pt x="1221" y="2112"/>
                    </a:lnTo>
                    <a:lnTo>
                      <a:pt x="1229" y="2108"/>
                    </a:lnTo>
                    <a:lnTo>
                      <a:pt x="1238" y="2102"/>
                    </a:lnTo>
                    <a:lnTo>
                      <a:pt x="1244" y="2096"/>
                    </a:lnTo>
                    <a:lnTo>
                      <a:pt x="1247" y="2088"/>
                    </a:lnTo>
                    <a:lnTo>
                      <a:pt x="1253" y="2078"/>
                    </a:lnTo>
                    <a:lnTo>
                      <a:pt x="1267" y="2059"/>
                    </a:lnTo>
                    <a:lnTo>
                      <a:pt x="1275" y="2045"/>
                    </a:lnTo>
                    <a:lnTo>
                      <a:pt x="1286" y="2032"/>
                    </a:lnTo>
                    <a:lnTo>
                      <a:pt x="1291" y="2010"/>
                    </a:lnTo>
                    <a:lnTo>
                      <a:pt x="1303" y="1981"/>
                    </a:lnTo>
                    <a:lnTo>
                      <a:pt x="1309" y="1973"/>
                    </a:lnTo>
                    <a:lnTo>
                      <a:pt x="1314" y="1963"/>
                    </a:lnTo>
                    <a:lnTo>
                      <a:pt x="1318" y="1956"/>
                    </a:lnTo>
                    <a:lnTo>
                      <a:pt x="1324" y="1951"/>
                    </a:lnTo>
                    <a:lnTo>
                      <a:pt x="1339" y="1930"/>
                    </a:lnTo>
                    <a:lnTo>
                      <a:pt x="1346" y="1922"/>
                    </a:lnTo>
                    <a:lnTo>
                      <a:pt x="1352" y="1919"/>
                    </a:lnTo>
                    <a:lnTo>
                      <a:pt x="1363" y="1915"/>
                    </a:lnTo>
                    <a:lnTo>
                      <a:pt x="1368" y="1902"/>
                    </a:lnTo>
                    <a:lnTo>
                      <a:pt x="1377" y="1895"/>
                    </a:lnTo>
                    <a:lnTo>
                      <a:pt x="1380" y="1873"/>
                    </a:lnTo>
                    <a:lnTo>
                      <a:pt x="1382" y="1834"/>
                    </a:lnTo>
                    <a:lnTo>
                      <a:pt x="1384" y="1829"/>
                    </a:lnTo>
                    <a:lnTo>
                      <a:pt x="1390" y="1829"/>
                    </a:lnTo>
                    <a:lnTo>
                      <a:pt x="1392" y="1825"/>
                    </a:lnTo>
                    <a:lnTo>
                      <a:pt x="1389" y="1820"/>
                    </a:lnTo>
                    <a:lnTo>
                      <a:pt x="1382" y="1813"/>
                    </a:lnTo>
                    <a:lnTo>
                      <a:pt x="1380" y="1809"/>
                    </a:lnTo>
                    <a:lnTo>
                      <a:pt x="1380" y="1795"/>
                    </a:lnTo>
                    <a:lnTo>
                      <a:pt x="1378" y="1792"/>
                    </a:lnTo>
                    <a:lnTo>
                      <a:pt x="1378" y="1777"/>
                    </a:lnTo>
                    <a:lnTo>
                      <a:pt x="1376" y="1769"/>
                    </a:lnTo>
                    <a:lnTo>
                      <a:pt x="1376" y="1762"/>
                    </a:lnTo>
                    <a:lnTo>
                      <a:pt x="1378" y="1758"/>
                    </a:lnTo>
                    <a:lnTo>
                      <a:pt x="1380" y="1752"/>
                    </a:lnTo>
                    <a:lnTo>
                      <a:pt x="1380" y="1742"/>
                    </a:lnTo>
                    <a:lnTo>
                      <a:pt x="1390" y="1726"/>
                    </a:lnTo>
                    <a:lnTo>
                      <a:pt x="1395" y="1719"/>
                    </a:lnTo>
                    <a:lnTo>
                      <a:pt x="1409" y="1706"/>
                    </a:lnTo>
                    <a:lnTo>
                      <a:pt x="1428" y="1684"/>
                    </a:lnTo>
                    <a:lnTo>
                      <a:pt x="1431" y="1684"/>
                    </a:lnTo>
                    <a:lnTo>
                      <a:pt x="1436" y="1680"/>
                    </a:lnTo>
                    <a:lnTo>
                      <a:pt x="1446" y="1672"/>
                    </a:lnTo>
                    <a:lnTo>
                      <a:pt x="1459" y="1662"/>
                    </a:lnTo>
                    <a:lnTo>
                      <a:pt x="1464" y="1656"/>
                    </a:lnTo>
                    <a:lnTo>
                      <a:pt x="1474" y="1650"/>
                    </a:lnTo>
                    <a:lnTo>
                      <a:pt x="1487" y="1636"/>
                    </a:lnTo>
                    <a:lnTo>
                      <a:pt x="1501" y="1628"/>
                    </a:lnTo>
                    <a:lnTo>
                      <a:pt x="1511" y="1628"/>
                    </a:lnTo>
                    <a:lnTo>
                      <a:pt x="1516" y="1625"/>
                    </a:lnTo>
                    <a:lnTo>
                      <a:pt x="1522" y="1618"/>
                    </a:lnTo>
                    <a:lnTo>
                      <a:pt x="1533" y="1614"/>
                    </a:lnTo>
                    <a:lnTo>
                      <a:pt x="1550" y="1614"/>
                    </a:lnTo>
                    <a:lnTo>
                      <a:pt x="1561" y="1606"/>
                    </a:lnTo>
                    <a:lnTo>
                      <a:pt x="1565" y="1604"/>
                    </a:lnTo>
                    <a:lnTo>
                      <a:pt x="1573" y="1593"/>
                    </a:lnTo>
                    <a:lnTo>
                      <a:pt x="1578" y="1591"/>
                    </a:lnTo>
                    <a:lnTo>
                      <a:pt x="1591" y="1588"/>
                    </a:lnTo>
                    <a:lnTo>
                      <a:pt x="1598" y="1588"/>
                    </a:lnTo>
                    <a:lnTo>
                      <a:pt x="1600" y="1585"/>
                    </a:lnTo>
                    <a:lnTo>
                      <a:pt x="1600" y="1581"/>
                    </a:lnTo>
                    <a:lnTo>
                      <a:pt x="1597" y="1579"/>
                    </a:lnTo>
                    <a:lnTo>
                      <a:pt x="1597" y="1576"/>
                    </a:lnTo>
                    <a:lnTo>
                      <a:pt x="1605" y="1569"/>
                    </a:lnTo>
                    <a:lnTo>
                      <a:pt x="1608" y="1569"/>
                    </a:lnTo>
                    <a:lnTo>
                      <a:pt x="1608" y="1567"/>
                    </a:lnTo>
                    <a:lnTo>
                      <a:pt x="1609" y="1571"/>
                    </a:lnTo>
                    <a:lnTo>
                      <a:pt x="1615" y="1572"/>
                    </a:lnTo>
                    <a:lnTo>
                      <a:pt x="1638" y="1566"/>
                    </a:lnTo>
                    <a:lnTo>
                      <a:pt x="1643" y="1566"/>
                    </a:lnTo>
                    <a:lnTo>
                      <a:pt x="1647" y="1569"/>
                    </a:lnTo>
                    <a:lnTo>
                      <a:pt x="1657" y="1570"/>
                    </a:lnTo>
                    <a:lnTo>
                      <a:pt x="1673" y="1564"/>
                    </a:lnTo>
                    <a:lnTo>
                      <a:pt x="1680" y="1564"/>
                    </a:lnTo>
                    <a:lnTo>
                      <a:pt x="1686" y="1566"/>
                    </a:lnTo>
                    <a:lnTo>
                      <a:pt x="1697" y="1567"/>
                    </a:lnTo>
                    <a:lnTo>
                      <a:pt x="1708" y="1567"/>
                    </a:lnTo>
                    <a:lnTo>
                      <a:pt x="1732" y="1564"/>
                    </a:lnTo>
                    <a:lnTo>
                      <a:pt x="1736" y="1563"/>
                    </a:lnTo>
                    <a:lnTo>
                      <a:pt x="1740" y="1554"/>
                    </a:lnTo>
                    <a:lnTo>
                      <a:pt x="1743" y="1542"/>
                    </a:lnTo>
                    <a:lnTo>
                      <a:pt x="1751" y="1533"/>
                    </a:lnTo>
                    <a:lnTo>
                      <a:pt x="1759" y="1529"/>
                    </a:lnTo>
                    <a:lnTo>
                      <a:pt x="1778" y="1521"/>
                    </a:lnTo>
                    <a:lnTo>
                      <a:pt x="1787" y="1512"/>
                    </a:lnTo>
                    <a:lnTo>
                      <a:pt x="1791" y="1505"/>
                    </a:lnTo>
                    <a:lnTo>
                      <a:pt x="1792" y="1497"/>
                    </a:lnTo>
                    <a:lnTo>
                      <a:pt x="1793" y="1483"/>
                    </a:lnTo>
                    <a:lnTo>
                      <a:pt x="1796" y="1469"/>
                    </a:lnTo>
                    <a:lnTo>
                      <a:pt x="1808" y="1452"/>
                    </a:lnTo>
                    <a:lnTo>
                      <a:pt x="1825" y="1431"/>
                    </a:lnTo>
                    <a:lnTo>
                      <a:pt x="1834" y="1416"/>
                    </a:lnTo>
                    <a:lnTo>
                      <a:pt x="1845" y="1388"/>
                    </a:lnTo>
                    <a:lnTo>
                      <a:pt x="1858" y="1373"/>
                    </a:lnTo>
                    <a:lnTo>
                      <a:pt x="1864" y="1365"/>
                    </a:lnTo>
                    <a:lnTo>
                      <a:pt x="1867" y="1335"/>
                    </a:lnTo>
                    <a:lnTo>
                      <a:pt x="1867" y="1318"/>
                    </a:lnTo>
                    <a:lnTo>
                      <a:pt x="1868" y="1305"/>
                    </a:lnTo>
                    <a:lnTo>
                      <a:pt x="1872" y="1291"/>
                    </a:lnTo>
                    <a:lnTo>
                      <a:pt x="1878" y="1282"/>
                    </a:lnTo>
                    <a:lnTo>
                      <a:pt x="1890" y="1268"/>
                    </a:lnTo>
                    <a:lnTo>
                      <a:pt x="1894" y="1260"/>
                    </a:lnTo>
                    <a:lnTo>
                      <a:pt x="1894" y="1244"/>
                    </a:lnTo>
                    <a:lnTo>
                      <a:pt x="1898" y="1206"/>
                    </a:lnTo>
                    <a:lnTo>
                      <a:pt x="1900" y="1199"/>
                    </a:lnTo>
                    <a:lnTo>
                      <a:pt x="1904" y="1173"/>
                    </a:lnTo>
                    <a:lnTo>
                      <a:pt x="1907" y="1156"/>
                    </a:lnTo>
                    <a:lnTo>
                      <a:pt x="1906" y="1144"/>
                    </a:lnTo>
                    <a:lnTo>
                      <a:pt x="1904" y="1134"/>
                    </a:lnTo>
                    <a:lnTo>
                      <a:pt x="1904" y="1111"/>
                    </a:lnTo>
                    <a:lnTo>
                      <a:pt x="1901" y="1102"/>
                    </a:lnTo>
                    <a:lnTo>
                      <a:pt x="1901" y="1080"/>
                    </a:lnTo>
                    <a:lnTo>
                      <a:pt x="1904" y="1052"/>
                    </a:lnTo>
                    <a:lnTo>
                      <a:pt x="1907" y="1034"/>
                    </a:lnTo>
                    <a:lnTo>
                      <a:pt x="1907" y="1022"/>
                    </a:lnTo>
                    <a:lnTo>
                      <a:pt x="1910" y="1009"/>
                    </a:lnTo>
                    <a:lnTo>
                      <a:pt x="1911" y="1006"/>
                    </a:lnTo>
                    <a:lnTo>
                      <a:pt x="1922" y="995"/>
                    </a:lnTo>
                    <a:lnTo>
                      <a:pt x="1926" y="995"/>
                    </a:lnTo>
                    <a:lnTo>
                      <a:pt x="1935" y="998"/>
                    </a:lnTo>
                    <a:lnTo>
                      <a:pt x="1937" y="998"/>
                    </a:lnTo>
                    <a:lnTo>
                      <a:pt x="1952" y="984"/>
                    </a:lnTo>
                    <a:lnTo>
                      <a:pt x="1963" y="969"/>
                    </a:lnTo>
                    <a:lnTo>
                      <a:pt x="1975" y="947"/>
                    </a:lnTo>
                    <a:lnTo>
                      <a:pt x="1981" y="929"/>
                    </a:lnTo>
                    <a:lnTo>
                      <a:pt x="1989" y="914"/>
                    </a:lnTo>
                    <a:lnTo>
                      <a:pt x="1997" y="902"/>
                    </a:lnTo>
                    <a:lnTo>
                      <a:pt x="2013" y="889"/>
                    </a:lnTo>
                    <a:lnTo>
                      <a:pt x="2018" y="881"/>
                    </a:lnTo>
                    <a:lnTo>
                      <a:pt x="2028" y="871"/>
                    </a:lnTo>
                    <a:lnTo>
                      <a:pt x="2049" y="860"/>
                    </a:lnTo>
                    <a:lnTo>
                      <a:pt x="2055" y="853"/>
                    </a:lnTo>
                    <a:lnTo>
                      <a:pt x="2063" y="840"/>
                    </a:lnTo>
                    <a:lnTo>
                      <a:pt x="2076" y="824"/>
                    </a:lnTo>
                    <a:lnTo>
                      <a:pt x="2094" y="805"/>
                    </a:lnTo>
                    <a:lnTo>
                      <a:pt x="2111" y="779"/>
                    </a:lnTo>
                    <a:lnTo>
                      <a:pt x="2115" y="776"/>
                    </a:lnTo>
                    <a:lnTo>
                      <a:pt x="2120" y="767"/>
                    </a:lnTo>
                    <a:lnTo>
                      <a:pt x="2120" y="767"/>
                    </a:lnTo>
                    <a:lnTo>
                      <a:pt x="2130" y="724"/>
                    </a:lnTo>
                    <a:lnTo>
                      <a:pt x="2132" y="709"/>
                    </a:lnTo>
                    <a:lnTo>
                      <a:pt x="2135" y="673"/>
                    </a:lnTo>
                    <a:lnTo>
                      <a:pt x="2135" y="650"/>
                    </a:lnTo>
                    <a:lnTo>
                      <a:pt x="2126" y="629"/>
                    </a:lnTo>
                    <a:lnTo>
                      <a:pt x="2120" y="597"/>
                    </a:lnTo>
                    <a:lnTo>
                      <a:pt x="2111" y="582"/>
                    </a:lnTo>
                    <a:lnTo>
                      <a:pt x="2102" y="570"/>
                    </a:lnTo>
                    <a:lnTo>
                      <a:pt x="2093" y="565"/>
                    </a:lnTo>
                    <a:lnTo>
                      <a:pt x="2046" y="565"/>
                    </a:lnTo>
                    <a:lnTo>
                      <a:pt x="2040" y="565"/>
                    </a:lnTo>
                    <a:lnTo>
                      <a:pt x="2034" y="564"/>
                    </a:lnTo>
                    <a:lnTo>
                      <a:pt x="2030" y="560"/>
                    </a:lnTo>
                    <a:lnTo>
                      <a:pt x="2022" y="558"/>
                    </a:lnTo>
                    <a:lnTo>
                      <a:pt x="2014" y="558"/>
                    </a:lnTo>
                    <a:lnTo>
                      <a:pt x="2009" y="550"/>
                    </a:lnTo>
                    <a:lnTo>
                      <a:pt x="2000" y="542"/>
                    </a:lnTo>
                    <a:lnTo>
                      <a:pt x="1993" y="538"/>
                    </a:lnTo>
                    <a:lnTo>
                      <a:pt x="1985" y="534"/>
                    </a:lnTo>
                    <a:lnTo>
                      <a:pt x="1971" y="526"/>
                    </a:lnTo>
                    <a:lnTo>
                      <a:pt x="1942" y="496"/>
                    </a:lnTo>
                    <a:lnTo>
                      <a:pt x="1930" y="485"/>
                    </a:lnTo>
                    <a:lnTo>
                      <a:pt x="1915" y="474"/>
                    </a:lnTo>
                    <a:lnTo>
                      <a:pt x="1896" y="463"/>
                    </a:lnTo>
                    <a:lnTo>
                      <a:pt x="1883" y="455"/>
                    </a:lnTo>
                    <a:lnTo>
                      <a:pt x="1872" y="448"/>
                    </a:lnTo>
                    <a:lnTo>
                      <a:pt x="1860" y="445"/>
                    </a:lnTo>
                    <a:lnTo>
                      <a:pt x="1808" y="444"/>
                    </a:lnTo>
                    <a:lnTo>
                      <a:pt x="1799" y="445"/>
                    </a:lnTo>
                    <a:lnTo>
                      <a:pt x="1790" y="445"/>
                    </a:lnTo>
                    <a:lnTo>
                      <a:pt x="1760" y="444"/>
                    </a:lnTo>
                    <a:lnTo>
                      <a:pt x="1751" y="442"/>
                    </a:lnTo>
                    <a:lnTo>
                      <a:pt x="1731" y="437"/>
                    </a:lnTo>
                    <a:lnTo>
                      <a:pt x="1678" y="420"/>
                    </a:lnTo>
                    <a:lnTo>
                      <a:pt x="1668" y="420"/>
                    </a:lnTo>
                    <a:lnTo>
                      <a:pt x="1665" y="420"/>
                    </a:lnTo>
                    <a:lnTo>
                      <a:pt x="1659" y="413"/>
                    </a:lnTo>
                    <a:lnTo>
                      <a:pt x="1652" y="417"/>
                    </a:lnTo>
                    <a:lnTo>
                      <a:pt x="1645" y="423"/>
                    </a:lnTo>
                    <a:lnTo>
                      <a:pt x="1636" y="426"/>
                    </a:lnTo>
                    <a:lnTo>
                      <a:pt x="1620" y="433"/>
                    </a:lnTo>
                    <a:lnTo>
                      <a:pt x="1611" y="434"/>
                    </a:lnTo>
                    <a:lnTo>
                      <a:pt x="1610" y="428"/>
                    </a:lnTo>
                    <a:lnTo>
                      <a:pt x="1613" y="421"/>
                    </a:lnTo>
                    <a:lnTo>
                      <a:pt x="1619" y="415"/>
                    </a:lnTo>
                    <a:lnTo>
                      <a:pt x="1619" y="410"/>
                    </a:lnTo>
                    <a:lnTo>
                      <a:pt x="1616" y="405"/>
                    </a:lnTo>
                    <a:lnTo>
                      <a:pt x="1611" y="403"/>
                    </a:lnTo>
                    <a:lnTo>
                      <a:pt x="1609" y="403"/>
                    </a:lnTo>
                    <a:lnTo>
                      <a:pt x="1605" y="404"/>
                    </a:lnTo>
                    <a:lnTo>
                      <a:pt x="1602" y="404"/>
                    </a:lnTo>
                    <a:lnTo>
                      <a:pt x="1600" y="403"/>
                    </a:lnTo>
                    <a:lnTo>
                      <a:pt x="1600" y="399"/>
                    </a:lnTo>
                    <a:lnTo>
                      <a:pt x="1604" y="397"/>
                    </a:lnTo>
                    <a:lnTo>
                      <a:pt x="1605" y="387"/>
                    </a:lnTo>
                    <a:lnTo>
                      <a:pt x="1598" y="375"/>
                    </a:lnTo>
                    <a:lnTo>
                      <a:pt x="1587" y="366"/>
                    </a:lnTo>
                    <a:lnTo>
                      <a:pt x="1582" y="367"/>
                    </a:lnTo>
                    <a:lnTo>
                      <a:pt x="1576" y="370"/>
                    </a:lnTo>
                    <a:lnTo>
                      <a:pt x="1570" y="375"/>
                    </a:lnTo>
                    <a:lnTo>
                      <a:pt x="1564" y="378"/>
                    </a:lnTo>
                    <a:lnTo>
                      <a:pt x="1564" y="369"/>
                    </a:lnTo>
                    <a:lnTo>
                      <a:pt x="1561" y="364"/>
                    </a:lnTo>
                    <a:lnTo>
                      <a:pt x="1555" y="355"/>
                    </a:lnTo>
                    <a:lnTo>
                      <a:pt x="1543" y="353"/>
                    </a:lnTo>
                    <a:lnTo>
                      <a:pt x="1533" y="347"/>
                    </a:lnTo>
                    <a:lnTo>
                      <a:pt x="1522" y="345"/>
                    </a:lnTo>
                    <a:lnTo>
                      <a:pt x="1517" y="340"/>
                    </a:lnTo>
                    <a:lnTo>
                      <a:pt x="1502" y="340"/>
                    </a:lnTo>
                    <a:lnTo>
                      <a:pt x="1497" y="339"/>
                    </a:lnTo>
                    <a:lnTo>
                      <a:pt x="1465" y="322"/>
                    </a:lnTo>
                    <a:lnTo>
                      <a:pt x="1454" y="318"/>
                    </a:lnTo>
                    <a:lnTo>
                      <a:pt x="1425" y="320"/>
                    </a:lnTo>
                    <a:lnTo>
                      <a:pt x="1416" y="324"/>
                    </a:lnTo>
                    <a:lnTo>
                      <a:pt x="1409" y="339"/>
                    </a:lnTo>
                    <a:lnTo>
                      <a:pt x="1403" y="342"/>
                    </a:lnTo>
                    <a:lnTo>
                      <a:pt x="1399" y="350"/>
                    </a:lnTo>
                    <a:lnTo>
                      <a:pt x="1396" y="359"/>
                    </a:lnTo>
                    <a:lnTo>
                      <a:pt x="1392" y="366"/>
                    </a:lnTo>
                    <a:lnTo>
                      <a:pt x="1383" y="366"/>
                    </a:lnTo>
                    <a:lnTo>
                      <a:pt x="1374" y="370"/>
                    </a:lnTo>
                    <a:lnTo>
                      <a:pt x="1371" y="371"/>
                    </a:lnTo>
                    <a:lnTo>
                      <a:pt x="1365" y="376"/>
                    </a:lnTo>
                    <a:lnTo>
                      <a:pt x="1358" y="396"/>
                    </a:lnTo>
                    <a:lnTo>
                      <a:pt x="1355" y="403"/>
                    </a:lnTo>
                    <a:lnTo>
                      <a:pt x="1352" y="404"/>
                    </a:lnTo>
                    <a:lnTo>
                      <a:pt x="1351" y="408"/>
                    </a:lnTo>
                    <a:lnTo>
                      <a:pt x="1349" y="418"/>
                    </a:lnTo>
                    <a:lnTo>
                      <a:pt x="1344" y="419"/>
                    </a:lnTo>
                    <a:lnTo>
                      <a:pt x="1344" y="419"/>
                    </a:lnTo>
                    <a:lnTo>
                      <a:pt x="1341" y="412"/>
                    </a:lnTo>
                    <a:lnTo>
                      <a:pt x="1341" y="401"/>
                    </a:lnTo>
                    <a:lnTo>
                      <a:pt x="1345" y="386"/>
                    </a:lnTo>
                    <a:lnTo>
                      <a:pt x="1342" y="386"/>
                    </a:lnTo>
                    <a:lnTo>
                      <a:pt x="1334" y="386"/>
                    </a:lnTo>
                    <a:lnTo>
                      <a:pt x="1326" y="388"/>
                    </a:lnTo>
                    <a:lnTo>
                      <a:pt x="1319" y="387"/>
                    </a:lnTo>
                    <a:lnTo>
                      <a:pt x="1296" y="388"/>
                    </a:lnTo>
                    <a:lnTo>
                      <a:pt x="1287" y="387"/>
                    </a:lnTo>
                    <a:lnTo>
                      <a:pt x="1286" y="388"/>
                    </a:lnTo>
                    <a:lnTo>
                      <a:pt x="1280" y="388"/>
                    </a:lnTo>
                    <a:lnTo>
                      <a:pt x="1277" y="387"/>
                    </a:lnTo>
                    <a:lnTo>
                      <a:pt x="1271" y="387"/>
                    </a:lnTo>
                    <a:lnTo>
                      <a:pt x="1256" y="392"/>
                    </a:lnTo>
                    <a:lnTo>
                      <a:pt x="1250" y="392"/>
                    </a:lnTo>
                    <a:lnTo>
                      <a:pt x="1238" y="387"/>
                    </a:lnTo>
                    <a:lnTo>
                      <a:pt x="1234" y="387"/>
                    </a:lnTo>
                    <a:lnTo>
                      <a:pt x="1232" y="388"/>
                    </a:lnTo>
                    <a:lnTo>
                      <a:pt x="1229" y="397"/>
                    </a:lnTo>
                    <a:lnTo>
                      <a:pt x="1228" y="399"/>
                    </a:lnTo>
                    <a:lnTo>
                      <a:pt x="1226" y="397"/>
                    </a:lnTo>
                    <a:lnTo>
                      <a:pt x="1224" y="390"/>
                    </a:lnTo>
                    <a:lnTo>
                      <a:pt x="1226" y="387"/>
                    </a:lnTo>
                    <a:lnTo>
                      <a:pt x="1232" y="381"/>
                    </a:lnTo>
                    <a:lnTo>
                      <a:pt x="1238" y="381"/>
                    </a:lnTo>
                    <a:lnTo>
                      <a:pt x="1247" y="385"/>
                    </a:lnTo>
                    <a:lnTo>
                      <a:pt x="1259" y="386"/>
                    </a:lnTo>
                    <a:lnTo>
                      <a:pt x="1269" y="382"/>
                    </a:lnTo>
                    <a:lnTo>
                      <a:pt x="1271" y="380"/>
                    </a:lnTo>
                    <a:lnTo>
                      <a:pt x="1272" y="377"/>
                    </a:lnTo>
                    <a:lnTo>
                      <a:pt x="1272" y="355"/>
                    </a:lnTo>
                    <a:lnTo>
                      <a:pt x="1271" y="353"/>
                    </a:lnTo>
                    <a:lnTo>
                      <a:pt x="1265" y="353"/>
                    </a:lnTo>
                    <a:lnTo>
                      <a:pt x="1264" y="349"/>
                    </a:lnTo>
                    <a:lnTo>
                      <a:pt x="1258" y="345"/>
                    </a:lnTo>
                    <a:lnTo>
                      <a:pt x="1256" y="344"/>
                    </a:lnTo>
                    <a:lnTo>
                      <a:pt x="1256" y="340"/>
                    </a:lnTo>
                    <a:lnTo>
                      <a:pt x="1261" y="339"/>
                    </a:lnTo>
                    <a:lnTo>
                      <a:pt x="1266" y="334"/>
                    </a:lnTo>
                    <a:lnTo>
                      <a:pt x="1267" y="329"/>
                    </a:lnTo>
                    <a:lnTo>
                      <a:pt x="1261" y="329"/>
                    </a:lnTo>
                    <a:lnTo>
                      <a:pt x="1258" y="332"/>
                    </a:lnTo>
                    <a:lnTo>
                      <a:pt x="1254" y="332"/>
                    </a:lnTo>
                    <a:lnTo>
                      <a:pt x="1249" y="340"/>
                    </a:lnTo>
                    <a:lnTo>
                      <a:pt x="1247" y="348"/>
                    </a:lnTo>
                    <a:lnTo>
                      <a:pt x="1236" y="348"/>
                    </a:lnTo>
                    <a:lnTo>
                      <a:pt x="1234" y="345"/>
                    </a:lnTo>
                    <a:lnTo>
                      <a:pt x="1234" y="343"/>
                    </a:lnTo>
                    <a:lnTo>
                      <a:pt x="1234" y="327"/>
                    </a:lnTo>
                    <a:lnTo>
                      <a:pt x="1231" y="317"/>
                    </a:lnTo>
                    <a:lnTo>
                      <a:pt x="1231" y="308"/>
                    </a:lnTo>
                    <a:lnTo>
                      <a:pt x="1232" y="306"/>
                    </a:lnTo>
                    <a:lnTo>
                      <a:pt x="1238" y="299"/>
                    </a:lnTo>
                    <a:lnTo>
                      <a:pt x="1243" y="292"/>
                    </a:lnTo>
                    <a:lnTo>
                      <a:pt x="1253" y="281"/>
                    </a:lnTo>
                    <a:lnTo>
                      <a:pt x="1266" y="267"/>
                    </a:lnTo>
                    <a:lnTo>
                      <a:pt x="1283" y="254"/>
                    </a:lnTo>
                    <a:lnTo>
                      <a:pt x="1291" y="242"/>
                    </a:lnTo>
                    <a:lnTo>
                      <a:pt x="1297" y="238"/>
                    </a:lnTo>
                    <a:lnTo>
                      <a:pt x="1303" y="232"/>
                    </a:lnTo>
                    <a:lnTo>
                      <a:pt x="1306" y="222"/>
                    </a:lnTo>
                    <a:lnTo>
                      <a:pt x="1306" y="218"/>
                    </a:lnTo>
                    <a:lnTo>
                      <a:pt x="1312" y="199"/>
                    </a:lnTo>
                    <a:lnTo>
                      <a:pt x="1312" y="195"/>
                    </a:lnTo>
                    <a:lnTo>
                      <a:pt x="1308" y="192"/>
                    </a:lnTo>
                    <a:lnTo>
                      <a:pt x="1301" y="192"/>
                    </a:lnTo>
                    <a:lnTo>
                      <a:pt x="1285" y="187"/>
                    </a:lnTo>
                    <a:lnTo>
                      <a:pt x="1279" y="175"/>
                    </a:lnTo>
                    <a:lnTo>
                      <a:pt x="1272" y="152"/>
                    </a:lnTo>
                    <a:lnTo>
                      <a:pt x="1271" y="150"/>
                    </a:lnTo>
                    <a:lnTo>
                      <a:pt x="1269" y="138"/>
                    </a:lnTo>
                    <a:lnTo>
                      <a:pt x="1264" y="129"/>
                    </a:lnTo>
                    <a:lnTo>
                      <a:pt x="1260" y="116"/>
                    </a:lnTo>
                    <a:lnTo>
                      <a:pt x="1256" y="105"/>
                    </a:lnTo>
                    <a:lnTo>
                      <a:pt x="1253" y="91"/>
                    </a:lnTo>
                    <a:lnTo>
                      <a:pt x="1253" y="80"/>
                    </a:lnTo>
                    <a:lnTo>
                      <a:pt x="1247" y="69"/>
                    </a:lnTo>
                    <a:lnTo>
                      <a:pt x="1237" y="57"/>
                    </a:lnTo>
                    <a:lnTo>
                      <a:pt x="1232" y="53"/>
                    </a:lnTo>
                    <a:lnTo>
                      <a:pt x="1229" y="54"/>
                    </a:lnTo>
                    <a:lnTo>
                      <a:pt x="1227" y="62"/>
                    </a:lnTo>
                    <a:lnTo>
                      <a:pt x="1222" y="63"/>
                    </a:lnTo>
                    <a:lnTo>
                      <a:pt x="1209" y="76"/>
                    </a:lnTo>
                    <a:lnTo>
                      <a:pt x="1206" y="84"/>
                    </a:lnTo>
                    <a:lnTo>
                      <a:pt x="1193" y="102"/>
                    </a:lnTo>
                    <a:lnTo>
                      <a:pt x="1183" y="114"/>
                    </a:lnTo>
                    <a:lnTo>
                      <a:pt x="1179" y="121"/>
                    </a:lnTo>
                    <a:lnTo>
                      <a:pt x="1170" y="143"/>
                    </a:lnTo>
                    <a:lnTo>
                      <a:pt x="1143" y="167"/>
                    </a:lnTo>
                    <a:lnTo>
                      <a:pt x="1141" y="170"/>
                    </a:lnTo>
                    <a:lnTo>
                      <a:pt x="1136" y="172"/>
                    </a:lnTo>
                    <a:lnTo>
                      <a:pt x="1126" y="172"/>
                    </a:lnTo>
                    <a:lnTo>
                      <a:pt x="1119" y="168"/>
                    </a:lnTo>
                    <a:lnTo>
                      <a:pt x="1113" y="168"/>
                    </a:lnTo>
                    <a:lnTo>
                      <a:pt x="1109" y="170"/>
                    </a:lnTo>
                    <a:lnTo>
                      <a:pt x="1093" y="177"/>
                    </a:lnTo>
                    <a:lnTo>
                      <a:pt x="1087" y="177"/>
                    </a:lnTo>
                    <a:lnTo>
                      <a:pt x="1084" y="176"/>
                    </a:lnTo>
                    <a:lnTo>
                      <a:pt x="1075" y="170"/>
                    </a:lnTo>
                    <a:lnTo>
                      <a:pt x="1065" y="159"/>
                    </a:lnTo>
                    <a:lnTo>
                      <a:pt x="1059" y="157"/>
                    </a:lnTo>
                    <a:lnTo>
                      <a:pt x="1055" y="155"/>
                    </a:lnTo>
                    <a:lnTo>
                      <a:pt x="1034" y="149"/>
                    </a:lnTo>
                    <a:lnTo>
                      <a:pt x="1012" y="155"/>
                    </a:lnTo>
                    <a:lnTo>
                      <a:pt x="1008" y="155"/>
                    </a:lnTo>
                    <a:lnTo>
                      <a:pt x="998" y="152"/>
                    </a:lnTo>
                    <a:lnTo>
                      <a:pt x="991" y="152"/>
                    </a:lnTo>
                    <a:lnTo>
                      <a:pt x="985" y="155"/>
                    </a:lnTo>
                    <a:lnTo>
                      <a:pt x="986" y="179"/>
                    </a:lnTo>
                    <a:lnTo>
                      <a:pt x="982" y="183"/>
                    </a:lnTo>
                    <a:lnTo>
                      <a:pt x="965" y="183"/>
                    </a:lnTo>
                    <a:lnTo>
                      <a:pt x="953" y="178"/>
                    </a:lnTo>
                    <a:lnTo>
                      <a:pt x="942" y="179"/>
                    </a:lnTo>
                    <a:lnTo>
                      <a:pt x="928" y="181"/>
                    </a:lnTo>
                    <a:lnTo>
                      <a:pt x="922" y="178"/>
                    </a:lnTo>
                    <a:lnTo>
                      <a:pt x="921" y="177"/>
                    </a:lnTo>
                    <a:lnTo>
                      <a:pt x="917" y="176"/>
                    </a:lnTo>
                    <a:lnTo>
                      <a:pt x="912" y="176"/>
                    </a:lnTo>
                    <a:lnTo>
                      <a:pt x="901" y="182"/>
                    </a:lnTo>
                    <a:lnTo>
                      <a:pt x="893" y="192"/>
                    </a:lnTo>
                    <a:lnTo>
                      <a:pt x="879" y="192"/>
                    </a:lnTo>
                    <a:lnTo>
                      <a:pt x="871" y="195"/>
                    </a:lnTo>
                    <a:lnTo>
                      <a:pt x="866" y="200"/>
                    </a:lnTo>
                    <a:lnTo>
                      <a:pt x="855" y="200"/>
                    </a:lnTo>
                    <a:lnTo>
                      <a:pt x="846" y="203"/>
                    </a:lnTo>
                    <a:lnTo>
                      <a:pt x="840" y="213"/>
                    </a:lnTo>
                    <a:lnTo>
                      <a:pt x="835" y="215"/>
                    </a:lnTo>
                    <a:lnTo>
                      <a:pt x="822" y="215"/>
                    </a:lnTo>
                    <a:lnTo>
                      <a:pt x="812" y="213"/>
                    </a:lnTo>
                    <a:lnTo>
                      <a:pt x="796" y="203"/>
                    </a:lnTo>
                    <a:lnTo>
                      <a:pt x="790" y="198"/>
                    </a:lnTo>
                    <a:lnTo>
                      <a:pt x="786" y="192"/>
                    </a:lnTo>
                    <a:lnTo>
                      <a:pt x="783" y="191"/>
                    </a:lnTo>
                    <a:lnTo>
                      <a:pt x="779" y="186"/>
                    </a:lnTo>
                    <a:lnTo>
                      <a:pt x="777" y="183"/>
                    </a:lnTo>
                    <a:lnTo>
                      <a:pt x="779" y="170"/>
                    </a:lnTo>
                    <a:lnTo>
                      <a:pt x="777" y="161"/>
                    </a:lnTo>
                    <a:lnTo>
                      <a:pt x="766" y="151"/>
                    </a:lnTo>
                    <a:lnTo>
                      <a:pt x="765" y="148"/>
                    </a:lnTo>
                    <a:lnTo>
                      <a:pt x="765" y="117"/>
                    </a:lnTo>
                    <a:lnTo>
                      <a:pt x="771" y="103"/>
                    </a:lnTo>
                    <a:lnTo>
                      <a:pt x="774" y="96"/>
                    </a:lnTo>
                    <a:lnTo>
                      <a:pt x="774" y="86"/>
                    </a:lnTo>
                    <a:lnTo>
                      <a:pt x="783" y="73"/>
                    </a:lnTo>
                    <a:lnTo>
                      <a:pt x="785" y="70"/>
                    </a:lnTo>
                    <a:lnTo>
                      <a:pt x="783" y="63"/>
                    </a:lnTo>
                    <a:lnTo>
                      <a:pt x="779" y="57"/>
                    </a:lnTo>
                    <a:lnTo>
                      <a:pt x="779" y="42"/>
                    </a:lnTo>
                    <a:lnTo>
                      <a:pt x="767" y="38"/>
                    </a:lnTo>
                    <a:lnTo>
                      <a:pt x="765" y="37"/>
                    </a:lnTo>
                    <a:lnTo>
                      <a:pt x="756" y="36"/>
                    </a:lnTo>
                    <a:lnTo>
                      <a:pt x="760" y="22"/>
                    </a:lnTo>
                    <a:lnTo>
                      <a:pt x="760" y="15"/>
                    </a:lnTo>
                    <a:lnTo>
                      <a:pt x="760" y="9"/>
                    </a:lnTo>
                    <a:lnTo>
                      <a:pt x="755" y="0"/>
                    </a:lnTo>
                    <a:lnTo>
                      <a:pt x="747" y="0"/>
                    </a:lnTo>
                    <a:lnTo>
                      <a:pt x="734" y="4"/>
                    </a:lnTo>
                    <a:lnTo>
                      <a:pt x="725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76" name="Freeform 250"/>
              <p:cNvSpPr>
                <a:spLocks noChangeAspect="1"/>
              </p:cNvSpPr>
              <p:nvPr/>
            </p:nvSpPr>
            <p:spPr bwMode="gray">
              <a:xfrm>
                <a:off x="1650" y="2350"/>
                <a:ext cx="132" cy="182"/>
              </a:xfrm>
              <a:custGeom>
                <a:avLst/>
                <a:gdLst/>
                <a:ahLst/>
                <a:cxnLst>
                  <a:cxn ang="0">
                    <a:pos x="404" y="0"/>
                  </a:cxn>
                  <a:cxn ang="0">
                    <a:pos x="380" y="12"/>
                  </a:cxn>
                  <a:cxn ang="0">
                    <a:pos x="314" y="58"/>
                  </a:cxn>
                  <a:cxn ang="0">
                    <a:pos x="260" y="65"/>
                  </a:cxn>
                  <a:cxn ang="0">
                    <a:pos x="244" y="82"/>
                  </a:cxn>
                  <a:cxn ang="0">
                    <a:pos x="187" y="102"/>
                  </a:cxn>
                  <a:cxn ang="0">
                    <a:pos x="158" y="170"/>
                  </a:cxn>
                  <a:cxn ang="0">
                    <a:pos x="115" y="213"/>
                  </a:cxn>
                  <a:cxn ang="0">
                    <a:pos x="113" y="242"/>
                  </a:cxn>
                  <a:cxn ang="0">
                    <a:pos x="88" y="226"/>
                  </a:cxn>
                  <a:cxn ang="0">
                    <a:pos x="91" y="251"/>
                  </a:cxn>
                  <a:cxn ang="0">
                    <a:pos x="60" y="278"/>
                  </a:cxn>
                  <a:cxn ang="0">
                    <a:pos x="81" y="320"/>
                  </a:cxn>
                  <a:cxn ang="0">
                    <a:pos x="83" y="380"/>
                  </a:cxn>
                  <a:cxn ang="0">
                    <a:pos x="83" y="462"/>
                  </a:cxn>
                  <a:cxn ang="0">
                    <a:pos x="111" y="472"/>
                  </a:cxn>
                  <a:cxn ang="0">
                    <a:pos x="71" y="533"/>
                  </a:cxn>
                  <a:cxn ang="0">
                    <a:pos x="20" y="560"/>
                  </a:cxn>
                  <a:cxn ang="0">
                    <a:pos x="0" y="596"/>
                  </a:cxn>
                  <a:cxn ang="0">
                    <a:pos x="44" y="629"/>
                  </a:cxn>
                  <a:cxn ang="0">
                    <a:pos x="106" y="673"/>
                  </a:cxn>
                  <a:cxn ang="0">
                    <a:pos x="156" y="665"/>
                  </a:cxn>
                  <a:cxn ang="0">
                    <a:pos x="201" y="687"/>
                  </a:cxn>
                  <a:cxn ang="0">
                    <a:pos x="238" y="708"/>
                  </a:cxn>
                  <a:cxn ang="0">
                    <a:pos x="273" y="743"/>
                  </a:cxn>
                  <a:cxn ang="0">
                    <a:pos x="297" y="776"/>
                  </a:cxn>
                  <a:cxn ang="0">
                    <a:pos x="319" y="811"/>
                  </a:cxn>
                  <a:cxn ang="0">
                    <a:pos x="365" y="821"/>
                  </a:cxn>
                  <a:cxn ang="0">
                    <a:pos x="389" y="807"/>
                  </a:cxn>
                  <a:cxn ang="0">
                    <a:pos x="435" y="807"/>
                  </a:cxn>
                  <a:cxn ang="0">
                    <a:pos x="488" y="842"/>
                  </a:cxn>
                  <a:cxn ang="0">
                    <a:pos x="459" y="892"/>
                  </a:cxn>
                  <a:cxn ang="0">
                    <a:pos x="494" y="909"/>
                  </a:cxn>
                  <a:cxn ang="0">
                    <a:pos x="504" y="858"/>
                  </a:cxn>
                  <a:cxn ang="0">
                    <a:pos x="524" y="752"/>
                  </a:cxn>
                  <a:cxn ang="0">
                    <a:pos x="489" y="655"/>
                  </a:cxn>
                  <a:cxn ang="0">
                    <a:pos x="532" y="652"/>
                  </a:cxn>
                  <a:cxn ang="0">
                    <a:pos x="518" y="627"/>
                  </a:cxn>
                  <a:cxn ang="0">
                    <a:pos x="501" y="620"/>
                  </a:cxn>
                  <a:cxn ang="0">
                    <a:pos x="591" y="575"/>
                  </a:cxn>
                  <a:cxn ang="0">
                    <a:pos x="633" y="574"/>
                  </a:cxn>
                  <a:cxn ang="0">
                    <a:pos x="658" y="603"/>
                  </a:cxn>
                  <a:cxn ang="0">
                    <a:pos x="626" y="516"/>
                  </a:cxn>
                  <a:cxn ang="0">
                    <a:pos x="640" y="493"/>
                  </a:cxn>
                  <a:cxn ang="0">
                    <a:pos x="615" y="453"/>
                  </a:cxn>
                  <a:cxn ang="0">
                    <a:pos x="615" y="403"/>
                  </a:cxn>
                  <a:cxn ang="0">
                    <a:pos x="633" y="353"/>
                  </a:cxn>
                  <a:cxn ang="0">
                    <a:pos x="583" y="353"/>
                  </a:cxn>
                  <a:cxn ang="0">
                    <a:pos x="544" y="348"/>
                  </a:cxn>
                  <a:cxn ang="0">
                    <a:pos x="494" y="307"/>
                  </a:cxn>
                  <a:cxn ang="0">
                    <a:pos x="443" y="294"/>
                  </a:cxn>
                  <a:cxn ang="0">
                    <a:pos x="376" y="283"/>
                  </a:cxn>
                  <a:cxn ang="0">
                    <a:pos x="353" y="223"/>
                  </a:cxn>
                  <a:cxn ang="0">
                    <a:pos x="334" y="180"/>
                  </a:cxn>
                  <a:cxn ang="0">
                    <a:pos x="375" y="62"/>
                  </a:cxn>
                </a:cxnLst>
                <a:rect l="0" t="0" r="r" b="b"/>
                <a:pathLst>
                  <a:path w="663" h="909">
                    <a:moveTo>
                      <a:pt x="419" y="33"/>
                    </a:moveTo>
                    <a:lnTo>
                      <a:pt x="424" y="28"/>
                    </a:lnTo>
                    <a:lnTo>
                      <a:pt x="429" y="21"/>
                    </a:lnTo>
                    <a:lnTo>
                      <a:pt x="427" y="12"/>
                    </a:lnTo>
                    <a:lnTo>
                      <a:pt x="418" y="6"/>
                    </a:lnTo>
                    <a:lnTo>
                      <a:pt x="404" y="0"/>
                    </a:lnTo>
                    <a:lnTo>
                      <a:pt x="396" y="5"/>
                    </a:lnTo>
                    <a:lnTo>
                      <a:pt x="393" y="5"/>
                    </a:lnTo>
                    <a:lnTo>
                      <a:pt x="391" y="5"/>
                    </a:lnTo>
                    <a:lnTo>
                      <a:pt x="391" y="14"/>
                    </a:lnTo>
                    <a:lnTo>
                      <a:pt x="386" y="14"/>
                    </a:lnTo>
                    <a:lnTo>
                      <a:pt x="380" y="12"/>
                    </a:lnTo>
                    <a:lnTo>
                      <a:pt x="378" y="16"/>
                    </a:lnTo>
                    <a:lnTo>
                      <a:pt x="377" y="24"/>
                    </a:lnTo>
                    <a:lnTo>
                      <a:pt x="372" y="31"/>
                    </a:lnTo>
                    <a:lnTo>
                      <a:pt x="366" y="35"/>
                    </a:lnTo>
                    <a:lnTo>
                      <a:pt x="341" y="43"/>
                    </a:lnTo>
                    <a:lnTo>
                      <a:pt x="314" y="58"/>
                    </a:lnTo>
                    <a:lnTo>
                      <a:pt x="310" y="60"/>
                    </a:lnTo>
                    <a:lnTo>
                      <a:pt x="289" y="65"/>
                    </a:lnTo>
                    <a:lnTo>
                      <a:pt x="281" y="65"/>
                    </a:lnTo>
                    <a:lnTo>
                      <a:pt x="271" y="63"/>
                    </a:lnTo>
                    <a:lnTo>
                      <a:pt x="263" y="63"/>
                    </a:lnTo>
                    <a:lnTo>
                      <a:pt x="260" y="65"/>
                    </a:lnTo>
                    <a:lnTo>
                      <a:pt x="257" y="70"/>
                    </a:lnTo>
                    <a:lnTo>
                      <a:pt x="253" y="81"/>
                    </a:lnTo>
                    <a:lnTo>
                      <a:pt x="249" y="90"/>
                    </a:lnTo>
                    <a:lnTo>
                      <a:pt x="247" y="91"/>
                    </a:lnTo>
                    <a:lnTo>
                      <a:pt x="244" y="91"/>
                    </a:lnTo>
                    <a:lnTo>
                      <a:pt x="244" y="82"/>
                    </a:lnTo>
                    <a:lnTo>
                      <a:pt x="242" y="80"/>
                    </a:lnTo>
                    <a:lnTo>
                      <a:pt x="231" y="80"/>
                    </a:lnTo>
                    <a:lnTo>
                      <a:pt x="220" y="80"/>
                    </a:lnTo>
                    <a:lnTo>
                      <a:pt x="216" y="80"/>
                    </a:lnTo>
                    <a:lnTo>
                      <a:pt x="194" y="96"/>
                    </a:lnTo>
                    <a:lnTo>
                      <a:pt x="187" y="102"/>
                    </a:lnTo>
                    <a:lnTo>
                      <a:pt x="185" y="107"/>
                    </a:lnTo>
                    <a:lnTo>
                      <a:pt x="183" y="128"/>
                    </a:lnTo>
                    <a:lnTo>
                      <a:pt x="181" y="144"/>
                    </a:lnTo>
                    <a:lnTo>
                      <a:pt x="179" y="160"/>
                    </a:lnTo>
                    <a:lnTo>
                      <a:pt x="173" y="166"/>
                    </a:lnTo>
                    <a:lnTo>
                      <a:pt x="158" y="170"/>
                    </a:lnTo>
                    <a:lnTo>
                      <a:pt x="155" y="173"/>
                    </a:lnTo>
                    <a:lnTo>
                      <a:pt x="146" y="188"/>
                    </a:lnTo>
                    <a:lnTo>
                      <a:pt x="142" y="192"/>
                    </a:lnTo>
                    <a:lnTo>
                      <a:pt x="135" y="198"/>
                    </a:lnTo>
                    <a:lnTo>
                      <a:pt x="117" y="209"/>
                    </a:lnTo>
                    <a:lnTo>
                      <a:pt x="115" y="213"/>
                    </a:lnTo>
                    <a:lnTo>
                      <a:pt x="117" y="216"/>
                    </a:lnTo>
                    <a:lnTo>
                      <a:pt x="118" y="219"/>
                    </a:lnTo>
                    <a:lnTo>
                      <a:pt x="122" y="238"/>
                    </a:lnTo>
                    <a:lnTo>
                      <a:pt x="119" y="245"/>
                    </a:lnTo>
                    <a:lnTo>
                      <a:pt x="118" y="246"/>
                    </a:lnTo>
                    <a:lnTo>
                      <a:pt x="113" y="242"/>
                    </a:lnTo>
                    <a:lnTo>
                      <a:pt x="103" y="229"/>
                    </a:lnTo>
                    <a:lnTo>
                      <a:pt x="86" y="209"/>
                    </a:lnTo>
                    <a:lnTo>
                      <a:pt x="85" y="213"/>
                    </a:lnTo>
                    <a:lnTo>
                      <a:pt x="83" y="221"/>
                    </a:lnTo>
                    <a:lnTo>
                      <a:pt x="83" y="223"/>
                    </a:lnTo>
                    <a:lnTo>
                      <a:pt x="88" y="226"/>
                    </a:lnTo>
                    <a:lnTo>
                      <a:pt x="92" y="232"/>
                    </a:lnTo>
                    <a:lnTo>
                      <a:pt x="92" y="238"/>
                    </a:lnTo>
                    <a:lnTo>
                      <a:pt x="93" y="240"/>
                    </a:lnTo>
                    <a:lnTo>
                      <a:pt x="97" y="242"/>
                    </a:lnTo>
                    <a:lnTo>
                      <a:pt x="97" y="246"/>
                    </a:lnTo>
                    <a:lnTo>
                      <a:pt x="91" y="251"/>
                    </a:lnTo>
                    <a:lnTo>
                      <a:pt x="81" y="264"/>
                    </a:lnTo>
                    <a:lnTo>
                      <a:pt x="77" y="267"/>
                    </a:lnTo>
                    <a:lnTo>
                      <a:pt x="72" y="263"/>
                    </a:lnTo>
                    <a:lnTo>
                      <a:pt x="69" y="264"/>
                    </a:lnTo>
                    <a:lnTo>
                      <a:pt x="69" y="272"/>
                    </a:lnTo>
                    <a:lnTo>
                      <a:pt x="60" y="278"/>
                    </a:lnTo>
                    <a:lnTo>
                      <a:pt x="60" y="283"/>
                    </a:lnTo>
                    <a:lnTo>
                      <a:pt x="59" y="283"/>
                    </a:lnTo>
                    <a:lnTo>
                      <a:pt x="61" y="288"/>
                    </a:lnTo>
                    <a:lnTo>
                      <a:pt x="66" y="306"/>
                    </a:lnTo>
                    <a:lnTo>
                      <a:pt x="70" y="311"/>
                    </a:lnTo>
                    <a:lnTo>
                      <a:pt x="81" y="320"/>
                    </a:lnTo>
                    <a:lnTo>
                      <a:pt x="86" y="327"/>
                    </a:lnTo>
                    <a:lnTo>
                      <a:pt x="87" y="331"/>
                    </a:lnTo>
                    <a:lnTo>
                      <a:pt x="85" y="353"/>
                    </a:lnTo>
                    <a:lnTo>
                      <a:pt x="88" y="367"/>
                    </a:lnTo>
                    <a:lnTo>
                      <a:pt x="88" y="372"/>
                    </a:lnTo>
                    <a:lnTo>
                      <a:pt x="83" y="380"/>
                    </a:lnTo>
                    <a:lnTo>
                      <a:pt x="81" y="386"/>
                    </a:lnTo>
                    <a:lnTo>
                      <a:pt x="85" y="412"/>
                    </a:lnTo>
                    <a:lnTo>
                      <a:pt x="90" y="431"/>
                    </a:lnTo>
                    <a:lnTo>
                      <a:pt x="90" y="439"/>
                    </a:lnTo>
                    <a:lnTo>
                      <a:pt x="85" y="455"/>
                    </a:lnTo>
                    <a:lnTo>
                      <a:pt x="83" y="462"/>
                    </a:lnTo>
                    <a:lnTo>
                      <a:pt x="85" y="469"/>
                    </a:lnTo>
                    <a:lnTo>
                      <a:pt x="92" y="472"/>
                    </a:lnTo>
                    <a:lnTo>
                      <a:pt x="98" y="473"/>
                    </a:lnTo>
                    <a:lnTo>
                      <a:pt x="103" y="472"/>
                    </a:lnTo>
                    <a:lnTo>
                      <a:pt x="111" y="467"/>
                    </a:lnTo>
                    <a:lnTo>
                      <a:pt x="111" y="472"/>
                    </a:lnTo>
                    <a:lnTo>
                      <a:pt x="111" y="474"/>
                    </a:lnTo>
                    <a:lnTo>
                      <a:pt x="107" y="479"/>
                    </a:lnTo>
                    <a:lnTo>
                      <a:pt x="95" y="490"/>
                    </a:lnTo>
                    <a:lnTo>
                      <a:pt x="81" y="507"/>
                    </a:lnTo>
                    <a:lnTo>
                      <a:pt x="74" y="531"/>
                    </a:lnTo>
                    <a:lnTo>
                      <a:pt x="71" y="533"/>
                    </a:lnTo>
                    <a:lnTo>
                      <a:pt x="69" y="536"/>
                    </a:lnTo>
                    <a:lnTo>
                      <a:pt x="54" y="541"/>
                    </a:lnTo>
                    <a:lnTo>
                      <a:pt x="40" y="539"/>
                    </a:lnTo>
                    <a:lnTo>
                      <a:pt x="37" y="541"/>
                    </a:lnTo>
                    <a:lnTo>
                      <a:pt x="26" y="547"/>
                    </a:lnTo>
                    <a:lnTo>
                      <a:pt x="20" y="560"/>
                    </a:lnTo>
                    <a:lnTo>
                      <a:pt x="18" y="569"/>
                    </a:lnTo>
                    <a:lnTo>
                      <a:pt x="21" y="577"/>
                    </a:lnTo>
                    <a:lnTo>
                      <a:pt x="20" y="584"/>
                    </a:lnTo>
                    <a:lnTo>
                      <a:pt x="7" y="585"/>
                    </a:lnTo>
                    <a:lnTo>
                      <a:pt x="4" y="590"/>
                    </a:lnTo>
                    <a:lnTo>
                      <a:pt x="0" y="596"/>
                    </a:lnTo>
                    <a:lnTo>
                      <a:pt x="0" y="601"/>
                    </a:lnTo>
                    <a:lnTo>
                      <a:pt x="5" y="607"/>
                    </a:lnTo>
                    <a:lnTo>
                      <a:pt x="6" y="611"/>
                    </a:lnTo>
                    <a:lnTo>
                      <a:pt x="9" y="613"/>
                    </a:lnTo>
                    <a:lnTo>
                      <a:pt x="12" y="616"/>
                    </a:lnTo>
                    <a:lnTo>
                      <a:pt x="44" y="629"/>
                    </a:lnTo>
                    <a:lnTo>
                      <a:pt x="74" y="644"/>
                    </a:lnTo>
                    <a:lnTo>
                      <a:pt x="86" y="652"/>
                    </a:lnTo>
                    <a:lnTo>
                      <a:pt x="88" y="657"/>
                    </a:lnTo>
                    <a:lnTo>
                      <a:pt x="91" y="668"/>
                    </a:lnTo>
                    <a:lnTo>
                      <a:pt x="93" y="672"/>
                    </a:lnTo>
                    <a:lnTo>
                      <a:pt x="106" y="673"/>
                    </a:lnTo>
                    <a:lnTo>
                      <a:pt x="114" y="671"/>
                    </a:lnTo>
                    <a:lnTo>
                      <a:pt x="119" y="671"/>
                    </a:lnTo>
                    <a:lnTo>
                      <a:pt x="140" y="673"/>
                    </a:lnTo>
                    <a:lnTo>
                      <a:pt x="150" y="673"/>
                    </a:lnTo>
                    <a:lnTo>
                      <a:pt x="151" y="671"/>
                    </a:lnTo>
                    <a:lnTo>
                      <a:pt x="156" y="665"/>
                    </a:lnTo>
                    <a:lnTo>
                      <a:pt x="161" y="665"/>
                    </a:lnTo>
                    <a:lnTo>
                      <a:pt x="168" y="667"/>
                    </a:lnTo>
                    <a:lnTo>
                      <a:pt x="174" y="673"/>
                    </a:lnTo>
                    <a:lnTo>
                      <a:pt x="181" y="676"/>
                    </a:lnTo>
                    <a:lnTo>
                      <a:pt x="195" y="687"/>
                    </a:lnTo>
                    <a:lnTo>
                      <a:pt x="201" y="687"/>
                    </a:lnTo>
                    <a:lnTo>
                      <a:pt x="205" y="687"/>
                    </a:lnTo>
                    <a:lnTo>
                      <a:pt x="215" y="690"/>
                    </a:lnTo>
                    <a:lnTo>
                      <a:pt x="224" y="693"/>
                    </a:lnTo>
                    <a:lnTo>
                      <a:pt x="230" y="695"/>
                    </a:lnTo>
                    <a:lnTo>
                      <a:pt x="235" y="704"/>
                    </a:lnTo>
                    <a:lnTo>
                      <a:pt x="238" y="708"/>
                    </a:lnTo>
                    <a:lnTo>
                      <a:pt x="248" y="711"/>
                    </a:lnTo>
                    <a:lnTo>
                      <a:pt x="253" y="725"/>
                    </a:lnTo>
                    <a:lnTo>
                      <a:pt x="258" y="733"/>
                    </a:lnTo>
                    <a:lnTo>
                      <a:pt x="264" y="737"/>
                    </a:lnTo>
                    <a:lnTo>
                      <a:pt x="267" y="742"/>
                    </a:lnTo>
                    <a:lnTo>
                      <a:pt x="273" y="743"/>
                    </a:lnTo>
                    <a:lnTo>
                      <a:pt x="278" y="743"/>
                    </a:lnTo>
                    <a:lnTo>
                      <a:pt x="284" y="746"/>
                    </a:lnTo>
                    <a:lnTo>
                      <a:pt x="289" y="749"/>
                    </a:lnTo>
                    <a:lnTo>
                      <a:pt x="292" y="756"/>
                    </a:lnTo>
                    <a:lnTo>
                      <a:pt x="294" y="768"/>
                    </a:lnTo>
                    <a:lnTo>
                      <a:pt x="297" y="776"/>
                    </a:lnTo>
                    <a:lnTo>
                      <a:pt x="298" y="780"/>
                    </a:lnTo>
                    <a:lnTo>
                      <a:pt x="302" y="783"/>
                    </a:lnTo>
                    <a:lnTo>
                      <a:pt x="311" y="783"/>
                    </a:lnTo>
                    <a:lnTo>
                      <a:pt x="316" y="784"/>
                    </a:lnTo>
                    <a:lnTo>
                      <a:pt x="316" y="806"/>
                    </a:lnTo>
                    <a:lnTo>
                      <a:pt x="319" y="811"/>
                    </a:lnTo>
                    <a:lnTo>
                      <a:pt x="324" y="816"/>
                    </a:lnTo>
                    <a:lnTo>
                      <a:pt x="334" y="817"/>
                    </a:lnTo>
                    <a:lnTo>
                      <a:pt x="339" y="816"/>
                    </a:lnTo>
                    <a:lnTo>
                      <a:pt x="353" y="817"/>
                    </a:lnTo>
                    <a:lnTo>
                      <a:pt x="361" y="821"/>
                    </a:lnTo>
                    <a:lnTo>
                      <a:pt x="365" y="821"/>
                    </a:lnTo>
                    <a:lnTo>
                      <a:pt x="372" y="819"/>
                    </a:lnTo>
                    <a:lnTo>
                      <a:pt x="376" y="817"/>
                    </a:lnTo>
                    <a:lnTo>
                      <a:pt x="378" y="813"/>
                    </a:lnTo>
                    <a:lnTo>
                      <a:pt x="382" y="812"/>
                    </a:lnTo>
                    <a:lnTo>
                      <a:pt x="386" y="808"/>
                    </a:lnTo>
                    <a:lnTo>
                      <a:pt x="389" y="807"/>
                    </a:lnTo>
                    <a:lnTo>
                      <a:pt x="398" y="807"/>
                    </a:lnTo>
                    <a:lnTo>
                      <a:pt x="405" y="808"/>
                    </a:lnTo>
                    <a:lnTo>
                      <a:pt x="410" y="813"/>
                    </a:lnTo>
                    <a:lnTo>
                      <a:pt x="418" y="815"/>
                    </a:lnTo>
                    <a:lnTo>
                      <a:pt x="426" y="813"/>
                    </a:lnTo>
                    <a:lnTo>
                      <a:pt x="435" y="807"/>
                    </a:lnTo>
                    <a:lnTo>
                      <a:pt x="437" y="807"/>
                    </a:lnTo>
                    <a:lnTo>
                      <a:pt x="445" y="808"/>
                    </a:lnTo>
                    <a:lnTo>
                      <a:pt x="461" y="815"/>
                    </a:lnTo>
                    <a:lnTo>
                      <a:pt x="477" y="824"/>
                    </a:lnTo>
                    <a:lnTo>
                      <a:pt x="488" y="837"/>
                    </a:lnTo>
                    <a:lnTo>
                      <a:pt x="488" y="842"/>
                    </a:lnTo>
                    <a:lnTo>
                      <a:pt x="484" y="849"/>
                    </a:lnTo>
                    <a:lnTo>
                      <a:pt x="478" y="856"/>
                    </a:lnTo>
                    <a:lnTo>
                      <a:pt x="466" y="869"/>
                    </a:lnTo>
                    <a:lnTo>
                      <a:pt x="458" y="880"/>
                    </a:lnTo>
                    <a:lnTo>
                      <a:pt x="458" y="889"/>
                    </a:lnTo>
                    <a:lnTo>
                      <a:pt x="459" y="892"/>
                    </a:lnTo>
                    <a:lnTo>
                      <a:pt x="464" y="893"/>
                    </a:lnTo>
                    <a:lnTo>
                      <a:pt x="469" y="892"/>
                    </a:lnTo>
                    <a:lnTo>
                      <a:pt x="473" y="893"/>
                    </a:lnTo>
                    <a:lnTo>
                      <a:pt x="478" y="897"/>
                    </a:lnTo>
                    <a:lnTo>
                      <a:pt x="486" y="908"/>
                    </a:lnTo>
                    <a:lnTo>
                      <a:pt x="494" y="909"/>
                    </a:lnTo>
                    <a:lnTo>
                      <a:pt x="495" y="902"/>
                    </a:lnTo>
                    <a:lnTo>
                      <a:pt x="497" y="896"/>
                    </a:lnTo>
                    <a:lnTo>
                      <a:pt x="499" y="881"/>
                    </a:lnTo>
                    <a:lnTo>
                      <a:pt x="501" y="873"/>
                    </a:lnTo>
                    <a:lnTo>
                      <a:pt x="502" y="870"/>
                    </a:lnTo>
                    <a:lnTo>
                      <a:pt x="504" y="858"/>
                    </a:lnTo>
                    <a:lnTo>
                      <a:pt x="506" y="850"/>
                    </a:lnTo>
                    <a:lnTo>
                      <a:pt x="511" y="832"/>
                    </a:lnTo>
                    <a:lnTo>
                      <a:pt x="512" y="831"/>
                    </a:lnTo>
                    <a:lnTo>
                      <a:pt x="522" y="768"/>
                    </a:lnTo>
                    <a:lnTo>
                      <a:pt x="523" y="758"/>
                    </a:lnTo>
                    <a:lnTo>
                      <a:pt x="524" y="752"/>
                    </a:lnTo>
                    <a:lnTo>
                      <a:pt x="517" y="724"/>
                    </a:lnTo>
                    <a:lnTo>
                      <a:pt x="512" y="714"/>
                    </a:lnTo>
                    <a:lnTo>
                      <a:pt x="506" y="708"/>
                    </a:lnTo>
                    <a:lnTo>
                      <a:pt x="494" y="698"/>
                    </a:lnTo>
                    <a:lnTo>
                      <a:pt x="489" y="693"/>
                    </a:lnTo>
                    <a:lnTo>
                      <a:pt x="489" y="655"/>
                    </a:lnTo>
                    <a:lnTo>
                      <a:pt x="494" y="652"/>
                    </a:lnTo>
                    <a:lnTo>
                      <a:pt x="511" y="650"/>
                    </a:lnTo>
                    <a:lnTo>
                      <a:pt x="517" y="647"/>
                    </a:lnTo>
                    <a:lnTo>
                      <a:pt x="528" y="649"/>
                    </a:lnTo>
                    <a:lnTo>
                      <a:pt x="532" y="650"/>
                    </a:lnTo>
                    <a:lnTo>
                      <a:pt x="532" y="652"/>
                    </a:lnTo>
                    <a:lnTo>
                      <a:pt x="538" y="651"/>
                    </a:lnTo>
                    <a:lnTo>
                      <a:pt x="538" y="650"/>
                    </a:lnTo>
                    <a:lnTo>
                      <a:pt x="534" y="640"/>
                    </a:lnTo>
                    <a:lnTo>
                      <a:pt x="533" y="633"/>
                    </a:lnTo>
                    <a:lnTo>
                      <a:pt x="528" y="625"/>
                    </a:lnTo>
                    <a:lnTo>
                      <a:pt x="518" y="627"/>
                    </a:lnTo>
                    <a:lnTo>
                      <a:pt x="516" y="629"/>
                    </a:lnTo>
                    <a:lnTo>
                      <a:pt x="509" y="629"/>
                    </a:lnTo>
                    <a:lnTo>
                      <a:pt x="505" y="624"/>
                    </a:lnTo>
                    <a:lnTo>
                      <a:pt x="501" y="623"/>
                    </a:lnTo>
                    <a:lnTo>
                      <a:pt x="501" y="620"/>
                    </a:lnTo>
                    <a:lnTo>
                      <a:pt x="501" y="620"/>
                    </a:lnTo>
                    <a:lnTo>
                      <a:pt x="501" y="589"/>
                    </a:lnTo>
                    <a:lnTo>
                      <a:pt x="502" y="590"/>
                    </a:lnTo>
                    <a:lnTo>
                      <a:pt x="582" y="590"/>
                    </a:lnTo>
                    <a:lnTo>
                      <a:pt x="586" y="586"/>
                    </a:lnTo>
                    <a:lnTo>
                      <a:pt x="587" y="580"/>
                    </a:lnTo>
                    <a:lnTo>
                      <a:pt x="591" y="575"/>
                    </a:lnTo>
                    <a:lnTo>
                      <a:pt x="593" y="575"/>
                    </a:lnTo>
                    <a:lnTo>
                      <a:pt x="597" y="577"/>
                    </a:lnTo>
                    <a:lnTo>
                      <a:pt x="601" y="584"/>
                    </a:lnTo>
                    <a:lnTo>
                      <a:pt x="603" y="584"/>
                    </a:lnTo>
                    <a:lnTo>
                      <a:pt x="622" y="574"/>
                    </a:lnTo>
                    <a:lnTo>
                      <a:pt x="633" y="574"/>
                    </a:lnTo>
                    <a:lnTo>
                      <a:pt x="638" y="579"/>
                    </a:lnTo>
                    <a:lnTo>
                      <a:pt x="646" y="590"/>
                    </a:lnTo>
                    <a:lnTo>
                      <a:pt x="652" y="619"/>
                    </a:lnTo>
                    <a:lnTo>
                      <a:pt x="662" y="614"/>
                    </a:lnTo>
                    <a:lnTo>
                      <a:pt x="663" y="612"/>
                    </a:lnTo>
                    <a:lnTo>
                      <a:pt x="658" y="603"/>
                    </a:lnTo>
                    <a:lnTo>
                      <a:pt x="656" y="592"/>
                    </a:lnTo>
                    <a:lnTo>
                      <a:pt x="640" y="555"/>
                    </a:lnTo>
                    <a:lnTo>
                      <a:pt x="631" y="544"/>
                    </a:lnTo>
                    <a:lnTo>
                      <a:pt x="614" y="531"/>
                    </a:lnTo>
                    <a:lnTo>
                      <a:pt x="614" y="527"/>
                    </a:lnTo>
                    <a:lnTo>
                      <a:pt x="626" y="516"/>
                    </a:lnTo>
                    <a:lnTo>
                      <a:pt x="631" y="509"/>
                    </a:lnTo>
                    <a:lnTo>
                      <a:pt x="634" y="507"/>
                    </a:lnTo>
                    <a:lnTo>
                      <a:pt x="638" y="504"/>
                    </a:lnTo>
                    <a:lnTo>
                      <a:pt x="640" y="503"/>
                    </a:lnTo>
                    <a:lnTo>
                      <a:pt x="641" y="500"/>
                    </a:lnTo>
                    <a:lnTo>
                      <a:pt x="640" y="493"/>
                    </a:lnTo>
                    <a:lnTo>
                      <a:pt x="638" y="488"/>
                    </a:lnTo>
                    <a:lnTo>
                      <a:pt x="633" y="479"/>
                    </a:lnTo>
                    <a:lnTo>
                      <a:pt x="625" y="471"/>
                    </a:lnTo>
                    <a:lnTo>
                      <a:pt x="618" y="466"/>
                    </a:lnTo>
                    <a:lnTo>
                      <a:pt x="617" y="463"/>
                    </a:lnTo>
                    <a:lnTo>
                      <a:pt x="615" y="453"/>
                    </a:lnTo>
                    <a:lnTo>
                      <a:pt x="613" y="447"/>
                    </a:lnTo>
                    <a:lnTo>
                      <a:pt x="613" y="439"/>
                    </a:lnTo>
                    <a:lnTo>
                      <a:pt x="609" y="431"/>
                    </a:lnTo>
                    <a:lnTo>
                      <a:pt x="609" y="419"/>
                    </a:lnTo>
                    <a:lnTo>
                      <a:pt x="613" y="413"/>
                    </a:lnTo>
                    <a:lnTo>
                      <a:pt x="615" y="403"/>
                    </a:lnTo>
                    <a:lnTo>
                      <a:pt x="615" y="392"/>
                    </a:lnTo>
                    <a:lnTo>
                      <a:pt x="624" y="382"/>
                    </a:lnTo>
                    <a:lnTo>
                      <a:pt x="624" y="369"/>
                    </a:lnTo>
                    <a:lnTo>
                      <a:pt x="626" y="364"/>
                    </a:lnTo>
                    <a:lnTo>
                      <a:pt x="633" y="358"/>
                    </a:lnTo>
                    <a:lnTo>
                      <a:pt x="633" y="353"/>
                    </a:lnTo>
                    <a:lnTo>
                      <a:pt x="630" y="344"/>
                    </a:lnTo>
                    <a:lnTo>
                      <a:pt x="628" y="342"/>
                    </a:lnTo>
                    <a:lnTo>
                      <a:pt x="624" y="342"/>
                    </a:lnTo>
                    <a:lnTo>
                      <a:pt x="614" y="342"/>
                    </a:lnTo>
                    <a:lnTo>
                      <a:pt x="595" y="350"/>
                    </a:lnTo>
                    <a:lnTo>
                      <a:pt x="583" y="353"/>
                    </a:lnTo>
                    <a:lnTo>
                      <a:pt x="576" y="353"/>
                    </a:lnTo>
                    <a:lnTo>
                      <a:pt x="567" y="350"/>
                    </a:lnTo>
                    <a:lnTo>
                      <a:pt x="563" y="349"/>
                    </a:lnTo>
                    <a:lnTo>
                      <a:pt x="558" y="347"/>
                    </a:lnTo>
                    <a:lnTo>
                      <a:pt x="552" y="345"/>
                    </a:lnTo>
                    <a:lnTo>
                      <a:pt x="544" y="348"/>
                    </a:lnTo>
                    <a:lnTo>
                      <a:pt x="542" y="350"/>
                    </a:lnTo>
                    <a:lnTo>
                      <a:pt x="536" y="350"/>
                    </a:lnTo>
                    <a:lnTo>
                      <a:pt x="527" y="350"/>
                    </a:lnTo>
                    <a:lnTo>
                      <a:pt x="523" y="348"/>
                    </a:lnTo>
                    <a:lnTo>
                      <a:pt x="522" y="348"/>
                    </a:lnTo>
                    <a:lnTo>
                      <a:pt x="494" y="307"/>
                    </a:lnTo>
                    <a:lnTo>
                      <a:pt x="493" y="305"/>
                    </a:lnTo>
                    <a:lnTo>
                      <a:pt x="490" y="302"/>
                    </a:lnTo>
                    <a:lnTo>
                      <a:pt x="479" y="301"/>
                    </a:lnTo>
                    <a:lnTo>
                      <a:pt x="473" y="297"/>
                    </a:lnTo>
                    <a:lnTo>
                      <a:pt x="461" y="293"/>
                    </a:lnTo>
                    <a:lnTo>
                      <a:pt x="443" y="294"/>
                    </a:lnTo>
                    <a:lnTo>
                      <a:pt x="425" y="299"/>
                    </a:lnTo>
                    <a:lnTo>
                      <a:pt x="415" y="300"/>
                    </a:lnTo>
                    <a:lnTo>
                      <a:pt x="400" y="299"/>
                    </a:lnTo>
                    <a:lnTo>
                      <a:pt x="383" y="291"/>
                    </a:lnTo>
                    <a:lnTo>
                      <a:pt x="380" y="284"/>
                    </a:lnTo>
                    <a:lnTo>
                      <a:pt x="376" y="283"/>
                    </a:lnTo>
                    <a:lnTo>
                      <a:pt x="364" y="277"/>
                    </a:lnTo>
                    <a:lnTo>
                      <a:pt x="362" y="274"/>
                    </a:lnTo>
                    <a:lnTo>
                      <a:pt x="362" y="241"/>
                    </a:lnTo>
                    <a:lnTo>
                      <a:pt x="360" y="232"/>
                    </a:lnTo>
                    <a:lnTo>
                      <a:pt x="357" y="226"/>
                    </a:lnTo>
                    <a:lnTo>
                      <a:pt x="353" y="223"/>
                    </a:lnTo>
                    <a:lnTo>
                      <a:pt x="351" y="220"/>
                    </a:lnTo>
                    <a:lnTo>
                      <a:pt x="344" y="211"/>
                    </a:lnTo>
                    <a:lnTo>
                      <a:pt x="341" y="208"/>
                    </a:lnTo>
                    <a:lnTo>
                      <a:pt x="338" y="188"/>
                    </a:lnTo>
                    <a:lnTo>
                      <a:pt x="335" y="182"/>
                    </a:lnTo>
                    <a:lnTo>
                      <a:pt x="334" y="180"/>
                    </a:lnTo>
                    <a:lnTo>
                      <a:pt x="310" y="181"/>
                    </a:lnTo>
                    <a:lnTo>
                      <a:pt x="316" y="167"/>
                    </a:lnTo>
                    <a:lnTo>
                      <a:pt x="324" y="152"/>
                    </a:lnTo>
                    <a:lnTo>
                      <a:pt x="337" y="107"/>
                    </a:lnTo>
                    <a:lnTo>
                      <a:pt x="350" y="85"/>
                    </a:lnTo>
                    <a:lnTo>
                      <a:pt x="375" y="62"/>
                    </a:lnTo>
                    <a:lnTo>
                      <a:pt x="378" y="57"/>
                    </a:lnTo>
                    <a:lnTo>
                      <a:pt x="383" y="47"/>
                    </a:lnTo>
                    <a:lnTo>
                      <a:pt x="389" y="41"/>
                    </a:lnTo>
                    <a:lnTo>
                      <a:pt x="404" y="35"/>
                    </a:lnTo>
                    <a:lnTo>
                      <a:pt x="419" y="3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77" name="Freeform 251"/>
              <p:cNvSpPr>
                <a:spLocks noChangeAspect="1"/>
              </p:cNvSpPr>
              <p:nvPr/>
            </p:nvSpPr>
            <p:spPr bwMode="gray">
              <a:xfrm>
                <a:off x="1751" y="2592"/>
                <a:ext cx="132" cy="151"/>
              </a:xfrm>
              <a:custGeom>
                <a:avLst/>
                <a:gdLst/>
                <a:ahLst/>
                <a:cxnLst>
                  <a:cxn ang="0">
                    <a:pos x="29" y="74"/>
                  </a:cxn>
                  <a:cxn ang="0">
                    <a:pos x="109" y="59"/>
                  </a:cxn>
                  <a:cxn ang="0">
                    <a:pos x="164" y="7"/>
                  </a:cxn>
                  <a:cxn ang="0">
                    <a:pos x="232" y="1"/>
                  </a:cxn>
                  <a:cxn ang="0">
                    <a:pos x="243" y="60"/>
                  </a:cxn>
                  <a:cxn ang="0">
                    <a:pos x="234" y="88"/>
                  </a:cxn>
                  <a:cxn ang="0">
                    <a:pos x="283" y="151"/>
                  </a:cxn>
                  <a:cxn ang="0">
                    <a:pos x="348" y="161"/>
                  </a:cxn>
                  <a:cxn ang="0">
                    <a:pos x="372" y="183"/>
                  </a:cxn>
                  <a:cxn ang="0">
                    <a:pos x="441" y="211"/>
                  </a:cxn>
                  <a:cxn ang="0">
                    <a:pos x="487" y="222"/>
                  </a:cxn>
                  <a:cxn ang="0">
                    <a:pos x="507" y="268"/>
                  </a:cxn>
                  <a:cxn ang="0">
                    <a:pos x="512" y="307"/>
                  </a:cxn>
                  <a:cxn ang="0">
                    <a:pos x="511" y="334"/>
                  </a:cxn>
                  <a:cxn ang="0">
                    <a:pos x="550" y="370"/>
                  </a:cxn>
                  <a:cxn ang="0">
                    <a:pos x="616" y="373"/>
                  </a:cxn>
                  <a:cxn ang="0">
                    <a:pos x="616" y="399"/>
                  </a:cxn>
                  <a:cxn ang="0">
                    <a:pos x="641" y="434"/>
                  </a:cxn>
                  <a:cxn ang="0">
                    <a:pos x="658" y="500"/>
                  </a:cxn>
                  <a:cxn ang="0">
                    <a:pos x="644" y="555"/>
                  </a:cxn>
                  <a:cxn ang="0">
                    <a:pos x="647" y="586"/>
                  </a:cxn>
                  <a:cxn ang="0">
                    <a:pos x="631" y="585"/>
                  </a:cxn>
                  <a:cxn ang="0">
                    <a:pos x="595" y="544"/>
                  </a:cxn>
                  <a:cxn ang="0">
                    <a:pos x="504" y="549"/>
                  </a:cxn>
                  <a:cxn ang="0">
                    <a:pos x="426" y="576"/>
                  </a:cxn>
                  <a:cxn ang="0">
                    <a:pos x="401" y="628"/>
                  </a:cxn>
                  <a:cxn ang="0">
                    <a:pos x="391" y="705"/>
                  </a:cxn>
                  <a:cxn ang="0">
                    <a:pos x="362" y="706"/>
                  </a:cxn>
                  <a:cxn ang="0">
                    <a:pos x="315" y="701"/>
                  </a:cxn>
                  <a:cxn ang="0">
                    <a:pos x="297" y="735"/>
                  </a:cxn>
                  <a:cxn ang="0">
                    <a:pos x="281" y="726"/>
                  </a:cxn>
                  <a:cxn ang="0">
                    <a:pos x="250" y="710"/>
                  </a:cxn>
                  <a:cxn ang="0">
                    <a:pos x="202" y="695"/>
                  </a:cxn>
                  <a:cxn ang="0">
                    <a:pos x="176" y="708"/>
                  </a:cxn>
                  <a:cxn ang="0">
                    <a:pos x="149" y="737"/>
                  </a:cxn>
                  <a:cxn ang="0">
                    <a:pos x="126" y="752"/>
                  </a:cxn>
                  <a:cxn ang="0">
                    <a:pos x="94" y="751"/>
                  </a:cxn>
                  <a:cxn ang="0">
                    <a:pos x="86" y="711"/>
                  </a:cxn>
                  <a:cxn ang="0">
                    <a:pos x="77" y="652"/>
                  </a:cxn>
                  <a:cxn ang="0">
                    <a:pos x="61" y="626"/>
                  </a:cxn>
                  <a:cxn ang="0">
                    <a:pos x="55" y="602"/>
                  </a:cxn>
                  <a:cxn ang="0">
                    <a:pos x="51" y="579"/>
                  </a:cxn>
                  <a:cxn ang="0">
                    <a:pos x="57" y="564"/>
                  </a:cxn>
                  <a:cxn ang="0">
                    <a:pos x="54" y="536"/>
                  </a:cxn>
                  <a:cxn ang="0">
                    <a:pos x="29" y="480"/>
                  </a:cxn>
                  <a:cxn ang="0">
                    <a:pos x="7" y="443"/>
                  </a:cxn>
                  <a:cxn ang="0">
                    <a:pos x="1" y="431"/>
                  </a:cxn>
                  <a:cxn ang="0">
                    <a:pos x="36" y="373"/>
                  </a:cxn>
                  <a:cxn ang="0">
                    <a:pos x="20" y="357"/>
                  </a:cxn>
                  <a:cxn ang="0">
                    <a:pos x="17" y="328"/>
                  </a:cxn>
                  <a:cxn ang="0">
                    <a:pos x="29" y="303"/>
                  </a:cxn>
                  <a:cxn ang="0">
                    <a:pos x="22" y="276"/>
                  </a:cxn>
                  <a:cxn ang="0">
                    <a:pos x="33" y="231"/>
                  </a:cxn>
                  <a:cxn ang="0">
                    <a:pos x="40" y="166"/>
                  </a:cxn>
                  <a:cxn ang="0">
                    <a:pos x="35" y="129"/>
                  </a:cxn>
                </a:cxnLst>
                <a:rect l="0" t="0" r="r" b="b"/>
                <a:pathLst>
                  <a:path w="658" h="754">
                    <a:moveTo>
                      <a:pt x="1" y="70"/>
                    </a:moveTo>
                    <a:lnTo>
                      <a:pt x="3" y="68"/>
                    </a:lnTo>
                    <a:lnTo>
                      <a:pt x="11" y="68"/>
                    </a:lnTo>
                    <a:lnTo>
                      <a:pt x="29" y="74"/>
                    </a:lnTo>
                    <a:lnTo>
                      <a:pt x="70" y="75"/>
                    </a:lnTo>
                    <a:lnTo>
                      <a:pt x="78" y="71"/>
                    </a:lnTo>
                    <a:lnTo>
                      <a:pt x="83" y="68"/>
                    </a:lnTo>
                    <a:lnTo>
                      <a:pt x="109" y="59"/>
                    </a:lnTo>
                    <a:lnTo>
                      <a:pt x="116" y="55"/>
                    </a:lnTo>
                    <a:lnTo>
                      <a:pt x="141" y="33"/>
                    </a:lnTo>
                    <a:lnTo>
                      <a:pt x="158" y="14"/>
                    </a:lnTo>
                    <a:lnTo>
                      <a:pt x="164" y="7"/>
                    </a:lnTo>
                    <a:lnTo>
                      <a:pt x="180" y="4"/>
                    </a:lnTo>
                    <a:lnTo>
                      <a:pt x="186" y="4"/>
                    </a:lnTo>
                    <a:lnTo>
                      <a:pt x="213" y="0"/>
                    </a:lnTo>
                    <a:lnTo>
                      <a:pt x="232" y="1"/>
                    </a:lnTo>
                    <a:lnTo>
                      <a:pt x="235" y="4"/>
                    </a:lnTo>
                    <a:lnTo>
                      <a:pt x="240" y="11"/>
                    </a:lnTo>
                    <a:lnTo>
                      <a:pt x="243" y="28"/>
                    </a:lnTo>
                    <a:lnTo>
                      <a:pt x="243" y="60"/>
                    </a:lnTo>
                    <a:lnTo>
                      <a:pt x="242" y="70"/>
                    </a:lnTo>
                    <a:lnTo>
                      <a:pt x="237" y="77"/>
                    </a:lnTo>
                    <a:lnTo>
                      <a:pt x="235" y="81"/>
                    </a:lnTo>
                    <a:lnTo>
                      <a:pt x="234" y="88"/>
                    </a:lnTo>
                    <a:lnTo>
                      <a:pt x="240" y="112"/>
                    </a:lnTo>
                    <a:lnTo>
                      <a:pt x="249" y="125"/>
                    </a:lnTo>
                    <a:lnTo>
                      <a:pt x="256" y="131"/>
                    </a:lnTo>
                    <a:lnTo>
                      <a:pt x="283" y="151"/>
                    </a:lnTo>
                    <a:lnTo>
                      <a:pt x="296" y="155"/>
                    </a:lnTo>
                    <a:lnTo>
                      <a:pt x="313" y="157"/>
                    </a:lnTo>
                    <a:lnTo>
                      <a:pt x="332" y="157"/>
                    </a:lnTo>
                    <a:lnTo>
                      <a:pt x="348" y="161"/>
                    </a:lnTo>
                    <a:lnTo>
                      <a:pt x="355" y="167"/>
                    </a:lnTo>
                    <a:lnTo>
                      <a:pt x="356" y="171"/>
                    </a:lnTo>
                    <a:lnTo>
                      <a:pt x="363" y="179"/>
                    </a:lnTo>
                    <a:lnTo>
                      <a:pt x="372" y="183"/>
                    </a:lnTo>
                    <a:lnTo>
                      <a:pt x="410" y="193"/>
                    </a:lnTo>
                    <a:lnTo>
                      <a:pt x="426" y="208"/>
                    </a:lnTo>
                    <a:lnTo>
                      <a:pt x="431" y="211"/>
                    </a:lnTo>
                    <a:lnTo>
                      <a:pt x="441" y="211"/>
                    </a:lnTo>
                    <a:lnTo>
                      <a:pt x="450" y="209"/>
                    </a:lnTo>
                    <a:lnTo>
                      <a:pt x="455" y="209"/>
                    </a:lnTo>
                    <a:lnTo>
                      <a:pt x="468" y="211"/>
                    </a:lnTo>
                    <a:lnTo>
                      <a:pt x="487" y="222"/>
                    </a:lnTo>
                    <a:lnTo>
                      <a:pt x="493" y="227"/>
                    </a:lnTo>
                    <a:lnTo>
                      <a:pt x="501" y="238"/>
                    </a:lnTo>
                    <a:lnTo>
                      <a:pt x="506" y="253"/>
                    </a:lnTo>
                    <a:lnTo>
                      <a:pt x="507" y="268"/>
                    </a:lnTo>
                    <a:lnTo>
                      <a:pt x="511" y="276"/>
                    </a:lnTo>
                    <a:lnTo>
                      <a:pt x="514" y="281"/>
                    </a:lnTo>
                    <a:lnTo>
                      <a:pt x="514" y="290"/>
                    </a:lnTo>
                    <a:lnTo>
                      <a:pt x="512" y="307"/>
                    </a:lnTo>
                    <a:lnTo>
                      <a:pt x="503" y="308"/>
                    </a:lnTo>
                    <a:lnTo>
                      <a:pt x="503" y="312"/>
                    </a:lnTo>
                    <a:lnTo>
                      <a:pt x="504" y="317"/>
                    </a:lnTo>
                    <a:lnTo>
                      <a:pt x="511" y="334"/>
                    </a:lnTo>
                    <a:lnTo>
                      <a:pt x="518" y="356"/>
                    </a:lnTo>
                    <a:lnTo>
                      <a:pt x="524" y="369"/>
                    </a:lnTo>
                    <a:lnTo>
                      <a:pt x="539" y="369"/>
                    </a:lnTo>
                    <a:lnTo>
                      <a:pt x="550" y="370"/>
                    </a:lnTo>
                    <a:lnTo>
                      <a:pt x="563" y="370"/>
                    </a:lnTo>
                    <a:lnTo>
                      <a:pt x="568" y="372"/>
                    </a:lnTo>
                    <a:lnTo>
                      <a:pt x="611" y="372"/>
                    </a:lnTo>
                    <a:lnTo>
                      <a:pt x="616" y="373"/>
                    </a:lnTo>
                    <a:lnTo>
                      <a:pt x="619" y="376"/>
                    </a:lnTo>
                    <a:lnTo>
                      <a:pt x="620" y="381"/>
                    </a:lnTo>
                    <a:lnTo>
                      <a:pt x="619" y="391"/>
                    </a:lnTo>
                    <a:lnTo>
                      <a:pt x="616" y="399"/>
                    </a:lnTo>
                    <a:lnTo>
                      <a:pt x="616" y="405"/>
                    </a:lnTo>
                    <a:lnTo>
                      <a:pt x="620" y="425"/>
                    </a:lnTo>
                    <a:lnTo>
                      <a:pt x="638" y="431"/>
                    </a:lnTo>
                    <a:lnTo>
                      <a:pt x="641" y="434"/>
                    </a:lnTo>
                    <a:lnTo>
                      <a:pt x="644" y="448"/>
                    </a:lnTo>
                    <a:lnTo>
                      <a:pt x="656" y="467"/>
                    </a:lnTo>
                    <a:lnTo>
                      <a:pt x="658" y="477"/>
                    </a:lnTo>
                    <a:lnTo>
                      <a:pt x="658" y="500"/>
                    </a:lnTo>
                    <a:lnTo>
                      <a:pt x="657" y="529"/>
                    </a:lnTo>
                    <a:lnTo>
                      <a:pt x="656" y="533"/>
                    </a:lnTo>
                    <a:lnTo>
                      <a:pt x="649" y="544"/>
                    </a:lnTo>
                    <a:lnTo>
                      <a:pt x="644" y="555"/>
                    </a:lnTo>
                    <a:lnTo>
                      <a:pt x="644" y="561"/>
                    </a:lnTo>
                    <a:lnTo>
                      <a:pt x="644" y="569"/>
                    </a:lnTo>
                    <a:lnTo>
                      <a:pt x="646" y="574"/>
                    </a:lnTo>
                    <a:lnTo>
                      <a:pt x="647" y="586"/>
                    </a:lnTo>
                    <a:lnTo>
                      <a:pt x="646" y="587"/>
                    </a:lnTo>
                    <a:lnTo>
                      <a:pt x="638" y="590"/>
                    </a:lnTo>
                    <a:lnTo>
                      <a:pt x="637" y="591"/>
                    </a:lnTo>
                    <a:lnTo>
                      <a:pt x="631" y="585"/>
                    </a:lnTo>
                    <a:lnTo>
                      <a:pt x="630" y="581"/>
                    </a:lnTo>
                    <a:lnTo>
                      <a:pt x="615" y="560"/>
                    </a:lnTo>
                    <a:lnTo>
                      <a:pt x="605" y="552"/>
                    </a:lnTo>
                    <a:lnTo>
                      <a:pt x="595" y="544"/>
                    </a:lnTo>
                    <a:lnTo>
                      <a:pt x="582" y="541"/>
                    </a:lnTo>
                    <a:lnTo>
                      <a:pt x="539" y="541"/>
                    </a:lnTo>
                    <a:lnTo>
                      <a:pt x="535" y="541"/>
                    </a:lnTo>
                    <a:lnTo>
                      <a:pt x="504" y="549"/>
                    </a:lnTo>
                    <a:lnTo>
                      <a:pt x="501" y="549"/>
                    </a:lnTo>
                    <a:lnTo>
                      <a:pt x="447" y="566"/>
                    </a:lnTo>
                    <a:lnTo>
                      <a:pt x="428" y="570"/>
                    </a:lnTo>
                    <a:lnTo>
                      <a:pt x="426" y="576"/>
                    </a:lnTo>
                    <a:lnTo>
                      <a:pt x="423" y="591"/>
                    </a:lnTo>
                    <a:lnTo>
                      <a:pt x="412" y="607"/>
                    </a:lnTo>
                    <a:lnTo>
                      <a:pt x="401" y="625"/>
                    </a:lnTo>
                    <a:lnTo>
                      <a:pt x="401" y="628"/>
                    </a:lnTo>
                    <a:lnTo>
                      <a:pt x="401" y="654"/>
                    </a:lnTo>
                    <a:lnTo>
                      <a:pt x="402" y="658"/>
                    </a:lnTo>
                    <a:lnTo>
                      <a:pt x="402" y="665"/>
                    </a:lnTo>
                    <a:lnTo>
                      <a:pt x="391" y="705"/>
                    </a:lnTo>
                    <a:lnTo>
                      <a:pt x="383" y="720"/>
                    </a:lnTo>
                    <a:lnTo>
                      <a:pt x="375" y="716"/>
                    </a:lnTo>
                    <a:lnTo>
                      <a:pt x="369" y="711"/>
                    </a:lnTo>
                    <a:lnTo>
                      <a:pt x="362" y="706"/>
                    </a:lnTo>
                    <a:lnTo>
                      <a:pt x="359" y="705"/>
                    </a:lnTo>
                    <a:lnTo>
                      <a:pt x="351" y="704"/>
                    </a:lnTo>
                    <a:lnTo>
                      <a:pt x="334" y="704"/>
                    </a:lnTo>
                    <a:lnTo>
                      <a:pt x="315" y="701"/>
                    </a:lnTo>
                    <a:lnTo>
                      <a:pt x="307" y="701"/>
                    </a:lnTo>
                    <a:lnTo>
                      <a:pt x="304" y="705"/>
                    </a:lnTo>
                    <a:lnTo>
                      <a:pt x="300" y="724"/>
                    </a:lnTo>
                    <a:lnTo>
                      <a:pt x="297" y="735"/>
                    </a:lnTo>
                    <a:lnTo>
                      <a:pt x="296" y="741"/>
                    </a:lnTo>
                    <a:lnTo>
                      <a:pt x="293" y="741"/>
                    </a:lnTo>
                    <a:lnTo>
                      <a:pt x="282" y="730"/>
                    </a:lnTo>
                    <a:lnTo>
                      <a:pt x="281" y="726"/>
                    </a:lnTo>
                    <a:lnTo>
                      <a:pt x="278" y="725"/>
                    </a:lnTo>
                    <a:lnTo>
                      <a:pt x="275" y="719"/>
                    </a:lnTo>
                    <a:lnTo>
                      <a:pt x="271" y="715"/>
                    </a:lnTo>
                    <a:lnTo>
                      <a:pt x="250" y="710"/>
                    </a:lnTo>
                    <a:lnTo>
                      <a:pt x="245" y="710"/>
                    </a:lnTo>
                    <a:lnTo>
                      <a:pt x="237" y="708"/>
                    </a:lnTo>
                    <a:lnTo>
                      <a:pt x="211" y="708"/>
                    </a:lnTo>
                    <a:lnTo>
                      <a:pt x="202" y="695"/>
                    </a:lnTo>
                    <a:lnTo>
                      <a:pt x="196" y="689"/>
                    </a:lnTo>
                    <a:lnTo>
                      <a:pt x="192" y="689"/>
                    </a:lnTo>
                    <a:lnTo>
                      <a:pt x="189" y="690"/>
                    </a:lnTo>
                    <a:lnTo>
                      <a:pt x="176" y="708"/>
                    </a:lnTo>
                    <a:lnTo>
                      <a:pt x="165" y="716"/>
                    </a:lnTo>
                    <a:lnTo>
                      <a:pt x="157" y="725"/>
                    </a:lnTo>
                    <a:lnTo>
                      <a:pt x="151" y="733"/>
                    </a:lnTo>
                    <a:lnTo>
                      <a:pt x="149" y="737"/>
                    </a:lnTo>
                    <a:lnTo>
                      <a:pt x="143" y="747"/>
                    </a:lnTo>
                    <a:lnTo>
                      <a:pt x="138" y="752"/>
                    </a:lnTo>
                    <a:lnTo>
                      <a:pt x="136" y="752"/>
                    </a:lnTo>
                    <a:lnTo>
                      <a:pt x="126" y="752"/>
                    </a:lnTo>
                    <a:lnTo>
                      <a:pt x="120" y="754"/>
                    </a:lnTo>
                    <a:lnTo>
                      <a:pt x="108" y="754"/>
                    </a:lnTo>
                    <a:lnTo>
                      <a:pt x="101" y="754"/>
                    </a:lnTo>
                    <a:lnTo>
                      <a:pt x="94" y="751"/>
                    </a:lnTo>
                    <a:lnTo>
                      <a:pt x="94" y="749"/>
                    </a:lnTo>
                    <a:lnTo>
                      <a:pt x="90" y="737"/>
                    </a:lnTo>
                    <a:lnTo>
                      <a:pt x="90" y="733"/>
                    </a:lnTo>
                    <a:lnTo>
                      <a:pt x="86" y="711"/>
                    </a:lnTo>
                    <a:lnTo>
                      <a:pt x="86" y="693"/>
                    </a:lnTo>
                    <a:lnTo>
                      <a:pt x="83" y="671"/>
                    </a:lnTo>
                    <a:lnTo>
                      <a:pt x="77" y="661"/>
                    </a:lnTo>
                    <a:lnTo>
                      <a:pt x="77" y="652"/>
                    </a:lnTo>
                    <a:lnTo>
                      <a:pt x="74" y="639"/>
                    </a:lnTo>
                    <a:lnTo>
                      <a:pt x="73" y="635"/>
                    </a:lnTo>
                    <a:lnTo>
                      <a:pt x="66" y="628"/>
                    </a:lnTo>
                    <a:lnTo>
                      <a:pt x="61" y="626"/>
                    </a:lnTo>
                    <a:lnTo>
                      <a:pt x="58" y="623"/>
                    </a:lnTo>
                    <a:lnTo>
                      <a:pt x="58" y="615"/>
                    </a:lnTo>
                    <a:lnTo>
                      <a:pt x="58" y="607"/>
                    </a:lnTo>
                    <a:lnTo>
                      <a:pt x="55" y="602"/>
                    </a:lnTo>
                    <a:lnTo>
                      <a:pt x="47" y="598"/>
                    </a:lnTo>
                    <a:lnTo>
                      <a:pt x="47" y="592"/>
                    </a:lnTo>
                    <a:lnTo>
                      <a:pt x="50" y="580"/>
                    </a:lnTo>
                    <a:lnTo>
                      <a:pt x="51" y="579"/>
                    </a:lnTo>
                    <a:lnTo>
                      <a:pt x="58" y="575"/>
                    </a:lnTo>
                    <a:lnTo>
                      <a:pt x="61" y="574"/>
                    </a:lnTo>
                    <a:lnTo>
                      <a:pt x="61" y="570"/>
                    </a:lnTo>
                    <a:lnTo>
                      <a:pt x="57" y="564"/>
                    </a:lnTo>
                    <a:lnTo>
                      <a:pt x="58" y="558"/>
                    </a:lnTo>
                    <a:lnTo>
                      <a:pt x="62" y="553"/>
                    </a:lnTo>
                    <a:lnTo>
                      <a:pt x="61" y="543"/>
                    </a:lnTo>
                    <a:lnTo>
                      <a:pt x="54" y="536"/>
                    </a:lnTo>
                    <a:lnTo>
                      <a:pt x="41" y="526"/>
                    </a:lnTo>
                    <a:lnTo>
                      <a:pt x="36" y="521"/>
                    </a:lnTo>
                    <a:lnTo>
                      <a:pt x="33" y="512"/>
                    </a:lnTo>
                    <a:lnTo>
                      <a:pt x="29" y="480"/>
                    </a:lnTo>
                    <a:lnTo>
                      <a:pt x="29" y="470"/>
                    </a:lnTo>
                    <a:lnTo>
                      <a:pt x="22" y="461"/>
                    </a:lnTo>
                    <a:lnTo>
                      <a:pt x="18" y="457"/>
                    </a:lnTo>
                    <a:lnTo>
                      <a:pt x="7" y="443"/>
                    </a:lnTo>
                    <a:lnTo>
                      <a:pt x="4" y="443"/>
                    </a:lnTo>
                    <a:lnTo>
                      <a:pt x="2" y="439"/>
                    </a:lnTo>
                    <a:lnTo>
                      <a:pt x="0" y="437"/>
                    </a:lnTo>
                    <a:lnTo>
                      <a:pt x="1" y="431"/>
                    </a:lnTo>
                    <a:lnTo>
                      <a:pt x="12" y="412"/>
                    </a:lnTo>
                    <a:lnTo>
                      <a:pt x="23" y="400"/>
                    </a:lnTo>
                    <a:lnTo>
                      <a:pt x="35" y="383"/>
                    </a:lnTo>
                    <a:lnTo>
                      <a:pt x="36" y="373"/>
                    </a:lnTo>
                    <a:lnTo>
                      <a:pt x="35" y="370"/>
                    </a:lnTo>
                    <a:lnTo>
                      <a:pt x="29" y="365"/>
                    </a:lnTo>
                    <a:lnTo>
                      <a:pt x="24" y="362"/>
                    </a:lnTo>
                    <a:lnTo>
                      <a:pt x="20" y="357"/>
                    </a:lnTo>
                    <a:lnTo>
                      <a:pt x="18" y="356"/>
                    </a:lnTo>
                    <a:lnTo>
                      <a:pt x="17" y="350"/>
                    </a:lnTo>
                    <a:lnTo>
                      <a:pt x="15" y="342"/>
                    </a:lnTo>
                    <a:lnTo>
                      <a:pt x="17" y="328"/>
                    </a:lnTo>
                    <a:lnTo>
                      <a:pt x="22" y="319"/>
                    </a:lnTo>
                    <a:lnTo>
                      <a:pt x="27" y="316"/>
                    </a:lnTo>
                    <a:lnTo>
                      <a:pt x="29" y="308"/>
                    </a:lnTo>
                    <a:lnTo>
                      <a:pt x="29" y="303"/>
                    </a:lnTo>
                    <a:lnTo>
                      <a:pt x="27" y="297"/>
                    </a:lnTo>
                    <a:lnTo>
                      <a:pt x="18" y="286"/>
                    </a:lnTo>
                    <a:lnTo>
                      <a:pt x="18" y="283"/>
                    </a:lnTo>
                    <a:lnTo>
                      <a:pt x="22" y="276"/>
                    </a:lnTo>
                    <a:lnTo>
                      <a:pt x="35" y="270"/>
                    </a:lnTo>
                    <a:lnTo>
                      <a:pt x="36" y="268"/>
                    </a:lnTo>
                    <a:lnTo>
                      <a:pt x="36" y="249"/>
                    </a:lnTo>
                    <a:lnTo>
                      <a:pt x="33" y="231"/>
                    </a:lnTo>
                    <a:lnTo>
                      <a:pt x="33" y="220"/>
                    </a:lnTo>
                    <a:lnTo>
                      <a:pt x="35" y="201"/>
                    </a:lnTo>
                    <a:lnTo>
                      <a:pt x="35" y="177"/>
                    </a:lnTo>
                    <a:lnTo>
                      <a:pt x="40" y="166"/>
                    </a:lnTo>
                    <a:lnTo>
                      <a:pt x="47" y="157"/>
                    </a:lnTo>
                    <a:lnTo>
                      <a:pt x="50" y="155"/>
                    </a:lnTo>
                    <a:lnTo>
                      <a:pt x="50" y="152"/>
                    </a:lnTo>
                    <a:lnTo>
                      <a:pt x="35" y="129"/>
                    </a:lnTo>
                    <a:lnTo>
                      <a:pt x="1" y="7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78" name="Freeform 252"/>
              <p:cNvSpPr>
                <a:spLocks noChangeAspect="1"/>
              </p:cNvSpPr>
              <p:nvPr/>
            </p:nvSpPr>
            <p:spPr bwMode="gray">
              <a:xfrm>
                <a:off x="1874" y="2831"/>
                <a:ext cx="59" cy="63"/>
              </a:xfrm>
              <a:custGeom>
                <a:avLst/>
                <a:gdLst/>
                <a:ahLst/>
                <a:cxnLst>
                  <a:cxn ang="0">
                    <a:pos x="2" y="252"/>
                  </a:cxn>
                  <a:cxn ang="0">
                    <a:pos x="26" y="272"/>
                  </a:cxn>
                  <a:cxn ang="0">
                    <a:pos x="56" y="283"/>
                  </a:cxn>
                  <a:cxn ang="0">
                    <a:pos x="91" y="297"/>
                  </a:cxn>
                  <a:cxn ang="0">
                    <a:pos x="115" y="304"/>
                  </a:cxn>
                  <a:cxn ang="0">
                    <a:pos x="129" y="310"/>
                  </a:cxn>
                  <a:cxn ang="0">
                    <a:pos x="162" y="307"/>
                  </a:cxn>
                  <a:cxn ang="0">
                    <a:pos x="197" y="314"/>
                  </a:cxn>
                  <a:cxn ang="0">
                    <a:pos x="225" y="303"/>
                  </a:cxn>
                  <a:cxn ang="0">
                    <a:pos x="246" y="283"/>
                  </a:cxn>
                  <a:cxn ang="0">
                    <a:pos x="253" y="272"/>
                  </a:cxn>
                  <a:cxn ang="0">
                    <a:pos x="268" y="253"/>
                  </a:cxn>
                  <a:cxn ang="0">
                    <a:pos x="276" y="236"/>
                  </a:cxn>
                  <a:cxn ang="0">
                    <a:pos x="271" y="229"/>
                  </a:cxn>
                  <a:cxn ang="0">
                    <a:pos x="274" y="199"/>
                  </a:cxn>
                  <a:cxn ang="0">
                    <a:pos x="281" y="184"/>
                  </a:cxn>
                  <a:cxn ang="0">
                    <a:pos x="286" y="175"/>
                  </a:cxn>
                  <a:cxn ang="0">
                    <a:pos x="292" y="172"/>
                  </a:cxn>
                  <a:cxn ang="0">
                    <a:pos x="267" y="148"/>
                  </a:cxn>
                  <a:cxn ang="0">
                    <a:pos x="260" y="126"/>
                  </a:cxn>
                  <a:cxn ang="0">
                    <a:pos x="242" y="113"/>
                  </a:cxn>
                  <a:cxn ang="0">
                    <a:pos x="228" y="108"/>
                  </a:cxn>
                  <a:cxn ang="0">
                    <a:pos x="215" y="91"/>
                  </a:cxn>
                  <a:cxn ang="0">
                    <a:pos x="200" y="86"/>
                  </a:cxn>
                  <a:cxn ang="0">
                    <a:pos x="185" y="77"/>
                  </a:cxn>
                  <a:cxn ang="0">
                    <a:pos x="178" y="73"/>
                  </a:cxn>
                  <a:cxn ang="0">
                    <a:pos x="166" y="55"/>
                  </a:cxn>
                  <a:cxn ang="0">
                    <a:pos x="160" y="48"/>
                  </a:cxn>
                  <a:cxn ang="0">
                    <a:pos x="142" y="60"/>
                  </a:cxn>
                  <a:cxn ang="0">
                    <a:pos x="133" y="50"/>
                  </a:cxn>
                  <a:cxn ang="0">
                    <a:pos x="119" y="27"/>
                  </a:cxn>
                  <a:cxn ang="0">
                    <a:pos x="103" y="12"/>
                  </a:cxn>
                  <a:cxn ang="0">
                    <a:pos x="85" y="0"/>
                  </a:cxn>
                  <a:cxn ang="0">
                    <a:pos x="75" y="2"/>
                  </a:cxn>
                  <a:cxn ang="0">
                    <a:pos x="64" y="12"/>
                  </a:cxn>
                  <a:cxn ang="0">
                    <a:pos x="44" y="16"/>
                  </a:cxn>
                  <a:cxn ang="0">
                    <a:pos x="33" y="27"/>
                  </a:cxn>
                  <a:cxn ang="0">
                    <a:pos x="31" y="72"/>
                  </a:cxn>
                  <a:cxn ang="0">
                    <a:pos x="29" y="97"/>
                  </a:cxn>
                  <a:cxn ang="0">
                    <a:pos x="20" y="172"/>
                  </a:cxn>
                  <a:cxn ang="0">
                    <a:pos x="16" y="188"/>
                  </a:cxn>
                  <a:cxn ang="0">
                    <a:pos x="5" y="210"/>
                  </a:cxn>
                  <a:cxn ang="0">
                    <a:pos x="0" y="252"/>
                  </a:cxn>
                </a:cxnLst>
                <a:rect l="0" t="0" r="r" b="b"/>
                <a:pathLst>
                  <a:path w="292" h="314">
                    <a:moveTo>
                      <a:pt x="0" y="252"/>
                    </a:moveTo>
                    <a:lnTo>
                      <a:pt x="2" y="252"/>
                    </a:lnTo>
                    <a:lnTo>
                      <a:pt x="9" y="253"/>
                    </a:lnTo>
                    <a:lnTo>
                      <a:pt x="26" y="272"/>
                    </a:lnTo>
                    <a:lnTo>
                      <a:pt x="29" y="281"/>
                    </a:lnTo>
                    <a:lnTo>
                      <a:pt x="56" y="283"/>
                    </a:lnTo>
                    <a:lnTo>
                      <a:pt x="66" y="283"/>
                    </a:lnTo>
                    <a:lnTo>
                      <a:pt x="91" y="297"/>
                    </a:lnTo>
                    <a:lnTo>
                      <a:pt x="104" y="302"/>
                    </a:lnTo>
                    <a:lnTo>
                      <a:pt x="115" y="304"/>
                    </a:lnTo>
                    <a:lnTo>
                      <a:pt x="123" y="309"/>
                    </a:lnTo>
                    <a:lnTo>
                      <a:pt x="129" y="310"/>
                    </a:lnTo>
                    <a:lnTo>
                      <a:pt x="149" y="307"/>
                    </a:lnTo>
                    <a:lnTo>
                      <a:pt x="162" y="307"/>
                    </a:lnTo>
                    <a:lnTo>
                      <a:pt x="183" y="310"/>
                    </a:lnTo>
                    <a:lnTo>
                      <a:pt x="197" y="314"/>
                    </a:lnTo>
                    <a:lnTo>
                      <a:pt x="212" y="309"/>
                    </a:lnTo>
                    <a:lnTo>
                      <a:pt x="225" y="303"/>
                    </a:lnTo>
                    <a:lnTo>
                      <a:pt x="236" y="295"/>
                    </a:lnTo>
                    <a:lnTo>
                      <a:pt x="246" y="283"/>
                    </a:lnTo>
                    <a:lnTo>
                      <a:pt x="249" y="281"/>
                    </a:lnTo>
                    <a:lnTo>
                      <a:pt x="253" y="272"/>
                    </a:lnTo>
                    <a:lnTo>
                      <a:pt x="260" y="265"/>
                    </a:lnTo>
                    <a:lnTo>
                      <a:pt x="268" y="253"/>
                    </a:lnTo>
                    <a:lnTo>
                      <a:pt x="271" y="240"/>
                    </a:lnTo>
                    <a:lnTo>
                      <a:pt x="276" y="236"/>
                    </a:lnTo>
                    <a:lnTo>
                      <a:pt x="273" y="231"/>
                    </a:lnTo>
                    <a:lnTo>
                      <a:pt x="271" y="229"/>
                    </a:lnTo>
                    <a:lnTo>
                      <a:pt x="274" y="215"/>
                    </a:lnTo>
                    <a:lnTo>
                      <a:pt x="274" y="199"/>
                    </a:lnTo>
                    <a:lnTo>
                      <a:pt x="276" y="191"/>
                    </a:lnTo>
                    <a:lnTo>
                      <a:pt x="281" y="184"/>
                    </a:lnTo>
                    <a:lnTo>
                      <a:pt x="284" y="183"/>
                    </a:lnTo>
                    <a:lnTo>
                      <a:pt x="286" y="175"/>
                    </a:lnTo>
                    <a:lnTo>
                      <a:pt x="291" y="174"/>
                    </a:lnTo>
                    <a:lnTo>
                      <a:pt x="292" y="172"/>
                    </a:lnTo>
                    <a:lnTo>
                      <a:pt x="287" y="163"/>
                    </a:lnTo>
                    <a:lnTo>
                      <a:pt x="267" y="148"/>
                    </a:lnTo>
                    <a:lnTo>
                      <a:pt x="264" y="145"/>
                    </a:lnTo>
                    <a:lnTo>
                      <a:pt x="260" y="126"/>
                    </a:lnTo>
                    <a:lnTo>
                      <a:pt x="257" y="120"/>
                    </a:lnTo>
                    <a:lnTo>
                      <a:pt x="242" y="113"/>
                    </a:lnTo>
                    <a:lnTo>
                      <a:pt x="237" y="112"/>
                    </a:lnTo>
                    <a:lnTo>
                      <a:pt x="228" y="108"/>
                    </a:lnTo>
                    <a:lnTo>
                      <a:pt x="222" y="102"/>
                    </a:lnTo>
                    <a:lnTo>
                      <a:pt x="215" y="91"/>
                    </a:lnTo>
                    <a:lnTo>
                      <a:pt x="212" y="87"/>
                    </a:lnTo>
                    <a:lnTo>
                      <a:pt x="200" y="86"/>
                    </a:lnTo>
                    <a:lnTo>
                      <a:pt x="193" y="77"/>
                    </a:lnTo>
                    <a:lnTo>
                      <a:pt x="185" y="77"/>
                    </a:lnTo>
                    <a:lnTo>
                      <a:pt x="181" y="76"/>
                    </a:lnTo>
                    <a:lnTo>
                      <a:pt x="178" y="73"/>
                    </a:lnTo>
                    <a:lnTo>
                      <a:pt x="171" y="65"/>
                    </a:lnTo>
                    <a:lnTo>
                      <a:pt x="166" y="55"/>
                    </a:lnTo>
                    <a:lnTo>
                      <a:pt x="165" y="51"/>
                    </a:lnTo>
                    <a:lnTo>
                      <a:pt x="160" y="48"/>
                    </a:lnTo>
                    <a:lnTo>
                      <a:pt x="146" y="59"/>
                    </a:lnTo>
                    <a:lnTo>
                      <a:pt x="142" y="60"/>
                    </a:lnTo>
                    <a:lnTo>
                      <a:pt x="134" y="59"/>
                    </a:lnTo>
                    <a:lnTo>
                      <a:pt x="133" y="50"/>
                    </a:lnTo>
                    <a:lnTo>
                      <a:pt x="128" y="35"/>
                    </a:lnTo>
                    <a:lnTo>
                      <a:pt x="119" y="27"/>
                    </a:lnTo>
                    <a:lnTo>
                      <a:pt x="108" y="17"/>
                    </a:lnTo>
                    <a:lnTo>
                      <a:pt x="103" y="12"/>
                    </a:lnTo>
                    <a:lnTo>
                      <a:pt x="91" y="2"/>
                    </a:lnTo>
                    <a:lnTo>
                      <a:pt x="85" y="0"/>
                    </a:lnTo>
                    <a:lnTo>
                      <a:pt x="80" y="0"/>
                    </a:lnTo>
                    <a:lnTo>
                      <a:pt x="75" y="2"/>
                    </a:lnTo>
                    <a:lnTo>
                      <a:pt x="71" y="8"/>
                    </a:lnTo>
                    <a:lnTo>
                      <a:pt x="64" y="12"/>
                    </a:lnTo>
                    <a:lnTo>
                      <a:pt x="45" y="10"/>
                    </a:lnTo>
                    <a:lnTo>
                      <a:pt x="44" y="16"/>
                    </a:lnTo>
                    <a:lnTo>
                      <a:pt x="34" y="24"/>
                    </a:lnTo>
                    <a:lnTo>
                      <a:pt x="33" y="27"/>
                    </a:lnTo>
                    <a:lnTo>
                      <a:pt x="34" y="50"/>
                    </a:lnTo>
                    <a:lnTo>
                      <a:pt x="31" y="72"/>
                    </a:lnTo>
                    <a:lnTo>
                      <a:pt x="31" y="87"/>
                    </a:lnTo>
                    <a:lnTo>
                      <a:pt x="29" y="97"/>
                    </a:lnTo>
                    <a:lnTo>
                      <a:pt x="20" y="121"/>
                    </a:lnTo>
                    <a:lnTo>
                      <a:pt x="20" y="172"/>
                    </a:lnTo>
                    <a:lnTo>
                      <a:pt x="18" y="182"/>
                    </a:lnTo>
                    <a:lnTo>
                      <a:pt x="16" y="188"/>
                    </a:lnTo>
                    <a:lnTo>
                      <a:pt x="9" y="201"/>
                    </a:lnTo>
                    <a:lnTo>
                      <a:pt x="5" y="210"/>
                    </a:lnTo>
                    <a:lnTo>
                      <a:pt x="1" y="236"/>
                    </a:lnTo>
                    <a:lnTo>
                      <a:pt x="0" y="25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79" name="Freeform 253"/>
              <p:cNvSpPr>
                <a:spLocks noChangeAspect="1"/>
              </p:cNvSpPr>
              <p:nvPr/>
            </p:nvSpPr>
            <p:spPr bwMode="gray">
              <a:xfrm>
                <a:off x="1844" y="2396"/>
                <a:ext cx="53" cy="77"/>
              </a:xfrm>
              <a:custGeom>
                <a:avLst/>
                <a:gdLst/>
                <a:ahLst/>
                <a:cxnLst>
                  <a:cxn ang="0">
                    <a:pos x="89" y="0"/>
                  </a:cxn>
                  <a:cxn ang="0">
                    <a:pos x="141" y="41"/>
                  </a:cxn>
                  <a:cxn ang="0">
                    <a:pos x="152" y="83"/>
                  </a:cxn>
                  <a:cxn ang="0">
                    <a:pos x="172" y="84"/>
                  </a:cxn>
                  <a:cxn ang="0">
                    <a:pos x="195" y="94"/>
                  </a:cxn>
                  <a:cxn ang="0">
                    <a:pos x="211" y="112"/>
                  </a:cxn>
                  <a:cxn ang="0">
                    <a:pos x="232" y="139"/>
                  </a:cxn>
                  <a:cxn ang="0">
                    <a:pos x="217" y="159"/>
                  </a:cxn>
                  <a:cxn ang="0">
                    <a:pos x="220" y="165"/>
                  </a:cxn>
                  <a:cxn ang="0">
                    <a:pos x="212" y="182"/>
                  </a:cxn>
                  <a:cxn ang="0">
                    <a:pos x="189" y="186"/>
                  </a:cxn>
                  <a:cxn ang="0">
                    <a:pos x="183" y="193"/>
                  </a:cxn>
                  <a:cxn ang="0">
                    <a:pos x="174" y="228"/>
                  </a:cxn>
                  <a:cxn ang="0">
                    <a:pos x="189" y="255"/>
                  </a:cxn>
                  <a:cxn ang="0">
                    <a:pos x="200" y="268"/>
                  </a:cxn>
                  <a:cxn ang="0">
                    <a:pos x="217" y="273"/>
                  </a:cxn>
                  <a:cxn ang="0">
                    <a:pos x="226" y="289"/>
                  </a:cxn>
                  <a:cxn ang="0">
                    <a:pos x="233" y="311"/>
                  </a:cxn>
                  <a:cxn ang="0">
                    <a:pos x="263" y="347"/>
                  </a:cxn>
                  <a:cxn ang="0">
                    <a:pos x="254" y="350"/>
                  </a:cxn>
                  <a:cxn ang="0">
                    <a:pos x="233" y="348"/>
                  </a:cxn>
                  <a:cxn ang="0">
                    <a:pos x="213" y="353"/>
                  </a:cxn>
                  <a:cxn ang="0">
                    <a:pos x="183" y="366"/>
                  </a:cxn>
                  <a:cxn ang="0">
                    <a:pos x="158" y="374"/>
                  </a:cxn>
                  <a:cxn ang="0">
                    <a:pos x="134" y="386"/>
                  </a:cxn>
                  <a:cxn ang="0">
                    <a:pos x="102" y="369"/>
                  </a:cxn>
                  <a:cxn ang="0">
                    <a:pos x="91" y="357"/>
                  </a:cxn>
                  <a:cxn ang="0">
                    <a:pos x="89" y="332"/>
                  </a:cxn>
                  <a:cxn ang="0">
                    <a:pos x="77" y="288"/>
                  </a:cxn>
                  <a:cxn ang="0">
                    <a:pos x="86" y="257"/>
                  </a:cxn>
                  <a:cxn ang="0">
                    <a:pos x="95" y="234"/>
                  </a:cxn>
                  <a:cxn ang="0">
                    <a:pos x="79" y="209"/>
                  </a:cxn>
                  <a:cxn ang="0">
                    <a:pos x="72" y="193"/>
                  </a:cxn>
                  <a:cxn ang="0">
                    <a:pos x="67" y="171"/>
                  </a:cxn>
                  <a:cxn ang="0">
                    <a:pos x="37" y="174"/>
                  </a:cxn>
                  <a:cxn ang="0">
                    <a:pos x="27" y="163"/>
                  </a:cxn>
                  <a:cxn ang="0">
                    <a:pos x="0" y="128"/>
                  </a:cxn>
                  <a:cxn ang="0">
                    <a:pos x="1" y="121"/>
                  </a:cxn>
                  <a:cxn ang="0">
                    <a:pos x="11" y="91"/>
                  </a:cxn>
                  <a:cxn ang="0">
                    <a:pos x="40" y="75"/>
                  </a:cxn>
                  <a:cxn ang="0">
                    <a:pos x="38" y="64"/>
                  </a:cxn>
                  <a:cxn ang="0">
                    <a:pos x="24" y="52"/>
                  </a:cxn>
                  <a:cxn ang="0">
                    <a:pos x="29" y="35"/>
                  </a:cxn>
                  <a:cxn ang="0">
                    <a:pos x="46" y="26"/>
                  </a:cxn>
                  <a:cxn ang="0">
                    <a:pos x="72" y="13"/>
                  </a:cxn>
                  <a:cxn ang="0">
                    <a:pos x="81" y="2"/>
                  </a:cxn>
                </a:cxnLst>
                <a:rect l="0" t="0" r="r" b="b"/>
                <a:pathLst>
                  <a:path w="265" h="386">
                    <a:moveTo>
                      <a:pt x="81" y="2"/>
                    </a:moveTo>
                    <a:lnTo>
                      <a:pt x="87" y="3"/>
                    </a:lnTo>
                    <a:lnTo>
                      <a:pt x="89" y="0"/>
                    </a:lnTo>
                    <a:lnTo>
                      <a:pt x="94" y="0"/>
                    </a:lnTo>
                    <a:lnTo>
                      <a:pt x="108" y="10"/>
                    </a:lnTo>
                    <a:lnTo>
                      <a:pt x="141" y="41"/>
                    </a:lnTo>
                    <a:lnTo>
                      <a:pt x="150" y="53"/>
                    </a:lnTo>
                    <a:lnTo>
                      <a:pt x="151" y="59"/>
                    </a:lnTo>
                    <a:lnTo>
                      <a:pt x="152" y="83"/>
                    </a:lnTo>
                    <a:lnTo>
                      <a:pt x="156" y="84"/>
                    </a:lnTo>
                    <a:lnTo>
                      <a:pt x="162" y="84"/>
                    </a:lnTo>
                    <a:lnTo>
                      <a:pt x="172" y="84"/>
                    </a:lnTo>
                    <a:lnTo>
                      <a:pt x="179" y="85"/>
                    </a:lnTo>
                    <a:lnTo>
                      <a:pt x="183" y="88"/>
                    </a:lnTo>
                    <a:lnTo>
                      <a:pt x="195" y="94"/>
                    </a:lnTo>
                    <a:lnTo>
                      <a:pt x="197" y="96"/>
                    </a:lnTo>
                    <a:lnTo>
                      <a:pt x="202" y="104"/>
                    </a:lnTo>
                    <a:lnTo>
                      <a:pt x="211" y="112"/>
                    </a:lnTo>
                    <a:lnTo>
                      <a:pt x="222" y="120"/>
                    </a:lnTo>
                    <a:lnTo>
                      <a:pt x="228" y="136"/>
                    </a:lnTo>
                    <a:lnTo>
                      <a:pt x="232" y="139"/>
                    </a:lnTo>
                    <a:lnTo>
                      <a:pt x="231" y="142"/>
                    </a:lnTo>
                    <a:lnTo>
                      <a:pt x="224" y="148"/>
                    </a:lnTo>
                    <a:lnTo>
                      <a:pt x="217" y="159"/>
                    </a:lnTo>
                    <a:lnTo>
                      <a:pt x="216" y="163"/>
                    </a:lnTo>
                    <a:lnTo>
                      <a:pt x="218" y="165"/>
                    </a:lnTo>
                    <a:lnTo>
                      <a:pt x="220" y="165"/>
                    </a:lnTo>
                    <a:lnTo>
                      <a:pt x="220" y="172"/>
                    </a:lnTo>
                    <a:lnTo>
                      <a:pt x="213" y="179"/>
                    </a:lnTo>
                    <a:lnTo>
                      <a:pt x="212" y="182"/>
                    </a:lnTo>
                    <a:lnTo>
                      <a:pt x="205" y="183"/>
                    </a:lnTo>
                    <a:lnTo>
                      <a:pt x="196" y="183"/>
                    </a:lnTo>
                    <a:lnTo>
                      <a:pt x="189" y="186"/>
                    </a:lnTo>
                    <a:lnTo>
                      <a:pt x="185" y="188"/>
                    </a:lnTo>
                    <a:lnTo>
                      <a:pt x="184" y="191"/>
                    </a:lnTo>
                    <a:lnTo>
                      <a:pt x="183" y="193"/>
                    </a:lnTo>
                    <a:lnTo>
                      <a:pt x="181" y="208"/>
                    </a:lnTo>
                    <a:lnTo>
                      <a:pt x="178" y="217"/>
                    </a:lnTo>
                    <a:lnTo>
                      <a:pt x="174" y="228"/>
                    </a:lnTo>
                    <a:lnTo>
                      <a:pt x="174" y="234"/>
                    </a:lnTo>
                    <a:lnTo>
                      <a:pt x="180" y="240"/>
                    </a:lnTo>
                    <a:lnTo>
                      <a:pt x="189" y="255"/>
                    </a:lnTo>
                    <a:lnTo>
                      <a:pt x="191" y="256"/>
                    </a:lnTo>
                    <a:lnTo>
                      <a:pt x="200" y="263"/>
                    </a:lnTo>
                    <a:lnTo>
                      <a:pt x="200" y="268"/>
                    </a:lnTo>
                    <a:lnTo>
                      <a:pt x="204" y="272"/>
                    </a:lnTo>
                    <a:lnTo>
                      <a:pt x="205" y="273"/>
                    </a:lnTo>
                    <a:lnTo>
                      <a:pt x="217" y="273"/>
                    </a:lnTo>
                    <a:lnTo>
                      <a:pt x="220" y="276"/>
                    </a:lnTo>
                    <a:lnTo>
                      <a:pt x="221" y="284"/>
                    </a:lnTo>
                    <a:lnTo>
                      <a:pt x="226" y="289"/>
                    </a:lnTo>
                    <a:lnTo>
                      <a:pt x="226" y="299"/>
                    </a:lnTo>
                    <a:lnTo>
                      <a:pt x="232" y="305"/>
                    </a:lnTo>
                    <a:lnTo>
                      <a:pt x="233" y="311"/>
                    </a:lnTo>
                    <a:lnTo>
                      <a:pt x="239" y="321"/>
                    </a:lnTo>
                    <a:lnTo>
                      <a:pt x="253" y="338"/>
                    </a:lnTo>
                    <a:lnTo>
                      <a:pt x="263" y="347"/>
                    </a:lnTo>
                    <a:lnTo>
                      <a:pt x="265" y="347"/>
                    </a:lnTo>
                    <a:lnTo>
                      <a:pt x="265" y="349"/>
                    </a:lnTo>
                    <a:lnTo>
                      <a:pt x="254" y="350"/>
                    </a:lnTo>
                    <a:lnTo>
                      <a:pt x="240" y="352"/>
                    </a:lnTo>
                    <a:lnTo>
                      <a:pt x="234" y="349"/>
                    </a:lnTo>
                    <a:lnTo>
                      <a:pt x="233" y="348"/>
                    </a:lnTo>
                    <a:lnTo>
                      <a:pt x="229" y="347"/>
                    </a:lnTo>
                    <a:lnTo>
                      <a:pt x="224" y="347"/>
                    </a:lnTo>
                    <a:lnTo>
                      <a:pt x="213" y="353"/>
                    </a:lnTo>
                    <a:lnTo>
                      <a:pt x="205" y="363"/>
                    </a:lnTo>
                    <a:lnTo>
                      <a:pt x="191" y="363"/>
                    </a:lnTo>
                    <a:lnTo>
                      <a:pt x="183" y="366"/>
                    </a:lnTo>
                    <a:lnTo>
                      <a:pt x="178" y="371"/>
                    </a:lnTo>
                    <a:lnTo>
                      <a:pt x="167" y="371"/>
                    </a:lnTo>
                    <a:lnTo>
                      <a:pt x="158" y="374"/>
                    </a:lnTo>
                    <a:lnTo>
                      <a:pt x="152" y="384"/>
                    </a:lnTo>
                    <a:lnTo>
                      <a:pt x="147" y="386"/>
                    </a:lnTo>
                    <a:lnTo>
                      <a:pt x="134" y="386"/>
                    </a:lnTo>
                    <a:lnTo>
                      <a:pt x="124" y="384"/>
                    </a:lnTo>
                    <a:lnTo>
                      <a:pt x="108" y="374"/>
                    </a:lnTo>
                    <a:lnTo>
                      <a:pt x="102" y="369"/>
                    </a:lnTo>
                    <a:lnTo>
                      <a:pt x="98" y="363"/>
                    </a:lnTo>
                    <a:lnTo>
                      <a:pt x="95" y="362"/>
                    </a:lnTo>
                    <a:lnTo>
                      <a:pt x="91" y="357"/>
                    </a:lnTo>
                    <a:lnTo>
                      <a:pt x="89" y="354"/>
                    </a:lnTo>
                    <a:lnTo>
                      <a:pt x="91" y="341"/>
                    </a:lnTo>
                    <a:lnTo>
                      <a:pt x="89" y="332"/>
                    </a:lnTo>
                    <a:lnTo>
                      <a:pt x="78" y="322"/>
                    </a:lnTo>
                    <a:lnTo>
                      <a:pt x="77" y="319"/>
                    </a:lnTo>
                    <a:lnTo>
                      <a:pt x="77" y="288"/>
                    </a:lnTo>
                    <a:lnTo>
                      <a:pt x="83" y="274"/>
                    </a:lnTo>
                    <a:lnTo>
                      <a:pt x="86" y="267"/>
                    </a:lnTo>
                    <a:lnTo>
                      <a:pt x="86" y="257"/>
                    </a:lnTo>
                    <a:lnTo>
                      <a:pt x="95" y="244"/>
                    </a:lnTo>
                    <a:lnTo>
                      <a:pt x="97" y="241"/>
                    </a:lnTo>
                    <a:lnTo>
                      <a:pt x="95" y="234"/>
                    </a:lnTo>
                    <a:lnTo>
                      <a:pt x="91" y="228"/>
                    </a:lnTo>
                    <a:lnTo>
                      <a:pt x="91" y="213"/>
                    </a:lnTo>
                    <a:lnTo>
                      <a:pt x="79" y="209"/>
                    </a:lnTo>
                    <a:lnTo>
                      <a:pt x="77" y="208"/>
                    </a:lnTo>
                    <a:lnTo>
                      <a:pt x="68" y="207"/>
                    </a:lnTo>
                    <a:lnTo>
                      <a:pt x="72" y="193"/>
                    </a:lnTo>
                    <a:lnTo>
                      <a:pt x="72" y="186"/>
                    </a:lnTo>
                    <a:lnTo>
                      <a:pt x="72" y="180"/>
                    </a:lnTo>
                    <a:lnTo>
                      <a:pt x="67" y="171"/>
                    </a:lnTo>
                    <a:lnTo>
                      <a:pt x="59" y="171"/>
                    </a:lnTo>
                    <a:lnTo>
                      <a:pt x="46" y="175"/>
                    </a:lnTo>
                    <a:lnTo>
                      <a:pt x="37" y="174"/>
                    </a:lnTo>
                    <a:lnTo>
                      <a:pt x="37" y="171"/>
                    </a:lnTo>
                    <a:lnTo>
                      <a:pt x="33" y="169"/>
                    </a:lnTo>
                    <a:lnTo>
                      <a:pt x="27" y="163"/>
                    </a:lnTo>
                    <a:lnTo>
                      <a:pt x="23" y="155"/>
                    </a:lnTo>
                    <a:lnTo>
                      <a:pt x="12" y="144"/>
                    </a:lnTo>
                    <a:lnTo>
                      <a:pt x="0" y="128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1" y="121"/>
                    </a:lnTo>
                    <a:lnTo>
                      <a:pt x="7" y="112"/>
                    </a:lnTo>
                    <a:lnTo>
                      <a:pt x="11" y="106"/>
                    </a:lnTo>
                    <a:lnTo>
                      <a:pt x="11" y="91"/>
                    </a:lnTo>
                    <a:lnTo>
                      <a:pt x="12" y="89"/>
                    </a:lnTo>
                    <a:lnTo>
                      <a:pt x="29" y="83"/>
                    </a:lnTo>
                    <a:lnTo>
                      <a:pt x="40" y="75"/>
                    </a:lnTo>
                    <a:lnTo>
                      <a:pt x="45" y="69"/>
                    </a:lnTo>
                    <a:lnTo>
                      <a:pt x="40" y="64"/>
                    </a:lnTo>
                    <a:lnTo>
                      <a:pt x="38" y="64"/>
                    </a:lnTo>
                    <a:lnTo>
                      <a:pt x="32" y="66"/>
                    </a:lnTo>
                    <a:lnTo>
                      <a:pt x="27" y="64"/>
                    </a:lnTo>
                    <a:lnTo>
                      <a:pt x="24" y="52"/>
                    </a:lnTo>
                    <a:lnTo>
                      <a:pt x="24" y="43"/>
                    </a:lnTo>
                    <a:lnTo>
                      <a:pt x="27" y="37"/>
                    </a:lnTo>
                    <a:lnTo>
                      <a:pt x="29" y="35"/>
                    </a:lnTo>
                    <a:lnTo>
                      <a:pt x="40" y="32"/>
                    </a:lnTo>
                    <a:lnTo>
                      <a:pt x="43" y="30"/>
                    </a:lnTo>
                    <a:lnTo>
                      <a:pt x="46" y="26"/>
                    </a:lnTo>
                    <a:lnTo>
                      <a:pt x="62" y="19"/>
                    </a:lnTo>
                    <a:lnTo>
                      <a:pt x="66" y="16"/>
                    </a:lnTo>
                    <a:lnTo>
                      <a:pt x="72" y="13"/>
                    </a:lnTo>
                    <a:lnTo>
                      <a:pt x="77" y="13"/>
                    </a:lnTo>
                    <a:lnTo>
                      <a:pt x="81" y="10"/>
                    </a:lnTo>
                    <a:lnTo>
                      <a:pt x="81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80" name="Freeform 254"/>
              <p:cNvSpPr>
                <a:spLocks noChangeAspect="1"/>
              </p:cNvSpPr>
              <p:nvPr/>
            </p:nvSpPr>
            <p:spPr bwMode="gray">
              <a:xfrm>
                <a:off x="1919" y="2425"/>
                <a:ext cx="32" cy="40"/>
              </a:xfrm>
              <a:custGeom>
                <a:avLst/>
                <a:gdLst/>
                <a:ahLst/>
                <a:cxnLst>
                  <a:cxn ang="0">
                    <a:pos x="0" y="182"/>
                  </a:cxn>
                  <a:cxn ang="0">
                    <a:pos x="13" y="169"/>
                  </a:cxn>
                  <a:cxn ang="0">
                    <a:pos x="15" y="166"/>
                  </a:cxn>
                  <a:cxn ang="0">
                    <a:pos x="17" y="147"/>
                  </a:cxn>
                  <a:cxn ang="0">
                    <a:pos x="22" y="125"/>
                  </a:cxn>
                  <a:cxn ang="0">
                    <a:pos x="23" y="110"/>
                  </a:cxn>
                  <a:cxn ang="0">
                    <a:pos x="18" y="102"/>
                  </a:cxn>
                  <a:cxn ang="0">
                    <a:pos x="17" y="101"/>
                  </a:cxn>
                  <a:cxn ang="0">
                    <a:pos x="17" y="99"/>
                  </a:cxn>
                  <a:cxn ang="0">
                    <a:pos x="8" y="86"/>
                  </a:cxn>
                  <a:cxn ang="0">
                    <a:pos x="5" y="75"/>
                  </a:cxn>
                  <a:cxn ang="0">
                    <a:pos x="3" y="56"/>
                  </a:cxn>
                  <a:cxn ang="0">
                    <a:pos x="3" y="34"/>
                  </a:cxn>
                  <a:cxn ang="0">
                    <a:pos x="7" y="24"/>
                  </a:cxn>
                  <a:cxn ang="0">
                    <a:pos x="15" y="18"/>
                  </a:cxn>
                  <a:cxn ang="0">
                    <a:pos x="19" y="12"/>
                  </a:cxn>
                  <a:cxn ang="0">
                    <a:pos x="19" y="10"/>
                  </a:cxn>
                  <a:cxn ang="0">
                    <a:pos x="22" y="7"/>
                  </a:cxn>
                  <a:cxn ang="0">
                    <a:pos x="28" y="5"/>
                  </a:cxn>
                  <a:cxn ang="0">
                    <a:pos x="32" y="1"/>
                  </a:cxn>
                  <a:cxn ang="0">
                    <a:pos x="35" y="0"/>
                  </a:cxn>
                  <a:cxn ang="0">
                    <a:pos x="49" y="8"/>
                  </a:cxn>
                  <a:cxn ang="0">
                    <a:pos x="61" y="13"/>
                  </a:cxn>
                  <a:cxn ang="0">
                    <a:pos x="73" y="19"/>
                  </a:cxn>
                  <a:cxn ang="0">
                    <a:pos x="85" y="21"/>
                  </a:cxn>
                  <a:cxn ang="0">
                    <a:pos x="98" y="28"/>
                  </a:cxn>
                  <a:cxn ang="0">
                    <a:pos x="113" y="39"/>
                  </a:cxn>
                  <a:cxn ang="0">
                    <a:pos x="116" y="40"/>
                  </a:cxn>
                  <a:cxn ang="0">
                    <a:pos x="130" y="53"/>
                  </a:cxn>
                  <a:cxn ang="0">
                    <a:pos x="135" y="59"/>
                  </a:cxn>
                  <a:cxn ang="0">
                    <a:pos x="146" y="65"/>
                  </a:cxn>
                  <a:cxn ang="0">
                    <a:pos x="156" y="75"/>
                  </a:cxn>
                  <a:cxn ang="0">
                    <a:pos x="156" y="86"/>
                  </a:cxn>
                  <a:cxn ang="0">
                    <a:pos x="157" y="86"/>
                  </a:cxn>
                  <a:cxn ang="0">
                    <a:pos x="144" y="99"/>
                  </a:cxn>
                  <a:cxn ang="0">
                    <a:pos x="141" y="107"/>
                  </a:cxn>
                  <a:cxn ang="0">
                    <a:pos x="128" y="125"/>
                  </a:cxn>
                  <a:cxn ang="0">
                    <a:pos x="118" y="137"/>
                  </a:cxn>
                  <a:cxn ang="0">
                    <a:pos x="114" y="144"/>
                  </a:cxn>
                  <a:cxn ang="0">
                    <a:pos x="105" y="166"/>
                  </a:cxn>
                  <a:cxn ang="0">
                    <a:pos x="78" y="190"/>
                  </a:cxn>
                  <a:cxn ang="0">
                    <a:pos x="76" y="193"/>
                  </a:cxn>
                  <a:cxn ang="0">
                    <a:pos x="71" y="195"/>
                  </a:cxn>
                  <a:cxn ang="0">
                    <a:pos x="61" y="195"/>
                  </a:cxn>
                  <a:cxn ang="0">
                    <a:pos x="54" y="191"/>
                  </a:cxn>
                  <a:cxn ang="0">
                    <a:pos x="48" y="191"/>
                  </a:cxn>
                  <a:cxn ang="0">
                    <a:pos x="44" y="193"/>
                  </a:cxn>
                  <a:cxn ang="0">
                    <a:pos x="28" y="200"/>
                  </a:cxn>
                  <a:cxn ang="0">
                    <a:pos x="22" y="200"/>
                  </a:cxn>
                  <a:cxn ang="0">
                    <a:pos x="19" y="199"/>
                  </a:cxn>
                  <a:cxn ang="0">
                    <a:pos x="10" y="193"/>
                  </a:cxn>
                  <a:cxn ang="0">
                    <a:pos x="0" y="182"/>
                  </a:cxn>
                </a:cxnLst>
                <a:rect l="0" t="0" r="r" b="b"/>
                <a:pathLst>
                  <a:path w="157" h="200">
                    <a:moveTo>
                      <a:pt x="0" y="182"/>
                    </a:moveTo>
                    <a:lnTo>
                      <a:pt x="13" y="169"/>
                    </a:lnTo>
                    <a:lnTo>
                      <a:pt x="15" y="166"/>
                    </a:lnTo>
                    <a:lnTo>
                      <a:pt x="17" y="147"/>
                    </a:lnTo>
                    <a:lnTo>
                      <a:pt x="22" y="125"/>
                    </a:lnTo>
                    <a:lnTo>
                      <a:pt x="23" y="110"/>
                    </a:lnTo>
                    <a:lnTo>
                      <a:pt x="18" y="102"/>
                    </a:lnTo>
                    <a:lnTo>
                      <a:pt x="17" y="101"/>
                    </a:lnTo>
                    <a:lnTo>
                      <a:pt x="17" y="99"/>
                    </a:lnTo>
                    <a:lnTo>
                      <a:pt x="8" y="86"/>
                    </a:lnTo>
                    <a:lnTo>
                      <a:pt x="5" y="75"/>
                    </a:lnTo>
                    <a:lnTo>
                      <a:pt x="3" y="56"/>
                    </a:lnTo>
                    <a:lnTo>
                      <a:pt x="3" y="34"/>
                    </a:lnTo>
                    <a:lnTo>
                      <a:pt x="7" y="24"/>
                    </a:lnTo>
                    <a:lnTo>
                      <a:pt x="15" y="18"/>
                    </a:lnTo>
                    <a:lnTo>
                      <a:pt x="19" y="12"/>
                    </a:lnTo>
                    <a:lnTo>
                      <a:pt x="19" y="10"/>
                    </a:lnTo>
                    <a:lnTo>
                      <a:pt x="22" y="7"/>
                    </a:lnTo>
                    <a:lnTo>
                      <a:pt x="28" y="5"/>
                    </a:lnTo>
                    <a:lnTo>
                      <a:pt x="32" y="1"/>
                    </a:lnTo>
                    <a:lnTo>
                      <a:pt x="35" y="0"/>
                    </a:lnTo>
                    <a:lnTo>
                      <a:pt x="49" y="8"/>
                    </a:lnTo>
                    <a:lnTo>
                      <a:pt x="61" y="13"/>
                    </a:lnTo>
                    <a:lnTo>
                      <a:pt x="73" y="19"/>
                    </a:lnTo>
                    <a:lnTo>
                      <a:pt x="85" y="21"/>
                    </a:lnTo>
                    <a:lnTo>
                      <a:pt x="98" y="28"/>
                    </a:lnTo>
                    <a:lnTo>
                      <a:pt x="113" y="39"/>
                    </a:lnTo>
                    <a:lnTo>
                      <a:pt x="116" y="40"/>
                    </a:lnTo>
                    <a:lnTo>
                      <a:pt x="130" y="53"/>
                    </a:lnTo>
                    <a:lnTo>
                      <a:pt x="135" y="59"/>
                    </a:lnTo>
                    <a:lnTo>
                      <a:pt x="146" y="65"/>
                    </a:lnTo>
                    <a:lnTo>
                      <a:pt x="156" y="75"/>
                    </a:lnTo>
                    <a:lnTo>
                      <a:pt x="156" y="86"/>
                    </a:lnTo>
                    <a:lnTo>
                      <a:pt x="157" y="86"/>
                    </a:lnTo>
                    <a:lnTo>
                      <a:pt x="144" y="99"/>
                    </a:lnTo>
                    <a:lnTo>
                      <a:pt x="141" y="107"/>
                    </a:lnTo>
                    <a:lnTo>
                      <a:pt x="128" y="125"/>
                    </a:lnTo>
                    <a:lnTo>
                      <a:pt x="118" y="137"/>
                    </a:lnTo>
                    <a:lnTo>
                      <a:pt x="114" y="144"/>
                    </a:lnTo>
                    <a:lnTo>
                      <a:pt x="105" y="166"/>
                    </a:lnTo>
                    <a:lnTo>
                      <a:pt x="78" y="190"/>
                    </a:lnTo>
                    <a:lnTo>
                      <a:pt x="76" y="193"/>
                    </a:lnTo>
                    <a:lnTo>
                      <a:pt x="71" y="195"/>
                    </a:lnTo>
                    <a:lnTo>
                      <a:pt x="61" y="195"/>
                    </a:lnTo>
                    <a:lnTo>
                      <a:pt x="54" y="191"/>
                    </a:lnTo>
                    <a:lnTo>
                      <a:pt x="48" y="191"/>
                    </a:lnTo>
                    <a:lnTo>
                      <a:pt x="44" y="193"/>
                    </a:lnTo>
                    <a:lnTo>
                      <a:pt x="28" y="200"/>
                    </a:lnTo>
                    <a:lnTo>
                      <a:pt x="22" y="200"/>
                    </a:lnTo>
                    <a:lnTo>
                      <a:pt x="19" y="199"/>
                    </a:lnTo>
                    <a:lnTo>
                      <a:pt x="10" y="193"/>
                    </a:lnTo>
                    <a:lnTo>
                      <a:pt x="0" y="18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81" name="Freeform 255"/>
              <p:cNvSpPr>
                <a:spLocks noChangeAspect="1"/>
              </p:cNvSpPr>
              <p:nvPr/>
            </p:nvSpPr>
            <p:spPr bwMode="gray">
              <a:xfrm>
                <a:off x="1624" y="2488"/>
                <a:ext cx="137" cy="201"/>
              </a:xfrm>
              <a:custGeom>
                <a:avLst/>
                <a:gdLst/>
                <a:ahLst/>
                <a:cxnLst>
                  <a:cxn ang="0">
                    <a:pos x="319" y="13"/>
                  </a:cxn>
                  <a:cxn ang="0">
                    <a:pos x="335" y="50"/>
                  </a:cxn>
                  <a:cxn ang="0">
                    <a:pos x="284" y="110"/>
                  </a:cxn>
                  <a:cxn ang="0">
                    <a:pos x="204" y="156"/>
                  </a:cxn>
                  <a:cxn ang="0">
                    <a:pos x="170" y="190"/>
                  </a:cxn>
                  <a:cxn ang="0">
                    <a:pos x="159" y="190"/>
                  </a:cxn>
                  <a:cxn ang="0">
                    <a:pos x="138" y="253"/>
                  </a:cxn>
                  <a:cxn ang="0">
                    <a:pos x="97" y="260"/>
                  </a:cxn>
                  <a:cxn ang="0">
                    <a:pos x="72" y="242"/>
                  </a:cxn>
                  <a:cxn ang="0">
                    <a:pos x="43" y="242"/>
                  </a:cxn>
                  <a:cxn ang="0">
                    <a:pos x="52" y="214"/>
                  </a:cxn>
                  <a:cxn ang="0">
                    <a:pos x="51" y="188"/>
                  </a:cxn>
                  <a:cxn ang="0">
                    <a:pos x="3" y="231"/>
                  </a:cxn>
                  <a:cxn ang="0">
                    <a:pos x="9" y="271"/>
                  </a:cxn>
                  <a:cxn ang="0">
                    <a:pos x="21" y="308"/>
                  </a:cxn>
                  <a:cxn ang="0">
                    <a:pos x="51" y="350"/>
                  </a:cxn>
                  <a:cxn ang="0">
                    <a:pos x="89" y="387"/>
                  </a:cxn>
                  <a:cxn ang="0">
                    <a:pos x="140" y="478"/>
                  </a:cxn>
                  <a:cxn ang="0">
                    <a:pos x="188" y="578"/>
                  </a:cxn>
                  <a:cxn ang="0">
                    <a:pos x="212" y="632"/>
                  </a:cxn>
                  <a:cxn ang="0">
                    <a:pos x="256" y="711"/>
                  </a:cxn>
                  <a:cxn ang="0">
                    <a:pos x="267" y="764"/>
                  </a:cxn>
                  <a:cxn ang="0">
                    <a:pos x="298" y="807"/>
                  </a:cxn>
                  <a:cxn ang="0">
                    <a:pos x="391" y="874"/>
                  </a:cxn>
                  <a:cxn ang="0">
                    <a:pos x="481" y="922"/>
                  </a:cxn>
                  <a:cxn ang="0">
                    <a:pos x="532" y="957"/>
                  </a:cxn>
                  <a:cxn ang="0">
                    <a:pos x="584" y="1001"/>
                  </a:cxn>
                  <a:cxn ang="0">
                    <a:pos x="620" y="995"/>
                  </a:cxn>
                  <a:cxn ang="0">
                    <a:pos x="638" y="968"/>
                  </a:cxn>
                  <a:cxn ang="0">
                    <a:pos x="649" y="935"/>
                  </a:cxn>
                  <a:cxn ang="0">
                    <a:pos x="665" y="888"/>
                  </a:cxn>
                  <a:cxn ang="0">
                    <a:pos x="651" y="865"/>
                  </a:cxn>
                  <a:cxn ang="0">
                    <a:pos x="665" y="826"/>
                  </a:cxn>
                  <a:cxn ang="0">
                    <a:pos x="671" y="793"/>
                  </a:cxn>
                  <a:cxn ang="0">
                    <a:pos x="671" y="724"/>
                  </a:cxn>
                  <a:cxn ang="0">
                    <a:pos x="686" y="675"/>
                  </a:cxn>
                  <a:cxn ang="0">
                    <a:pos x="612" y="598"/>
                  </a:cxn>
                  <a:cxn ang="0">
                    <a:pos x="591" y="564"/>
                  </a:cxn>
                  <a:cxn ang="0">
                    <a:pos x="578" y="514"/>
                  </a:cxn>
                  <a:cxn ang="0">
                    <a:pos x="502" y="537"/>
                  </a:cxn>
                  <a:cxn ang="0">
                    <a:pos x="468" y="512"/>
                  </a:cxn>
                  <a:cxn ang="0">
                    <a:pos x="450" y="480"/>
                  </a:cxn>
                  <a:cxn ang="0">
                    <a:pos x="422" y="432"/>
                  </a:cxn>
                  <a:cxn ang="0">
                    <a:pos x="428" y="362"/>
                  </a:cxn>
                  <a:cxn ang="0">
                    <a:pos x="452" y="318"/>
                  </a:cxn>
                  <a:cxn ang="0">
                    <a:pos x="510" y="254"/>
                  </a:cxn>
                  <a:cxn ang="0">
                    <a:pos x="620" y="225"/>
                  </a:cxn>
                  <a:cxn ang="0">
                    <a:pos x="596" y="205"/>
                  </a:cxn>
                  <a:cxn ang="0">
                    <a:pos x="593" y="182"/>
                  </a:cxn>
                  <a:cxn ang="0">
                    <a:pos x="605" y="137"/>
                  </a:cxn>
                  <a:cxn ang="0">
                    <a:pos x="553" y="126"/>
                  </a:cxn>
                  <a:cxn ang="0">
                    <a:pos x="516" y="120"/>
                  </a:cxn>
                  <a:cxn ang="0">
                    <a:pos x="499" y="132"/>
                  </a:cxn>
                  <a:cxn ang="0">
                    <a:pos x="461" y="130"/>
                  </a:cxn>
                  <a:cxn ang="0">
                    <a:pos x="438" y="96"/>
                  </a:cxn>
                  <a:cxn ang="0">
                    <a:pos x="419" y="69"/>
                  </a:cxn>
                  <a:cxn ang="0">
                    <a:pos x="394" y="55"/>
                  </a:cxn>
                  <a:cxn ang="0">
                    <a:pos x="366" y="21"/>
                  </a:cxn>
                  <a:cxn ang="0">
                    <a:pos x="332" y="0"/>
                  </a:cxn>
                </a:cxnLst>
                <a:rect l="0" t="0" r="r" b="b"/>
                <a:pathLst>
                  <a:path w="686" h="1005">
                    <a:moveTo>
                      <a:pt x="328" y="0"/>
                    </a:moveTo>
                    <a:lnTo>
                      <a:pt x="326" y="2"/>
                    </a:lnTo>
                    <a:lnTo>
                      <a:pt x="315" y="2"/>
                    </a:lnTo>
                    <a:lnTo>
                      <a:pt x="314" y="11"/>
                    </a:lnTo>
                    <a:lnTo>
                      <a:pt x="319" y="13"/>
                    </a:lnTo>
                    <a:lnTo>
                      <a:pt x="321" y="16"/>
                    </a:lnTo>
                    <a:lnTo>
                      <a:pt x="326" y="27"/>
                    </a:lnTo>
                    <a:lnTo>
                      <a:pt x="327" y="32"/>
                    </a:lnTo>
                    <a:lnTo>
                      <a:pt x="335" y="49"/>
                    </a:lnTo>
                    <a:lnTo>
                      <a:pt x="335" y="50"/>
                    </a:lnTo>
                    <a:lnTo>
                      <a:pt x="326" y="50"/>
                    </a:lnTo>
                    <a:lnTo>
                      <a:pt x="319" y="65"/>
                    </a:lnTo>
                    <a:lnTo>
                      <a:pt x="305" y="89"/>
                    </a:lnTo>
                    <a:lnTo>
                      <a:pt x="292" y="104"/>
                    </a:lnTo>
                    <a:lnTo>
                      <a:pt x="284" y="110"/>
                    </a:lnTo>
                    <a:lnTo>
                      <a:pt x="274" y="119"/>
                    </a:lnTo>
                    <a:lnTo>
                      <a:pt x="265" y="131"/>
                    </a:lnTo>
                    <a:lnTo>
                      <a:pt x="256" y="137"/>
                    </a:lnTo>
                    <a:lnTo>
                      <a:pt x="240" y="145"/>
                    </a:lnTo>
                    <a:lnTo>
                      <a:pt x="204" y="156"/>
                    </a:lnTo>
                    <a:lnTo>
                      <a:pt x="186" y="163"/>
                    </a:lnTo>
                    <a:lnTo>
                      <a:pt x="179" y="168"/>
                    </a:lnTo>
                    <a:lnTo>
                      <a:pt x="176" y="171"/>
                    </a:lnTo>
                    <a:lnTo>
                      <a:pt x="171" y="180"/>
                    </a:lnTo>
                    <a:lnTo>
                      <a:pt x="170" y="190"/>
                    </a:lnTo>
                    <a:lnTo>
                      <a:pt x="166" y="193"/>
                    </a:lnTo>
                    <a:lnTo>
                      <a:pt x="164" y="193"/>
                    </a:lnTo>
                    <a:lnTo>
                      <a:pt x="160" y="189"/>
                    </a:lnTo>
                    <a:lnTo>
                      <a:pt x="159" y="189"/>
                    </a:lnTo>
                    <a:lnTo>
                      <a:pt x="159" y="190"/>
                    </a:lnTo>
                    <a:lnTo>
                      <a:pt x="144" y="210"/>
                    </a:lnTo>
                    <a:lnTo>
                      <a:pt x="142" y="223"/>
                    </a:lnTo>
                    <a:lnTo>
                      <a:pt x="142" y="244"/>
                    </a:lnTo>
                    <a:lnTo>
                      <a:pt x="139" y="252"/>
                    </a:lnTo>
                    <a:lnTo>
                      <a:pt x="138" y="253"/>
                    </a:lnTo>
                    <a:lnTo>
                      <a:pt x="128" y="257"/>
                    </a:lnTo>
                    <a:lnTo>
                      <a:pt x="121" y="264"/>
                    </a:lnTo>
                    <a:lnTo>
                      <a:pt x="110" y="269"/>
                    </a:lnTo>
                    <a:lnTo>
                      <a:pt x="102" y="268"/>
                    </a:lnTo>
                    <a:lnTo>
                      <a:pt x="97" y="260"/>
                    </a:lnTo>
                    <a:lnTo>
                      <a:pt x="95" y="254"/>
                    </a:lnTo>
                    <a:lnTo>
                      <a:pt x="90" y="245"/>
                    </a:lnTo>
                    <a:lnTo>
                      <a:pt x="84" y="245"/>
                    </a:lnTo>
                    <a:lnTo>
                      <a:pt x="74" y="245"/>
                    </a:lnTo>
                    <a:lnTo>
                      <a:pt x="72" y="242"/>
                    </a:lnTo>
                    <a:lnTo>
                      <a:pt x="67" y="238"/>
                    </a:lnTo>
                    <a:lnTo>
                      <a:pt x="58" y="238"/>
                    </a:lnTo>
                    <a:lnTo>
                      <a:pt x="50" y="243"/>
                    </a:lnTo>
                    <a:lnTo>
                      <a:pt x="45" y="244"/>
                    </a:lnTo>
                    <a:lnTo>
                      <a:pt x="43" y="242"/>
                    </a:lnTo>
                    <a:lnTo>
                      <a:pt x="41" y="228"/>
                    </a:lnTo>
                    <a:lnTo>
                      <a:pt x="39" y="223"/>
                    </a:lnTo>
                    <a:lnTo>
                      <a:pt x="39" y="221"/>
                    </a:lnTo>
                    <a:lnTo>
                      <a:pt x="42" y="216"/>
                    </a:lnTo>
                    <a:lnTo>
                      <a:pt x="52" y="214"/>
                    </a:lnTo>
                    <a:lnTo>
                      <a:pt x="57" y="209"/>
                    </a:lnTo>
                    <a:lnTo>
                      <a:pt x="56" y="200"/>
                    </a:lnTo>
                    <a:lnTo>
                      <a:pt x="54" y="198"/>
                    </a:lnTo>
                    <a:lnTo>
                      <a:pt x="52" y="188"/>
                    </a:lnTo>
                    <a:lnTo>
                      <a:pt x="51" y="188"/>
                    </a:lnTo>
                    <a:lnTo>
                      <a:pt x="51" y="185"/>
                    </a:lnTo>
                    <a:lnTo>
                      <a:pt x="43" y="193"/>
                    </a:lnTo>
                    <a:lnTo>
                      <a:pt x="32" y="200"/>
                    </a:lnTo>
                    <a:lnTo>
                      <a:pt x="18" y="216"/>
                    </a:lnTo>
                    <a:lnTo>
                      <a:pt x="3" y="231"/>
                    </a:lnTo>
                    <a:lnTo>
                      <a:pt x="2" y="236"/>
                    </a:lnTo>
                    <a:lnTo>
                      <a:pt x="0" y="245"/>
                    </a:lnTo>
                    <a:lnTo>
                      <a:pt x="3" y="260"/>
                    </a:lnTo>
                    <a:lnTo>
                      <a:pt x="4" y="263"/>
                    </a:lnTo>
                    <a:lnTo>
                      <a:pt x="9" y="271"/>
                    </a:lnTo>
                    <a:lnTo>
                      <a:pt x="10" y="284"/>
                    </a:lnTo>
                    <a:lnTo>
                      <a:pt x="19" y="292"/>
                    </a:lnTo>
                    <a:lnTo>
                      <a:pt x="24" y="298"/>
                    </a:lnTo>
                    <a:lnTo>
                      <a:pt x="24" y="302"/>
                    </a:lnTo>
                    <a:lnTo>
                      <a:pt x="21" y="308"/>
                    </a:lnTo>
                    <a:lnTo>
                      <a:pt x="11" y="318"/>
                    </a:lnTo>
                    <a:lnTo>
                      <a:pt x="14" y="323"/>
                    </a:lnTo>
                    <a:lnTo>
                      <a:pt x="29" y="333"/>
                    </a:lnTo>
                    <a:lnTo>
                      <a:pt x="37" y="340"/>
                    </a:lnTo>
                    <a:lnTo>
                      <a:pt x="51" y="350"/>
                    </a:lnTo>
                    <a:lnTo>
                      <a:pt x="58" y="355"/>
                    </a:lnTo>
                    <a:lnTo>
                      <a:pt x="73" y="367"/>
                    </a:lnTo>
                    <a:lnTo>
                      <a:pt x="80" y="379"/>
                    </a:lnTo>
                    <a:lnTo>
                      <a:pt x="83" y="379"/>
                    </a:lnTo>
                    <a:lnTo>
                      <a:pt x="89" y="387"/>
                    </a:lnTo>
                    <a:lnTo>
                      <a:pt x="97" y="413"/>
                    </a:lnTo>
                    <a:lnTo>
                      <a:pt x="102" y="422"/>
                    </a:lnTo>
                    <a:lnTo>
                      <a:pt x="133" y="452"/>
                    </a:lnTo>
                    <a:lnTo>
                      <a:pt x="139" y="467"/>
                    </a:lnTo>
                    <a:lnTo>
                      <a:pt x="140" y="478"/>
                    </a:lnTo>
                    <a:lnTo>
                      <a:pt x="143" y="484"/>
                    </a:lnTo>
                    <a:lnTo>
                      <a:pt x="155" y="507"/>
                    </a:lnTo>
                    <a:lnTo>
                      <a:pt x="161" y="522"/>
                    </a:lnTo>
                    <a:lnTo>
                      <a:pt x="170" y="549"/>
                    </a:lnTo>
                    <a:lnTo>
                      <a:pt x="188" y="578"/>
                    </a:lnTo>
                    <a:lnTo>
                      <a:pt x="191" y="584"/>
                    </a:lnTo>
                    <a:lnTo>
                      <a:pt x="193" y="608"/>
                    </a:lnTo>
                    <a:lnTo>
                      <a:pt x="199" y="624"/>
                    </a:lnTo>
                    <a:lnTo>
                      <a:pt x="204" y="629"/>
                    </a:lnTo>
                    <a:lnTo>
                      <a:pt x="212" y="632"/>
                    </a:lnTo>
                    <a:lnTo>
                      <a:pt x="217" y="639"/>
                    </a:lnTo>
                    <a:lnTo>
                      <a:pt x="225" y="659"/>
                    </a:lnTo>
                    <a:lnTo>
                      <a:pt x="239" y="678"/>
                    </a:lnTo>
                    <a:lnTo>
                      <a:pt x="249" y="693"/>
                    </a:lnTo>
                    <a:lnTo>
                      <a:pt x="256" y="711"/>
                    </a:lnTo>
                    <a:lnTo>
                      <a:pt x="269" y="726"/>
                    </a:lnTo>
                    <a:lnTo>
                      <a:pt x="274" y="742"/>
                    </a:lnTo>
                    <a:lnTo>
                      <a:pt x="277" y="754"/>
                    </a:lnTo>
                    <a:lnTo>
                      <a:pt x="271" y="758"/>
                    </a:lnTo>
                    <a:lnTo>
                      <a:pt x="267" y="764"/>
                    </a:lnTo>
                    <a:lnTo>
                      <a:pt x="269" y="776"/>
                    </a:lnTo>
                    <a:lnTo>
                      <a:pt x="272" y="780"/>
                    </a:lnTo>
                    <a:lnTo>
                      <a:pt x="283" y="791"/>
                    </a:lnTo>
                    <a:lnTo>
                      <a:pt x="290" y="802"/>
                    </a:lnTo>
                    <a:lnTo>
                      <a:pt x="298" y="807"/>
                    </a:lnTo>
                    <a:lnTo>
                      <a:pt x="317" y="828"/>
                    </a:lnTo>
                    <a:lnTo>
                      <a:pt x="327" y="834"/>
                    </a:lnTo>
                    <a:lnTo>
                      <a:pt x="335" y="842"/>
                    </a:lnTo>
                    <a:lnTo>
                      <a:pt x="359" y="858"/>
                    </a:lnTo>
                    <a:lnTo>
                      <a:pt x="391" y="874"/>
                    </a:lnTo>
                    <a:lnTo>
                      <a:pt x="411" y="890"/>
                    </a:lnTo>
                    <a:lnTo>
                      <a:pt x="414" y="892"/>
                    </a:lnTo>
                    <a:lnTo>
                      <a:pt x="455" y="908"/>
                    </a:lnTo>
                    <a:lnTo>
                      <a:pt x="478" y="921"/>
                    </a:lnTo>
                    <a:lnTo>
                      <a:pt x="481" y="922"/>
                    </a:lnTo>
                    <a:lnTo>
                      <a:pt x="486" y="922"/>
                    </a:lnTo>
                    <a:lnTo>
                      <a:pt x="491" y="923"/>
                    </a:lnTo>
                    <a:lnTo>
                      <a:pt x="513" y="941"/>
                    </a:lnTo>
                    <a:lnTo>
                      <a:pt x="525" y="948"/>
                    </a:lnTo>
                    <a:lnTo>
                      <a:pt x="532" y="957"/>
                    </a:lnTo>
                    <a:lnTo>
                      <a:pt x="541" y="964"/>
                    </a:lnTo>
                    <a:lnTo>
                      <a:pt x="551" y="974"/>
                    </a:lnTo>
                    <a:lnTo>
                      <a:pt x="562" y="989"/>
                    </a:lnTo>
                    <a:lnTo>
                      <a:pt x="574" y="995"/>
                    </a:lnTo>
                    <a:lnTo>
                      <a:pt x="584" y="1001"/>
                    </a:lnTo>
                    <a:lnTo>
                      <a:pt x="585" y="1001"/>
                    </a:lnTo>
                    <a:lnTo>
                      <a:pt x="589" y="1005"/>
                    </a:lnTo>
                    <a:lnTo>
                      <a:pt x="599" y="996"/>
                    </a:lnTo>
                    <a:lnTo>
                      <a:pt x="601" y="996"/>
                    </a:lnTo>
                    <a:lnTo>
                      <a:pt x="620" y="995"/>
                    </a:lnTo>
                    <a:lnTo>
                      <a:pt x="626" y="992"/>
                    </a:lnTo>
                    <a:lnTo>
                      <a:pt x="627" y="991"/>
                    </a:lnTo>
                    <a:lnTo>
                      <a:pt x="628" y="982"/>
                    </a:lnTo>
                    <a:lnTo>
                      <a:pt x="634" y="973"/>
                    </a:lnTo>
                    <a:lnTo>
                      <a:pt x="638" y="968"/>
                    </a:lnTo>
                    <a:lnTo>
                      <a:pt x="642" y="966"/>
                    </a:lnTo>
                    <a:lnTo>
                      <a:pt x="638" y="960"/>
                    </a:lnTo>
                    <a:lnTo>
                      <a:pt x="636" y="960"/>
                    </a:lnTo>
                    <a:lnTo>
                      <a:pt x="637" y="954"/>
                    </a:lnTo>
                    <a:lnTo>
                      <a:pt x="649" y="935"/>
                    </a:lnTo>
                    <a:lnTo>
                      <a:pt x="659" y="923"/>
                    </a:lnTo>
                    <a:lnTo>
                      <a:pt x="671" y="906"/>
                    </a:lnTo>
                    <a:lnTo>
                      <a:pt x="672" y="896"/>
                    </a:lnTo>
                    <a:lnTo>
                      <a:pt x="671" y="893"/>
                    </a:lnTo>
                    <a:lnTo>
                      <a:pt x="665" y="888"/>
                    </a:lnTo>
                    <a:lnTo>
                      <a:pt x="660" y="885"/>
                    </a:lnTo>
                    <a:lnTo>
                      <a:pt x="656" y="880"/>
                    </a:lnTo>
                    <a:lnTo>
                      <a:pt x="654" y="879"/>
                    </a:lnTo>
                    <a:lnTo>
                      <a:pt x="653" y="873"/>
                    </a:lnTo>
                    <a:lnTo>
                      <a:pt x="651" y="865"/>
                    </a:lnTo>
                    <a:lnTo>
                      <a:pt x="653" y="851"/>
                    </a:lnTo>
                    <a:lnTo>
                      <a:pt x="658" y="842"/>
                    </a:lnTo>
                    <a:lnTo>
                      <a:pt x="663" y="839"/>
                    </a:lnTo>
                    <a:lnTo>
                      <a:pt x="665" y="831"/>
                    </a:lnTo>
                    <a:lnTo>
                      <a:pt x="665" y="826"/>
                    </a:lnTo>
                    <a:lnTo>
                      <a:pt x="664" y="820"/>
                    </a:lnTo>
                    <a:lnTo>
                      <a:pt x="654" y="809"/>
                    </a:lnTo>
                    <a:lnTo>
                      <a:pt x="654" y="806"/>
                    </a:lnTo>
                    <a:lnTo>
                      <a:pt x="658" y="799"/>
                    </a:lnTo>
                    <a:lnTo>
                      <a:pt x="671" y="793"/>
                    </a:lnTo>
                    <a:lnTo>
                      <a:pt x="672" y="791"/>
                    </a:lnTo>
                    <a:lnTo>
                      <a:pt x="672" y="772"/>
                    </a:lnTo>
                    <a:lnTo>
                      <a:pt x="669" y="754"/>
                    </a:lnTo>
                    <a:lnTo>
                      <a:pt x="669" y="743"/>
                    </a:lnTo>
                    <a:lnTo>
                      <a:pt x="671" y="724"/>
                    </a:lnTo>
                    <a:lnTo>
                      <a:pt x="671" y="700"/>
                    </a:lnTo>
                    <a:lnTo>
                      <a:pt x="676" y="689"/>
                    </a:lnTo>
                    <a:lnTo>
                      <a:pt x="683" y="680"/>
                    </a:lnTo>
                    <a:lnTo>
                      <a:pt x="686" y="678"/>
                    </a:lnTo>
                    <a:lnTo>
                      <a:pt x="686" y="675"/>
                    </a:lnTo>
                    <a:lnTo>
                      <a:pt x="671" y="652"/>
                    </a:lnTo>
                    <a:lnTo>
                      <a:pt x="637" y="593"/>
                    </a:lnTo>
                    <a:lnTo>
                      <a:pt x="620" y="594"/>
                    </a:lnTo>
                    <a:lnTo>
                      <a:pt x="612" y="598"/>
                    </a:lnTo>
                    <a:lnTo>
                      <a:pt x="612" y="598"/>
                    </a:lnTo>
                    <a:lnTo>
                      <a:pt x="605" y="600"/>
                    </a:lnTo>
                    <a:lnTo>
                      <a:pt x="600" y="600"/>
                    </a:lnTo>
                    <a:lnTo>
                      <a:pt x="594" y="597"/>
                    </a:lnTo>
                    <a:lnTo>
                      <a:pt x="591" y="593"/>
                    </a:lnTo>
                    <a:lnTo>
                      <a:pt x="591" y="564"/>
                    </a:lnTo>
                    <a:lnTo>
                      <a:pt x="591" y="560"/>
                    </a:lnTo>
                    <a:lnTo>
                      <a:pt x="591" y="506"/>
                    </a:lnTo>
                    <a:lnTo>
                      <a:pt x="591" y="503"/>
                    </a:lnTo>
                    <a:lnTo>
                      <a:pt x="588" y="505"/>
                    </a:lnTo>
                    <a:lnTo>
                      <a:pt x="578" y="514"/>
                    </a:lnTo>
                    <a:lnTo>
                      <a:pt x="556" y="530"/>
                    </a:lnTo>
                    <a:lnTo>
                      <a:pt x="538" y="540"/>
                    </a:lnTo>
                    <a:lnTo>
                      <a:pt x="530" y="541"/>
                    </a:lnTo>
                    <a:lnTo>
                      <a:pt x="515" y="540"/>
                    </a:lnTo>
                    <a:lnTo>
                      <a:pt x="502" y="537"/>
                    </a:lnTo>
                    <a:lnTo>
                      <a:pt x="499" y="533"/>
                    </a:lnTo>
                    <a:lnTo>
                      <a:pt x="497" y="522"/>
                    </a:lnTo>
                    <a:lnTo>
                      <a:pt x="493" y="517"/>
                    </a:lnTo>
                    <a:lnTo>
                      <a:pt x="488" y="513"/>
                    </a:lnTo>
                    <a:lnTo>
                      <a:pt x="468" y="512"/>
                    </a:lnTo>
                    <a:lnTo>
                      <a:pt x="456" y="508"/>
                    </a:lnTo>
                    <a:lnTo>
                      <a:pt x="455" y="505"/>
                    </a:lnTo>
                    <a:lnTo>
                      <a:pt x="461" y="495"/>
                    </a:lnTo>
                    <a:lnTo>
                      <a:pt x="460" y="486"/>
                    </a:lnTo>
                    <a:lnTo>
                      <a:pt x="450" y="480"/>
                    </a:lnTo>
                    <a:lnTo>
                      <a:pt x="438" y="467"/>
                    </a:lnTo>
                    <a:lnTo>
                      <a:pt x="434" y="459"/>
                    </a:lnTo>
                    <a:lnTo>
                      <a:pt x="425" y="448"/>
                    </a:lnTo>
                    <a:lnTo>
                      <a:pt x="424" y="444"/>
                    </a:lnTo>
                    <a:lnTo>
                      <a:pt x="422" y="432"/>
                    </a:lnTo>
                    <a:lnTo>
                      <a:pt x="411" y="409"/>
                    </a:lnTo>
                    <a:lnTo>
                      <a:pt x="411" y="405"/>
                    </a:lnTo>
                    <a:lnTo>
                      <a:pt x="412" y="401"/>
                    </a:lnTo>
                    <a:lnTo>
                      <a:pt x="424" y="379"/>
                    </a:lnTo>
                    <a:lnTo>
                      <a:pt x="428" y="362"/>
                    </a:lnTo>
                    <a:lnTo>
                      <a:pt x="432" y="357"/>
                    </a:lnTo>
                    <a:lnTo>
                      <a:pt x="441" y="355"/>
                    </a:lnTo>
                    <a:lnTo>
                      <a:pt x="450" y="354"/>
                    </a:lnTo>
                    <a:lnTo>
                      <a:pt x="450" y="324"/>
                    </a:lnTo>
                    <a:lnTo>
                      <a:pt x="452" y="318"/>
                    </a:lnTo>
                    <a:lnTo>
                      <a:pt x="461" y="302"/>
                    </a:lnTo>
                    <a:lnTo>
                      <a:pt x="470" y="290"/>
                    </a:lnTo>
                    <a:lnTo>
                      <a:pt x="483" y="274"/>
                    </a:lnTo>
                    <a:lnTo>
                      <a:pt x="494" y="265"/>
                    </a:lnTo>
                    <a:lnTo>
                      <a:pt x="510" y="254"/>
                    </a:lnTo>
                    <a:lnTo>
                      <a:pt x="529" y="247"/>
                    </a:lnTo>
                    <a:lnTo>
                      <a:pt x="580" y="232"/>
                    </a:lnTo>
                    <a:lnTo>
                      <a:pt x="593" y="227"/>
                    </a:lnTo>
                    <a:lnTo>
                      <a:pt x="613" y="228"/>
                    </a:lnTo>
                    <a:lnTo>
                      <a:pt x="620" y="225"/>
                    </a:lnTo>
                    <a:lnTo>
                      <a:pt x="621" y="222"/>
                    </a:lnTo>
                    <a:lnTo>
                      <a:pt x="613" y="221"/>
                    </a:lnTo>
                    <a:lnTo>
                      <a:pt x="605" y="210"/>
                    </a:lnTo>
                    <a:lnTo>
                      <a:pt x="600" y="206"/>
                    </a:lnTo>
                    <a:lnTo>
                      <a:pt x="596" y="205"/>
                    </a:lnTo>
                    <a:lnTo>
                      <a:pt x="591" y="206"/>
                    </a:lnTo>
                    <a:lnTo>
                      <a:pt x="586" y="205"/>
                    </a:lnTo>
                    <a:lnTo>
                      <a:pt x="585" y="202"/>
                    </a:lnTo>
                    <a:lnTo>
                      <a:pt x="585" y="193"/>
                    </a:lnTo>
                    <a:lnTo>
                      <a:pt x="593" y="182"/>
                    </a:lnTo>
                    <a:lnTo>
                      <a:pt x="605" y="169"/>
                    </a:lnTo>
                    <a:lnTo>
                      <a:pt x="611" y="162"/>
                    </a:lnTo>
                    <a:lnTo>
                      <a:pt x="615" y="155"/>
                    </a:lnTo>
                    <a:lnTo>
                      <a:pt x="615" y="150"/>
                    </a:lnTo>
                    <a:lnTo>
                      <a:pt x="605" y="137"/>
                    </a:lnTo>
                    <a:lnTo>
                      <a:pt x="588" y="128"/>
                    </a:lnTo>
                    <a:lnTo>
                      <a:pt x="572" y="121"/>
                    </a:lnTo>
                    <a:lnTo>
                      <a:pt x="564" y="120"/>
                    </a:lnTo>
                    <a:lnTo>
                      <a:pt x="562" y="120"/>
                    </a:lnTo>
                    <a:lnTo>
                      <a:pt x="553" y="126"/>
                    </a:lnTo>
                    <a:lnTo>
                      <a:pt x="545" y="128"/>
                    </a:lnTo>
                    <a:lnTo>
                      <a:pt x="537" y="126"/>
                    </a:lnTo>
                    <a:lnTo>
                      <a:pt x="532" y="121"/>
                    </a:lnTo>
                    <a:lnTo>
                      <a:pt x="525" y="120"/>
                    </a:lnTo>
                    <a:lnTo>
                      <a:pt x="516" y="120"/>
                    </a:lnTo>
                    <a:lnTo>
                      <a:pt x="513" y="121"/>
                    </a:lnTo>
                    <a:lnTo>
                      <a:pt x="509" y="125"/>
                    </a:lnTo>
                    <a:lnTo>
                      <a:pt x="505" y="126"/>
                    </a:lnTo>
                    <a:lnTo>
                      <a:pt x="503" y="130"/>
                    </a:lnTo>
                    <a:lnTo>
                      <a:pt x="499" y="132"/>
                    </a:lnTo>
                    <a:lnTo>
                      <a:pt x="492" y="134"/>
                    </a:lnTo>
                    <a:lnTo>
                      <a:pt x="488" y="134"/>
                    </a:lnTo>
                    <a:lnTo>
                      <a:pt x="480" y="130"/>
                    </a:lnTo>
                    <a:lnTo>
                      <a:pt x="466" y="129"/>
                    </a:lnTo>
                    <a:lnTo>
                      <a:pt x="461" y="130"/>
                    </a:lnTo>
                    <a:lnTo>
                      <a:pt x="451" y="129"/>
                    </a:lnTo>
                    <a:lnTo>
                      <a:pt x="446" y="124"/>
                    </a:lnTo>
                    <a:lnTo>
                      <a:pt x="443" y="119"/>
                    </a:lnTo>
                    <a:lnTo>
                      <a:pt x="443" y="97"/>
                    </a:lnTo>
                    <a:lnTo>
                      <a:pt x="438" y="96"/>
                    </a:lnTo>
                    <a:lnTo>
                      <a:pt x="429" y="96"/>
                    </a:lnTo>
                    <a:lnTo>
                      <a:pt x="425" y="93"/>
                    </a:lnTo>
                    <a:lnTo>
                      <a:pt x="424" y="89"/>
                    </a:lnTo>
                    <a:lnTo>
                      <a:pt x="421" y="81"/>
                    </a:lnTo>
                    <a:lnTo>
                      <a:pt x="419" y="69"/>
                    </a:lnTo>
                    <a:lnTo>
                      <a:pt x="416" y="62"/>
                    </a:lnTo>
                    <a:lnTo>
                      <a:pt x="411" y="59"/>
                    </a:lnTo>
                    <a:lnTo>
                      <a:pt x="405" y="56"/>
                    </a:lnTo>
                    <a:lnTo>
                      <a:pt x="400" y="56"/>
                    </a:lnTo>
                    <a:lnTo>
                      <a:pt x="394" y="55"/>
                    </a:lnTo>
                    <a:lnTo>
                      <a:pt x="391" y="50"/>
                    </a:lnTo>
                    <a:lnTo>
                      <a:pt x="385" y="46"/>
                    </a:lnTo>
                    <a:lnTo>
                      <a:pt x="380" y="38"/>
                    </a:lnTo>
                    <a:lnTo>
                      <a:pt x="375" y="24"/>
                    </a:lnTo>
                    <a:lnTo>
                      <a:pt x="366" y="21"/>
                    </a:lnTo>
                    <a:lnTo>
                      <a:pt x="362" y="17"/>
                    </a:lnTo>
                    <a:lnTo>
                      <a:pt x="357" y="8"/>
                    </a:lnTo>
                    <a:lnTo>
                      <a:pt x="352" y="6"/>
                    </a:lnTo>
                    <a:lnTo>
                      <a:pt x="342" y="3"/>
                    </a:lnTo>
                    <a:lnTo>
                      <a:pt x="332" y="0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82" name="Freeform 256"/>
              <p:cNvSpPr>
                <a:spLocks noChangeAspect="1"/>
              </p:cNvSpPr>
              <p:nvPr/>
            </p:nvSpPr>
            <p:spPr bwMode="gray">
              <a:xfrm>
                <a:off x="1711" y="2730"/>
                <a:ext cx="216" cy="429"/>
              </a:xfrm>
              <a:custGeom>
                <a:avLst/>
                <a:gdLst/>
                <a:ahLst/>
                <a:cxnLst>
                  <a:cxn ang="0">
                    <a:pos x="150" y="2125"/>
                  </a:cxn>
                  <a:cxn ang="0">
                    <a:pos x="60" y="2037"/>
                  </a:cxn>
                  <a:cxn ang="0">
                    <a:pos x="17" y="2007"/>
                  </a:cxn>
                  <a:cxn ang="0">
                    <a:pos x="1" y="1952"/>
                  </a:cxn>
                  <a:cxn ang="0">
                    <a:pos x="49" y="1834"/>
                  </a:cxn>
                  <a:cxn ang="0">
                    <a:pos x="52" y="1773"/>
                  </a:cxn>
                  <a:cxn ang="0">
                    <a:pos x="93" y="1669"/>
                  </a:cxn>
                  <a:cxn ang="0">
                    <a:pos x="104" y="1561"/>
                  </a:cxn>
                  <a:cxn ang="0">
                    <a:pos x="113" y="1513"/>
                  </a:cxn>
                  <a:cxn ang="0">
                    <a:pos x="79" y="1432"/>
                  </a:cxn>
                  <a:cxn ang="0">
                    <a:pos x="86" y="1317"/>
                  </a:cxn>
                  <a:cxn ang="0">
                    <a:pos x="89" y="1194"/>
                  </a:cxn>
                  <a:cxn ang="0">
                    <a:pos x="128" y="1068"/>
                  </a:cxn>
                  <a:cxn ang="0">
                    <a:pos x="138" y="915"/>
                  </a:cxn>
                  <a:cxn ang="0">
                    <a:pos x="156" y="871"/>
                  </a:cxn>
                  <a:cxn ang="0">
                    <a:pos x="192" y="751"/>
                  </a:cxn>
                  <a:cxn ang="0">
                    <a:pos x="165" y="617"/>
                  </a:cxn>
                  <a:cxn ang="0">
                    <a:pos x="179" y="530"/>
                  </a:cxn>
                  <a:cxn ang="0">
                    <a:pos x="192" y="450"/>
                  </a:cxn>
                  <a:cxn ang="0">
                    <a:pos x="260" y="312"/>
                  </a:cxn>
                  <a:cxn ang="0">
                    <a:pos x="263" y="221"/>
                  </a:cxn>
                  <a:cxn ang="0">
                    <a:pos x="317" y="139"/>
                  </a:cxn>
                  <a:cxn ang="0">
                    <a:pos x="340" y="62"/>
                  </a:cxn>
                  <a:cxn ang="0">
                    <a:pos x="396" y="0"/>
                  </a:cxn>
                  <a:cxn ang="0">
                    <a:pos x="477" y="30"/>
                  </a:cxn>
                  <a:cxn ang="0">
                    <a:pos x="507" y="16"/>
                  </a:cxn>
                  <a:cxn ang="0">
                    <a:pos x="577" y="27"/>
                  </a:cxn>
                  <a:cxn ang="0">
                    <a:pos x="671" y="105"/>
                  </a:cxn>
                  <a:cxn ang="0">
                    <a:pos x="752" y="143"/>
                  </a:cxn>
                  <a:cxn ang="0">
                    <a:pos x="850" y="209"/>
                  </a:cxn>
                  <a:cxn ang="0">
                    <a:pos x="821" y="302"/>
                  </a:cxn>
                  <a:cxn ang="0">
                    <a:pos x="908" y="342"/>
                  </a:cxn>
                  <a:cxn ang="0">
                    <a:pos x="972" y="332"/>
                  </a:cxn>
                  <a:cxn ang="0">
                    <a:pos x="1025" y="280"/>
                  </a:cxn>
                  <a:cxn ang="0">
                    <a:pos x="1080" y="270"/>
                  </a:cxn>
                  <a:cxn ang="0">
                    <a:pos x="1023" y="344"/>
                  </a:cxn>
                  <a:cxn ang="0">
                    <a:pos x="914" y="467"/>
                  </a:cxn>
                  <a:cxn ang="0">
                    <a:pos x="851" y="528"/>
                  </a:cxn>
                  <a:cxn ang="0">
                    <a:pos x="835" y="686"/>
                  </a:cxn>
                  <a:cxn ang="0">
                    <a:pos x="813" y="776"/>
                  </a:cxn>
                  <a:cxn ang="0">
                    <a:pos x="878" y="892"/>
                  </a:cxn>
                  <a:cxn ang="0">
                    <a:pos x="877" y="1004"/>
                  </a:cxn>
                  <a:cxn ang="0">
                    <a:pos x="765" y="1080"/>
                  </a:cxn>
                  <a:cxn ang="0">
                    <a:pos x="604" y="1088"/>
                  </a:cxn>
                  <a:cxn ang="0">
                    <a:pos x="604" y="1169"/>
                  </a:cxn>
                  <a:cxn ang="0">
                    <a:pos x="526" y="1251"/>
                  </a:cxn>
                  <a:cxn ang="0">
                    <a:pos x="457" y="1270"/>
                  </a:cxn>
                  <a:cxn ang="0">
                    <a:pos x="505" y="1332"/>
                  </a:cxn>
                  <a:cxn ang="0">
                    <a:pos x="518" y="1376"/>
                  </a:cxn>
                  <a:cxn ang="0">
                    <a:pos x="463" y="1361"/>
                  </a:cxn>
                  <a:cxn ang="0">
                    <a:pos x="466" y="1407"/>
                  </a:cxn>
                  <a:cxn ang="0">
                    <a:pos x="445" y="1501"/>
                  </a:cxn>
                  <a:cxn ang="0">
                    <a:pos x="386" y="1547"/>
                  </a:cxn>
                  <a:cxn ang="0">
                    <a:pos x="318" y="1633"/>
                  </a:cxn>
                  <a:cxn ang="0">
                    <a:pos x="414" y="1705"/>
                  </a:cxn>
                  <a:cxn ang="0">
                    <a:pos x="410" y="1780"/>
                  </a:cxn>
                  <a:cxn ang="0">
                    <a:pos x="321" y="1862"/>
                  </a:cxn>
                  <a:cxn ang="0">
                    <a:pos x="276" y="1953"/>
                  </a:cxn>
                  <a:cxn ang="0">
                    <a:pos x="238" y="1983"/>
                  </a:cxn>
                  <a:cxn ang="0">
                    <a:pos x="225" y="2080"/>
                  </a:cxn>
                </a:cxnLst>
                <a:rect l="0" t="0" r="r" b="b"/>
                <a:pathLst>
                  <a:path w="1080" h="2146">
                    <a:moveTo>
                      <a:pt x="275" y="2146"/>
                    </a:moveTo>
                    <a:lnTo>
                      <a:pt x="270" y="2145"/>
                    </a:lnTo>
                    <a:lnTo>
                      <a:pt x="256" y="2136"/>
                    </a:lnTo>
                    <a:lnTo>
                      <a:pt x="224" y="2131"/>
                    </a:lnTo>
                    <a:lnTo>
                      <a:pt x="198" y="2123"/>
                    </a:lnTo>
                    <a:lnTo>
                      <a:pt x="187" y="2121"/>
                    </a:lnTo>
                    <a:lnTo>
                      <a:pt x="170" y="2125"/>
                    </a:lnTo>
                    <a:lnTo>
                      <a:pt x="150" y="2125"/>
                    </a:lnTo>
                    <a:lnTo>
                      <a:pt x="145" y="2125"/>
                    </a:lnTo>
                    <a:lnTo>
                      <a:pt x="140" y="2124"/>
                    </a:lnTo>
                    <a:lnTo>
                      <a:pt x="85" y="2124"/>
                    </a:lnTo>
                    <a:lnTo>
                      <a:pt x="71" y="2118"/>
                    </a:lnTo>
                    <a:lnTo>
                      <a:pt x="66" y="2113"/>
                    </a:lnTo>
                    <a:lnTo>
                      <a:pt x="60" y="2099"/>
                    </a:lnTo>
                    <a:lnTo>
                      <a:pt x="59" y="2094"/>
                    </a:lnTo>
                    <a:lnTo>
                      <a:pt x="60" y="2037"/>
                    </a:lnTo>
                    <a:lnTo>
                      <a:pt x="59" y="2022"/>
                    </a:lnTo>
                    <a:lnTo>
                      <a:pt x="57" y="2003"/>
                    </a:lnTo>
                    <a:lnTo>
                      <a:pt x="55" y="2001"/>
                    </a:lnTo>
                    <a:lnTo>
                      <a:pt x="50" y="2000"/>
                    </a:lnTo>
                    <a:lnTo>
                      <a:pt x="49" y="2000"/>
                    </a:lnTo>
                    <a:lnTo>
                      <a:pt x="44" y="2006"/>
                    </a:lnTo>
                    <a:lnTo>
                      <a:pt x="26" y="2002"/>
                    </a:lnTo>
                    <a:lnTo>
                      <a:pt x="17" y="2007"/>
                    </a:lnTo>
                    <a:lnTo>
                      <a:pt x="14" y="2015"/>
                    </a:lnTo>
                    <a:lnTo>
                      <a:pt x="10" y="2018"/>
                    </a:lnTo>
                    <a:lnTo>
                      <a:pt x="6" y="2016"/>
                    </a:lnTo>
                    <a:lnTo>
                      <a:pt x="4" y="2010"/>
                    </a:lnTo>
                    <a:lnTo>
                      <a:pt x="1" y="1995"/>
                    </a:lnTo>
                    <a:lnTo>
                      <a:pt x="0" y="1992"/>
                    </a:lnTo>
                    <a:lnTo>
                      <a:pt x="0" y="1962"/>
                    </a:lnTo>
                    <a:lnTo>
                      <a:pt x="1" y="1952"/>
                    </a:lnTo>
                    <a:lnTo>
                      <a:pt x="1" y="1940"/>
                    </a:lnTo>
                    <a:lnTo>
                      <a:pt x="9" y="1908"/>
                    </a:lnTo>
                    <a:lnTo>
                      <a:pt x="14" y="1897"/>
                    </a:lnTo>
                    <a:lnTo>
                      <a:pt x="18" y="1893"/>
                    </a:lnTo>
                    <a:lnTo>
                      <a:pt x="32" y="1866"/>
                    </a:lnTo>
                    <a:lnTo>
                      <a:pt x="43" y="1852"/>
                    </a:lnTo>
                    <a:lnTo>
                      <a:pt x="46" y="1847"/>
                    </a:lnTo>
                    <a:lnTo>
                      <a:pt x="49" y="1834"/>
                    </a:lnTo>
                    <a:lnTo>
                      <a:pt x="52" y="1813"/>
                    </a:lnTo>
                    <a:lnTo>
                      <a:pt x="53" y="1809"/>
                    </a:lnTo>
                    <a:lnTo>
                      <a:pt x="57" y="1807"/>
                    </a:lnTo>
                    <a:lnTo>
                      <a:pt x="57" y="1798"/>
                    </a:lnTo>
                    <a:lnTo>
                      <a:pt x="55" y="1787"/>
                    </a:lnTo>
                    <a:lnTo>
                      <a:pt x="52" y="1781"/>
                    </a:lnTo>
                    <a:lnTo>
                      <a:pt x="52" y="1773"/>
                    </a:lnTo>
                    <a:lnTo>
                      <a:pt x="52" y="1773"/>
                    </a:lnTo>
                    <a:lnTo>
                      <a:pt x="52" y="1758"/>
                    </a:lnTo>
                    <a:lnTo>
                      <a:pt x="53" y="1752"/>
                    </a:lnTo>
                    <a:lnTo>
                      <a:pt x="57" y="1746"/>
                    </a:lnTo>
                    <a:lnTo>
                      <a:pt x="70" y="1727"/>
                    </a:lnTo>
                    <a:lnTo>
                      <a:pt x="80" y="1709"/>
                    </a:lnTo>
                    <a:lnTo>
                      <a:pt x="81" y="1699"/>
                    </a:lnTo>
                    <a:lnTo>
                      <a:pt x="89" y="1684"/>
                    </a:lnTo>
                    <a:lnTo>
                      <a:pt x="93" y="1669"/>
                    </a:lnTo>
                    <a:lnTo>
                      <a:pt x="95" y="1631"/>
                    </a:lnTo>
                    <a:lnTo>
                      <a:pt x="93" y="1624"/>
                    </a:lnTo>
                    <a:lnTo>
                      <a:pt x="93" y="1612"/>
                    </a:lnTo>
                    <a:lnTo>
                      <a:pt x="95" y="1607"/>
                    </a:lnTo>
                    <a:lnTo>
                      <a:pt x="95" y="1580"/>
                    </a:lnTo>
                    <a:lnTo>
                      <a:pt x="96" y="1571"/>
                    </a:lnTo>
                    <a:lnTo>
                      <a:pt x="100" y="1566"/>
                    </a:lnTo>
                    <a:lnTo>
                      <a:pt x="104" y="1561"/>
                    </a:lnTo>
                    <a:lnTo>
                      <a:pt x="104" y="1550"/>
                    </a:lnTo>
                    <a:lnTo>
                      <a:pt x="95" y="1539"/>
                    </a:lnTo>
                    <a:lnTo>
                      <a:pt x="81" y="1533"/>
                    </a:lnTo>
                    <a:lnTo>
                      <a:pt x="77" y="1523"/>
                    </a:lnTo>
                    <a:lnTo>
                      <a:pt x="81" y="1521"/>
                    </a:lnTo>
                    <a:lnTo>
                      <a:pt x="97" y="1523"/>
                    </a:lnTo>
                    <a:lnTo>
                      <a:pt x="111" y="1522"/>
                    </a:lnTo>
                    <a:lnTo>
                      <a:pt x="113" y="1513"/>
                    </a:lnTo>
                    <a:lnTo>
                      <a:pt x="112" y="1505"/>
                    </a:lnTo>
                    <a:lnTo>
                      <a:pt x="104" y="1496"/>
                    </a:lnTo>
                    <a:lnTo>
                      <a:pt x="90" y="1491"/>
                    </a:lnTo>
                    <a:lnTo>
                      <a:pt x="82" y="1491"/>
                    </a:lnTo>
                    <a:lnTo>
                      <a:pt x="82" y="1486"/>
                    </a:lnTo>
                    <a:lnTo>
                      <a:pt x="86" y="1457"/>
                    </a:lnTo>
                    <a:lnTo>
                      <a:pt x="85" y="1442"/>
                    </a:lnTo>
                    <a:lnTo>
                      <a:pt x="79" y="1432"/>
                    </a:lnTo>
                    <a:lnTo>
                      <a:pt x="77" y="1427"/>
                    </a:lnTo>
                    <a:lnTo>
                      <a:pt x="79" y="1400"/>
                    </a:lnTo>
                    <a:lnTo>
                      <a:pt x="77" y="1395"/>
                    </a:lnTo>
                    <a:lnTo>
                      <a:pt x="74" y="1392"/>
                    </a:lnTo>
                    <a:lnTo>
                      <a:pt x="71" y="1387"/>
                    </a:lnTo>
                    <a:lnTo>
                      <a:pt x="71" y="1351"/>
                    </a:lnTo>
                    <a:lnTo>
                      <a:pt x="77" y="1329"/>
                    </a:lnTo>
                    <a:lnTo>
                      <a:pt x="86" y="1317"/>
                    </a:lnTo>
                    <a:lnTo>
                      <a:pt x="90" y="1308"/>
                    </a:lnTo>
                    <a:lnTo>
                      <a:pt x="91" y="1303"/>
                    </a:lnTo>
                    <a:lnTo>
                      <a:pt x="91" y="1291"/>
                    </a:lnTo>
                    <a:lnTo>
                      <a:pt x="90" y="1287"/>
                    </a:lnTo>
                    <a:lnTo>
                      <a:pt x="81" y="1279"/>
                    </a:lnTo>
                    <a:lnTo>
                      <a:pt x="77" y="1264"/>
                    </a:lnTo>
                    <a:lnTo>
                      <a:pt x="80" y="1235"/>
                    </a:lnTo>
                    <a:lnTo>
                      <a:pt x="89" y="1194"/>
                    </a:lnTo>
                    <a:lnTo>
                      <a:pt x="89" y="1178"/>
                    </a:lnTo>
                    <a:lnTo>
                      <a:pt x="89" y="1173"/>
                    </a:lnTo>
                    <a:lnTo>
                      <a:pt x="106" y="1112"/>
                    </a:lnTo>
                    <a:lnTo>
                      <a:pt x="108" y="1097"/>
                    </a:lnTo>
                    <a:lnTo>
                      <a:pt x="111" y="1091"/>
                    </a:lnTo>
                    <a:lnTo>
                      <a:pt x="116" y="1086"/>
                    </a:lnTo>
                    <a:lnTo>
                      <a:pt x="124" y="1077"/>
                    </a:lnTo>
                    <a:lnTo>
                      <a:pt x="128" y="1068"/>
                    </a:lnTo>
                    <a:lnTo>
                      <a:pt x="128" y="1055"/>
                    </a:lnTo>
                    <a:lnTo>
                      <a:pt x="123" y="1043"/>
                    </a:lnTo>
                    <a:lnTo>
                      <a:pt x="119" y="1016"/>
                    </a:lnTo>
                    <a:lnTo>
                      <a:pt x="119" y="979"/>
                    </a:lnTo>
                    <a:lnTo>
                      <a:pt x="123" y="940"/>
                    </a:lnTo>
                    <a:lnTo>
                      <a:pt x="128" y="926"/>
                    </a:lnTo>
                    <a:lnTo>
                      <a:pt x="134" y="918"/>
                    </a:lnTo>
                    <a:lnTo>
                      <a:pt x="138" y="915"/>
                    </a:lnTo>
                    <a:lnTo>
                      <a:pt x="144" y="915"/>
                    </a:lnTo>
                    <a:lnTo>
                      <a:pt x="146" y="913"/>
                    </a:lnTo>
                    <a:lnTo>
                      <a:pt x="147" y="905"/>
                    </a:lnTo>
                    <a:lnTo>
                      <a:pt x="150" y="902"/>
                    </a:lnTo>
                    <a:lnTo>
                      <a:pt x="156" y="898"/>
                    </a:lnTo>
                    <a:lnTo>
                      <a:pt x="159" y="896"/>
                    </a:lnTo>
                    <a:lnTo>
                      <a:pt x="159" y="888"/>
                    </a:lnTo>
                    <a:lnTo>
                      <a:pt x="156" y="871"/>
                    </a:lnTo>
                    <a:lnTo>
                      <a:pt x="155" y="842"/>
                    </a:lnTo>
                    <a:lnTo>
                      <a:pt x="166" y="832"/>
                    </a:lnTo>
                    <a:lnTo>
                      <a:pt x="167" y="829"/>
                    </a:lnTo>
                    <a:lnTo>
                      <a:pt x="171" y="806"/>
                    </a:lnTo>
                    <a:lnTo>
                      <a:pt x="173" y="799"/>
                    </a:lnTo>
                    <a:lnTo>
                      <a:pt x="179" y="786"/>
                    </a:lnTo>
                    <a:lnTo>
                      <a:pt x="192" y="767"/>
                    </a:lnTo>
                    <a:lnTo>
                      <a:pt x="192" y="751"/>
                    </a:lnTo>
                    <a:lnTo>
                      <a:pt x="190" y="733"/>
                    </a:lnTo>
                    <a:lnTo>
                      <a:pt x="187" y="714"/>
                    </a:lnTo>
                    <a:lnTo>
                      <a:pt x="186" y="709"/>
                    </a:lnTo>
                    <a:lnTo>
                      <a:pt x="178" y="701"/>
                    </a:lnTo>
                    <a:lnTo>
                      <a:pt x="178" y="689"/>
                    </a:lnTo>
                    <a:lnTo>
                      <a:pt x="178" y="679"/>
                    </a:lnTo>
                    <a:lnTo>
                      <a:pt x="165" y="646"/>
                    </a:lnTo>
                    <a:lnTo>
                      <a:pt x="165" y="617"/>
                    </a:lnTo>
                    <a:lnTo>
                      <a:pt x="155" y="607"/>
                    </a:lnTo>
                    <a:lnTo>
                      <a:pt x="155" y="595"/>
                    </a:lnTo>
                    <a:lnTo>
                      <a:pt x="157" y="579"/>
                    </a:lnTo>
                    <a:lnTo>
                      <a:pt x="161" y="568"/>
                    </a:lnTo>
                    <a:lnTo>
                      <a:pt x="162" y="565"/>
                    </a:lnTo>
                    <a:lnTo>
                      <a:pt x="171" y="550"/>
                    </a:lnTo>
                    <a:lnTo>
                      <a:pt x="173" y="536"/>
                    </a:lnTo>
                    <a:lnTo>
                      <a:pt x="179" y="530"/>
                    </a:lnTo>
                    <a:lnTo>
                      <a:pt x="182" y="523"/>
                    </a:lnTo>
                    <a:lnTo>
                      <a:pt x="182" y="520"/>
                    </a:lnTo>
                    <a:lnTo>
                      <a:pt x="186" y="516"/>
                    </a:lnTo>
                    <a:lnTo>
                      <a:pt x="189" y="503"/>
                    </a:lnTo>
                    <a:lnTo>
                      <a:pt x="189" y="493"/>
                    </a:lnTo>
                    <a:lnTo>
                      <a:pt x="188" y="482"/>
                    </a:lnTo>
                    <a:lnTo>
                      <a:pt x="189" y="458"/>
                    </a:lnTo>
                    <a:lnTo>
                      <a:pt x="192" y="450"/>
                    </a:lnTo>
                    <a:lnTo>
                      <a:pt x="198" y="436"/>
                    </a:lnTo>
                    <a:lnTo>
                      <a:pt x="200" y="429"/>
                    </a:lnTo>
                    <a:lnTo>
                      <a:pt x="204" y="408"/>
                    </a:lnTo>
                    <a:lnTo>
                      <a:pt x="210" y="382"/>
                    </a:lnTo>
                    <a:lnTo>
                      <a:pt x="235" y="354"/>
                    </a:lnTo>
                    <a:lnTo>
                      <a:pt x="242" y="329"/>
                    </a:lnTo>
                    <a:lnTo>
                      <a:pt x="245" y="327"/>
                    </a:lnTo>
                    <a:lnTo>
                      <a:pt x="260" y="312"/>
                    </a:lnTo>
                    <a:lnTo>
                      <a:pt x="270" y="308"/>
                    </a:lnTo>
                    <a:lnTo>
                      <a:pt x="275" y="305"/>
                    </a:lnTo>
                    <a:lnTo>
                      <a:pt x="276" y="302"/>
                    </a:lnTo>
                    <a:lnTo>
                      <a:pt x="274" y="288"/>
                    </a:lnTo>
                    <a:lnTo>
                      <a:pt x="270" y="273"/>
                    </a:lnTo>
                    <a:lnTo>
                      <a:pt x="268" y="262"/>
                    </a:lnTo>
                    <a:lnTo>
                      <a:pt x="268" y="236"/>
                    </a:lnTo>
                    <a:lnTo>
                      <a:pt x="263" y="221"/>
                    </a:lnTo>
                    <a:lnTo>
                      <a:pt x="263" y="205"/>
                    </a:lnTo>
                    <a:lnTo>
                      <a:pt x="264" y="203"/>
                    </a:lnTo>
                    <a:lnTo>
                      <a:pt x="270" y="195"/>
                    </a:lnTo>
                    <a:lnTo>
                      <a:pt x="270" y="186"/>
                    </a:lnTo>
                    <a:lnTo>
                      <a:pt x="268" y="176"/>
                    </a:lnTo>
                    <a:lnTo>
                      <a:pt x="268" y="168"/>
                    </a:lnTo>
                    <a:lnTo>
                      <a:pt x="269" y="161"/>
                    </a:lnTo>
                    <a:lnTo>
                      <a:pt x="317" y="139"/>
                    </a:lnTo>
                    <a:lnTo>
                      <a:pt x="335" y="132"/>
                    </a:lnTo>
                    <a:lnTo>
                      <a:pt x="344" y="85"/>
                    </a:lnTo>
                    <a:lnTo>
                      <a:pt x="344" y="73"/>
                    </a:lnTo>
                    <a:lnTo>
                      <a:pt x="339" y="68"/>
                    </a:lnTo>
                    <a:lnTo>
                      <a:pt x="339" y="65"/>
                    </a:lnTo>
                    <a:lnTo>
                      <a:pt x="338" y="65"/>
                    </a:lnTo>
                    <a:lnTo>
                      <a:pt x="338" y="63"/>
                    </a:lnTo>
                    <a:lnTo>
                      <a:pt x="340" y="62"/>
                    </a:lnTo>
                    <a:lnTo>
                      <a:pt x="345" y="58"/>
                    </a:lnTo>
                    <a:lnTo>
                      <a:pt x="351" y="48"/>
                    </a:lnTo>
                    <a:lnTo>
                      <a:pt x="353" y="44"/>
                    </a:lnTo>
                    <a:lnTo>
                      <a:pt x="359" y="36"/>
                    </a:lnTo>
                    <a:lnTo>
                      <a:pt x="367" y="27"/>
                    </a:lnTo>
                    <a:lnTo>
                      <a:pt x="378" y="19"/>
                    </a:lnTo>
                    <a:lnTo>
                      <a:pt x="392" y="1"/>
                    </a:lnTo>
                    <a:lnTo>
                      <a:pt x="396" y="0"/>
                    </a:lnTo>
                    <a:lnTo>
                      <a:pt x="399" y="0"/>
                    </a:lnTo>
                    <a:lnTo>
                      <a:pt x="404" y="6"/>
                    </a:lnTo>
                    <a:lnTo>
                      <a:pt x="413" y="19"/>
                    </a:lnTo>
                    <a:lnTo>
                      <a:pt x="439" y="19"/>
                    </a:lnTo>
                    <a:lnTo>
                      <a:pt x="447" y="21"/>
                    </a:lnTo>
                    <a:lnTo>
                      <a:pt x="452" y="21"/>
                    </a:lnTo>
                    <a:lnTo>
                      <a:pt x="473" y="26"/>
                    </a:lnTo>
                    <a:lnTo>
                      <a:pt x="477" y="30"/>
                    </a:lnTo>
                    <a:lnTo>
                      <a:pt x="480" y="36"/>
                    </a:lnTo>
                    <a:lnTo>
                      <a:pt x="483" y="37"/>
                    </a:lnTo>
                    <a:lnTo>
                      <a:pt x="484" y="41"/>
                    </a:lnTo>
                    <a:lnTo>
                      <a:pt x="495" y="52"/>
                    </a:lnTo>
                    <a:lnTo>
                      <a:pt x="498" y="52"/>
                    </a:lnTo>
                    <a:lnTo>
                      <a:pt x="499" y="46"/>
                    </a:lnTo>
                    <a:lnTo>
                      <a:pt x="504" y="35"/>
                    </a:lnTo>
                    <a:lnTo>
                      <a:pt x="507" y="16"/>
                    </a:lnTo>
                    <a:lnTo>
                      <a:pt x="509" y="12"/>
                    </a:lnTo>
                    <a:lnTo>
                      <a:pt x="517" y="12"/>
                    </a:lnTo>
                    <a:lnTo>
                      <a:pt x="536" y="15"/>
                    </a:lnTo>
                    <a:lnTo>
                      <a:pt x="553" y="15"/>
                    </a:lnTo>
                    <a:lnTo>
                      <a:pt x="561" y="16"/>
                    </a:lnTo>
                    <a:lnTo>
                      <a:pt x="564" y="17"/>
                    </a:lnTo>
                    <a:lnTo>
                      <a:pt x="571" y="22"/>
                    </a:lnTo>
                    <a:lnTo>
                      <a:pt x="577" y="27"/>
                    </a:lnTo>
                    <a:lnTo>
                      <a:pt x="585" y="31"/>
                    </a:lnTo>
                    <a:lnTo>
                      <a:pt x="601" y="36"/>
                    </a:lnTo>
                    <a:lnTo>
                      <a:pt x="607" y="41"/>
                    </a:lnTo>
                    <a:lnTo>
                      <a:pt x="618" y="62"/>
                    </a:lnTo>
                    <a:lnTo>
                      <a:pt x="631" y="75"/>
                    </a:lnTo>
                    <a:lnTo>
                      <a:pt x="634" y="80"/>
                    </a:lnTo>
                    <a:lnTo>
                      <a:pt x="659" y="98"/>
                    </a:lnTo>
                    <a:lnTo>
                      <a:pt x="671" y="105"/>
                    </a:lnTo>
                    <a:lnTo>
                      <a:pt x="674" y="108"/>
                    </a:lnTo>
                    <a:lnTo>
                      <a:pt x="686" y="127"/>
                    </a:lnTo>
                    <a:lnTo>
                      <a:pt x="687" y="128"/>
                    </a:lnTo>
                    <a:lnTo>
                      <a:pt x="692" y="132"/>
                    </a:lnTo>
                    <a:lnTo>
                      <a:pt x="703" y="135"/>
                    </a:lnTo>
                    <a:lnTo>
                      <a:pt x="711" y="136"/>
                    </a:lnTo>
                    <a:lnTo>
                      <a:pt x="740" y="139"/>
                    </a:lnTo>
                    <a:lnTo>
                      <a:pt x="752" y="143"/>
                    </a:lnTo>
                    <a:lnTo>
                      <a:pt x="758" y="145"/>
                    </a:lnTo>
                    <a:lnTo>
                      <a:pt x="784" y="163"/>
                    </a:lnTo>
                    <a:lnTo>
                      <a:pt x="799" y="171"/>
                    </a:lnTo>
                    <a:lnTo>
                      <a:pt x="815" y="179"/>
                    </a:lnTo>
                    <a:lnTo>
                      <a:pt x="823" y="191"/>
                    </a:lnTo>
                    <a:lnTo>
                      <a:pt x="838" y="194"/>
                    </a:lnTo>
                    <a:lnTo>
                      <a:pt x="845" y="200"/>
                    </a:lnTo>
                    <a:lnTo>
                      <a:pt x="850" y="209"/>
                    </a:lnTo>
                    <a:lnTo>
                      <a:pt x="854" y="210"/>
                    </a:lnTo>
                    <a:lnTo>
                      <a:pt x="856" y="214"/>
                    </a:lnTo>
                    <a:lnTo>
                      <a:pt x="858" y="224"/>
                    </a:lnTo>
                    <a:lnTo>
                      <a:pt x="858" y="234"/>
                    </a:lnTo>
                    <a:lnTo>
                      <a:pt x="849" y="247"/>
                    </a:lnTo>
                    <a:lnTo>
                      <a:pt x="834" y="269"/>
                    </a:lnTo>
                    <a:lnTo>
                      <a:pt x="823" y="294"/>
                    </a:lnTo>
                    <a:lnTo>
                      <a:pt x="821" y="302"/>
                    </a:lnTo>
                    <a:lnTo>
                      <a:pt x="819" y="311"/>
                    </a:lnTo>
                    <a:lnTo>
                      <a:pt x="819" y="317"/>
                    </a:lnTo>
                    <a:lnTo>
                      <a:pt x="821" y="321"/>
                    </a:lnTo>
                    <a:lnTo>
                      <a:pt x="843" y="321"/>
                    </a:lnTo>
                    <a:lnTo>
                      <a:pt x="875" y="326"/>
                    </a:lnTo>
                    <a:lnTo>
                      <a:pt x="881" y="328"/>
                    </a:lnTo>
                    <a:lnTo>
                      <a:pt x="898" y="339"/>
                    </a:lnTo>
                    <a:lnTo>
                      <a:pt x="908" y="342"/>
                    </a:lnTo>
                    <a:lnTo>
                      <a:pt x="918" y="340"/>
                    </a:lnTo>
                    <a:lnTo>
                      <a:pt x="923" y="343"/>
                    </a:lnTo>
                    <a:lnTo>
                      <a:pt x="930" y="343"/>
                    </a:lnTo>
                    <a:lnTo>
                      <a:pt x="937" y="340"/>
                    </a:lnTo>
                    <a:lnTo>
                      <a:pt x="941" y="335"/>
                    </a:lnTo>
                    <a:lnTo>
                      <a:pt x="948" y="332"/>
                    </a:lnTo>
                    <a:lnTo>
                      <a:pt x="963" y="333"/>
                    </a:lnTo>
                    <a:lnTo>
                      <a:pt x="972" y="332"/>
                    </a:lnTo>
                    <a:lnTo>
                      <a:pt x="973" y="331"/>
                    </a:lnTo>
                    <a:lnTo>
                      <a:pt x="975" y="327"/>
                    </a:lnTo>
                    <a:lnTo>
                      <a:pt x="990" y="315"/>
                    </a:lnTo>
                    <a:lnTo>
                      <a:pt x="994" y="313"/>
                    </a:lnTo>
                    <a:lnTo>
                      <a:pt x="996" y="310"/>
                    </a:lnTo>
                    <a:lnTo>
                      <a:pt x="1010" y="299"/>
                    </a:lnTo>
                    <a:lnTo>
                      <a:pt x="1018" y="290"/>
                    </a:lnTo>
                    <a:lnTo>
                      <a:pt x="1025" y="280"/>
                    </a:lnTo>
                    <a:lnTo>
                      <a:pt x="1028" y="272"/>
                    </a:lnTo>
                    <a:lnTo>
                      <a:pt x="1031" y="256"/>
                    </a:lnTo>
                    <a:lnTo>
                      <a:pt x="1034" y="225"/>
                    </a:lnTo>
                    <a:lnTo>
                      <a:pt x="1043" y="225"/>
                    </a:lnTo>
                    <a:lnTo>
                      <a:pt x="1047" y="224"/>
                    </a:lnTo>
                    <a:lnTo>
                      <a:pt x="1061" y="224"/>
                    </a:lnTo>
                    <a:lnTo>
                      <a:pt x="1068" y="231"/>
                    </a:lnTo>
                    <a:lnTo>
                      <a:pt x="1080" y="270"/>
                    </a:lnTo>
                    <a:lnTo>
                      <a:pt x="1080" y="302"/>
                    </a:lnTo>
                    <a:lnTo>
                      <a:pt x="1079" y="313"/>
                    </a:lnTo>
                    <a:lnTo>
                      <a:pt x="1076" y="317"/>
                    </a:lnTo>
                    <a:lnTo>
                      <a:pt x="1074" y="321"/>
                    </a:lnTo>
                    <a:lnTo>
                      <a:pt x="1050" y="337"/>
                    </a:lnTo>
                    <a:lnTo>
                      <a:pt x="1043" y="339"/>
                    </a:lnTo>
                    <a:lnTo>
                      <a:pt x="1031" y="340"/>
                    </a:lnTo>
                    <a:lnTo>
                      <a:pt x="1023" y="344"/>
                    </a:lnTo>
                    <a:lnTo>
                      <a:pt x="1014" y="356"/>
                    </a:lnTo>
                    <a:lnTo>
                      <a:pt x="1005" y="366"/>
                    </a:lnTo>
                    <a:lnTo>
                      <a:pt x="961" y="404"/>
                    </a:lnTo>
                    <a:lnTo>
                      <a:pt x="959" y="408"/>
                    </a:lnTo>
                    <a:lnTo>
                      <a:pt x="955" y="415"/>
                    </a:lnTo>
                    <a:lnTo>
                      <a:pt x="935" y="440"/>
                    </a:lnTo>
                    <a:lnTo>
                      <a:pt x="932" y="446"/>
                    </a:lnTo>
                    <a:lnTo>
                      <a:pt x="914" y="467"/>
                    </a:lnTo>
                    <a:lnTo>
                      <a:pt x="899" y="479"/>
                    </a:lnTo>
                    <a:lnTo>
                      <a:pt x="892" y="488"/>
                    </a:lnTo>
                    <a:lnTo>
                      <a:pt x="883" y="494"/>
                    </a:lnTo>
                    <a:lnTo>
                      <a:pt x="881" y="499"/>
                    </a:lnTo>
                    <a:lnTo>
                      <a:pt x="872" y="509"/>
                    </a:lnTo>
                    <a:lnTo>
                      <a:pt x="862" y="514"/>
                    </a:lnTo>
                    <a:lnTo>
                      <a:pt x="861" y="520"/>
                    </a:lnTo>
                    <a:lnTo>
                      <a:pt x="851" y="528"/>
                    </a:lnTo>
                    <a:lnTo>
                      <a:pt x="850" y="531"/>
                    </a:lnTo>
                    <a:lnTo>
                      <a:pt x="853" y="554"/>
                    </a:lnTo>
                    <a:lnTo>
                      <a:pt x="848" y="576"/>
                    </a:lnTo>
                    <a:lnTo>
                      <a:pt x="848" y="591"/>
                    </a:lnTo>
                    <a:lnTo>
                      <a:pt x="846" y="601"/>
                    </a:lnTo>
                    <a:lnTo>
                      <a:pt x="838" y="625"/>
                    </a:lnTo>
                    <a:lnTo>
                      <a:pt x="838" y="676"/>
                    </a:lnTo>
                    <a:lnTo>
                      <a:pt x="835" y="686"/>
                    </a:lnTo>
                    <a:lnTo>
                      <a:pt x="834" y="692"/>
                    </a:lnTo>
                    <a:lnTo>
                      <a:pt x="826" y="705"/>
                    </a:lnTo>
                    <a:lnTo>
                      <a:pt x="823" y="714"/>
                    </a:lnTo>
                    <a:lnTo>
                      <a:pt x="818" y="740"/>
                    </a:lnTo>
                    <a:lnTo>
                      <a:pt x="817" y="756"/>
                    </a:lnTo>
                    <a:lnTo>
                      <a:pt x="818" y="765"/>
                    </a:lnTo>
                    <a:lnTo>
                      <a:pt x="817" y="774"/>
                    </a:lnTo>
                    <a:lnTo>
                      <a:pt x="813" y="776"/>
                    </a:lnTo>
                    <a:lnTo>
                      <a:pt x="822" y="796"/>
                    </a:lnTo>
                    <a:lnTo>
                      <a:pt x="846" y="810"/>
                    </a:lnTo>
                    <a:lnTo>
                      <a:pt x="856" y="817"/>
                    </a:lnTo>
                    <a:lnTo>
                      <a:pt x="869" y="828"/>
                    </a:lnTo>
                    <a:lnTo>
                      <a:pt x="885" y="845"/>
                    </a:lnTo>
                    <a:lnTo>
                      <a:pt x="886" y="855"/>
                    </a:lnTo>
                    <a:lnTo>
                      <a:pt x="875" y="880"/>
                    </a:lnTo>
                    <a:lnTo>
                      <a:pt x="878" y="892"/>
                    </a:lnTo>
                    <a:lnTo>
                      <a:pt x="889" y="907"/>
                    </a:lnTo>
                    <a:lnTo>
                      <a:pt x="903" y="913"/>
                    </a:lnTo>
                    <a:lnTo>
                      <a:pt x="913" y="912"/>
                    </a:lnTo>
                    <a:lnTo>
                      <a:pt x="914" y="921"/>
                    </a:lnTo>
                    <a:lnTo>
                      <a:pt x="914" y="950"/>
                    </a:lnTo>
                    <a:lnTo>
                      <a:pt x="908" y="963"/>
                    </a:lnTo>
                    <a:lnTo>
                      <a:pt x="889" y="991"/>
                    </a:lnTo>
                    <a:lnTo>
                      <a:pt x="877" y="1004"/>
                    </a:lnTo>
                    <a:lnTo>
                      <a:pt x="870" y="1015"/>
                    </a:lnTo>
                    <a:lnTo>
                      <a:pt x="865" y="1039"/>
                    </a:lnTo>
                    <a:lnTo>
                      <a:pt x="854" y="1049"/>
                    </a:lnTo>
                    <a:lnTo>
                      <a:pt x="840" y="1056"/>
                    </a:lnTo>
                    <a:lnTo>
                      <a:pt x="815" y="1065"/>
                    </a:lnTo>
                    <a:lnTo>
                      <a:pt x="805" y="1065"/>
                    </a:lnTo>
                    <a:lnTo>
                      <a:pt x="790" y="1072"/>
                    </a:lnTo>
                    <a:lnTo>
                      <a:pt x="765" y="1080"/>
                    </a:lnTo>
                    <a:lnTo>
                      <a:pt x="753" y="1082"/>
                    </a:lnTo>
                    <a:lnTo>
                      <a:pt x="733" y="1083"/>
                    </a:lnTo>
                    <a:lnTo>
                      <a:pt x="711" y="1091"/>
                    </a:lnTo>
                    <a:lnTo>
                      <a:pt x="677" y="1096"/>
                    </a:lnTo>
                    <a:lnTo>
                      <a:pt x="650" y="1096"/>
                    </a:lnTo>
                    <a:lnTo>
                      <a:pt x="620" y="1091"/>
                    </a:lnTo>
                    <a:lnTo>
                      <a:pt x="607" y="1079"/>
                    </a:lnTo>
                    <a:lnTo>
                      <a:pt x="604" y="1088"/>
                    </a:lnTo>
                    <a:lnTo>
                      <a:pt x="607" y="1113"/>
                    </a:lnTo>
                    <a:lnTo>
                      <a:pt x="616" y="1122"/>
                    </a:lnTo>
                    <a:lnTo>
                      <a:pt x="619" y="1130"/>
                    </a:lnTo>
                    <a:lnTo>
                      <a:pt x="617" y="1147"/>
                    </a:lnTo>
                    <a:lnTo>
                      <a:pt x="614" y="1155"/>
                    </a:lnTo>
                    <a:lnTo>
                      <a:pt x="611" y="1157"/>
                    </a:lnTo>
                    <a:lnTo>
                      <a:pt x="609" y="1156"/>
                    </a:lnTo>
                    <a:lnTo>
                      <a:pt x="604" y="1169"/>
                    </a:lnTo>
                    <a:lnTo>
                      <a:pt x="602" y="1184"/>
                    </a:lnTo>
                    <a:lnTo>
                      <a:pt x="607" y="1214"/>
                    </a:lnTo>
                    <a:lnTo>
                      <a:pt x="607" y="1221"/>
                    </a:lnTo>
                    <a:lnTo>
                      <a:pt x="603" y="1230"/>
                    </a:lnTo>
                    <a:lnTo>
                      <a:pt x="597" y="1237"/>
                    </a:lnTo>
                    <a:lnTo>
                      <a:pt x="580" y="1241"/>
                    </a:lnTo>
                    <a:lnTo>
                      <a:pt x="564" y="1252"/>
                    </a:lnTo>
                    <a:lnTo>
                      <a:pt x="526" y="1251"/>
                    </a:lnTo>
                    <a:lnTo>
                      <a:pt x="517" y="1247"/>
                    </a:lnTo>
                    <a:lnTo>
                      <a:pt x="507" y="1241"/>
                    </a:lnTo>
                    <a:lnTo>
                      <a:pt x="487" y="1232"/>
                    </a:lnTo>
                    <a:lnTo>
                      <a:pt x="472" y="1227"/>
                    </a:lnTo>
                    <a:lnTo>
                      <a:pt x="462" y="1216"/>
                    </a:lnTo>
                    <a:lnTo>
                      <a:pt x="451" y="1230"/>
                    </a:lnTo>
                    <a:lnTo>
                      <a:pt x="451" y="1251"/>
                    </a:lnTo>
                    <a:lnTo>
                      <a:pt x="457" y="1270"/>
                    </a:lnTo>
                    <a:lnTo>
                      <a:pt x="458" y="1302"/>
                    </a:lnTo>
                    <a:lnTo>
                      <a:pt x="459" y="1317"/>
                    </a:lnTo>
                    <a:lnTo>
                      <a:pt x="473" y="1329"/>
                    </a:lnTo>
                    <a:lnTo>
                      <a:pt x="487" y="1333"/>
                    </a:lnTo>
                    <a:lnTo>
                      <a:pt x="482" y="1340"/>
                    </a:lnTo>
                    <a:lnTo>
                      <a:pt x="489" y="1345"/>
                    </a:lnTo>
                    <a:lnTo>
                      <a:pt x="509" y="1340"/>
                    </a:lnTo>
                    <a:lnTo>
                      <a:pt x="505" y="1332"/>
                    </a:lnTo>
                    <a:lnTo>
                      <a:pt x="499" y="1328"/>
                    </a:lnTo>
                    <a:lnTo>
                      <a:pt x="515" y="1325"/>
                    </a:lnTo>
                    <a:lnTo>
                      <a:pt x="527" y="1317"/>
                    </a:lnTo>
                    <a:lnTo>
                      <a:pt x="534" y="1329"/>
                    </a:lnTo>
                    <a:lnTo>
                      <a:pt x="538" y="1355"/>
                    </a:lnTo>
                    <a:lnTo>
                      <a:pt x="536" y="1367"/>
                    </a:lnTo>
                    <a:lnTo>
                      <a:pt x="528" y="1372"/>
                    </a:lnTo>
                    <a:lnTo>
                      <a:pt x="518" y="1376"/>
                    </a:lnTo>
                    <a:lnTo>
                      <a:pt x="509" y="1376"/>
                    </a:lnTo>
                    <a:lnTo>
                      <a:pt x="501" y="1372"/>
                    </a:lnTo>
                    <a:lnTo>
                      <a:pt x="500" y="1360"/>
                    </a:lnTo>
                    <a:lnTo>
                      <a:pt x="495" y="1354"/>
                    </a:lnTo>
                    <a:lnTo>
                      <a:pt x="484" y="1351"/>
                    </a:lnTo>
                    <a:lnTo>
                      <a:pt x="475" y="1354"/>
                    </a:lnTo>
                    <a:lnTo>
                      <a:pt x="469" y="1360"/>
                    </a:lnTo>
                    <a:lnTo>
                      <a:pt x="463" y="1361"/>
                    </a:lnTo>
                    <a:lnTo>
                      <a:pt x="458" y="1366"/>
                    </a:lnTo>
                    <a:lnTo>
                      <a:pt x="458" y="1372"/>
                    </a:lnTo>
                    <a:lnTo>
                      <a:pt x="475" y="1381"/>
                    </a:lnTo>
                    <a:lnTo>
                      <a:pt x="487" y="1382"/>
                    </a:lnTo>
                    <a:lnTo>
                      <a:pt x="494" y="1384"/>
                    </a:lnTo>
                    <a:lnTo>
                      <a:pt x="500" y="1387"/>
                    </a:lnTo>
                    <a:lnTo>
                      <a:pt x="499" y="1389"/>
                    </a:lnTo>
                    <a:lnTo>
                      <a:pt x="466" y="1407"/>
                    </a:lnTo>
                    <a:lnTo>
                      <a:pt x="461" y="1414"/>
                    </a:lnTo>
                    <a:lnTo>
                      <a:pt x="457" y="1423"/>
                    </a:lnTo>
                    <a:lnTo>
                      <a:pt x="448" y="1432"/>
                    </a:lnTo>
                    <a:lnTo>
                      <a:pt x="446" y="1445"/>
                    </a:lnTo>
                    <a:lnTo>
                      <a:pt x="450" y="1461"/>
                    </a:lnTo>
                    <a:lnTo>
                      <a:pt x="448" y="1474"/>
                    </a:lnTo>
                    <a:lnTo>
                      <a:pt x="448" y="1490"/>
                    </a:lnTo>
                    <a:lnTo>
                      <a:pt x="445" y="1501"/>
                    </a:lnTo>
                    <a:lnTo>
                      <a:pt x="440" y="1506"/>
                    </a:lnTo>
                    <a:lnTo>
                      <a:pt x="432" y="1508"/>
                    </a:lnTo>
                    <a:lnTo>
                      <a:pt x="426" y="1520"/>
                    </a:lnTo>
                    <a:lnTo>
                      <a:pt x="431" y="1533"/>
                    </a:lnTo>
                    <a:lnTo>
                      <a:pt x="432" y="1538"/>
                    </a:lnTo>
                    <a:lnTo>
                      <a:pt x="429" y="1544"/>
                    </a:lnTo>
                    <a:lnTo>
                      <a:pt x="396" y="1542"/>
                    </a:lnTo>
                    <a:lnTo>
                      <a:pt x="386" y="1547"/>
                    </a:lnTo>
                    <a:lnTo>
                      <a:pt x="378" y="1556"/>
                    </a:lnTo>
                    <a:lnTo>
                      <a:pt x="369" y="1556"/>
                    </a:lnTo>
                    <a:lnTo>
                      <a:pt x="359" y="1561"/>
                    </a:lnTo>
                    <a:lnTo>
                      <a:pt x="342" y="1580"/>
                    </a:lnTo>
                    <a:lnTo>
                      <a:pt x="335" y="1588"/>
                    </a:lnTo>
                    <a:lnTo>
                      <a:pt x="333" y="1597"/>
                    </a:lnTo>
                    <a:lnTo>
                      <a:pt x="322" y="1615"/>
                    </a:lnTo>
                    <a:lnTo>
                      <a:pt x="318" y="1633"/>
                    </a:lnTo>
                    <a:lnTo>
                      <a:pt x="321" y="1640"/>
                    </a:lnTo>
                    <a:lnTo>
                      <a:pt x="327" y="1653"/>
                    </a:lnTo>
                    <a:lnTo>
                      <a:pt x="333" y="1664"/>
                    </a:lnTo>
                    <a:lnTo>
                      <a:pt x="343" y="1672"/>
                    </a:lnTo>
                    <a:lnTo>
                      <a:pt x="365" y="1696"/>
                    </a:lnTo>
                    <a:lnTo>
                      <a:pt x="389" y="1706"/>
                    </a:lnTo>
                    <a:lnTo>
                      <a:pt x="402" y="1707"/>
                    </a:lnTo>
                    <a:lnTo>
                      <a:pt x="414" y="1705"/>
                    </a:lnTo>
                    <a:lnTo>
                      <a:pt x="421" y="1712"/>
                    </a:lnTo>
                    <a:lnTo>
                      <a:pt x="424" y="1723"/>
                    </a:lnTo>
                    <a:lnTo>
                      <a:pt x="424" y="1739"/>
                    </a:lnTo>
                    <a:lnTo>
                      <a:pt x="417" y="1752"/>
                    </a:lnTo>
                    <a:lnTo>
                      <a:pt x="413" y="1754"/>
                    </a:lnTo>
                    <a:lnTo>
                      <a:pt x="417" y="1766"/>
                    </a:lnTo>
                    <a:lnTo>
                      <a:pt x="418" y="1776"/>
                    </a:lnTo>
                    <a:lnTo>
                      <a:pt x="410" y="1780"/>
                    </a:lnTo>
                    <a:lnTo>
                      <a:pt x="409" y="1791"/>
                    </a:lnTo>
                    <a:lnTo>
                      <a:pt x="402" y="1791"/>
                    </a:lnTo>
                    <a:lnTo>
                      <a:pt x="393" y="1796"/>
                    </a:lnTo>
                    <a:lnTo>
                      <a:pt x="376" y="1813"/>
                    </a:lnTo>
                    <a:lnTo>
                      <a:pt x="358" y="1829"/>
                    </a:lnTo>
                    <a:lnTo>
                      <a:pt x="350" y="1833"/>
                    </a:lnTo>
                    <a:lnTo>
                      <a:pt x="335" y="1849"/>
                    </a:lnTo>
                    <a:lnTo>
                      <a:pt x="321" y="1862"/>
                    </a:lnTo>
                    <a:lnTo>
                      <a:pt x="312" y="1882"/>
                    </a:lnTo>
                    <a:lnTo>
                      <a:pt x="310" y="1894"/>
                    </a:lnTo>
                    <a:lnTo>
                      <a:pt x="318" y="1887"/>
                    </a:lnTo>
                    <a:lnTo>
                      <a:pt x="310" y="1924"/>
                    </a:lnTo>
                    <a:lnTo>
                      <a:pt x="305" y="1940"/>
                    </a:lnTo>
                    <a:lnTo>
                      <a:pt x="296" y="1948"/>
                    </a:lnTo>
                    <a:lnTo>
                      <a:pt x="286" y="1953"/>
                    </a:lnTo>
                    <a:lnTo>
                      <a:pt x="276" y="1953"/>
                    </a:lnTo>
                    <a:lnTo>
                      <a:pt x="269" y="1946"/>
                    </a:lnTo>
                    <a:lnTo>
                      <a:pt x="258" y="1925"/>
                    </a:lnTo>
                    <a:lnTo>
                      <a:pt x="260" y="1945"/>
                    </a:lnTo>
                    <a:lnTo>
                      <a:pt x="268" y="1948"/>
                    </a:lnTo>
                    <a:lnTo>
                      <a:pt x="270" y="1954"/>
                    </a:lnTo>
                    <a:lnTo>
                      <a:pt x="270" y="1959"/>
                    </a:lnTo>
                    <a:lnTo>
                      <a:pt x="248" y="1974"/>
                    </a:lnTo>
                    <a:lnTo>
                      <a:pt x="238" y="1983"/>
                    </a:lnTo>
                    <a:lnTo>
                      <a:pt x="226" y="2026"/>
                    </a:lnTo>
                    <a:lnTo>
                      <a:pt x="219" y="2037"/>
                    </a:lnTo>
                    <a:lnTo>
                      <a:pt x="225" y="2037"/>
                    </a:lnTo>
                    <a:lnTo>
                      <a:pt x="230" y="2033"/>
                    </a:lnTo>
                    <a:lnTo>
                      <a:pt x="237" y="2058"/>
                    </a:lnTo>
                    <a:lnTo>
                      <a:pt x="241" y="2074"/>
                    </a:lnTo>
                    <a:lnTo>
                      <a:pt x="237" y="2081"/>
                    </a:lnTo>
                    <a:lnTo>
                      <a:pt x="225" y="2080"/>
                    </a:lnTo>
                    <a:lnTo>
                      <a:pt x="220" y="2082"/>
                    </a:lnTo>
                    <a:lnTo>
                      <a:pt x="229" y="2089"/>
                    </a:lnTo>
                    <a:lnTo>
                      <a:pt x="233" y="2088"/>
                    </a:lnTo>
                    <a:lnTo>
                      <a:pt x="240" y="2089"/>
                    </a:lnTo>
                    <a:lnTo>
                      <a:pt x="256" y="2120"/>
                    </a:lnTo>
                    <a:lnTo>
                      <a:pt x="275" y="2145"/>
                    </a:lnTo>
                    <a:lnTo>
                      <a:pt x="275" y="214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83" name="Freeform 257"/>
              <p:cNvSpPr>
                <a:spLocks noChangeAspect="1"/>
              </p:cNvSpPr>
              <p:nvPr/>
            </p:nvSpPr>
            <p:spPr bwMode="gray">
              <a:xfrm>
                <a:off x="1763" y="3165"/>
                <a:ext cx="38" cy="45"/>
              </a:xfrm>
              <a:custGeom>
                <a:avLst/>
                <a:gdLst/>
                <a:ahLst/>
                <a:cxnLst>
                  <a:cxn ang="0">
                    <a:pos x="4" y="208"/>
                  </a:cxn>
                  <a:cxn ang="0">
                    <a:pos x="4" y="196"/>
                  </a:cxn>
                  <a:cxn ang="0">
                    <a:pos x="3" y="191"/>
                  </a:cxn>
                  <a:cxn ang="0">
                    <a:pos x="0" y="0"/>
                  </a:cxn>
                  <a:cxn ang="0">
                    <a:pos x="6" y="5"/>
                  </a:cxn>
                  <a:cxn ang="0">
                    <a:pos x="11" y="14"/>
                  </a:cxn>
                  <a:cxn ang="0">
                    <a:pos x="29" y="43"/>
                  </a:cxn>
                  <a:cxn ang="0">
                    <a:pos x="29" y="48"/>
                  </a:cxn>
                  <a:cxn ang="0">
                    <a:pos x="25" y="42"/>
                  </a:cxn>
                  <a:cxn ang="0">
                    <a:pos x="17" y="40"/>
                  </a:cxn>
                  <a:cxn ang="0">
                    <a:pos x="11" y="42"/>
                  </a:cxn>
                  <a:cxn ang="0">
                    <a:pos x="10" y="50"/>
                  </a:cxn>
                  <a:cxn ang="0">
                    <a:pos x="14" y="58"/>
                  </a:cxn>
                  <a:cxn ang="0">
                    <a:pos x="20" y="61"/>
                  </a:cxn>
                  <a:cxn ang="0">
                    <a:pos x="26" y="67"/>
                  </a:cxn>
                  <a:cxn ang="0">
                    <a:pos x="31" y="74"/>
                  </a:cxn>
                  <a:cxn ang="0">
                    <a:pos x="37" y="94"/>
                  </a:cxn>
                  <a:cxn ang="0">
                    <a:pos x="42" y="99"/>
                  </a:cxn>
                  <a:cxn ang="0">
                    <a:pos x="59" y="111"/>
                  </a:cxn>
                  <a:cxn ang="0">
                    <a:pos x="74" y="129"/>
                  </a:cxn>
                  <a:cxn ang="0">
                    <a:pos x="81" y="132"/>
                  </a:cxn>
                  <a:cxn ang="0">
                    <a:pos x="86" y="136"/>
                  </a:cxn>
                  <a:cxn ang="0">
                    <a:pos x="94" y="138"/>
                  </a:cxn>
                  <a:cxn ang="0">
                    <a:pos x="97" y="144"/>
                  </a:cxn>
                  <a:cxn ang="0">
                    <a:pos x="108" y="148"/>
                  </a:cxn>
                  <a:cxn ang="0">
                    <a:pos x="119" y="161"/>
                  </a:cxn>
                  <a:cxn ang="0">
                    <a:pos x="142" y="179"/>
                  </a:cxn>
                  <a:cxn ang="0">
                    <a:pos x="156" y="187"/>
                  </a:cxn>
                  <a:cxn ang="0">
                    <a:pos x="182" y="190"/>
                  </a:cxn>
                  <a:cxn ang="0">
                    <a:pos x="192" y="187"/>
                  </a:cxn>
                  <a:cxn ang="0">
                    <a:pos x="193" y="193"/>
                  </a:cxn>
                  <a:cxn ang="0">
                    <a:pos x="191" y="206"/>
                  </a:cxn>
                  <a:cxn ang="0">
                    <a:pos x="187" y="210"/>
                  </a:cxn>
                  <a:cxn ang="0">
                    <a:pos x="175" y="215"/>
                  </a:cxn>
                  <a:cxn ang="0">
                    <a:pos x="155" y="212"/>
                  </a:cxn>
                  <a:cxn ang="0">
                    <a:pos x="129" y="220"/>
                  </a:cxn>
                  <a:cxn ang="0">
                    <a:pos x="127" y="224"/>
                  </a:cxn>
                  <a:cxn ang="0">
                    <a:pos x="118" y="222"/>
                  </a:cxn>
                  <a:cxn ang="0">
                    <a:pos x="102" y="212"/>
                  </a:cxn>
                  <a:cxn ang="0">
                    <a:pos x="74" y="206"/>
                  </a:cxn>
                  <a:cxn ang="0">
                    <a:pos x="48" y="206"/>
                  </a:cxn>
                  <a:cxn ang="0">
                    <a:pos x="40" y="202"/>
                  </a:cxn>
                  <a:cxn ang="0">
                    <a:pos x="33" y="201"/>
                  </a:cxn>
                  <a:cxn ang="0">
                    <a:pos x="25" y="199"/>
                  </a:cxn>
                  <a:cxn ang="0">
                    <a:pos x="9" y="208"/>
                  </a:cxn>
                  <a:cxn ang="0">
                    <a:pos x="4" y="208"/>
                  </a:cxn>
                </a:cxnLst>
                <a:rect l="0" t="0" r="r" b="b"/>
                <a:pathLst>
                  <a:path w="193" h="224">
                    <a:moveTo>
                      <a:pt x="4" y="208"/>
                    </a:moveTo>
                    <a:lnTo>
                      <a:pt x="4" y="196"/>
                    </a:lnTo>
                    <a:lnTo>
                      <a:pt x="3" y="191"/>
                    </a:lnTo>
                    <a:lnTo>
                      <a:pt x="0" y="0"/>
                    </a:lnTo>
                    <a:lnTo>
                      <a:pt x="6" y="5"/>
                    </a:lnTo>
                    <a:lnTo>
                      <a:pt x="11" y="14"/>
                    </a:lnTo>
                    <a:lnTo>
                      <a:pt x="29" y="43"/>
                    </a:lnTo>
                    <a:lnTo>
                      <a:pt x="29" y="48"/>
                    </a:lnTo>
                    <a:lnTo>
                      <a:pt x="25" y="42"/>
                    </a:lnTo>
                    <a:lnTo>
                      <a:pt x="17" y="40"/>
                    </a:lnTo>
                    <a:lnTo>
                      <a:pt x="11" y="42"/>
                    </a:lnTo>
                    <a:lnTo>
                      <a:pt x="10" y="50"/>
                    </a:lnTo>
                    <a:lnTo>
                      <a:pt x="14" y="58"/>
                    </a:lnTo>
                    <a:lnTo>
                      <a:pt x="20" y="61"/>
                    </a:lnTo>
                    <a:lnTo>
                      <a:pt x="26" y="67"/>
                    </a:lnTo>
                    <a:lnTo>
                      <a:pt x="31" y="74"/>
                    </a:lnTo>
                    <a:lnTo>
                      <a:pt x="37" y="94"/>
                    </a:lnTo>
                    <a:lnTo>
                      <a:pt x="42" y="99"/>
                    </a:lnTo>
                    <a:lnTo>
                      <a:pt x="59" y="111"/>
                    </a:lnTo>
                    <a:lnTo>
                      <a:pt x="74" y="129"/>
                    </a:lnTo>
                    <a:lnTo>
                      <a:pt x="81" y="132"/>
                    </a:lnTo>
                    <a:lnTo>
                      <a:pt x="86" y="136"/>
                    </a:lnTo>
                    <a:lnTo>
                      <a:pt x="94" y="138"/>
                    </a:lnTo>
                    <a:lnTo>
                      <a:pt x="97" y="144"/>
                    </a:lnTo>
                    <a:lnTo>
                      <a:pt x="108" y="148"/>
                    </a:lnTo>
                    <a:lnTo>
                      <a:pt x="119" y="161"/>
                    </a:lnTo>
                    <a:lnTo>
                      <a:pt x="142" y="179"/>
                    </a:lnTo>
                    <a:lnTo>
                      <a:pt x="156" y="187"/>
                    </a:lnTo>
                    <a:lnTo>
                      <a:pt x="182" y="190"/>
                    </a:lnTo>
                    <a:lnTo>
                      <a:pt x="192" y="187"/>
                    </a:lnTo>
                    <a:lnTo>
                      <a:pt x="193" y="193"/>
                    </a:lnTo>
                    <a:lnTo>
                      <a:pt x="191" y="206"/>
                    </a:lnTo>
                    <a:lnTo>
                      <a:pt x="187" y="210"/>
                    </a:lnTo>
                    <a:lnTo>
                      <a:pt x="175" y="215"/>
                    </a:lnTo>
                    <a:lnTo>
                      <a:pt x="155" y="212"/>
                    </a:lnTo>
                    <a:lnTo>
                      <a:pt x="129" y="220"/>
                    </a:lnTo>
                    <a:lnTo>
                      <a:pt x="127" y="224"/>
                    </a:lnTo>
                    <a:lnTo>
                      <a:pt x="118" y="222"/>
                    </a:lnTo>
                    <a:lnTo>
                      <a:pt x="102" y="212"/>
                    </a:lnTo>
                    <a:lnTo>
                      <a:pt x="74" y="206"/>
                    </a:lnTo>
                    <a:lnTo>
                      <a:pt x="48" y="206"/>
                    </a:lnTo>
                    <a:lnTo>
                      <a:pt x="40" y="202"/>
                    </a:lnTo>
                    <a:lnTo>
                      <a:pt x="33" y="201"/>
                    </a:lnTo>
                    <a:lnTo>
                      <a:pt x="25" y="199"/>
                    </a:lnTo>
                    <a:lnTo>
                      <a:pt x="9" y="208"/>
                    </a:lnTo>
                    <a:lnTo>
                      <a:pt x="4" y="20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84" name="Freeform 258"/>
              <p:cNvSpPr>
                <a:spLocks noChangeAspect="1"/>
              </p:cNvSpPr>
              <p:nvPr/>
            </p:nvSpPr>
            <p:spPr bwMode="gray">
              <a:xfrm>
                <a:off x="1879" y="2422"/>
                <a:ext cx="45" cy="45"/>
              </a:xfrm>
              <a:custGeom>
                <a:avLst/>
                <a:gdLst/>
                <a:ahLst/>
                <a:cxnLst>
                  <a:cxn ang="0">
                    <a:pos x="197" y="195"/>
                  </a:cxn>
                  <a:cxn ang="0">
                    <a:pos x="172" y="187"/>
                  </a:cxn>
                  <a:cxn ang="0">
                    <a:pos x="146" y="193"/>
                  </a:cxn>
                  <a:cxn ang="0">
                    <a:pos x="129" y="190"/>
                  </a:cxn>
                  <a:cxn ang="0">
                    <a:pos x="124" y="217"/>
                  </a:cxn>
                  <a:cxn ang="0">
                    <a:pos x="103" y="221"/>
                  </a:cxn>
                  <a:cxn ang="0">
                    <a:pos x="91" y="214"/>
                  </a:cxn>
                  <a:cxn ang="0">
                    <a:pos x="79" y="205"/>
                  </a:cxn>
                  <a:cxn ang="0">
                    <a:pos x="59" y="178"/>
                  </a:cxn>
                  <a:cxn ang="0">
                    <a:pos x="52" y="166"/>
                  </a:cxn>
                  <a:cxn ang="0">
                    <a:pos x="47" y="151"/>
                  </a:cxn>
                  <a:cxn ang="0">
                    <a:pos x="43" y="140"/>
                  </a:cxn>
                  <a:cxn ang="0">
                    <a:pos x="30" y="139"/>
                  </a:cxn>
                  <a:cxn ang="0">
                    <a:pos x="26" y="130"/>
                  </a:cxn>
                  <a:cxn ang="0">
                    <a:pos x="15" y="122"/>
                  </a:cxn>
                  <a:cxn ang="0">
                    <a:pos x="0" y="101"/>
                  </a:cxn>
                  <a:cxn ang="0">
                    <a:pos x="4" y="84"/>
                  </a:cxn>
                  <a:cxn ang="0">
                    <a:pos x="9" y="60"/>
                  </a:cxn>
                  <a:cxn ang="0">
                    <a:pos x="11" y="55"/>
                  </a:cxn>
                  <a:cxn ang="0">
                    <a:pos x="22" y="50"/>
                  </a:cxn>
                  <a:cxn ang="0">
                    <a:pos x="38" y="49"/>
                  </a:cxn>
                  <a:cxn ang="0">
                    <a:pos x="46" y="39"/>
                  </a:cxn>
                  <a:cxn ang="0">
                    <a:pos x="44" y="32"/>
                  </a:cxn>
                  <a:cxn ang="0">
                    <a:pos x="43" y="26"/>
                  </a:cxn>
                  <a:cxn ang="0">
                    <a:pos x="57" y="9"/>
                  </a:cxn>
                  <a:cxn ang="0">
                    <a:pos x="62" y="5"/>
                  </a:cxn>
                  <a:cxn ang="0">
                    <a:pos x="71" y="0"/>
                  </a:cxn>
                  <a:cxn ang="0">
                    <a:pos x="114" y="6"/>
                  </a:cxn>
                  <a:cxn ang="0">
                    <a:pos x="154" y="3"/>
                  </a:cxn>
                  <a:cxn ang="0">
                    <a:pos x="168" y="0"/>
                  </a:cxn>
                  <a:cxn ang="0">
                    <a:pos x="200" y="3"/>
                  </a:cxn>
                  <a:cxn ang="0">
                    <a:pos x="225" y="11"/>
                  </a:cxn>
                  <a:cxn ang="0">
                    <a:pos x="222" y="25"/>
                  </a:cxn>
                  <a:cxn ang="0">
                    <a:pos x="218" y="33"/>
                  </a:cxn>
                  <a:cxn ang="0">
                    <a:pos x="206" y="49"/>
                  </a:cxn>
                  <a:cxn ang="0">
                    <a:pos x="208" y="90"/>
                  </a:cxn>
                  <a:cxn ang="0">
                    <a:pos x="220" y="114"/>
                  </a:cxn>
                  <a:cxn ang="0">
                    <a:pos x="221" y="117"/>
                  </a:cxn>
                  <a:cxn ang="0">
                    <a:pos x="225" y="140"/>
                  </a:cxn>
                  <a:cxn ang="0">
                    <a:pos x="218" y="181"/>
                  </a:cxn>
                  <a:cxn ang="0">
                    <a:pos x="203" y="197"/>
                  </a:cxn>
                </a:cxnLst>
                <a:rect l="0" t="0" r="r" b="b"/>
                <a:pathLst>
                  <a:path w="226" h="221">
                    <a:moveTo>
                      <a:pt x="203" y="197"/>
                    </a:moveTo>
                    <a:lnTo>
                      <a:pt x="197" y="195"/>
                    </a:lnTo>
                    <a:lnTo>
                      <a:pt x="193" y="193"/>
                    </a:lnTo>
                    <a:lnTo>
                      <a:pt x="172" y="187"/>
                    </a:lnTo>
                    <a:lnTo>
                      <a:pt x="150" y="193"/>
                    </a:lnTo>
                    <a:lnTo>
                      <a:pt x="146" y="193"/>
                    </a:lnTo>
                    <a:lnTo>
                      <a:pt x="136" y="190"/>
                    </a:lnTo>
                    <a:lnTo>
                      <a:pt x="129" y="190"/>
                    </a:lnTo>
                    <a:lnTo>
                      <a:pt x="123" y="193"/>
                    </a:lnTo>
                    <a:lnTo>
                      <a:pt x="124" y="217"/>
                    </a:lnTo>
                    <a:lnTo>
                      <a:pt x="120" y="221"/>
                    </a:lnTo>
                    <a:lnTo>
                      <a:pt x="103" y="221"/>
                    </a:lnTo>
                    <a:lnTo>
                      <a:pt x="91" y="216"/>
                    </a:lnTo>
                    <a:lnTo>
                      <a:pt x="91" y="214"/>
                    </a:lnTo>
                    <a:lnTo>
                      <a:pt x="89" y="214"/>
                    </a:lnTo>
                    <a:lnTo>
                      <a:pt x="79" y="205"/>
                    </a:lnTo>
                    <a:lnTo>
                      <a:pt x="65" y="188"/>
                    </a:lnTo>
                    <a:lnTo>
                      <a:pt x="59" y="178"/>
                    </a:lnTo>
                    <a:lnTo>
                      <a:pt x="58" y="172"/>
                    </a:lnTo>
                    <a:lnTo>
                      <a:pt x="52" y="166"/>
                    </a:lnTo>
                    <a:lnTo>
                      <a:pt x="52" y="156"/>
                    </a:lnTo>
                    <a:lnTo>
                      <a:pt x="47" y="151"/>
                    </a:lnTo>
                    <a:lnTo>
                      <a:pt x="46" y="143"/>
                    </a:lnTo>
                    <a:lnTo>
                      <a:pt x="43" y="140"/>
                    </a:lnTo>
                    <a:lnTo>
                      <a:pt x="32" y="140"/>
                    </a:lnTo>
                    <a:lnTo>
                      <a:pt x="30" y="139"/>
                    </a:lnTo>
                    <a:lnTo>
                      <a:pt x="26" y="135"/>
                    </a:lnTo>
                    <a:lnTo>
                      <a:pt x="26" y="130"/>
                    </a:lnTo>
                    <a:lnTo>
                      <a:pt x="17" y="123"/>
                    </a:lnTo>
                    <a:lnTo>
                      <a:pt x="15" y="122"/>
                    </a:lnTo>
                    <a:lnTo>
                      <a:pt x="6" y="107"/>
                    </a:lnTo>
                    <a:lnTo>
                      <a:pt x="0" y="101"/>
                    </a:lnTo>
                    <a:lnTo>
                      <a:pt x="0" y="95"/>
                    </a:lnTo>
                    <a:lnTo>
                      <a:pt x="4" y="84"/>
                    </a:lnTo>
                    <a:lnTo>
                      <a:pt x="9" y="75"/>
                    </a:lnTo>
                    <a:lnTo>
                      <a:pt x="9" y="60"/>
                    </a:lnTo>
                    <a:lnTo>
                      <a:pt x="10" y="58"/>
                    </a:lnTo>
                    <a:lnTo>
                      <a:pt x="11" y="55"/>
                    </a:lnTo>
                    <a:lnTo>
                      <a:pt x="15" y="53"/>
                    </a:lnTo>
                    <a:lnTo>
                      <a:pt x="22" y="50"/>
                    </a:lnTo>
                    <a:lnTo>
                      <a:pt x="32" y="50"/>
                    </a:lnTo>
                    <a:lnTo>
                      <a:pt x="38" y="49"/>
                    </a:lnTo>
                    <a:lnTo>
                      <a:pt x="39" y="46"/>
                    </a:lnTo>
                    <a:lnTo>
                      <a:pt x="46" y="39"/>
                    </a:lnTo>
                    <a:lnTo>
                      <a:pt x="46" y="32"/>
                    </a:lnTo>
                    <a:lnTo>
                      <a:pt x="44" y="32"/>
                    </a:lnTo>
                    <a:lnTo>
                      <a:pt x="42" y="30"/>
                    </a:lnTo>
                    <a:lnTo>
                      <a:pt x="43" y="26"/>
                    </a:lnTo>
                    <a:lnTo>
                      <a:pt x="50" y="15"/>
                    </a:lnTo>
                    <a:lnTo>
                      <a:pt x="57" y="9"/>
                    </a:lnTo>
                    <a:lnTo>
                      <a:pt x="58" y="6"/>
                    </a:lnTo>
                    <a:lnTo>
                      <a:pt x="62" y="5"/>
                    </a:lnTo>
                    <a:lnTo>
                      <a:pt x="66" y="0"/>
                    </a:lnTo>
                    <a:lnTo>
                      <a:pt x="71" y="0"/>
                    </a:lnTo>
                    <a:lnTo>
                      <a:pt x="95" y="6"/>
                    </a:lnTo>
                    <a:lnTo>
                      <a:pt x="114" y="6"/>
                    </a:lnTo>
                    <a:lnTo>
                      <a:pt x="139" y="1"/>
                    </a:lnTo>
                    <a:lnTo>
                      <a:pt x="154" y="3"/>
                    </a:lnTo>
                    <a:lnTo>
                      <a:pt x="166" y="1"/>
                    </a:lnTo>
                    <a:lnTo>
                      <a:pt x="168" y="0"/>
                    </a:lnTo>
                    <a:lnTo>
                      <a:pt x="175" y="0"/>
                    </a:lnTo>
                    <a:lnTo>
                      <a:pt x="200" y="3"/>
                    </a:lnTo>
                    <a:lnTo>
                      <a:pt x="225" y="10"/>
                    </a:lnTo>
                    <a:lnTo>
                      <a:pt x="225" y="11"/>
                    </a:lnTo>
                    <a:lnTo>
                      <a:pt x="225" y="22"/>
                    </a:lnTo>
                    <a:lnTo>
                      <a:pt x="222" y="25"/>
                    </a:lnTo>
                    <a:lnTo>
                      <a:pt x="222" y="27"/>
                    </a:lnTo>
                    <a:lnTo>
                      <a:pt x="218" y="33"/>
                    </a:lnTo>
                    <a:lnTo>
                      <a:pt x="210" y="39"/>
                    </a:lnTo>
                    <a:lnTo>
                      <a:pt x="206" y="49"/>
                    </a:lnTo>
                    <a:lnTo>
                      <a:pt x="206" y="71"/>
                    </a:lnTo>
                    <a:lnTo>
                      <a:pt x="208" y="90"/>
                    </a:lnTo>
                    <a:lnTo>
                      <a:pt x="211" y="101"/>
                    </a:lnTo>
                    <a:lnTo>
                      <a:pt x="220" y="114"/>
                    </a:lnTo>
                    <a:lnTo>
                      <a:pt x="220" y="116"/>
                    </a:lnTo>
                    <a:lnTo>
                      <a:pt x="221" y="117"/>
                    </a:lnTo>
                    <a:lnTo>
                      <a:pt x="226" y="125"/>
                    </a:lnTo>
                    <a:lnTo>
                      <a:pt x="225" y="140"/>
                    </a:lnTo>
                    <a:lnTo>
                      <a:pt x="220" y="162"/>
                    </a:lnTo>
                    <a:lnTo>
                      <a:pt x="218" y="181"/>
                    </a:lnTo>
                    <a:lnTo>
                      <a:pt x="216" y="184"/>
                    </a:lnTo>
                    <a:lnTo>
                      <a:pt x="203" y="19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85" name="Freeform 259"/>
              <p:cNvSpPr>
                <a:spLocks noChangeAspect="1"/>
              </p:cNvSpPr>
              <p:nvPr/>
            </p:nvSpPr>
            <p:spPr bwMode="gray">
              <a:xfrm rot="-1047951">
                <a:off x="1790" y="2357"/>
                <a:ext cx="4" cy="4"/>
              </a:xfrm>
              <a:custGeom>
                <a:avLst/>
                <a:gdLst/>
                <a:ahLst/>
                <a:cxnLst>
                  <a:cxn ang="0">
                    <a:pos x="148" y="0"/>
                  </a:cxn>
                  <a:cxn ang="0">
                    <a:pos x="169" y="17"/>
                  </a:cxn>
                  <a:cxn ang="0">
                    <a:pos x="183" y="54"/>
                  </a:cxn>
                  <a:cxn ang="0">
                    <a:pos x="114" y="93"/>
                  </a:cxn>
                  <a:cxn ang="0">
                    <a:pos x="86" y="86"/>
                  </a:cxn>
                  <a:cxn ang="0">
                    <a:pos x="66" y="72"/>
                  </a:cxn>
                  <a:cxn ang="0">
                    <a:pos x="14" y="72"/>
                  </a:cxn>
                  <a:cxn ang="0">
                    <a:pos x="0" y="41"/>
                  </a:cxn>
                  <a:cxn ang="0">
                    <a:pos x="24" y="24"/>
                  </a:cxn>
                  <a:cxn ang="0">
                    <a:pos x="54" y="24"/>
                  </a:cxn>
                  <a:cxn ang="0">
                    <a:pos x="83" y="44"/>
                  </a:cxn>
                  <a:cxn ang="0">
                    <a:pos x="148" y="0"/>
                  </a:cxn>
                </a:cxnLst>
                <a:rect l="0" t="0" r="r" b="b"/>
                <a:pathLst>
                  <a:path w="183" h="93">
                    <a:moveTo>
                      <a:pt x="148" y="0"/>
                    </a:moveTo>
                    <a:lnTo>
                      <a:pt x="169" y="17"/>
                    </a:lnTo>
                    <a:lnTo>
                      <a:pt x="183" y="54"/>
                    </a:lnTo>
                    <a:lnTo>
                      <a:pt x="114" y="93"/>
                    </a:lnTo>
                    <a:lnTo>
                      <a:pt x="86" y="86"/>
                    </a:lnTo>
                    <a:lnTo>
                      <a:pt x="66" y="72"/>
                    </a:lnTo>
                    <a:lnTo>
                      <a:pt x="14" y="72"/>
                    </a:lnTo>
                    <a:lnTo>
                      <a:pt x="0" y="41"/>
                    </a:lnTo>
                    <a:lnTo>
                      <a:pt x="24" y="24"/>
                    </a:lnTo>
                    <a:lnTo>
                      <a:pt x="54" y="24"/>
                    </a:lnTo>
                    <a:lnTo>
                      <a:pt x="83" y="44"/>
                    </a:lnTo>
                    <a:lnTo>
                      <a:pt x="14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86" name="Freeform 260"/>
              <p:cNvSpPr>
                <a:spLocks noChangeAspect="1"/>
              </p:cNvSpPr>
              <p:nvPr/>
            </p:nvSpPr>
            <p:spPr bwMode="gray">
              <a:xfrm rot="-1047951">
                <a:off x="1753" y="2352"/>
                <a:ext cx="3" cy="4"/>
              </a:xfrm>
              <a:custGeom>
                <a:avLst/>
                <a:gdLst/>
                <a:ahLst/>
                <a:cxnLst>
                  <a:cxn ang="0">
                    <a:pos x="24" y="37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5" y="41"/>
                  </a:cxn>
                  <a:cxn ang="0">
                    <a:pos x="24" y="72"/>
                  </a:cxn>
                  <a:cxn ang="0">
                    <a:pos x="101" y="102"/>
                  </a:cxn>
                  <a:cxn ang="0">
                    <a:pos x="101" y="85"/>
                  </a:cxn>
                  <a:cxn ang="0">
                    <a:pos x="59" y="68"/>
                  </a:cxn>
                  <a:cxn ang="0">
                    <a:pos x="24" y="37"/>
                  </a:cxn>
                </a:cxnLst>
                <a:rect l="0" t="0" r="r" b="b"/>
                <a:pathLst>
                  <a:path w="101" h="102">
                    <a:moveTo>
                      <a:pt x="24" y="37"/>
                    </a:moveTo>
                    <a:lnTo>
                      <a:pt x="0" y="0"/>
                    </a:lnTo>
                    <a:lnTo>
                      <a:pt x="0" y="10"/>
                    </a:lnTo>
                    <a:lnTo>
                      <a:pt x="5" y="41"/>
                    </a:lnTo>
                    <a:lnTo>
                      <a:pt x="24" y="72"/>
                    </a:lnTo>
                    <a:lnTo>
                      <a:pt x="101" y="102"/>
                    </a:lnTo>
                    <a:lnTo>
                      <a:pt x="101" y="85"/>
                    </a:lnTo>
                    <a:lnTo>
                      <a:pt x="59" y="68"/>
                    </a:lnTo>
                    <a:lnTo>
                      <a:pt x="24" y="3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87" name="Freeform 261"/>
              <p:cNvSpPr>
                <a:spLocks noChangeAspect="1"/>
              </p:cNvSpPr>
              <p:nvPr/>
            </p:nvSpPr>
            <p:spPr bwMode="gray">
              <a:xfrm rot="-1047951">
                <a:off x="1758" y="2351"/>
                <a:ext cx="2" cy="4"/>
              </a:xfrm>
              <a:custGeom>
                <a:avLst/>
                <a:gdLst/>
                <a:ahLst/>
                <a:cxnLst>
                  <a:cxn ang="0">
                    <a:pos x="20" y="17"/>
                  </a:cxn>
                  <a:cxn ang="0">
                    <a:pos x="0" y="0"/>
                  </a:cxn>
                  <a:cxn ang="0">
                    <a:pos x="13" y="26"/>
                  </a:cxn>
                  <a:cxn ang="0">
                    <a:pos x="38" y="51"/>
                  </a:cxn>
                  <a:cxn ang="0">
                    <a:pos x="52" y="82"/>
                  </a:cxn>
                  <a:cxn ang="0">
                    <a:pos x="62" y="85"/>
                  </a:cxn>
                  <a:cxn ang="0">
                    <a:pos x="69" y="38"/>
                  </a:cxn>
                  <a:cxn ang="0">
                    <a:pos x="52" y="23"/>
                  </a:cxn>
                  <a:cxn ang="0">
                    <a:pos x="20" y="17"/>
                  </a:cxn>
                </a:cxnLst>
                <a:rect l="0" t="0" r="r" b="b"/>
                <a:pathLst>
                  <a:path w="69" h="85">
                    <a:moveTo>
                      <a:pt x="20" y="17"/>
                    </a:moveTo>
                    <a:lnTo>
                      <a:pt x="0" y="0"/>
                    </a:lnTo>
                    <a:lnTo>
                      <a:pt x="13" y="26"/>
                    </a:lnTo>
                    <a:lnTo>
                      <a:pt x="38" y="51"/>
                    </a:lnTo>
                    <a:lnTo>
                      <a:pt x="52" y="82"/>
                    </a:lnTo>
                    <a:lnTo>
                      <a:pt x="62" y="85"/>
                    </a:lnTo>
                    <a:lnTo>
                      <a:pt x="69" y="38"/>
                    </a:lnTo>
                    <a:lnTo>
                      <a:pt x="52" y="23"/>
                    </a:lnTo>
                    <a:lnTo>
                      <a:pt x="20" y="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</p:grpSp>
        <p:sp>
          <p:nvSpPr>
            <p:cNvPr id="68" name="Freeform 262"/>
            <p:cNvSpPr>
              <a:spLocks noChangeAspect="1"/>
            </p:cNvSpPr>
            <p:nvPr/>
          </p:nvSpPr>
          <p:spPr bwMode="gray">
            <a:xfrm>
              <a:off x="4369109" y="3970497"/>
              <a:ext cx="74737" cy="82069"/>
            </a:xfrm>
            <a:custGeom>
              <a:avLst/>
              <a:gdLst/>
              <a:ahLst/>
              <a:cxnLst>
                <a:cxn ang="0">
                  <a:pos x="223" y="0"/>
                </a:cxn>
                <a:cxn ang="0">
                  <a:pos x="206" y="11"/>
                </a:cxn>
                <a:cxn ang="0">
                  <a:pos x="187" y="16"/>
                </a:cxn>
                <a:cxn ang="0">
                  <a:pos x="163" y="21"/>
                </a:cxn>
                <a:cxn ang="0">
                  <a:pos x="156" y="14"/>
                </a:cxn>
                <a:cxn ang="0">
                  <a:pos x="149" y="16"/>
                </a:cxn>
                <a:cxn ang="0">
                  <a:pos x="143" y="18"/>
                </a:cxn>
                <a:cxn ang="0">
                  <a:pos x="136" y="38"/>
                </a:cxn>
                <a:cxn ang="0">
                  <a:pos x="123" y="43"/>
                </a:cxn>
                <a:cxn ang="0">
                  <a:pos x="117" y="50"/>
                </a:cxn>
                <a:cxn ang="0">
                  <a:pos x="110" y="58"/>
                </a:cxn>
                <a:cxn ang="0">
                  <a:pos x="101" y="61"/>
                </a:cxn>
                <a:cxn ang="0">
                  <a:pos x="93" y="63"/>
                </a:cxn>
                <a:cxn ang="0">
                  <a:pos x="78" y="54"/>
                </a:cxn>
                <a:cxn ang="0">
                  <a:pos x="68" y="72"/>
                </a:cxn>
                <a:cxn ang="0">
                  <a:pos x="46" y="72"/>
                </a:cxn>
                <a:cxn ang="0">
                  <a:pos x="43" y="95"/>
                </a:cxn>
                <a:cxn ang="0">
                  <a:pos x="35" y="101"/>
                </a:cxn>
                <a:cxn ang="0">
                  <a:pos x="29" y="111"/>
                </a:cxn>
                <a:cxn ang="0">
                  <a:pos x="2" y="112"/>
                </a:cxn>
                <a:cxn ang="0">
                  <a:pos x="2" y="120"/>
                </a:cxn>
                <a:cxn ang="0">
                  <a:pos x="20" y="141"/>
                </a:cxn>
                <a:cxn ang="0">
                  <a:pos x="57" y="181"/>
                </a:cxn>
                <a:cxn ang="0">
                  <a:pos x="70" y="194"/>
                </a:cxn>
                <a:cxn ang="0">
                  <a:pos x="95" y="211"/>
                </a:cxn>
                <a:cxn ang="0">
                  <a:pos x="98" y="221"/>
                </a:cxn>
                <a:cxn ang="0">
                  <a:pos x="105" y="215"/>
                </a:cxn>
                <a:cxn ang="0">
                  <a:pos x="120" y="220"/>
                </a:cxn>
                <a:cxn ang="0">
                  <a:pos x="152" y="226"/>
                </a:cxn>
                <a:cxn ang="0">
                  <a:pos x="165" y="224"/>
                </a:cxn>
                <a:cxn ang="0">
                  <a:pos x="182" y="235"/>
                </a:cxn>
                <a:cxn ang="0">
                  <a:pos x="197" y="236"/>
                </a:cxn>
                <a:cxn ang="0">
                  <a:pos x="214" y="231"/>
                </a:cxn>
                <a:cxn ang="0">
                  <a:pos x="212" y="224"/>
                </a:cxn>
                <a:cxn ang="0">
                  <a:pos x="204" y="200"/>
                </a:cxn>
                <a:cxn ang="0">
                  <a:pos x="212" y="181"/>
                </a:cxn>
                <a:cxn ang="0">
                  <a:pos x="219" y="117"/>
                </a:cxn>
                <a:cxn ang="0">
                  <a:pos x="231" y="43"/>
                </a:cxn>
                <a:cxn ang="0">
                  <a:pos x="234" y="0"/>
                </a:cxn>
              </a:cxnLst>
              <a:rect l="0" t="0" r="r" b="b"/>
              <a:pathLst>
                <a:path w="234" h="236">
                  <a:moveTo>
                    <a:pt x="234" y="0"/>
                  </a:moveTo>
                  <a:lnTo>
                    <a:pt x="223" y="0"/>
                  </a:lnTo>
                  <a:lnTo>
                    <a:pt x="209" y="6"/>
                  </a:lnTo>
                  <a:lnTo>
                    <a:pt x="206" y="11"/>
                  </a:lnTo>
                  <a:lnTo>
                    <a:pt x="197" y="16"/>
                  </a:lnTo>
                  <a:lnTo>
                    <a:pt x="187" y="16"/>
                  </a:lnTo>
                  <a:lnTo>
                    <a:pt x="180" y="21"/>
                  </a:lnTo>
                  <a:lnTo>
                    <a:pt x="163" y="21"/>
                  </a:lnTo>
                  <a:lnTo>
                    <a:pt x="160" y="18"/>
                  </a:lnTo>
                  <a:lnTo>
                    <a:pt x="156" y="14"/>
                  </a:lnTo>
                  <a:lnTo>
                    <a:pt x="150" y="12"/>
                  </a:lnTo>
                  <a:lnTo>
                    <a:pt x="149" y="16"/>
                  </a:lnTo>
                  <a:lnTo>
                    <a:pt x="147" y="17"/>
                  </a:lnTo>
                  <a:lnTo>
                    <a:pt x="143" y="18"/>
                  </a:lnTo>
                  <a:lnTo>
                    <a:pt x="139" y="25"/>
                  </a:lnTo>
                  <a:lnTo>
                    <a:pt x="136" y="38"/>
                  </a:lnTo>
                  <a:lnTo>
                    <a:pt x="133" y="41"/>
                  </a:lnTo>
                  <a:lnTo>
                    <a:pt x="123" y="43"/>
                  </a:lnTo>
                  <a:lnTo>
                    <a:pt x="118" y="48"/>
                  </a:lnTo>
                  <a:lnTo>
                    <a:pt x="117" y="50"/>
                  </a:lnTo>
                  <a:lnTo>
                    <a:pt x="113" y="52"/>
                  </a:lnTo>
                  <a:lnTo>
                    <a:pt x="110" y="58"/>
                  </a:lnTo>
                  <a:lnTo>
                    <a:pt x="101" y="59"/>
                  </a:lnTo>
                  <a:lnTo>
                    <a:pt x="101" y="61"/>
                  </a:lnTo>
                  <a:lnTo>
                    <a:pt x="99" y="63"/>
                  </a:lnTo>
                  <a:lnTo>
                    <a:pt x="93" y="63"/>
                  </a:lnTo>
                  <a:lnTo>
                    <a:pt x="85" y="57"/>
                  </a:lnTo>
                  <a:lnTo>
                    <a:pt x="78" y="54"/>
                  </a:lnTo>
                  <a:lnTo>
                    <a:pt x="72" y="64"/>
                  </a:lnTo>
                  <a:lnTo>
                    <a:pt x="68" y="72"/>
                  </a:lnTo>
                  <a:lnTo>
                    <a:pt x="51" y="74"/>
                  </a:lnTo>
                  <a:lnTo>
                    <a:pt x="46" y="72"/>
                  </a:lnTo>
                  <a:lnTo>
                    <a:pt x="43" y="80"/>
                  </a:lnTo>
                  <a:lnTo>
                    <a:pt x="43" y="95"/>
                  </a:lnTo>
                  <a:lnTo>
                    <a:pt x="41" y="96"/>
                  </a:lnTo>
                  <a:lnTo>
                    <a:pt x="35" y="101"/>
                  </a:lnTo>
                  <a:lnTo>
                    <a:pt x="32" y="108"/>
                  </a:lnTo>
                  <a:lnTo>
                    <a:pt x="29" y="111"/>
                  </a:lnTo>
                  <a:lnTo>
                    <a:pt x="12" y="112"/>
                  </a:lnTo>
                  <a:lnTo>
                    <a:pt x="2" y="112"/>
                  </a:lnTo>
                  <a:lnTo>
                    <a:pt x="0" y="118"/>
                  </a:lnTo>
                  <a:lnTo>
                    <a:pt x="2" y="120"/>
                  </a:lnTo>
                  <a:lnTo>
                    <a:pt x="16" y="136"/>
                  </a:lnTo>
                  <a:lnTo>
                    <a:pt x="20" y="141"/>
                  </a:lnTo>
                  <a:lnTo>
                    <a:pt x="42" y="162"/>
                  </a:lnTo>
                  <a:lnTo>
                    <a:pt x="57" y="181"/>
                  </a:lnTo>
                  <a:lnTo>
                    <a:pt x="66" y="189"/>
                  </a:lnTo>
                  <a:lnTo>
                    <a:pt x="70" y="194"/>
                  </a:lnTo>
                  <a:lnTo>
                    <a:pt x="77" y="197"/>
                  </a:lnTo>
                  <a:lnTo>
                    <a:pt x="95" y="211"/>
                  </a:lnTo>
                  <a:lnTo>
                    <a:pt x="98" y="217"/>
                  </a:lnTo>
                  <a:lnTo>
                    <a:pt x="98" y="221"/>
                  </a:lnTo>
                  <a:lnTo>
                    <a:pt x="99" y="221"/>
                  </a:lnTo>
                  <a:lnTo>
                    <a:pt x="105" y="215"/>
                  </a:lnTo>
                  <a:lnTo>
                    <a:pt x="110" y="215"/>
                  </a:lnTo>
                  <a:lnTo>
                    <a:pt x="120" y="220"/>
                  </a:lnTo>
                  <a:lnTo>
                    <a:pt x="143" y="226"/>
                  </a:lnTo>
                  <a:lnTo>
                    <a:pt x="152" y="226"/>
                  </a:lnTo>
                  <a:lnTo>
                    <a:pt x="160" y="224"/>
                  </a:lnTo>
                  <a:lnTo>
                    <a:pt x="165" y="224"/>
                  </a:lnTo>
                  <a:lnTo>
                    <a:pt x="174" y="227"/>
                  </a:lnTo>
                  <a:lnTo>
                    <a:pt x="182" y="235"/>
                  </a:lnTo>
                  <a:lnTo>
                    <a:pt x="187" y="236"/>
                  </a:lnTo>
                  <a:lnTo>
                    <a:pt x="197" y="236"/>
                  </a:lnTo>
                  <a:lnTo>
                    <a:pt x="209" y="233"/>
                  </a:lnTo>
                  <a:lnTo>
                    <a:pt x="214" y="231"/>
                  </a:lnTo>
                  <a:lnTo>
                    <a:pt x="214" y="230"/>
                  </a:lnTo>
                  <a:lnTo>
                    <a:pt x="212" y="224"/>
                  </a:lnTo>
                  <a:lnTo>
                    <a:pt x="204" y="211"/>
                  </a:lnTo>
                  <a:lnTo>
                    <a:pt x="204" y="200"/>
                  </a:lnTo>
                  <a:lnTo>
                    <a:pt x="209" y="190"/>
                  </a:lnTo>
                  <a:lnTo>
                    <a:pt x="212" y="181"/>
                  </a:lnTo>
                  <a:lnTo>
                    <a:pt x="213" y="156"/>
                  </a:lnTo>
                  <a:lnTo>
                    <a:pt x="219" y="117"/>
                  </a:lnTo>
                  <a:lnTo>
                    <a:pt x="219" y="82"/>
                  </a:lnTo>
                  <a:lnTo>
                    <a:pt x="231" y="43"/>
                  </a:lnTo>
                  <a:lnTo>
                    <a:pt x="234" y="23"/>
                  </a:lnTo>
                  <a:lnTo>
                    <a:pt x="23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69" name="Freeform 263"/>
            <p:cNvSpPr>
              <a:spLocks noChangeAspect="1"/>
            </p:cNvSpPr>
            <p:nvPr/>
          </p:nvSpPr>
          <p:spPr bwMode="gray">
            <a:xfrm>
              <a:off x="4448616" y="4075265"/>
              <a:ext cx="101769" cy="47146"/>
            </a:xfrm>
            <a:custGeom>
              <a:avLst/>
              <a:gdLst/>
              <a:ahLst/>
              <a:cxnLst>
                <a:cxn ang="0">
                  <a:pos x="19" y="1"/>
                </a:cxn>
                <a:cxn ang="0">
                  <a:pos x="6" y="9"/>
                </a:cxn>
                <a:cxn ang="0">
                  <a:pos x="16" y="32"/>
                </a:cxn>
                <a:cxn ang="0">
                  <a:pos x="10" y="44"/>
                </a:cxn>
                <a:cxn ang="0">
                  <a:pos x="1" y="71"/>
                </a:cxn>
                <a:cxn ang="0">
                  <a:pos x="7" y="82"/>
                </a:cxn>
                <a:cxn ang="0">
                  <a:pos x="22" y="72"/>
                </a:cxn>
                <a:cxn ang="0">
                  <a:pos x="58" y="80"/>
                </a:cxn>
                <a:cxn ang="0">
                  <a:pos x="75" y="87"/>
                </a:cxn>
                <a:cxn ang="0">
                  <a:pos x="92" y="112"/>
                </a:cxn>
                <a:cxn ang="0">
                  <a:pos x="109" y="103"/>
                </a:cxn>
                <a:cxn ang="0">
                  <a:pos x="117" y="131"/>
                </a:cxn>
                <a:cxn ang="0">
                  <a:pos x="135" y="134"/>
                </a:cxn>
                <a:cxn ang="0">
                  <a:pos x="157" y="110"/>
                </a:cxn>
                <a:cxn ang="0">
                  <a:pos x="139" y="95"/>
                </a:cxn>
                <a:cxn ang="0">
                  <a:pos x="140" y="81"/>
                </a:cxn>
                <a:cxn ang="0">
                  <a:pos x="160" y="72"/>
                </a:cxn>
                <a:cxn ang="0">
                  <a:pos x="187" y="43"/>
                </a:cxn>
                <a:cxn ang="0">
                  <a:pos x="201" y="34"/>
                </a:cxn>
                <a:cxn ang="0">
                  <a:pos x="222" y="45"/>
                </a:cxn>
                <a:cxn ang="0">
                  <a:pos x="260" y="63"/>
                </a:cxn>
                <a:cxn ang="0">
                  <a:pos x="273" y="71"/>
                </a:cxn>
                <a:cxn ang="0">
                  <a:pos x="258" y="85"/>
                </a:cxn>
                <a:cxn ang="0">
                  <a:pos x="261" y="110"/>
                </a:cxn>
                <a:cxn ang="0">
                  <a:pos x="281" y="128"/>
                </a:cxn>
                <a:cxn ang="0">
                  <a:pos x="290" y="109"/>
                </a:cxn>
                <a:cxn ang="0">
                  <a:pos x="302" y="109"/>
                </a:cxn>
                <a:cxn ang="0">
                  <a:pos x="318" y="87"/>
                </a:cxn>
                <a:cxn ang="0">
                  <a:pos x="313" y="77"/>
                </a:cxn>
                <a:cxn ang="0">
                  <a:pos x="304" y="66"/>
                </a:cxn>
                <a:cxn ang="0">
                  <a:pos x="297" y="48"/>
                </a:cxn>
                <a:cxn ang="0">
                  <a:pos x="266" y="18"/>
                </a:cxn>
                <a:cxn ang="0">
                  <a:pos x="231" y="11"/>
                </a:cxn>
                <a:cxn ang="0">
                  <a:pos x="189" y="1"/>
                </a:cxn>
                <a:cxn ang="0">
                  <a:pos x="176" y="11"/>
                </a:cxn>
                <a:cxn ang="0">
                  <a:pos x="164" y="31"/>
                </a:cxn>
                <a:cxn ang="0">
                  <a:pos x="156" y="20"/>
                </a:cxn>
                <a:cxn ang="0">
                  <a:pos x="118" y="36"/>
                </a:cxn>
                <a:cxn ang="0">
                  <a:pos x="101" y="44"/>
                </a:cxn>
                <a:cxn ang="0">
                  <a:pos x="71" y="34"/>
                </a:cxn>
                <a:cxn ang="0">
                  <a:pos x="45" y="23"/>
                </a:cxn>
                <a:cxn ang="0">
                  <a:pos x="35" y="7"/>
                </a:cxn>
              </a:cxnLst>
              <a:rect l="0" t="0" r="r" b="b"/>
              <a:pathLst>
                <a:path w="318" h="135">
                  <a:moveTo>
                    <a:pt x="23" y="0"/>
                  </a:moveTo>
                  <a:lnTo>
                    <a:pt x="22" y="1"/>
                  </a:lnTo>
                  <a:lnTo>
                    <a:pt x="19" y="1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6" y="9"/>
                  </a:lnTo>
                  <a:lnTo>
                    <a:pt x="5" y="23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5" y="37"/>
                  </a:lnTo>
                  <a:lnTo>
                    <a:pt x="11" y="40"/>
                  </a:lnTo>
                  <a:lnTo>
                    <a:pt x="10" y="44"/>
                  </a:lnTo>
                  <a:lnTo>
                    <a:pt x="10" y="56"/>
                  </a:lnTo>
                  <a:lnTo>
                    <a:pt x="8" y="61"/>
                  </a:lnTo>
                  <a:lnTo>
                    <a:pt x="1" y="71"/>
                  </a:lnTo>
                  <a:lnTo>
                    <a:pt x="0" y="71"/>
                  </a:lnTo>
                  <a:lnTo>
                    <a:pt x="6" y="82"/>
                  </a:lnTo>
                  <a:lnTo>
                    <a:pt x="7" y="82"/>
                  </a:lnTo>
                  <a:lnTo>
                    <a:pt x="10" y="75"/>
                  </a:lnTo>
                  <a:lnTo>
                    <a:pt x="12" y="72"/>
                  </a:lnTo>
                  <a:lnTo>
                    <a:pt x="22" y="72"/>
                  </a:lnTo>
                  <a:lnTo>
                    <a:pt x="40" y="75"/>
                  </a:lnTo>
                  <a:lnTo>
                    <a:pt x="48" y="76"/>
                  </a:lnTo>
                  <a:lnTo>
                    <a:pt x="58" y="80"/>
                  </a:lnTo>
                  <a:lnTo>
                    <a:pt x="67" y="81"/>
                  </a:lnTo>
                  <a:lnTo>
                    <a:pt x="70" y="82"/>
                  </a:lnTo>
                  <a:lnTo>
                    <a:pt x="75" y="87"/>
                  </a:lnTo>
                  <a:lnTo>
                    <a:pt x="78" y="96"/>
                  </a:lnTo>
                  <a:lnTo>
                    <a:pt x="85" y="103"/>
                  </a:lnTo>
                  <a:lnTo>
                    <a:pt x="92" y="112"/>
                  </a:lnTo>
                  <a:lnTo>
                    <a:pt x="98" y="112"/>
                  </a:lnTo>
                  <a:lnTo>
                    <a:pt x="103" y="106"/>
                  </a:lnTo>
                  <a:lnTo>
                    <a:pt x="109" y="103"/>
                  </a:lnTo>
                  <a:lnTo>
                    <a:pt x="113" y="112"/>
                  </a:lnTo>
                  <a:lnTo>
                    <a:pt x="113" y="122"/>
                  </a:lnTo>
                  <a:lnTo>
                    <a:pt x="117" y="131"/>
                  </a:lnTo>
                  <a:lnTo>
                    <a:pt x="118" y="134"/>
                  </a:lnTo>
                  <a:lnTo>
                    <a:pt x="130" y="135"/>
                  </a:lnTo>
                  <a:lnTo>
                    <a:pt x="135" y="134"/>
                  </a:lnTo>
                  <a:lnTo>
                    <a:pt x="152" y="124"/>
                  </a:lnTo>
                  <a:lnTo>
                    <a:pt x="160" y="117"/>
                  </a:lnTo>
                  <a:lnTo>
                    <a:pt x="157" y="110"/>
                  </a:lnTo>
                  <a:lnTo>
                    <a:pt x="152" y="107"/>
                  </a:lnTo>
                  <a:lnTo>
                    <a:pt x="148" y="102"/>
                  </a:lnTo>
                  <a:lnTo>
                    <a:pt x="139" y="95"/>
                  </a:lnTo>
                  <a:lnTo>
                    <a:pt x="137" y="91"/>
                  </a:lnTo>
                  <a:lnTo>
                    <a:pt x="137" y="87"/>
                  </a:lnTo>
                  <a:lnTo>
                    <a:pt x="140" y="81"/>
                  </a:lnTo>
                  <a:lnTo>
                    <a:pt x="148" y="75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8" y="68"/>
                  </a:lnTo>
                  <a:lnTo>
                    <a:pt x="177" y="58"/>
                  </a:lnTo>
                  <a:lnTo>
                    <a:pt x="187" y="43"/>
                  </a:lnTo>
                  <a:lnTo>
                    <a:pt x="189" y="39"/>
                  </a:lnTo>
                  <a:lnTo>
                    <a:pt x="190" y="38"/>
                  </a:lnTo>
                  <a:lnTo>
                    <a:pt x="201" y="34"/>
                  </a:lnTo>
                  <a:lnTo>
                    <a:pt x="205" y="34"/>
                  </a:lnTo>
                  <a:lnTo>
                    <a:pt x="209" y="36"/>
                  </a:lnTo>
                  <a:lnTo>
                    <a:pt x="222" y="45"/>
                  </a:lnTo>
                  <a:lnTo>
                    <a:pt x="241" y="54"/>
                  </a:lnTo>
                  <a:lnTo>
                    <a:pt x="252" y="66"/>
                  </a:lnTo>
                  <a:lnTo>
                    <a:pt x="260" y="63"/>
                  </a:lnTo>
                  <a:lnTo>
                    <a:pt x="266" y="63"/>
                  </a:lnTo>
                  <a:lnTo>
                    <a:pt x="273" y="68"/>
                  </a:lnTo>
                  <a:lnTo>
                    <a:pt x="273" y="71"/>
                  </a:lnTo>
                  <a:lnTo>
                    <a:pt x="269" y="71"/>
                  </a:lnTo>
                  <a:lnTo>
                    <a:pt x="259" y="80"/>
                  </a:lnTo>
                  <a:lnTo>
                    <a:pt x="258" y="85"/>
                  </a:lnTo>
                  <a:lnTo>
                    <a:pt x="257" y="93"/>
                  </a:lnTo>
                  <a:lnTo>
                    <a:pt x="258" y="104"/>
                  </a:lnTo>
                  <a:lnTo>
                    <a:pt x="261" y="110"/>
                  </a:lnTo>
                  <a:lnTo>
                    <a:pt x="273" y="123"/>
                  </a:lnTo>
                  <a:lnTo>
                    <a:pt x="280" y="128"/>
                  </a:lnTo>
                  <a:lnTo>
                    <a:pt x="281" y="128"/>
                  </a:lnTo>
                  <a:lnTo>
                    <a:pt x="281" y="123"/>
                  </a:lnTo>
                  <a:lnTo>
                    <a:pt x="290" y="117"/>
                  </a:lnTo>
                  <a:lnTo>
                    <a:pt x="290" y="109"/>
                  </a:lnTo>
                  <a:lnTo>
                    <a:pt x="293" y="108"/>
                  </a:lnTo>
                  <a:lnTo>
                    <a:pt x="298" y="112"/>
                  </a:lnTo>
                  <a:lnTo>
                    <a:pt x="302" y="109"/>
                  </a:lnTo>
                  <a:lnTo>
                    <a:pt x="312" y="96"/>
                  </a:lnTo>
                  <a:lnTo>
                    <a:pt x="318" y="91"/>
                  </a:lnTo>
                  <a:lnTo>
                    <a:pt x="318" y="87"/>
                  </a:lnTo>
                  <a:lnTo>
                    <a:pt x="314" y="85"/>
                  </a:lnTo>
                  <a:lnTo>
                    <a:pt x="313" y="83"/>
                  </a:lnTo>
                  <a:lnTo>
                    <a:pt x="313" y="77"/>
                  </a:lnTo>
                  <a:lnTo>
                    <a:pt x="309" y="71"/>
                  </a:lnTo>
                  <a:lnTo>
                    <a:pt x="304" y="68"/>
                  </a:lnTo>
                  <a:lnTo>
                    <a:pt x="304" y="66"/>
                  </a:lnTo>
                  <a:lnTo>
                    <a:pt x="306" y="58"/>
                  </a:lnTo>
                  <a:lnTo>
                    <a:pt x="307" y="54"/>
                  </a:lnTo>
                  <a:lnTo>
                    <a:pt x="297" y="48"/>
                  </a:lnTo>
                  <a:lnTo>
                    <a:pt x="287" y="37"/>
                  </a:lnTo>
                  <a:lnTo>
                    <a:pt x="284" y="33"/>
                  </a:lnTo>
                  <a:lnTo>
                    <a:pt x="266" y="18"/>
                  </a:lnTo>
                  <a:lnTo>
                    <a:pt x="257" y="15"/>
                  </a:lnTo>
                  <a:lnTo>
                    <a:pt x="244" y="11"/>
                  </a:lnTo>
                  <a:lnTo>
                    <a:pt x="231" y="11"/>
                  </a:lnTo>
                  <a:lnTo>
                    <a:pt x="218" y="7"/>
                  </a:lnTo>
                  <a:lnTo>
                    <a:pt x="209" y="1"/>
                  </a:lnTo>
                  <a:lnTo>
                    <a:pt x="189" y="1"/>
                  </a:lnTo>
                  <a:lnTo>
                    <a:pt x="184" y="2"/>
                  </a:lnTo>
                  <a:lnTo>
                    <a:pt x="182" y="4"/>
                  </a:lnTo>
                  <a:lnTo>
                    <a:pt x="176" y="11"/>
                  </a:lnTo>
                  <a:lnTo>
                    <a:pt x="174" y="27"/>
                  </a:lnTo>
                  <a:lnTo>
                    <a:pt x="167" y="31"/>
                  </a:lnTo>
                  <a:lnTo>
                    <a:pt x="164" y="31"/>
                  </a:lnTo>
                  <a:lnTo>
                    <a:pt x="164" y="21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37" y="31"/>
                  </a:lnTo>
                  <a:lnTo>
                    <a:pt x="121" y="33"/>
                  </a:lnTo>
                  <a:lnTo>
                    <a:pt x="118" y="36"/>
                  </a:lnTo>
                  <a:lnTo>
                    <a:pt x="110" y="43"/>
                  </a:lnTo>
                  <a:lnTo>
                    <a:pt x="105" y="44"/>
                  </a:lnTo>
                  <a:lnTo>
                    <a:pt x="101" y="44"/>
                  </a:lnTo>
                  <a:lnTo>
                    <a:pt x="92" y="43"/>
                  </a:lnTo>
                  <a:lnTo>
                    <a:pt x="75" y="36"/>
                  </a:lnTo>
                  <a:lnTo>
                    <a:pt x="71" y="34"/>
                  </a:lnTo>
                  <a:lnTo>
                    <a:pt x="48" y="34"/>
                  </a:lnTo>
                  <a:lnTo>
                    <a:pt x="45" y="28"/>
                  </a:lnTo>
                  <a:lnTo>
                    <a:pt x="45" y="23"/>
                  </a:lnTo>
                  <a:lnTo>
                    <a:pt x="39" y="20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27" y="5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70" name="Freeform 264"/>
            <p:cNvSpPr>
              <a:spLocks noChangeAspect="1"/>
            </p:cNvSpPr>
            <p:nvPr/>
          </p:nvSpPr>
          <p:spPr bwMode="gray">
            <a:xfrm>
              <a:off x="4288012" y="3914620"/>
              <a:ext cx="68377" cy="82069"/>
            </a:xfrm>
            <a:custGeom>
              <a:avLst/>
              <a:gdLst/>
              <a:ahLst/>
              <a:cxnLst>
                <a:cxn ang="0">
                  <a:pos x="71" y="1"/>
                </a:cxn>
                <a:cxn ang="0">
                  <a:pos x="39" y="28"/>
                </a:cxn>
                <a:cxn ang="0">
                  <a:pos x="63" y="52"/>
                </a:cxn>
                <a:cxn ang="0">
                  <a:pos x="82" y="71"/>
                </a:cxn>
                <a:cxn ang="0">
                  <a:pos x="95" y="84"/>
                </a:cxn>
                <a:cxn ang="0">
                  <a:pos x="93" y="100"/>
                </a:cxn>
                <a:cxn ang="0">
                  <a:pos x="69" y="99"/>
                </a:cxn>
                <a:cxn ang="0">
                  <a:pos x="16" y="138"/>
                </a:cxn>
                <a:cxn ang="0">
                  <a:pos x="9" y="152"/>
                </a:cxn>
                <a:cxn ang="0">
                  <a:pos x="5" y="158"/>
                </a:cxn>
                <a:cxn ang="0">
                  <a:pos x="6" y="168"/>
                </a:cxn>
                <a:cxn ang="0">
                  <a:pos x="2" y="186"/>
                </a:cxn>
                <a:cxn ang="0">
                  <a:pos x="2" y="191"/>
                </a:cxn>
                <a:cxn ang="0">
                  <a:pos x="9" y="196"/>
                </a:cxn>
                <a:cxn ang="0">
                  <a:pos x="17" y="204"/>
                </a:cxn>
                <a:cxn ang="0">
                  <a:pos x="37" y="217"/>
                </a:cxn>
                <a:cxn ang="0">
                  <a:pos x="55" y="226"/>
                </a:cxn>
                <a:cxn ang="0">
                  <a:pos x="86" y="227"/>
                </a:cxn>
                <a:cxn ang="0">
                  <a:pos x="112" y="232"/>
                </a:cxn>
                <a:cxn ang="0">
                  <a:pos x="119" y="232"/>
                </a:cxn>
                <a:cxn ang="0">
                  <a:pos x="134" y="220"/>
                </a:cxn>
                <a:cxn ang="0">
                  <a:pos x="145" y="211"/>
                </a:cxn>
                <a:cxn ang="0">
                  <a:pos x="149" y="199"/>
                </a:cxn>
                <a:cxn ang="0">
                  <a:pos x="155" y="194"/>
                </a:cxn>
                <a:cxn ang="0">
                  <a:pos x="165" y="184"/>
                </a:cxn>
                <a:cxn ang="0">
                  <a:pos x="163" y="175"/>
                </a:cxn>
                <a:cxn ang="0">
                  <a:pos x="162" y="169"/>
                </a:cxn>
                <a:cxn ang="0">
                  <a:pos x="172" y="159"/>
                </a:cxn>
                <a:cxn ang="0">
                  <a:pos x="177" y="157"/>
                </a:cxn>
                <a:cxn ang="0">
                  <a:pos x="208" y="134"/>
                </a:cxn>
                <a:cxn ang="0">
                  <a:pos x="212" y="124"/>
                </a:cxn>
                <a:cxn ang="0">
                  <a:pos x="211" y="121"/>
                </a:cxn>
                <a:cxn ang="0">
                  <a:pos x="209" y="118"/>
                </a:cxn>
                <a:cxn ang="0">
                  <a:pos x="195" y="121"/>
                </a:cxn>
                <a:cxn ang="0">
                  <a:pos x="187" y="116"/>
                </a:cxn>
                <a:cxn ang="0">
                  <a:pos x="184" y="111"/>
                </a:cxn>
                <a:cxn ang="0">
                  <a:pos x="163" y="108"/>
                </a:cxn>
                <a:cxn ang="0">
                  <a:pos x="166" y="72"/>
                </a:cxn>
              </a:cxnLst>
              <a:rect l="0" t="0" r="r" b="b"/>
              <a:pathLst>
                <a:path w="212" h="235">
                  <a:moveTo>
                    <a:pt x="166" y="0"/>
                  </a:moveTo>
                  <a:lnTo>
                    <a:pt x="71" y="1"/>
                  </a:lnTo>
                  <a:lnTo>
                    <a:pt x="71" y="28"/>
                  </a:lnTo>
                  <a:lnTo>
                    <a:pt x="39" y="28"/>
                  </a:lnTo>
                  <a:lnTo>
                    <a:pt x="37" y="27"/>
                  </a:lnTo>
                  <a:lnTo>
                    <a:pt x="63" y="52"/>
                  </a:lnTo>
                  <a:lnTo>
                    <a:pt x="79" y="62"/>
                  </a:lnTo>
                  <a:lnTo>
                    <a:pt x="82" y="71"/>
                  </a:lnTo>
                  <a:lnTo>
                    <a:pt x="92" y="79"/>
                  </a:lnTo>
                  <a:lnTo>
                    <a:pt x="95" y="84"/>
                  </a:lnTo>
                  <a:lnTo>
                    <a:pt x="93" y="99"/>
                  </a:lnTo>
                  <a:lnTo>
                    <a:pt x="93" y="100"/>
                  </a:lnTo>
                  <a:lnTo>
                    <a:pt x="92" y="99"/>
                  </a:lnTo>
                  <a:lnTo>
                    <a:pt x="69" y="99"/>
                  </a:lnTo>
                  <a:lnTo>
                    <a:pt x="39" y="102"/>
                  </a:lnTo>
                  <a:lnTo>
                    <a:pt x="16" y="138"/>
                  </a:lnTo>
                  <a:lnTo>
                    <a:pt x="15" y="142"/>
                  </a:lnTo>
                  <a:lnTo>
                    <a:pt x="9" y="152"/>
                  </a:lnTo>
                  <a:lnTo>
                    <a:pt x="6" y="157"/>
                  </a:lnTo>
                  <a:lnTo>
                    <a:pt x="5" y="158"/>
                  </a:lnTo>
                  <a:lnTo>
                    <a:pt x="7" y="165"/>
                  </a:lnTo>
                  <a:lnTo>
                    <a:pt x="6" y="168"/>
                  </a:lnTo>
                  <a:lnTo>
                    <a:pt x="4" y="170"/>
                  </a:lnTo>
                  <a:lnTo>
                    <a:pt x="2" y="186"/>
                  </a:lnTo>
                  <a:lnTo>
                    <a:pt x="0" y="188"/>
                  </a:lnTo>
                  <a:lnTo>
                    <a:pt x="2" y="191"/>
                  </a:lnTo>
                  <a:lnTo>
                    <a:pt x="7" y="195"/>
                  </a:lnTo>
                  <a:lnTo>
                    <a:pt x="9" y="196"/>
                  </a:lnTo>
                  <a:lnTo>
                    <a:pt x="16" y="201"/>
                  </a:lnTo>
                  <a:lnTo>
                    <a:pt x="17" y="204"/>
                  </a:lnTo>
                  <a:lnTo>
                    <a:pt x="31" y="213"/>
                  </a:lnTo>
                  <a:lnTo>
                    <a:pt x="37" y="217"/>
                  </a:lnTo>
                  <a:lnTo>
                    <a:pt x="47" y="222"/>
                  </a:lnTo>
                  <a:lnTo>
                    <a:pt x="55" y="226"/>
                  </a:lnTo>
                  <a:lnTo>
                    <a:pt x="66" y="227"/>
                  </a:lnTo>
                  <a:lnTo>
                    <a:pt x="86" y="227"/>
                  </a:lnTo>
                  <a:lnTo>
                    <a:pt x="96" y="228"/>
                  </a:lnTo>
                  <a:lnTo>
                    <a:pt x="112" y="232"/>
                  </a:lnTo>
                  <a:lnTo>
                    <a:pt x="119" y="235"/>
                  </a:lnTo>
                  <a:lnTo>
                    <a:pt x="119" y="232"/>
                  </a:lnTo>
                  <a:lnTo>
                    <a:pt x="125" y="222"/>
                  </a:lnTo>
                  <a:lnTo>
                    <a:pt x="134" y="220"/>
                  </a:lnTo>
                  <a:lnTo>
                    <a:pt x="138" y="213"/>
                  </a:lnTo>
                  <a:lnTo>
                    <a:pt x="145" y="211"/>
                  </a:lnTo>
                  <a:lnTo>
                    <a:pt x="147" y="206"/>
                  </a:lnTo>
                  <a:lnTo>
                    <a:pt x="149" y="199"/>
                  </a:lnTo>
                  <a:lnTo>
                    <a:pt x="152" y="195"/>
                  </a:lnTo>
                  <a:lnTo>
                    <a:pt x="155" y="194"/>
                  </a:lnTo>
                  <a:lnTo>
                    <a:pt x="156" y="189"/>
                  </a:lnTo>
                  <a:lnTo>
                    <a:pt x="165" y="184"/>
                  </a:lnTo>
                  <a:lnTo>
                    <a:pt x="165" y="180"/>
                  </a:lnTo>
                  <a:lnTo>
                    <a:pt x="163" y="175"/>
                  </a:lnTo>
                  <a:lnTo>
                    <a:pt x="162" y="174"/>
                  </a:lnTo>
                  <a:lnTo>
                    <a:pt x="162" y="169"/>
                  </a:lnTo>
                  <a:lnTo>
                    <a:pt x="163" y="165"/>
                  </a:lnTo>
                  <a:lnTo>
                    <a:pt x="172" y="159"/>
                  </a:lnTo>
                  <a:lnTo>
                    <a:pt x="173" y="158"/>
                  </a:lnTo>
                  <a:lnTo>
                    <a:pt x="177" y="157"/>
                  </a:lnTo>
                  <a:lnTo>
                    <a:pt x="189" y="146"/>
                  </a:lnTo>
                  <a:lnTo>
                    <a:pt x="208" y="134"/>
                  </a:lnTo>
                  <a:lnTo>
                    <a:pt x="211" y="127"/>
                  </a:lnTo>
                  <a:lnTo>
                    <a:pt x="212" y="124"/>
                  </a:lnTo>
                  <a:lnTo>
                    <a:pt x="212" y="121"/>
                  </a:lnTo>
                  <a:lnTo>
                    <a:pt x="211" y="121"/>
                  </a:lnTo>
                  <a:lnTo>
                    <a:pt x="210" y="121"/>
                  </a:lnTo>
                  <a:lnTo>
                    <a:pt x="209" y="118"/>
                  </a:lnTo>
                  <a:lnTo>
                    <a:pt x="203" y="116"/>
                  </a:lnTo>
                  <a:lnTo>
                    <a:pt x="195" y="121"/>
                  </a:lnTo>
                  <a:lnTo>
                    <a:pt x="193" y="121"/>
                  </a:lnTo>
                  <a:lnTo>
                    <a:pt x="187" y="116"/>
                  </a:lnTo>
                  <a:lnTo>
                    <a:pt x="183" y="110"/>
                  </a:lnTo>
                  <a:lnTo>
                    <a:pt x="184" y="111"/>
                  </a:lnTo>
                  <a:lnTo>
                    <a:pt x="172" y="110"/>
                  </a:lnTo>
                  <a:lnTo>
                    <a:pt x="163" y="108"/>
                  </a:lnTo>
                  <a:lnTo>
                    <a:pt x="163" y="107"/>
                  </a:lnTo>
                  <a:lnTo>
                    <a:pt x="166" y="72"/>
                  </a:lnTo>
                  <a:lnTo>
                    <a:pt x="16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71" name="Freeform 265"/>
            <p:cNvSpPr>
              <a:spLocks noChangeAspect="1"/>
            </p:cNvSpPr>
            <p:nvPr/>
          </p:nvSpPr>
          <p:spPr bwMode="gray">
            <a:xfrm>
              <a:off x="4340487" y="3902397"/>
              <a:ext cx="19082" cy="50638"/>
            </a:xfrm>
            <a:custGeom>
              <a:avLst/>
              <a:gdLst/>
              <a:ahLst/>
              <a:cxnLst>
                <a:cxn ang="0">
                  <a:pos x="46" y="2"/>
                </a:cxn>
                <a:cxn ang="0">
                  <a:pos x="41" y="0"/>
                </a:cxn>
                <a:cxn ang="0">
                  <a:pos x="36" y="3"/>
                </a:cxn>
                <a:cxn ang="0">
                  <a:pos x="21" y="31"/>
                </a:cxn>
                <a:cxn ang="0">
                  <a:pos x="16" y="31"/>
                </a:cxn>
                <a:cxn ang="0">
                  <a:pos x="3" y="34"/>
                </a:cxn>
                <a:cxn ang="0">
                  <a:pos x="3" y="106"/>
                </a:cxn>
                <a:cxn ang="0">
                  <a:pos x="2" y="141"/>
                </a:cxn>
                <a:cxn ang="0">
                  <a:pos x="0" y="142"/>
                </a:cxn>
                <a:cxn ang="0">
                  <a:pos x="9" y="144"/>
                </a:cxn>
                <a:cxn ang="0">
                  <a:pos x="21" y="145"/>
                </a:cxn>
                <a:cxn ang="0">
                  <a:pos x="20" y="144"/>
                </a:cxn>
                <a:cxn ang="0">
                  <a:pos x="20" y="136"/>
                </a:cxn>
                <a:cxn ang="0">
                  <a:pos x="21" y="132"/>
                </a:cxn>
                <a:cxn ang="0">
                  <a:pos x="27" y="126"/>
                </a:cxn>
                <a:cxn ang="0">
                  <a:pos x="38" y="118"/>
                </a:cxn>
                <a:cxn ang="0">
                  <a:pos x="45" y="110"/>
                </a:cxn>
                <a:cxn ang="0">
                  <a:pos x="47" y="102"/>
                </a:cxn>
                <a:cxn ang="0">
                  <a:pos x="48" y="102"/>
                </a:cxn>
                <a:cxn ang="0">
                  <a:pos x="51" y="89"/>
                </a:cxn>
                <a:cxn ang="0">
                  <a:pos x="52" y="77"/>
                </a:cxn>
                <a:cxn ang="0">
                  <a:pos x="51" y="56"/>
                </a:cxn>
                <a:cxn ang="0">
                  <a:pos x="53" y="41"/>
                </a:cxn>
                <a:cxn ang="0">
                  <a:pos x="57" y="28"/>
                </a:cxn>
                <a:cxn ang="0">
                  <a:pos x="62" y="18"/>
                </a:cxn>
                <a:cxn ang="0">
                  <a:pos x="62" y="13"/>
                </a:cxn>
                <a:cxn ang="0">
                  <a:pos x="58" y="8"/>
                </a:cxn>
                <a:cxn ang="0">
                  <a:pos x="47" y="3"/>
                </a:cxn>
                <a:cxn ang="0">
                  <a:pos x="46" y="2"/>
                </a:cxn>
              </a:cxnLst>
              <a:rect l="0" t="0" r="r" b="b"/>
              <a:pathLst>
                <a:path w="62" h="145">
                  <a:moveTo>
                    <a:pt x="46" y="2"/>
                  </a:moveTo>
                  <a:lnTo>
                    <a:pt x="41" y="0"/>
                  </a:lnTo>
                  <a:lnTo>
                    <a:pt x="36" y="3"/>
                  </a:lnTo>
                  <a:lnTo>
                    <a:pt x="21" y="31"/>
                  </a:lnTo>
                  <a:lnTo>
                    <a:pt x="16" y="31"/>
                  </a:lnTo>
                  <a:lnTo>
                    <a:pt x="3" y="34"/>
                  </a:lnTo>
                  <a:lnTo>
                    <a:pt x="3" y="106"/>
                  </a:lnTo>
                  <a:lnTo>
                    <a:pt x="2" y="141"/>
                  </a:lnTo>
                  <a:lnTo>
                    <a:pt x="0" y="142"/>
                  </a:lnTo>
                  <a:lnTo>
                    <a:pt x="9" y="144"/>
                  </a:lnTo>
                  <a:lnTo>
                    <a:pt x="21" y="145"/>
                  </a:lnTo>
                  <a:lnTo>
                    <a:pt x="20" y="144"/>
                  </a:lnTo>
                  <a:lnTo>
                    <a:pt x="20" y="136"/>
                  </a:lnTo>
                  <a:lnTo>
                    <a:pt x="21" y="132"/>
                  </a:lnTo>
                  <a:lnTo>
                    <a:pt x="27" y="126"/>
                  </a:lnTo>
                  <a:lnTo>
                    <a:pt x="38" y="118"/>
                  </a:lnTo>
                  <a:lnTo>
                    <a:pt x="45" y="110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51" y="89"/>
                  </a:lnTo>
                  <a:lnTo>
                    <a:pt x="52" y="77"/>
                  </a:lnTo>
                  <a:lnTo>
                    <a:pt x="51" y="56"/>
                  </a:lnTo>
                  <a:lnTo>
                    <a:pt x="53" y="41"/>
                  </a:lnTo>
                  <a:lnTo>
                    <a:pt x="57" y="28"/>
                  </a:lnTo>
                  <a:lnTo>
                    <a:pt x="62" y="18"/>
                  </a:lnTo>
                  <a:lnTo>
                    <a:pt x="62" y="13"/>
                  </a:lnTo>
                  <a:lnTo>
                    <a:pt x="58" y="8"/>
                  </a:lnTo>
                  <a:lnTo>
                    <a:pt x="47" y="3"/>
                  </a:lnTo>
                  <a:lnTo>
                    <a:pt x="46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72" name="Freeform 266"/>
            <p:cNvSpPr>
              <a:spLocks noChangeAspect="1"/>
            </p:cNvSpPr>
            <p:nvPr/>
          </p:nvSpPr>
          <p:spPr bwMode="gray">
            <a:xfrm>
              <a:off x="4326175" y="3982719"/>
              <a:ext cx="39754" cy="24446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31" y="4"/>
                </a:cxn>
                <a:cxn ang="0">
                  <a:pos x="28" y="11"/>
                </a:cxn>
                <a:cxn ang="0">
                  <a:pos x="26" y="16"/>
                </a:cxn>
                <a:cxn ang="0">
                  <a:pos x="19" y="18"/>
                </a:cxn>
                <a:cxn ang="0">
                  <a:pos x="15" y="25"/>
                </a:cxn>
                <a:cxn ang="0">
                  <a:pos x="6" y="27"/>
                </a:cxn>
                <a:cxn ang="0">
                  <a:pos x="0" y="37"/>
                </a:cxn>
                <a:cxn ang="0">
                  <a:pos x="0" y="40"/>
                </a:cxn>
                <a:cxn ang="0">
                  <a:pos x="9" y="48"/>
                </a:cxn>
                <a:cxn ang="0">
                  <a:pos x="21" y="53"/>
                </a:cxn>
                <a:cxn ang="0">
                  <a:pos x="36" y="55"/>
                </a:cxn>
                <a:cxn ang="0">
                  <a:pos x="46" y="56"/>
                </a:cxn>
                <a:cxn ang="0">
                  <a:pos x="58" y="65"/>
                </a:cxn>
                <a:cxn ang="0">
                  <a:pos x="76" y="70"/>
                </a:cxn>
                <a:cxn ang="0">
                  <a:pos x="103" y="71"/>
                </a:cxn>
                <a:cxn ang="0">
                  <a:pos x="120" y="64"/>
                </a:cxn>
                <a:cxn ang="0">
                  <a:pos x="125" y="59"/>
                </a:cxn>
                <a:cxn ang="0">
                  <a:pos x="123" y="56"/>
                </a:cxn>
                <a:cxn ang="0">
                  <a:pos x="123" y="38"/>
                </a:cxn>
                <a:cxn ang="0">
                  <a:pos x="123" y="37"/>
                </a:cxn>
                <a:cxn ang="0">
                  <a:pos x="118" y="32"/>
                </a:cxn>
                <a:cxn ang="0">
                  <a:pos x="109" y="29"/>
                </a:cxn>
                <a:cxn ang="0">
                  <a:pos x="107" y="27"/>
                </a:cxn>
                <a:cxn ang="0">
                  <a:pos x="100" y="28"/>
                </a:cxn>
                <a:cxn ang="0">
                  <a:pos x="95" y="33"/>
                </a:cxn>
                <a:cxn ang="0">
                  <a:pos x="90" y="33"/>
                </a:cxn>
                <a:cxn ang="0">
                  <a:pos x="85" y="31"/>
                </a:cxn>
                <a:cxn ang="0">
                  <a:pos x="82" y="28"/>
                </a:cxn>
                <a:cxn ang="0">
                  <a:pos x="82" y="26"/>
                </a:cxn>
                <a:cxn ang="0">
                  <a:pos x="75" y="26"/>
                </a:cxn>
                <a:cxn ang="0">
                  <a:pos x="73" y="23"/>
                </a:cxn>
                <a:cxn ang="0">
                  <a:pos x="71" y="20"/>
                </a:cxn>
                <a:cxn ang="0">
                  <a:pos x="66" y="20"/>
                </a:cxn>
                <a:cxn ang="0">
                  <a:pos x="59" y="15"/>
                </a:cxn>
                <a:cxn ang="0">
                  <a:pos x="57" y="10"/>
                </a:cxn>
                <a:cxn ang="0">
                  <a:pos x="52" y="4"/>
                </a:cxn>
                <a:cxn ang="0">
                  <a:pos x="39" y="4"/>
                </a:cxn>
                <a:cxn ang="0">
                  <a:pos x="33" y="0"/>
                </a:cxn>
              </a:cxnLst>
              <a:rect l="0" t="0" r="r" b="b"/>
              <a:pathLst>
                <a:path w="125" h="71">
                  <a:moveTo>
                    <a:pt x="33" y="0"/>
                  </a:moveTo>
                  <a:lnTo>
                    <a:pt x="31" y="4"/>
                  </a:lnTo>
                  <a:lnTo>
                    <a:pt x="28" y="11"/>
                  </a:lnTo>
                  <a:lnTo>
                    <a:pt x="26" y="16"/>
                  </a:lnTo>
                  <a:lnTo>
                    <a:pt x="19" y="18"/>
                  </a:lnTo>
                  <a:lnTo>
                    <a:pt x="15" y="25"/>
                  </a:lnTo>
                  <a:lnTo>
                    <a:pt x="6" y="27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9" y="48"/>
                  </a:lnTo>
                  <a:lnTo>
                    <a:pt x="21" y="53"/>
                  </a:lnTo>
                  <a:lnTo>
                    <a:pt x="36" y="55"/>
                  </a:lnTo>
                  <a:lnTo>
                    <a:pt x="46" y="56"/>
                  </a:lnTo>
                  <a:lnTo>
                    <a:pt x="58" y="65"/>
                  </a:lnTo>
                  <a:lnTo>
                    <a:pt x="76" y="70"/>
                  </a:lnTo>
                  <a:lnTo>
                    <a:pt x="103" y="71"/>
                  </a:lnTo>
                  <a:lnTo>
                    <a:pt x="120" y="64"/>
                  </a:lnTo>
                  <a:lnTo>
                    <a:pt x="125" y="59"/>
                  </a:lnTo>
                  <a:lnTo>
                    <a:pt x="123" y="56"/>
                  </a:lnTo>
                  <a:lnTo>
                    <a:pt x="123" y="38"/>
                  </a:lnTo>
                  <a:lnTo>
                    <a:pt x="123" y="37"/>
                  </a:lnTo>
                  <a:lnTo>
                    <a:pt x="118" y="32"/>
                  </a:lnTo>
                  <a:lnTo>
                    <a:pt x="109" y="29"/>
                  </a:lnTo>
                  <a:lnTo>
                    <a:pt x="107" y="27"/>
                  </a:lnTo>
                  <a:lnTo>
                    <a:pt x="100" y="28"/>
                  </a:lnTo>
                  <a:lnTo>
                    <a:pt x="95" y="33"/>
                  </a:lnTo>
                  <a:lnTo>
                    <a:pt x="90" y="33"/>
                  </a:lnTo>
                  <a:lnTo>
                    <a:pt x="85" y="31"/>
                  </a:lnTo>
                  <a:lnTo>
                    <a:pt x="82" y="28"/>
                  </a:lnTo>
                  <a:lnTo>
                    <a:pt x="82" y="26"/>
                  </a:lnTo>
                  <a:lnTo>
                    <a:pt x="75" y="26"/>
                  </a:lnTo>
                  <a:lnTo>
                    <a:pt x="73" y="23"/>
                  </a:lnTo>
                  <a:lnTo>
                    <a:pt x="71" y="20"/>
                  </a:lnTo>
                  <a:lnTo>
                    <a:pt x="66" y="20"/>
                  </a:lnTo>
                  <a:lnTo>
                    <a:pt x="59" y="15"/>
                  </a:lnTo>
                  <a:lnTo>
                    <a:pt x="57" y="10"/>
                  </a:lnTo>
                  <a:lnTo>
                    <a:pt x="52" y="4"/>
                  </a:lnTo>
                  <a:lnTo>
                    <a:pt x="39" y="4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73" name="Freeform 267"/>
            <p:cNvSpPr>
              <a:spLocks noChangeAspect="1"/>
            </p:cNvSpPr>
            <p:nvPr/>
          </p:nvSpPr>
          <p:spPr bwMode="gray">
            <a:xfrm>
              <a:off x="4399321" y="4045580"/>
              <a:ext cx="57245" cy="55876"/>
            </a:xfrm>
            <a:custGeom>
              <a:avLst/>
              <a:gdLst/>
              <a:ahLst/>
              <a:cxnLst>
                <a:cxn ang="0">
                  <a:pos x="118" y="18"/>
                </a:cxn>
                <a:cxn ang="0">
                  <a:pos x="94" y="21"/>
                </a:cxn>
                <a:cxn ang="0">
                  <a:pos x="81" y="12"/>
                </a:cxn>
                <a:cxn ang="0">
                  <a:pos x="67" y="9"/>
                </a:cxn>
                <a:cxn ang="0">
                  <a:pos x="50" y="11"/>
                </a:cxn>
                <a:cxn ang="0">
                  <a:pos x="17" y="0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6" y="21"/>
                </a:cxn>
                <a:cxn ang="0">
                  <a:pos x="2" y="36"/>
                </a:cxn>
                <a:cxn ang="0">
                  <a:pos x="3" y="53"/>
                </a:cxn>
                <a:cxn ang="0">
                  <a:pos x="11" y="66"/>
                </a:cxn>
                <a:cxn ang="0">
                  <a:pos x="23" y="71"/>
                </a:cxn>
                <a:cxn ang="0">
                  <a:pos x="39" y="82"/>
                </a:cxn>
                <a:cxn ang="0">
                  <a:pos x="45" y="85"/>
                </a:cxn>
                <a:cxn ang="0">
                  <a:pos x="49" y="69"/>
                </a:cxn>
                <a:cxn ang="0">
                  <a:pos x="39" y="61"/>
                </a:cxn>
                <a:cxn ang="0">
                  <a:pos x="51" y="60"/>
                </a:cxn>
                <a:cxn ang="0">
                  <a:pos x="65" y="77"/>
                </a:cxn>
                <a:cxn ang="0">
                  <a:pos x="76" y="92"/>
                </a:cxn>
                <a:cxn ang="0">
                  <a:pos x="106" y="104"/>
                </a:cxn>
                <a:cxn ang="0">
                  <a:pos x="121" y="142"/>
                </a:cxn>
                <a:cxn ang="0">
                  <a:pos x="130" y="149"/>
                </a:cxn>
                <a:cxn ang="0">
                  <a:pos x="141" y="150"/>
                </a:cxn>
                <a:cxn ang="0">
                  <a:pos x="140" y="136"/>
                </a:cxn>
                <a:cxn ang="0">
                  <a:pos x="145" y="139"/>
                </a:cxn>
                <a:cxn ang="0">
                  <a:pos x="154" y="156"/>
                </a:cxn>
                <a:cxn ang="0">
                  <a:pos x="158" y="157"/>
                </a:cxn>
                <a:cxn ang="0">
                  <a:pos x="168" y="142"/>
                </a:cxn>
                <a:cxn ang="0">
                  <a:pos x="168" y="126"/>
                </a:cxn>
                <a:cxn ang="0">
                  <a:pos x="173" y="118"/>
                </a:cxn>
                <a:cxn ang="0">
                  <a:pos x="162" y="109"/>
                </a:cxn>
                <a:cxn ang="0">
                  <a:pos x="170" y="86"/>
                </a:cxn>
                <a:cxn ang="0">
                  <a:pos x="176" y="87"/>
                </a:cxn>
                <a:cxn ang="0">
                  <a:pos x="180" y="86"/>
                </a:cxn>
                <a:cxn ang="0">
                  <a:pos x="161" y="72"/>
                </a:cxn>
                <a:cxn ang="0">
                  <a:pos x="133" y="43"/>
                </a:cxn>
                <a:cxn ang="0">
                  <a:pos x="125" y="25"/>
                </a:cxn>
                <a:cxn ang="0">
                  <a:pos x="121" y="16"/>
                </a:cxn>
              </a:cxnLst>
              <a:rect l="0" t="0" r="r" b="b"/>
              <a:pathLst>
                <a:path w="180" h="157">
                  <a:moveTo>
                    <a:pt x="121" y="16"/>
                  </a:moveTo>
                  <a:lnTo>
                    <a:pt x="118" y="18"/>
                  </a:lnTo>
                  <a:lnTo>
                    <a:pt x="104" y="21"/>
                  </a:lnTo>
                  <a:lnTo>
                    <a:pt x="94" y="21"/>
                  </a:lnTo>
                  <a:lnTo>
                    <a:pt x="89" y="20"/>
                  </a:lnTo>
                  <a:lnTo>
                    <a:pt x="81" y="12"/>
                  </a:lnTo>
                  <a:lnTo>
                    <a:pt x="72" y="9"/>
                  </a:lnTo>
                  <a:lnTo>
                    <a:pt x="67" y="9"/>
                  </a:lnTo>
                  <a:lnTo>
                    <a:pt x="59" y="11"/>
                  </a:lnTo>
                  <a:lnTo>
                    <a:pt x="50" y="11"/>
                  </a:lnTo>
                  <a:lnTo>
                    <a:pt x="27" y="5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6" y="6"/>
                  </a:lnTo>
                  <a:lnTo>
                    <a:pt x="5" y="7"/>
                  </a:lnTo>
                  <a:lnTo>
                    <a:pt x="2" y="12"/>
                  </a:lnTo>
                  <a:lnTo>
                    <a:pt x="2" y="15"/>
                  </a:lnTo>
                  <a:lnTo>
                    <a:pt x="6" y="21"/>
                  </a:lnTo>
                  <a:lnTo>
                    <a:pt x="6" y="33"/>
                  </a:lnTo>
                  <a:lnTo>
                    <a:pt x="2" y="36"/>
                  </a:lnTo>
                  <a:lnTo>
                    <a:pt x="0" y="42"/>
                  </a:lnTo>
                  <a:lnTo>
                    <a:pt x="3" y="53"/>
                  </a:lnTo>
                  <a:lnTo>
                    <a:pt x="7" y="60"/>
                  </a:lnTo>
                  <a:lnTo>
                    <a:pt x="11" y="66"/>
                  </a:lnTo>
                  <a:lnTo>
                    <a:pt x="18" y="71"/>
                  </a:lnTo>
                  <a:lnTo>
                    <a:pt x="23" y="71"/>
                  </a:lnTo>
                  <a:lnTo>
                    <a:pt x="33" y="76"/>
                  </a:lnTo>
                  <a:lnTo>
                    <a:pt x="39" y="82"/>
                  </a:lnTo>
                  <a:lnTo>
                    <a:pt x="44" y="85"/>
                  </a:lnTo>
                  <a:lnTo>
                    <a:pt x="45" y="85"/>
                  </a:lnTo>
                  <a:lnTo>
                    <a:pt x="50" y="74"/>
                  </a:lnTo>
                  <a:lnTo>
                    <a:pt x="49" y="69"/>
                  </a:lnTo>
                  <a:lnTo>
                    <a:pt x="40" y="65"/>
                  </a:lnTo>
                  <a:lnTo>
                    <a:pt x="39" y="61"/>
                  </a:lnTo>
                  <a:lnTo>
                    <a:pt x="45" y="59"/>
                  </a:lnTo>
                  <a:lnTo>
                    <a:pt x="51" y="60"/>
                  </a:lnTo>
                  <a:lnTo>
                    <a:pt x="59" y="68"/>
                  </a:lnTo>
                  <a:lnTo>
                    <a:pt x="65" y="77"/>
                  </a:lnTo>
                  <a:lnTo>
                    <a:pt x="68" y="83"/>
                  </a:lnTo>
                  <a:lnTo>
                    <a:pt x="76" y="92"/>
                  </a:lnTo>
                  <a:lnTo>
                    <a:pt x="78" y="92"/>
                  </a:lnTo>
                  <a:lnTo>
                    <a:pt x="106" y="104"/>
                  </a:lnTo>
                  <a:lnTo>
                    <a:pt x="119" y="115"/>
                  </a:lnTo>
                  <a:lnTo>
                    <a:pt x="121" y="142"/>
                  </a:lnTo>
                  <a:lnTo>
                    <a:pt x="122" y="144"/>
                  </a:lnTo>
                  <a:lnTo>
                    <a:pt x="130" y="149"/>
                  </a:lnTo>
                  <a:lnTo>
                    <a:pt x="138" y="151"/>
                  </a:lnTo>
                  <a:lnTo>
                    <a:pt x="141" y="150"/>
                  </a:lnTo>
                  <a:lnTo>
                    <a:pt x="136" y="139"/>
                  </a:lnTo>
                  <a:lnTo>
                    <a:pt x="140" y="136"/>
                  </a:lnTo>
                  <a:lnTo>
                    <a:pt x="141" y="136"/>
                  </a:lnTo>
                  <a:lnTo>
                    <a:pt x="145" y="139"/>
                  </a:lnTo>
                  <a:lnTo>
                    <a:pt x="151" y="145"/>
                  </a:lnTo>
                  <a:lnTo>
                    <a:pt x="154" y="156"/>
                  </a:lnTo>
                  <a:lnTo>
                    <a:pt x="157" y="157"/>
                  </a:lnTo>
                  <a:lnTo>
                    <a:pt x="158" y="157"/>
                  </a:lnTo>
                  <a:lnTo>
                    <a:pt x="165" y="147"/>
                  </a:lnTo>
                  <a:lnTo>
                    <a:pt x="168" y="142"/>
                  </a:lnTo>
                  <a:lnTo>
                    <a:pt x="167" y="130"/>
                  </a:lnTo>
                  <a:lnTo>
                    <a:pt x="168" y="126"/>
                  </a:lnTo>
                  <a:lnTo>
                    <a:pt x="172" y="123"/>
                  </a:lnTo>
                  <a:lnTo>
                    <a:pt x="173" y="118"/>
                  </a:lnTo>
                  <a:lnTo>
                    <a:pt x="169" y="114"/>
                  </a:lnTo>
                  <a:lnTo>
                    <a:pt x="162" y="109"/>
                  </a:lnTo>
                  <a:lnTo>
                    <a:pt x="164" y="95"/>
                  </a:lnTo>
                  <a:lnTo>
                    <a:pt x="170" y="86"/>
                  </a:lnTo>
                  <a:lnTo>
                    <a:pt x="174" y="86"/>
                  </a:lnTo>
                  <a:lnTo>
                    <a:pt x="176" y="87"/>
                  </a:lnTo>
                  <a:lnTo>
                    <a:pt x="179" y="87"/>
                  </a:lnTo>
                  <a:lnTo>
                    <a:pt x="180" y="86"/>
                  </a:lnTo>
                  <a:lnTo>
                    <a:pt x="174" y="81"/>
                  </a:lnTo>
                  <a:lnTo>
                    <a:pt x="161" y="72"/>
                  </a:lnTo>
                  <a:lnTo>
                    <a:pt x="141" y="54"/>
                  </a:lnTo>
                  <a:lnTo>
                    <a:pt x="133" y="43"/>
                  </a:lnTo>
                  <a:lnTo>
                    <a:pt x="127" y="27"/>
                  </a:lnTo>
                  <a:lnTo>
                    <a:pt x="125" y="25"/>
                  </a:lnTo>
                  <a:lnTo>
                    <a:pt x="122" y="16"/>
                  </a:lnTo>
                  <a:lnTo>
                    <a:pt x="121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74" name="Freeform 268"/>
            <p:cNvSpPr>
              <a:spLocks noChangeAspect="1"/>
            </p:cNvSpPr>
            <p:nvPr/>
          </p:nvSpPr>
          <p:spPr bwMode="gray">
            <a:xfrm>
              <a:off x="4337306" y="3951289"/>
              <a:ext cx="106540" cy="59369"/>
            </a:xfrm>
            <a:custGeom>
              <a:avLst/>
              <a:gdLst/>
              <a:ahLst/>
              <a:cxnLst>
                <a:cxn ang="0">
                  <a:pos x="326" y="54"/>
                </a:cxn>
                <a:cxn ang="0">
                  <a:pos x="309" y="65"/>
                </a:cxn>
                <a:cxn ang="0">
                  <a:pos x="290" y="70"/>
                </a:cxn>
                <a:cxn ang="0">
                  <a:pos x="266" y="75"/>
                </a:cxn>
                <a:cxn ang="0">
                  <a:pos x="259" y="68"/>
                </a:cxn>
                <a:cxn ang="0">
                  <a:pos x="252" y="70"/>
                </a:cxn>
                <a:cxn ang="0">
                  <a:pos x="246" y="72"/>
                </a:cxn>
                <a:cxn ang="0">
                  <a:pos x="239" y="92"/>
                </a:cxn>
                <a:cxn ang="0">
                  <a:pos x="226" y="97"/>
                </a:cxn>
                <a:cxn ang="0">
                  <a:pos x="220" y="104"/>
                </a:cxn>
                <a:cxn ang="0">
                  <a:pos x="213" y="112"/>
                </a:cxn>
                <a:cxn ang="0">
                  <a:pos x="205" y="115"/>
                </a:cxn>
                <a:cxn ang="0">
                  <a:pos x="196" y="117"/>
                </a:cxn>
                <a:cxn ang="0">
                  <a:pos x="181" y="108"/>
                </a:cxn>
                <a:cxn ang="0">
                  <a:pos x="171" y="126"/>
                </a:cxn>
                <a:cxn ang="0">
                  <a:pos x="149" y="126"/>
                </a:cxn>
                <a:cxn ang="0">
                  <a:pos x="148" y="149"/>
                </a:cxn>
                <a:cxn ang="0">
                  <a:pos x="139" y="155"/>
                </a:cxn>
                <a:cxn ang="0">
                  <a:pos x="132" y="165"/>
                </a:cxn>
                <a:cxn ang="0">
                  <a:pos x="115" y="163"/>
                </a:cxn>
                <a:cxn ang="0">
                  <a:pos x="107" y="152"/>
                </a:cxn>
                <a:cxn ang="0">
                  <a:pos x="99" y="144"/>
                </a:cxn>
                <a:cxn ang="0">
                  <a:pos x="90" y="142"/>
                </a:cxn>
                <a:cxn ang="0">
                  <a:pos x="90" y="123"/>
                </a:cxn>
                <a:cxn ang="0">
                  <a:pos x="76" y="115"/>
                </a:cxn>
                <a:cxn ang="0">
                  <a:pos x="67" y="114"/>
                </a:cxn>
                <a:cxn ang="0">
                  <a:pos x="57" y="119"/>
                </a:cxn>
                <a:cxn ang="0">
                  <a:pos x="49" y="114"/>
                </a:cxn>
                <a:cxn ang="0">
                  <a:pos x="42" y="112"/>
                </a:cxn>
                <a:cxn ang="0">
                  <a:pos x="38" y="106"/>
                </a:cxn>
                <a:cxn ang="0">
                  <a:pos x="26" y="101"/>
                </a:cxn>
                <a:cxn ang="0">
                  <a:pos x="19" y="90"/>
                </a:cxn>
                <a:cxn ang="0">
                  <a:pos x="0" y="86"/>
                </a:cxn>
                <a:cxn ang="0">
                  <a:pos x="5" y="80"/>
                </a:cxn>
                <a:cxn ang="0">
                  <a:pos x="13" y="71"/>
                </a:cxn>
                <a:cxn ang="0">
                  <a:pos x="10" y="65"/>
                </a:cxn>
                <a:cxn ang="0">
                  <a:pos x="11" y="56"/>
                </a:cxn>
                <a:cxn ang="0">
                  <a:pos x="21" y="49"/>
                </a:cxn>
                <a:cxn ang="0">
                  <a:pos x="38" y="37"/>
                </a:cxn>
                <a:cxn ang="0">
                  <a:pos x="59" y="18"/>
                </a:cxn>
                <a:cxn ang="0">
                  <a:pos x="74" y="13"/>
                </a:cxn>
                <a:cxn ang="0">
                  <a:pos x="92" y="7"/>
                </a:cxn>
                <a:cxn ang="0">
                  <a:pos x="124" y="11"/>
                </a:cxn>
                <a:cxn ang="0">
                  <a:pos x="166" y="7"/>
                </a:cxn>
                <a:cxn ang="0">
                  <a:pos x="183" y="5"/>
                </a:cxn>
                <a:cxn ang="0">
                  <a:pos x="199" y="0"/>
                </a:cxn>
                <a:cxn ang="0">
                  <a:pos x="209" y="5"/>
                </a:cxn>
                <a:cxn ang="0">
                  <a:pos x="231" y="1"/>
                </a:cxn>
                <a:cxn ang="0">
                  <a:pos x="245" y="2"/>
                </a:cxn>
                <a:cxn ang="0">
                  <a:pos x="271" y="9"/>
                </a:cxn>
                <a:cxn ang="0">
                  <a:pos x="293" y="16"/>
                </a:cxn>
                <a:cxn ang="0">
                  <a:pos x="327" y="38"/>
                </a:cxn>
                <a:cxn ang="0">
                  <a:pos x="337" y="52"/>
                </a:cxn>
              </a:cxnLst>
              <a:rect l="0" t="0" r="r" b="b"/>
              <a:pathLst>
                <a:path w="337" h="166">
                  <a:moveTo>
                    <a:pt x="337" y="54"/>
                  </a:moveTo>
                  <a:lnTo>
                    <a:pt x="326" y="54"/>
                  </a:lnTo>
                  <a:lnTo>
                    <a:pt x="312" y="60"/>
                  </a:lnTo>
                  <a:lnTo>
                    <a:pt x="309" y="65"/>
                  </a:lnTo>
                  <a:lnTo>
                    <a:pt x="300" y="70"/>
                  </a:lnTo>
                  <a:lnTo>
                    <a:pt x="290" y="70"/>
                  </a:lnTo>
                  <a:lnTo>
                    <a:pt x="283" y="75"/>
                  </a:lnTo>
                  <a:lnTo>
                    <a:pt x="266" y="75"/>
                  </a:lnTo>
                  <a:lnTo>
                    <a:pt x="263" y="72"/>
                  </a:lnTo>
                  <a:lnTo>
                    <a:pt x="259" y="68"/>
                  </a:lnTo>
                  <a:lnTo>
                    <a:pt x="253" y="66"/>
                  </a:lnTo>
                  <a:lnTo>
                    <a:pt x="252" y="70"/>
                  </a:lnTo>
                  <a:lnTo>
                    <a:pt x="250" y="71"/>
                  </a:lnTo>
                  <a:lnTo>
                    <a:pt x="246" y="72"/>
                  </a:lnTo>
                  <a:lnTo>
                    <a:pt x="242" y="79"/>
                  </a:lnTo>
                  <a:lnTo>
                    <a:pt x="239" y="92"/>
                  </a:lnTo>
                  <a:lnTo>
                    <a:pt x="236" y="95"/>
                  </a:lnTo>
                  <a:lnTo>
                    <a:pt x="226" y="97"/>
                  </a:lnTo>
                  <a:lnTo>
                    <a:pt x="221" y="102"/>
                  </a:lnTo>
                  <a:lnTo>
                    <a:pt x="220" y="104"/>
                  </a:lnTo>
                  <a:lnTo>
                    <a:pt x="216" y="106"/>
                  </a:lnTo>
                  <a:lnTo>
                    <a:pt x="213" y="112"/>
                  </a:lnTo>
                  <a:lnTo>
                    <a:pt x="205" y="113"/>
                  </a:lnTo>
                  <a:lnTo>
                    <a:pt x="205" y="115"/>
                  </a:lnTo>
                  <a:lnTo>
                    <a:pt x="202" y="117"/>
                  </a:lnTo>
                  <a:lnTo>
                    <a:pt x="196" y="117"/>
                  </a:lnTo>
                  <a:lnTo>
                    <a:pt x="188" y="111"/>
                  </a:lnTo>
                  <a:lnTo>
                    <a:pt x="181" y="108"/>
                  </a:lnTo>
                  <a:lnTo>
                    <a:pt x="175" y="118"/>
                  </a:lnTo>
                  <a:lnTo>
                    <a:pt x="171" y="126"/>
                  </a:lnTo>
                  <a:lnTo>
                    <a:pt x="154" y="128"/>
                  </a:lnTo>
                  <a:lnTo>
                    <a:pt x="149" y="126"/>
                  </a:lnTo>
                  <a:lnTo>
                    <a:pt x="146" y="134"/>
                  </a:lnTo>
                  <a:lnTo>
                    <a:pt x="148" y="149"/>
                  </a:lnTo>
                  <a:lnTo>
                    <a:pt x="144" y="150"/>
                  </a:lnTo>
                  <a:lnTo>
                    <a:pt x="139" y="155"/>
                  </a:lnTo>
                  <a:lnTo>
                    <a:pt x="135" y="162"/>
                  </a:lnTo>
                  <a:lnTo>
                    <a:pt x="132" y="165"/>
                  </a:lnTo>
                  <a:lnTo>
                    <a:pt x="115" y="166"/>
                  </a:lnTo>
                  <a:lnTo>
                    <a:pt x="115" y="163"/>
                  </a:lnTo>
                  <a:lnTo>
                    <a:pt x="107" y="156"/>
                  </a:lnTo>
                  <a:lnTo>
                    <a:pt x="107" y="152"/>
                  </a:lnTo>
                  <a:lnTo>
                    <a:pt x="106" y="147"/>
                  </a:lnTo>
                  <a:lnTo>
                    <a:pt x="99" y="144"/>
                  </a:lnTo>
                  <a:lnTo>
                    <a:pt x="92" y="145"/>
                  </a:lnTo>
                  <a:lnTo>
                    <a:pt x="90" y="142"/>
                  </a:lnTo>
                  <a:lnTo>
                    <a:pt x="90" y="124"/>
                  </a:lnTo>
                  <a:lnTo>
                    <a:pt x="90" y="123"/>
                  </a:lnTo>
                  <a:lnTo>
                    <a:pt x="85" y="118"/>
                  </a:lnTo>
                  <a:lnTo>
                    <a:pt x="76" y="115"/>
                  </a:lnTo>
                  <a:lnTo>
                    <a:pt x="74" y="113"/>
                  </a:lnTo>
                  <a:lnTo>
                    <a:pt x="67" y="114"/>
                  </a:lnTo>
                  <a:lnTo>
                    <a:pt x="62" y="119"/>
                  </a:lnTo>
                  <a:lnTo>
                    <a:pt x="57" y="119"/>
                  </a:lnTo>
                  <a:lnTo>
                    <a:pt x="52" y="117"/>
                  </a:lnTo>
                  <a:lnTo>
                    <a:pt x="49" y="114"/>
                  </a:lnTo>
                  <a:lnTo>
                    <a:pt x="49" y="112"/>
                  </a:lnTo>
                  <a:lnTo>
                    <a:pt x="42" y="112"/>
                  </a:lnTo>
                  <a:lnTo>
                    <a:pt x="40" y="109"/>
                  </a:lnTo>
                  <a:lnTo>
                    <a:pt x="38" y="106"/>
                  </a:lnTo>
                  <a:lnTo>
                    <a:pt x="33" y="106"/>
                  </a:lnTo>
                  <a:lnTo>
                    <a:pt x="26" y="101"/>
                  </a:lnTo>
                  <a:lnTo>
                    <a:pt x="24" y="96"/>
                  </a:lnTo>
                  <a:lnTo>
                    <a:pt x="19" y="90"/>
                  </a:lnTo>
                  <a:lnTo>
                    <a:pt x="6" y="90"/>
                  </a:lnTo>
                  <a:lnTo>
                    <a:pt x="0" y="86"/>
                  </a:lnTo>
                  <a:lnTo>
                    <a:pt x="3" y="85"/>
                  </a:lnTo>
                  <a:lnTo>
                    <a:pt x="5" y="80"/>
                  </a:lnTo>
                  <a:lnTo>
                    <a:pt x="13" y="75"/>
                  </a:lnTo>
                  <a:lnTo>
                    <a:pt x="13" y="71"/>
                  </a:lnTo>
                  <a:lnTo>
                    <a:pt x="11" y="66"/>
                  </a:lnTo>
                  <a:lnTo>
                    <a:pt x="10" y="65"/>
                  </a:lnTo>
                  <a:lnTo>
                    <a:pt x="10" y="60"/>
                  </a:lnTo>
                  <a:lnTo>
                    <a:pt x="11" y="56"/>
                  </a:lnTo>
                  <a:lnTo>
                    <a:pt x="20" y="50"/>
                  </a:lnTo>
                  <a:lnTo>
                    <a:pt x="21" y="49"/>
                  </a:lnTo>
                  <a:lnTo>
                    <a:pt x="25" y="48"/>
                  </a:lnTo>
                  <a:lnTo>
                    <a:pt x="38" y="37"/>
                  </a:lnTo>
                  <a:lnTo>
                    <a:pt x="56" y="25"/>
                  </a:lnTo>
                  <a:lnTo>
                    <a:pt x="59" y="18"/>
                  </a:lnTo>
                  <a:lnTo>
                    <a:pt x="60" y="15"/>
                  </a:lnTo>
                  <a:lnTo>
                    <a:pt x="74" y="13"/>
                  </a:lnTo>
                  <a:lnTo>
                    <a:pt x="85" y="9"/>
                  </a:lnTo>
                  <a:lnTo>
                    <a:pt x="92" y="7"/>
                  </a:lnTo>
                  <a:lnTo>
                    <a:pt x="110" y="9"/>
                  </a:lnTo>
                  <a:lnTo>
                    <a:pt x="124" y="11"/>
                  </a:lnTo>
                  <a:lnTo>
                    <a:pt x="148" y="11"/>
                  </a:lnTo>
                  <a:lnTo>
                    <a:pt x="166" y="7"/>
                  </a:lnTo>
                  <a:lnTo>
                    <a:pt x="178" y="6"/>
                  </a:lnTo>
                  <a:lnTo>
                    <a:pt x="183" y="5"/>
                  </a:lnTo>
                  <a:lnTo>
                    <a:pt x="188" y="1"/>
                  </a:lnTo>
                  <a:lnTo>
                    <a:pt x="199" y="0"/>
                  </a:lnTo>
                  <a:lnTo>
                    <a:pt x="207" y="2"/>
                  </a:lnTo>
                  <a:lnTo>
                    <a:pt x="209" y="5"/>
                  </a:lnTo>
                  <a:lnTo>
                    <a:pt x="223" y="5"/>
                  </a:lnTo>
                  <a:lnTo>
                    <a:pt x="231" y="1"/>
                  </a:lnTo>
                  <a:lnTo>
                    <a:pt x="240" y="1"/>
                  </a:lnTo>
                  <a:lnTo>
                    <a:pt x="245" y="2"/>
                  </a:lnTo>
                  <a:lnTo>
                    <a:pt x="257" y="9"/>
                  </a:lnTo>
                  <a:lnTo>
                    <a:pt x="271" y="9"/>
                  </a:lnTo>
                  <a:lnTo>
                    <a:pt x="283" y="11"/>
                  </a:lnTo>
                  <a:lnTo>
                    <a:pt x="293" y="16"/>
                  </a:lnTo>
                  <a:lnTo>
                    <a:pt x="304" y="27"/>
                  </a:lnTo>
                  <a:lnTo>
                    <a:pt x="327" y="38"/>
                  </a:lnTo>
                  <a:lnTo>
                    <a:pt x="332" y="43"/>
                  </a:lnTo>
                  <a:lnTo>
                    <a:pt x="337" y="52"/>
                  </a:lnTo>
                  <a:lnTo>
                    <a:pt x="337" y="5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75" name="Freeform 269"/>
            <p:cNvSpPr>
              <a:spLocks noChangeAspect="1"/>
            </p:cNvSpPr>
            <p:nvPr/>
          </p:nvSpPr>
          <p:spPr bwMode="gray">
            <a:xfrm>
              <a:off x="3855493" y="3602062"/>
              <a:ext cx="526337" cy="377165"/>
            </a:xfrm>
            <a:custGeom>
              <a:avLst/>
              <a:gdLst/>
              <a:ahLst/>
              <a:cxnLst>
                <a:cxn ang="0">
                  <a:pos x="183" y="77"/>
                </a:cxn>
                <a:cxn ang="0">
                  <a:pos x="233" y="144"/>
                </a:cxn>
                <a:cxn ang="0">
                  <a:pos x="260" y="212"/>
                </a:cxn>
                <a:cxn ang="0">
                  <a:pos x="324" y="292"/>
                </a:cxn>
                <a:cxn ang="0">
                  <a:pos x="367" y="342"/>
                </a:cxn>
                <a:cxn ang="0">
                  <a:pos x="433" y="395"/>
                </a:cxn>
                <a:cxn ang="0">
                  <a:pos x="432" y="445"/>
                </a:cxn>
                <a:cxn ang="0">
                  <a:pos x="501" y="481"/>
                </a:cxn>
                <a:cxn ang="0">
                  <a:pos x="567" y="558"/>
                </a:cxn>
                <a:cxn ang="0">
                  <a:pos x="630" y="627"/>
                </a:cxn>
                <a:cxn ang="0">
                  <a:pos x="658" y="703"/>
                </a:cxn>
                <a:cxn ang="0">
                  <a:pos x="635" y="752"/>
                </a:cxn>
                <a:cxn ang="0">
                  <a:pos x="683" y="821"/>
                </a:cxn>
                <a:cxn ang="0">
                  <a:pos x="740" y="858"/>
                </a:cxn>
                <a:cxn ang="0">
                  <a:pos x="782" y="884"/>
                </a:cxn>
                <a:cxn ang="0">
                  <a:pos x="860" y="913"/>
                </a:cxn>
                <a:cxn ang="0">
                  <a:pos x="905" y="941"/>
                </a:cxn>
                <a:cxn ang="0">
                  <a:pos x="1019" y="983"/>
                </a:cxn>
                <a:cxn ang="0">
                  <a:pos x="1120" y="1020"/>
                </a:cxn>
                <a:cxn ang="0">
                  <a:pos x="1202" y="995"/>
                </a:cxn>
                <a:cxn ang="0">
                  <a:pos x="1336" y="1060"/>
                </a:cxn>
                <a:cxn ang="0">
                  <a:pos x="1371" y="1047"/>
                </a:cxn>
                <a:cxn ang="0">
                  <a:pos x="1454" y="974"/>
                </a:cxn>
                <a:cxn ang="0">
                  <a:pos x="1541" y="892"/>
                </a:cxn>
                <a:cxn ang="0">
                  <a:pos x="1593" y="859"/>
                </a:cxn>
                <a:cxn ang="0">
                  <a:pos x="1616" y="810"/>
                </a:cxn>
                <a:cxn ang="0">
                  <a:pos x="1641" y="736"/>
                </a:cxn>
                <a:cxn ang="0">
                  <a:pos x="1588" y="675"/>
                </a:cxn>
                <a:cxn ang="0">
                  <a:pos x="1464" y="708"/>
                </a:cxn>
                <a:cxn ang="0">
                  <a:pos x="1411" y="830"/>
                </a:cxn>
                <a:cxn ang="0">
                  <a:pos x="1345" y="848"/>
                </a:cxn>
                <a:cxn ang="0">
                  <a:pos x="1215" y="853"/>
                </a:cxn>
                <a:cxn ang="0">
                  <a:pos x="1154" y="822"/>
                </a:cxn>
                <a:cxn ang="0">
                  <a:pos x="1103" y="741"/>
                </a:cxn>
                <a:cxn ang="0">
                  <a:pos x="1063" y="634"/>
                </a:cxn>
                <a:cxn ang="0">
                  <a:pos x="1057" y="498"/>
                </a:cxn>
                <a:cxn ang="0">
                  <a:pos x="1098" y="444"/>
                </a:cxn>
                <a:cxn ang="0">
                  <a:pos x="1078" y="424"/>
                </a:cxn>
                <a:cxn ang="0">
                  <a:pos x="930" y="288"/>
                </a:cxn>
                <a:cxn ang="0">
                  <a:pos x="785" y="185"/>
                </a:cxn>
                <a:cxn ang="0">
                  <a:pos x="615" y="93"/>
                </a:cxn>
                <a:cxn ang="0">
                  <a:pos x="334" y="84"/>
                </a:cxn>
                <a:cxn ang="0">
                  <a:pos x="22" y="52"/>
                </a:cxn>
                <a:cxn ang="0">
                  <a:pos x="57" y="120"/>
                </a:cxn>
                <a:cxn ang="0">
                  <a:pos x="84" y="191"/>
                </a:cxn>
                <a:cxn ang="0">
                  <a:pos x="147" y="241"/>
                </a:cxn>
                <a:cxn ang="0">
                  <a:pos x="164" y="300"/>
                </a:cxn>
                <a:cxn ang="0">
                  <a:pos x="126" y="315"/>
                </a:cxn>
                <a:cxn ang="0">
                  <a:pos x="179" y="358"/>
                </a:cxn>
                <a:cxn ang="0">
                  <a:pos x="239" y="397"/>
                </a:cxn>
                <a:cxn ang="0">
                  <a:pos x="272" y="491"/>
                </a:cxn>
                <a:cxn ang="0">
                  <a:pos x="305" y="509"/>
                </a:cxn>
                <a:cxn ang="0">
                  <a:pos x="394" y="606"/>
                </a:cxn>
                <a:cxn ang="0">
                  <a:pos x="412" y="557"/>
                </a:cxn>
                <a:cxn ang="0">
                  <a:pos x="353" y="507"/>
                </a:cxn>
                <a:cxn ang="0">
                  <a:pos x="323" y="424"/>
                </a:cxn>
                <a:cxn ang="0">
                  <a:pos x="298" y="387"/>
                </a:cxn>
                <a:cxn ang="0">
                  <a:pos x="266" y="330"/>
                </a:cxn>
                <a:cxn ang="0">
                  <a:pos x="231" y="271"/>
                </a:cxn>
                <a:cxn ang="0">
                  <a:pos x="195" y="218"/>
                </a:cxn>
                <a:cxn ang="0">
                  <a:pos x="143" y="164"/>
                </a:cxn>
                <a:cxn ang="0">
                  <a:pos x="127" y="56"/>
                </a:cxn>
              </a:cxnLst>
              <a:rect l="0" t="0" r="r" b="b"/>
              <a:pathLst>
                <a:path w="1657" h="1083">
                  <a:moveTo>
                    <a:pt x="127" y="56"/>
                  </a:moveTo>
                  <a:lnTo>
                    <a:pt x="136" y="59"/>
                  </a:lnTo>
                  <a:lnTo>
                    <a:pt x="140" y="61"/>
                  </a:lnTo>
                  <a:lnTo>
                    <a:pt x="148" y="68"/>
                  </a:lnTo>
                  <a:lnTo>
                    <a:pt x="151" y="67"/>
                  </a:lnTo>
                  <a:lnTo>
                    <a:pt x="152" y="72"/>
                  </a:lnTo>
                  <a:lnTo>
                    <a:pt x="162" y="77"/>
                  </a:lnTo>
                  <a:lnTo>
                    <a:pt x="168" y="79"/>
                  </a:lnTo>
                  <a:lnTo>
                    <a:pt x="183" y="77"/>
                  </a:lnTo>
                  <a:lnTo>
                    <a:pt x="191" y="82"/>
                  </a:lnTo>
                  <a:lnTo>
                    <a:pt x="191" y="88"/>
                  </a:lnTo>
                  <a:lnTo>
                    <a:pt x="196" y="90"/>
                  </a:lnTo>
                  <a:lnTo>
                    <a:pt x="215" y="95"/>
                  </a:lnTo>
                  <a:lnTo>
                    <a:pt x="219" y="99"/>
                  </a:lnTo>
                  <a:lnTo>
                    <a:pt x="223" y="105"/>
                  </a:lnTo>
                  <a:lnTo>
                    <a:pt x="223" y="125"/>
                  </a:lnTo>
                  <a:lnTo>
                    <a:pt x="226" y="131"/>
                  </a:lnTo>
                  <a:lnTo>
                    <a:pt x="233" y="144"/>
                  </a:lnTo>
                  <a:lnTo>
                    <a:pt x="234" y="152"/>
                  </a:lnTo>
                  <a:lnTo>
                    <a:pt x="237" y="154"/>
                  </a:lnTo>
                  <a:lnTo>
                    <a:pt x="240" y="161"/>
                  </a:lnTo>
                  <a:lnTo>
                    <a:pt x="243" y="177"/>
                  </a:lnTo>
                  <a:lnTo>
                    <a:pt x="248" y="183"/>
                  </a:lnTo>
                  <a:lnTo>
                    <a:pt x="251" y="185"/>
                  </a:lnTo>
                  <a:lnTo>
                    <a:pt x="254" y="188"/>
                  </a:lnTo>
                  <a:lnTo>
                    <a:pt x="258" y="207"/>
                  </a:lnTo>
                  <a:lnTo>
                    <a:pt x="260" y="212"/>
                  </a:lnTo>
                  <a:lnTo>
                    <a:pt x="262" y="215"/>
                  </a:lnTo>
                  <a:lnTo>
                    <a:pt x="269" y="219"/>
                  </a:lnTo>
                  <a:lnTo>
                    <a:pt x="272" y="224"/>
                  </a:lnTo>
                  <a:lnTo>
                    <a:pt x="277" y="239"/>
                  </a:lnTo>
                  <a:lnTo>
                    <a:pt x="286" y="245"/>
                  </a:lnTo>
                  <a:lnTo>
                    <a:pt x="290" y="257"/>
                  </a:lnTo>
                  <a:lnTo>
                    <a:pt x="299" y="268"/>
                  </a:lnTo>
                  <a:lnTo>
                    <a:pt x="310" y="272"/>
                  </a:lnTo>
                  <a:lnTo>
                    <a:pt x="324" y="292"/>
                  </a:lnTo>
                  <a:lnTo>
                    <a:pt x="334" y="299"/>
                  </a:lnTo>
                  <a:lnTo>
                    <a:pt x="351" y="303"/>
                  </a:lnTo>
                  <a:lnTo>
                    <a:pt x="357" y="304"/>
                  </a:lnTo>
                  <a:lnTo>
                    <a:pt x="360" y="306"/>
                  </a:lnTo>
                  <a:lnTo>
                    <a:pt x="361" y="320"/>
                  </a:lnTo>
                  <a:lnTo>
                    <a:pt x="358" y="325"/>
                  </a:lnTo>
                  <a:lnTo>
                    <a:pt x="361" y="330"/>
                  </a:lnTo>
                  <a:lnTo>
                    <a:pt x="361" y="335"/>
                  </a:lnTo>
                  <a:lnTo>
                    <a:pt x="367" y="342"/>
                  </a:lnTo>
                  <a:lnTo>
                    <a:pt x="374" y="348"/>
                  </a:lnTo>
                  <a:lnTo>
                    <a:pt x="390" y="355"/>
                  </a:lnTo>
                  <a:lnTo>
                    <a:pt x="398" y="364"/>
                  </a:lnTo>
                  <a:lnTo>
                    <a:pt x="401" y="374"/>
                  </a:lnTo>
                  <a:lnTo>
                    <a:pt x="406" y="376"/>
                  </a:lnTo>
                  <a:lnTo>
                    <a:pt x="407" y="379"/>
                  </a:lnTo>
                  <a:lnTo>
                    <a:pt x="421" y="379"/>
                  </a:lnTo>
                  <a:lnTo>
                    <a:pt x="428" y="384"/>
                  </a:lnTo>
                  <a:lnTo>
                    <a:pt x="433" y="395"/>
                  </a:lnTo>
                  <a:lnTo>
                    <a:pt x="439" y="397"/>
                  </a:lnTo>
                  <a:lnTo>
                    <a:pt x="439" y="402"/>
                  </a:lnTo>
                  <a:lnTo>
                    <a:pt x="433" y="412"/>
                  </a:lnTo>
                  <a:lnTo>
                    <a:pt x="430" y="414"/>
                  </a:lnTo>
                  <a:lnTo>
                    <a:pt x="428" y="421"/>
                  </a:lnTo>
                  <a:lnTo>
                    <a:pt x="427" y="425"/>
                  </a:lnTo>
                  <a:lnTo>
                    <a:pt x="426" y="433"/>
                  </a:lnTo>
                  <a:lnTo>
                    <a:pt x="427" y="438"/>
                  </a:lnTo>
                  <a:lnTo>
                    <a:pt x="432" y="445"/>
                  </a:lnTo>
                  <a:lnTo>
                    <a:pt x="444" y="445"/>
                  </a:lnTo>
                  <a:lnTo>
                    <a:pt x="452" y="439"/>
                  </a:lnTo>
                  <a:lnTo>
                    <a:pt x="454" y="443"/>
                  </a:lnTo>
                  <a:lnTo>
                    <a:pt x="450" y="451"/>
                  </a:lnTo>
                  <a:lnTo>
                    <a:pt x="453" y="456"/>
                  </a:lnTo>
                  <a:lnTo>
                    <a:pt x="476" y="468"/>
                  </a:lnTo>
                  <a:lnTo>
                    <a:pt x="482" y="470"/>
                  </a:lnTo>
                  <a:lnTo>
                    <a:pt x="487" y="466"/>
                  </a:lnTo>
                  <a:lnTo>
                    <a:pt x="501" y="481"/>
                  </a:lnTo>
                  <a:lnTo>
                    <a:pt x="506" y="484"/>
                  </a:lnTo>
                  <a:lnTo>
                    <a:pt x="507" y="492"/>
                  </a:lnTo>
                  <a:lnTo>
                    <a:pt x="507" y="503"/>
                  </a:lnTo>
                  <a:lnTo>
                    <a:pt x="509" y="507"/>
                  </a:lnTo>
                  <a:lnTo>
                    <a:pt x="543" y="535"/>
                  </a:lnTo>
                  <a:lnTo>
                    <a:pt x="554" y="545"/>
                  </a:lnTo>
                  <a:lnTo>
                    <a:pt x="561" y="548"/>
                  </a:lnTo>
                  <a:lnTo>
                    <a:pt x="565" y="553"/>
                  </a:lnTo>
                  <a:lnTo>
                    <a:pt x="567" y="558"/>
                  </a:lnTo>
                  <a:lnTo>
                    <a:pt x="567" y="564"/>
                  </a:lnTo>
                  <a:lnTo>
                    <a:pt x="570" y="568"/>
                  </a:lnTo>
                  <a:lnTo>
                    <a:pt x="576" y="568"/>
                  </a:lnTo>
                  <a:lnTo>
                    <a:pt x="582" y="577"/>
                  </a:lnTo>
                  <a:lnTo>
                    <a:pt x="588" y="589"/>
                  </a:lnTo>
                  <a:lnTo>
                    <a:pt x="592" y="595"/>
                  </a:lnTo>
                  <a:lnTo>
                    <a:pt x="604" y="604"/>
                  </a:lnTo>
                  <a:lnTo>
                    <a:pt x="615" y="617"/>
                  </a:lnTo>
                  <a:lnTo>
                    <a:pt x="630" y="627"/>
                  </a:lnTo>
                  <a:lnTo>
                    <a:pt x="632" y="633"/>
                  </a:lnTo>
                  <a:lnTo>
                    <a:pt x="631" y="635"/>
                  </a:lnTo>
                  <a:lnTo>
                    <a:pt x="631" y="640"/>
                  </a:lnTo>
                  <a:lnTo>
                    <a:pt x="638" y="664"/>
                  </a:lnTo>
                  <a:lnTo>
                    <a:pt x="645" y="672"/>
                  </a:lnTo>
                  <a:lnTo>
                    <a:pt x="646" y="681"/>
                  </a:lnTo>
                  <a:lnTo>
                    <a:pt x="652" y="687"/>
                  </a:lnTo>
                  <a:lnTo>
                    <a:pt x="656" y="694"/>
                  </a:lnTo>
                  <a:lnTo>
                    <a:pt x="658" y="703"/>
                  </a:lnTo>
                  <a:lnTo>
                    <a:pt x="658" y="712"/>
                  </a:lnTo>
                  <a:lnTo>
                    <a:pt x="656" y="717"/>
                  </a:lnTo>
                  <a:lnTo>
                    <a:pt x="646" y="728"/>
                  </a:lnTo>
                  <a:lnTo>
                    <a:pt x="645" y="729"/>
                  </a:lnTo>
                  <a:lnTo>
                    <a:pt x="646" y="733"/>
                  </a:lnTo>
                  <a:lnTo>
                    <a:pt x="653" y="739"/>
                  </a:lnTo>
                  <a:lnTo>
                    <a:pt x="654" y="742"/>
                  </a:lnTo>
                  <a:lnTo>
                    <a:pt x="640" y="748"/>
                  </a:lnTo>
                  <a:lnTo>
                    <a:pt x="635" y="752"/>
                  </a:lnTo>
                  <a:lnTo>
                    <a:pt x="635" y="756"/>
                  </a:lnTo>
                  <a:lnTo>
                    <a:pt x="637" y="758"/>
                  </a:lnTo>
                  <a:lnTo>
                    <a:pt x="642" y="771"/>
                  </a:lnTo>
                  <a:lnTo>
                    <a:pt x="643" y="779"/>
                  </a:lnTo>
                  <a:lnTo>
                    <a:pt x="646" y="788"/>
                  </a:lnTo>
                  <a:lnTo>
                    <a:pt x="656" y="793"/>
                  </a:lnTo>
                  <a:lnTo>
                    <a:pt x="670" y="810"/>
                  </a:lnTo>
                  <a:lnTo>
                    <a:pt x="675" y="815"/>
                  </a:lnTo>
                  <a:lnTo>
                    <a:pt x="683" y="821"/>
                  </a:lnTo>
                  <a:lnTo>
                    <a:pt x="689" y="823"/>
                  </a:lnTo>
                  <a:lnTo>
                    <a:pt x="699" y="827"/>
                  </a:lnTo>
                  <a:lnTo>
                    <a:pt x="706" y="827"/>
                  </a:lnTo>
                  <a:lnTo>
                    <a:pt x="710" y="830"/>
                  </a:lnTo>
                  <a:lnTo>
                    <a:pt x="722" y="841"/>
                  </a:lnTo>
                  <a:lnTo>
                    <a:pt x="731" y="843"/>
                  </a:lnTo>
                  <a:lnTo>
                    <a:pt x="738" y="850"/>
                  </a:lnTo>
                  <a:lnTo>
                    <a:pt x="740" y="855"/>
                  </a:lnTo>
                  <a:lnTo>
                    <a:pt x="740" y="858"/>
                  </a:lnTo>
                  <a:lnTo>
                    <a:pt x="744" y="859"/>
                  </a:lnTo>
                  <a:lnTo>
                    <a:pt x="746" y="861"/>
                  </a:lnTo>
                  <a:lnTo>
                    <a:pt x="748" y="865"/>
                  </a:lnTo>
                  <a:lnTo>
                    <a:pt x="750" y="870"/>
                  </a:lnTo>
                  <a:lnTo>
                    <a:pt x="755" y="874"/>
                  </a:lnTo>
                  <a:lnTo>
                    <a:pt x="769" y="875"/>
                  </a:lnTo>
                  <a:lnTo>
                    <a:pt x="775" y="879"/>
                  </a:lnTo>
                  <a:lnTo>
                    <a:pt x="780" y="880"/>
                  </a:lnTo>
                  <a:lnTo>
                    <a:pt x="782" y="884"/>
                  </a:lnTo>
                  <a:lnTo>
                    <a:pt x="814" y="892"/>
                  </a:lnTo>
                  <a:lnTo>
                    <a:pt x="820" y="895"/>
                  </a:lnTo>
                  <a:lnTo>
                    <a:pt x="828" y="895"/>
                  </a:lnTo>
                  <a:lnTo>
                    <a:pt x="832" y="892"/>
                  </a:lnTo>
                  <a:lnTo>
                    <a:pt x="836" y="895"/>
                  </a:lnTo>
                  <a:lnTo>
                    <a:pt x="850" y="902"/>
                  </a:lnTo>
                  <a:lnTo>
                    <a:pt x="855" y="909"/>
                  </a:lnTo>
                  <a:lnTo>
                    <a:pt x="856" y="912"/>
                  </a:lnTo>
                  <a:lnTo>
                    <a:pt x="860" y="913"/>
                  </a:lnTo>
                  <a:lnTo>
                    <a:pt x="862" y="917"/>
                  </a:lnTo>
                  <a:lnTo>
                    <a:pt x="869" y="919"/>
                  </a:lnTo>
                  <a:lnTo>
                    <a:pt x="875" y="924"/>
                  </a:lnTo>
                  <a:lnTo>
                    <a:pt x="884" y="928"/>
                  </a:lnTo>
                  <a:lnTo>
                    <a:pt x="884" y="931"/>
                  </a:lnTo>
                  <a:lnTo>
                    <a:pt x="890" y="936"/>
                  </a:lnTo>
                  <a:lnTo>
                    <a:pt x="894" y="935"/>
                  </a:lnTo>
                  <a:lnTo>
                    <a:pt x="900" y="939"/>
                  </a:lnTo>
                  <a:lnTo>
                    <a:pt x="905" y="941"/>
                  </a:lnTo>
                  <a:lnTo>
                    <a:pt x="916" y="945"/>
                  </a:lnTo>
                  <a:lnTo>
                    <a:pt x="926" y="946"/>
                  </a:lnTo>
                  <a:lnTo>
                    <a:pt x="943" y="951"/>
                  </a:lnTo>
                  <a:lnTo>
                    <a:pt x="953" y="959"/>
                  </a:lnTo>
                  <a:lnTo>
                    <a:pt x="960" y="961"/>
                  </a:lnTo>
                  <a:lnTo>
                    <a:pt x="985" y="968"/>
                  </a:lnTo>
                  <a:lnTo>
                    <a:pt x="1000" y="974"/>
                  </a:lnTo>
                  <a:lnTo>
                    <a:pt x="1009" y="973"/>
                  </a:lnTo>
                  <a:lnTo>
                    <a:pt x="1019" y="983"/>
                  </a:lnTo>
                  <a:lnTo>
                    <a:pt x="1043" y="998"/>
                  </a:lnTo>
                  <a:lnTo>
                    <a:pt x="1049" y="999"/>
                  </a:lnTo>
                  <a:lnTo>
                    <a:pt x="1052" y="999"/>
                  </a:lnTo>
                  <a:lnTo>
                    <a:pt x="1057" y="1003"/>
                  </a:lnTo>
                  <a:lnTo>
                    <a:pt x="1063" y="1005"/>
                  </a:lnTo>
                  <a:lnTo>
                    <a:pt x="1074" y="1009"/>
                  </a:lnTo>
                  <a:lnTo>
                    <a:pt x="1103" y="1011"/>
                  </a:lnTo>
                  <a:lnTo>
                    <a:pt x="1113" y="1017"/>
                  </a:lnTo>
                  <a:lnTo>
                    <a:pt x="1120" y="1020"/>
                  </a:lnTo>
                  <a:lnTo>
                    <a:pt x="1122" y="1020"/>
                  </a:lnTo>
                  <a:lnTo>
                    <a:pt x="1130" y="1024"/>
                  </a:lnTo>
                  <a:lnTo>
                    <a:pt x="1145" y="1025"/>
                  </a:lnTo>
                  <a:lnTo>
                    <a:pt x="1152" y="1024"/>
                  </a:lnTo>
                  <a:lnTo>
                    <a:pt x="1158" y="1021"/>
                  </a:lnTo>
                  <a:lnTo>
                    <a:pt x="1162" y="1017"/>
                  </a:lnTo>
                  <a:lnTo>
                    <a:pt x="1173" y="1013"/>
                  </a:lnTo>
                  <a:lnTo>
                    <a:pt x="1181" y="1010"/>
                  </a:lnTo>
                  <a:lnTo>
                    <a:pt x="1202" y="995"/>
                  </a:lnTo>
                  <a:lnTo>
                    <a:pt x="1207" y="994"/>
                  </a:lnTo>
                  <a:lnTo>
                    <a:pt x="1215" y="992"/>
                  </a:lnTo>
                  <a:lnTo>
                    <a:pt x="1232" y="992"/>
                  </a:lnTo>
                  <a:lnTo>
                    <a:pt x="1244" y="995"/>
                  </a:lnTo>
                  <a:lnTo>
                    <a:pt x="1266" y="1004"/>
                  </a:lnTo>
                  <a:lnTo>
                    <a:pt x="1291" y="1015"/>
                  </a:lnTo>
                  <a:lnTo>
                    <a:pt x="1309" y="1033"/>
                  </a:lnTo>
                  <a:lnTo>
                    <a:pt x="1316" y="1042"/>
                  </a:lnTo>
                  <a:lnTo>
                    <a:pt x="1336" y="1060"/>
                  </a:lnTo>
                  <a:lnTo>
                    <a:pt x="1345" y="1070"/>
                  </a:lnTo>
                  <a:lnTo>
                    <a:pt x="1362" y="1083"/>
                  </a:lnTo>
                  <a:lnTo>
                    <a:pt x="1364" y="1081"/>
                  </a:lnTo>
                  <a:lnTo>
                    <a:pt x="1366" y="1065"/>
                  </a:lnTo>
                  <a:lnTo>
                    <a:pt x="1368" y="1063"/>
                  </a:lnTo>
                  <a:lnTo>
                    <a:pt x="1369" y="1060"/>
                  </a:lnTo>
                  <a:lnTo>
                    <a:pt x="1367" y="1053"/>
                  </a:lnTo>
                  <a:lnTo>
                    <a:pt x="1368" y="1052"/>
                  </a:lnTo>
                  <a:lnTo>
                    <a:pt x="1371" y="1047"/>
                  </a:lnTo>
                  <a:lnTo>
                    <a:pt x="1377" y="1037"/>
                  </a:lnTo>
                  <a:lnTo>
                    <a:pt x="1378" y="1033"/>
                  </a:lnTo>
                  <a:lnTo>
                    <a:pt x="1401" y="997"/>
                  </a:lnTo>
                  <a:lnTo>
                    <a:pt x="1431" y="994"/>
                  </a:lnTo>
                  <a:lnTo>
                    <a:pt x="1454" y="994"/>
                  </a:lnTo>
                  <a:lnTo>
                    <a:pt x="1455" y="995"/>
                  </a:lnTo>
                  <a:lnTo>
                    <a:pt x="1455" y="994"/>
                  </a:lnTo>
                  <a:lnTo>
                    <a:pt x="1457" y="979"/>
                  </a:lnTo>
                  <a:lnTo>
                    <a:pt x="1454" y="974"/>
                  </a:lnTo>
                  <a:lnTo>
                    <a:pt x="1444" y="966"/>
                  </a:lnTo>
                  <a:lnTo>
                    <a:pt x="1441" y="957"/>
                  </a:lnTo>
                  <a:lnTo>
                    <a:pt x="1425" y="947"/>
                  </a:lnTo>
                  <a:lnTo>
                    <a:pt x="1399" y="922"/>
                  </a:lnTo>
                  <a:lnTo>
                    <a:pt x="1401" y="923"/>
                  </a:lnTo>
                  <a:lnTo>
                    <a:pt x="1433" y="923"/>
                  </a:lnTo>
                  <a:lnTo>
                    <a:pt x="1433" y="896"/>
                  </a:lnTo>
                  <a:lnTo>
                    <a:pt x="1528" y="895"/>
                  </a:lnTo>
                  <a:lnTo>
                    <a:pt x="1541" y="892"/>
                  </a:lnTo>
                  <a:lnTo>
                    <a:pt x="1546" y="892"/>
                  </a:lnTo>
                  <a:lnTo>
                    <a:pt x="1561" y="864"/>
                  </a:lnTo>
                  <a:lnTo>
                    <a:pt x="1565" y="861"/>
                  </a:lnTo>
                  <a:lnTo>
                    <a:pt x="1571" y="863"/>
                  </a:lnTo>
                  <a:lnTo>
                    <a:pt x="1572" y="855"/>
                  </a:lnTo>
                  <a:lnTo>
                    <a:pt x="1583" y="839"/>
                  </a:lnTo>
                  <a:lnTo>
                    <a:pt x="1590" y="842"/>
                  </a:lnTo>
                  <a:lnTo>
                    <a:pt x="1588" y="858"/>
                  </a:lnTo>
                  <a:lnTo>
                    <a:pt x="1593" y="859"/>
                  </a:lnTo>
                  <a:lnTo>
                    <a:pt x="1595" y="861"/>
                  </a:lnTo>
                  <a:lnTo>
                    <a:pt x="1594" y="876"/>
                  </a:lnTo>
                  <a:lnTo>
                    <a:pt x="1597" y="886"/>
                  </a:lnTo>
                  <a:lnTo>
                    <a:pt x="1600" y="881"/>
                  </a:lnTo>
                  <a:lnTo>
                    <a:pt x="1606" y="860"/>
                  </a:lnTo>
                  <a:lnTo>
                    <a:pt x="1608" y="849"/>
                  </a:lnTo>
                  <a:lnTo>
                    <a:pt x="1616" y="825"/>
                  </a:lnTo>
                  <a:lnTo>
                    <a:pt x="1619" y="815"/>
                  </a:lnTo>
                  <a:lnTo>
                    <a:pt x="1616" y="810"/>
                  </a:lnTo>
                  <a:lnTo>
                    <a:pt x="1611" y="806"/>
                  </a:lnTo>
                  <a:lnTo>
                    <a:pt x="1620" y="801"/>
                  </a:lnTo>
                  <a:lnTo>
                    <a:pt x="1619" y="794"/>
                  </a:lnTo>
                  <a:lnTo>
                    <a:pt x="1611" y="790"/>
                  </a:lnTo>
                  <a:lnTo>
                    <a:pt x="1617" y="782"/>
                  </a:lnTo>
                  <a:lnTo>
                    <a:pt x="1622" y="772"/>
                  </a:lnTo>
                  <a:lnTo>
                    <a:pt x="1622" y="763"/>
                  </a:lnTo>
                  <a:lnTo>
                    <a:pt x="1632" y="744"/>
                  </a:lnTo>
                  <a:lnTo>
                    <a:pt x="1641" y="736"/>
                  </a:lnTo>
                  <a:lnTo>
                    <a:pt x="1653" y="723"/>
                  </a:lnTo>
                  <a:lnTo>
                    <a:pt x="1656" y="714"/>
                  </a:lnTo>
                  <a:lnTo>
                    <a:pt x="1657" y="703"/>
                  </a:lnTo>
                  <a:lnTo>
                    <a:pt x="1654" y="692"/>
                  </a:lnTo>
                  <a:lnTo>
                    <a:pt x="1648" y="683"/>
                  </a:lnTo>
                  <a:lnTo>
                    <a:pt x="1617" y="680"/>
                  </a:lnTo>
                  <a:lnTo>
                    <a:pt x="1605" y="691"/>
                  </a:lnTo>
                  <a:lnTo>
                    <a:pt x="1605" y="678"/>
                  </a:lnTo>
                  <a:lnTo>
                    <a:pt x="1588" y="675"/>
                  </a:lnTo>
                  <a:lnTo>
                    <a:pt x="1576" y="676"/>
                  </a:lnTo>
                  <a:lnTo>
                    <a:pt x="1555" y="682"/>
                  </a:lnTo>
                  <a:lnTo>
                    <a:pt x="1544" y="690"/>
                  </a:lnTo>
                  <a:lnTo>
                    <a:pt x="1519" y="691"/>
                  </a:lnTo>
                  <a:lnTo>
                    <a:pt x="1504" y="691"/>
                  </a:lnTo>
                  <a:lnTo>
                    <a:pt x="1495" y="692"/>
                  </a:lnTo>
                  <a:lnTo>
                    <a:pt x="1484" y="697"/>
                  </a:lnTo>
                  <a:lnTo>
                    <a:pt x="1474" y="699"/>
                  </a:lnTo>
                  <a:lnTo>
                    <a:pt x="1464" y="708"/>
                  </a:lnTo>
                  <a:lnTo>
                    <a:pt x="1459" y="720"/>
                  </a:lnTo>
                  <a:lnTo>
                    <a:pt x="1457" y="750"/>
                  </a:lnTo>
                  <a:lnTo>
                    <a:pt x="1453" y="767"/>
                  </a:lnTo>
                  <a:lnTo>
                    <a:pt x="1449" y="779"/>
                  </a:lnTo>
                  <a:lnTo>
                    <a:pt x="1443" y="788"/>
                  </a:lnTo>
                  <a:lnTo>
                    <a:pt x="1441" y="801"/>
                  </a:lnTo>
                  <a:lnTo>
                    <a:pt x="1436" y="812"/>
                  </a:lnTo>
                  <a:lnTo>
                    <a:pt x="1426" y="823"/>
                  </a:lnTo>
                  <a:lnTo>
                    <a:pt x="1411" y="830"/>
                  </a:lnTo>
                  <a:lnTo>
                    <a:pt x="1414" y="849"/>
                  </a:lnTo>
                  <a:lnTo>
                    <a:pt x="1395" y="859"/>
                  </a:lnTo>
                  <a:lnTo>
                    <a:pt x="1387" y="860"/>
                  </a:lnTo>
                  <a:lnTo>
                    <a:pt x="1380" y="859"/>
                  </a:lnTo>
                  <a:lnTo>
                    <a:pt x="1377" y="854"/>
                  </a:lnTo>
                  <a:lnTo>
                    <a:pt x="1377" y="848"/>
                  </a:lnTo>
                  <a:lnTo>
                    <a:pt x="1368" y="846"/>
                  </a:lnTo>
                  <a:lnTo>
                    <a:pt x="1351" y="846"/>
                  </a:lnTo>
                  <a:lnTo>
                    <a:pt x="1345" y="848"/>
                  </a:lnTo>
                  <a:lnTo>
                    <a:pt x="1335" y="850"/>
                  </a:lnTo>
                  <a:lnTo>
                    <a:pt x="1321" y="858"/>
                  </a:lnTo>
                  <a:lnTo>
                    <a:pt x="1312" y="860"/>
                  </a:lnTo>
                  <a:lnTo>
                    <a:pt x="1303" y="859"/>
                  </a:lnTo>
                  <a:lnTo>
                    <a:pt x="1275" y="864"/>
                  </a:lnTo>
                  <a:lnTo>
                    <a:pt x="1251" y="876"/>
                  </a:lnTo>
                  <a:lnTo>
                    <a:pt x="1238" y="876"/>
                  </a:lnTo>
                  <a:lnTo>
                    <a:pt x="1226" y="868"/>
                  </a:lnTo>
                  <a:lnTo>
                    <a:pt x="1215" y="853"/>
                  </a:lnTo>
                  <a:lnTo>
                    <a:pt x="1210" y="849"/>
                  </a:lnTo>
                  <a:lnTo>
                    <a:pt x="1210" y="852"/>
                  </a:lnTo>
                  <a:lnTo>
                    <a:pt x="1195" y="850"/>
                  </a:lnTo>
                  <a:lnTo>
                    <a:pt x="1183" y="846"/>
                  </a:lnTo>
                  <a:lnTo>
                    <a:pt x="1175" y="843"/>
                  </a:lnTo>
                  <a:lnTo>
                    <a:pt x="1169" y="839"/>
                  </a:lnTo>
                  <a:lnTo>
                    <a:pt x="1164" y="832"/>
                  </a:lnTo>
                  <a:lnTo>
                    <a:pt x="1160" y="830"/>
                  </a:lnTo>
                  <a:lnTo>
                    <a:pt x="1154" y="822"/>
                  </a:lnTo>
                  <a:lnTo>
                    <a:pt x="1152" y="820"/>
                  </a:lnTo>
                  <a:lnTo>
                    <a:pt x="1149" y="820"/>
                  </a:lnTo>
                  <a:lnTo>
                    <a:pt x="1148" y="818"/>
                  </a:lnTo>
                  <a:lnTo>
                    <a:pt x="1146" y="809"/>
                  </a:lnTo>
                  <a:lnTo>
                    <a:pt x="1130" y="773"/>
                  </a:lnTo>
                  <a:lnTo>
                    <a:pt x="1126" y="766"/>
                  </a:lnTo>
                  <a:lnTo>
                    <a:pt x="1120" y="761"/>
                  </a:lnTo>
                  <a:lnTo>
                    <a:pt x="1108" y="747"/>
                  </a:lnTo>
                  <a:lnTo>
                    <a:pt x="1103" y="741"/>
                  </a:lnTo>
                  <a:lnTo>
                    <a:pt x="1088" y="717"/>
                  </a:lnTo>
                  <a:lnTo>
                    <a:pt x="1084" y="705"/>
                  </a:lnTo>
                  <a:lnTo>
                    <a:pt x="1086" y="703"/>
                  </a:lnTo>
                  <a:lnTo>
                    <a:pt x="1090" y="696"/>
                  </a:lnTo>
                  <a:lnTo>
                    <a:pt x="1090" y="690"/>
                  </a:lnTo>
                  <a:lnTo>
                    <a:pt x="1089" y="686"/>
                  </a:lnTo>
                  <a:lnTo>
                    <a:pt x="1071" y="664"/>
                  </a:lnTo>
                  <a:lnTo>
                    <a:pt x="1063" y="645"/>
                  </a:lnTo>
                  <a:lnTo>
                    <a:pt x="1063" y="634"/>
                  </a:lnTo>
                  <a:lnTo>
                    <a:pt x="1068" y="611"/>
                  </a:lnTo>
                  <a:lnTo>
                    <a:pt x="1067" y="574"/>
                  </a:lnTo>
                  <a:lnTo>
                    <a:pt x="1067" y="562"/>
                  </a:lnTo>
                  <a:lnTo>
                    <a:pt x="1065" y="552"/>
                  </a:lnTo>
                  <a:lnTo>
                    <a:pt x="1061" y="547"/>
                  </a:lnTo>
                  <a:lnTo>
                    <a:pt x="1060" y="529"/>
                  </a:lnTo>
                  <a:lnTo>
                    <a:pt x="1060" y="505"/>
                  </a:lnTo>
                  <a:lnTo>
                    <a:pt x="1057" y="502"/>
                  </a:lnTo>
                  <a:lnTo>
                    <a:pt x="1057" y="498"/>
                  </a:lnTo>
                  <a:lnTo>
                    <a:pt x="1062" y="484"/>
                  </a:lnTo>
                  <a:lnTo>
                    <a:pt x="1068" y="479"/>
                  </a:lnTo>
                  <a:lnTo>
                    <a:pt x="1071" y="467"/>
                  </a:lnTo>
                  <a:lnTo>
                    <a:pt x="1071" y="459"/>
                  </a:lnTo>
                  <a:lnTo>
                    <a:pt x="1073" y="455"/>
                  </a:lnTo>
                  <a:lnTo>
                    <a:pt x="1086" y="459"/>
                  </a:lnTo>
                  <a:lnTo>
                    <a:pt x="1089" y="457"/>
                  </a:lnTo>
                  <a:lnTo>
                    <a:pt x="1095" y="450"/>
                  </a:lnTo>
                  <a:lnTo>
                    <a:pt x="1098" y="444"/>
                  </a:lnTo>
                  <a:lnTo>
                    <a:pt x="1099" y="434"/>
                  </a:lnTo>
                  <a:lnTo>
                    <a:pt x="1098" y="433"/>
                  </a:lnTo>
                  <a:lnTo>
                    <a:pt x="1095" y="439"/>
                  </a:lnTo>
                  <a:lnTo>
                    <a:pt x="1093" y="443"/>
                  </a:lnTo>
                  <a:lnTo>
                    <a:pt x="1090" y="444"/>
                  </a:lnTo>
                  <a:lnTo>
                    <a:pt x="1089" y="444"/>
                  </a:lnTo>
                  <a:lnTo>
                    <a:pt x="1090" y="438"/>
                  </a:lnTo>
                  <a:lnTo>
                    <a:pt x="1095" y="425"/>
                  </a:lnTo>
                  <a:lnTo>
                    <a:pt x="1078" y="424"/>
                  </a:lnTo>
                  <a:lnTo>
                    <a:pt x="1060" y="416"/>
                  </a:lnTo>
                  <a:lnTo>
                    <a:pt x="1033" y="413"/>
                  </a:lnTo>
                  <a:lnTo>
                    <a:pt x="1018" y="405"/>
                  </a:lnTo>
                  <a:lnTo>
                    <a:pt x="1004" y="403"/>
                  </a:lnTo>
                  <a:lnTo>
                    <a:pt x="987" y="392"/>
                  </a:lnTo>
                  <a:lnTo>
                    <a:pt x="970" y="366"/>
                  </a:lnTo>
                  <a:lnTo>
                    <a:pt x="955" y="319"/>
                  </a:lnTo>
                  <a:lnTo>
                    <a:pt x="938" y="308"/>
                  </a:lnTo>
                  <a:lnTo>
                    <a:pt x="930" y="288"/>
                  </a:lnTo>
                  <a:lnTo>
                    <a:pt x="914" y="271"/>
                  </a:lnTo>
                  <a:lnTo>
                    <a:pt x="894" y="225"/>
                  </a:lnTo>
                  <a:lnTo>
                    <a:pt x="883" y="217"/>
                  </a:lnTo>
                  <a:lnTo>
                    <a:pt x="877" y="207"/>
                  </a:lnTo>
                  <a:lnTo>
                    <a:pt x="860" y="191"/>
                  </a:lnTo>
                  <a:lnTo>
                    <a:pt x="852" y="181"/>
                  </a:lnTo>
                  <a:lnTo>
                    <a:pt x="807" y="183"/>
                  </a:lnTo>
                  <a:lnTo>
                    <a:pt x="796" y="180"/>
                  </a:lnTo>
                  <a:lnTo>
                    <a:pt x="785" y="185"/>
                  </a:lnTo>
                  <a:lnTo>
                    <a:pt x="782" y="188"/>
                  </a:lnTo>
                  <a:lnTo>
                    <a:pt x="759" y="235"/>
                  </a:lnTo>
                  <a:lnTo>
                    <a:pt x="735" y="230"/>
                  </a:lnTo>
                  <a:lnTo>
                    <a:pt x="711" y="214"/>
                  </a:lnTo>
                  <a:lnTo>
                    <a:pt x="692" y="198"/>
                  </a:lnTo>
                  <a:lnTo>
                    <a:pt x="678" y="180"/>
                  </a:lnTo>
                  <a:lnTo>
                    <a:pt x="664" y="129"/>
                  </a:lnTo>
                  <a:lnTo>
                    <a:pt x="635" y="110"/>
                  </a:lnTo>
                  <a:lnTo>
                    <a:pt x="615" y="93"/>
                  </a:lnTo>
                  <a:lnTo>
                    <a:pt x="606" y="80"/>
                  </a:lnTo>
                  <a:lnTo>
                    <a:pt x="594" y="74"/>
                  </a:lnTo>
                  <a:lnTo>
                    <a:pt x="587" y="62"/>
                  </a:lnTo>
                  <a:lnTo>
                    <a:pt x="582" y="59"/>
                  </a:lnTo>
                  <a:lnTo>
                    <a:pt x="572" y="53"/>
                  </a:lnTo>
                  <a:lnTo>
                    <a:pt x="482" y="54"/>
                  </a:lnTo>
                  <a:lnTo>
                    <a:pt x="481" y="84"/>
                  </a:lnTo>
                  <a:lnTo>
                    <a:pt x="437" y="84"/>
                  </a:lnTo>
                  <a:lnTo>
                    <a:pt x="334" y="84"/>
                  </a:lnTo>
                  <a:lnTo>
                    <a:pt x="125" y="7"/>
                  </a:lnTo>
                  <a:lnTo>
                    <a:pt x="124" y="0"/>
                  </a:lnTo>
                  <a:lnTo>
                    <a:pt x="0" y="10"/>
                  </a:lnTo>
                  <a:lnTo>
                    <a:pt x="7" y="18"/>
                  </a:lnTo>
                  <a:lnTo>
                    <a:pt x="8" y="25"/>
                  </a:lnTo>
                  <a:lnTo>
                    <a:pt x="12" y="31"/>
                  </a:lnTo>
                  <a:lnTo>
                    <a:pt x="16" y="41"/>
                  </a:lnTo>
                  <a:lnTo>
                    <a:pt x="22" y="47"/>
                  </a:lnTo>
                  <a:lnTo>
                    <a:pt x="22" y="52"/>
                  </a:lnTo>
                  <a:lnTo>
                    <a:pt x="25" y="52"/>
                  </a:lnTo>
                  <a:lnTo>
                    <a:pt x="29" y="57"/>
                  </a:lnTo>
                  <a:lnTo>
                    <a:pt x="30" y="73"/>
                  </a:lnTo>
                  <a:lnTo>
                    <a:pt x="48" y="99"/>
                  </a:lnTo>
                  <a:lnTo>
                    <a:pt x="50" y="106"/>
                  </a:lnTo>
                  <a:lnTo>
                    <a:pt x="50" y="111"/>
                  </a:lnTo>
                  <a:lnTo>
                    <a:pt x="52" y="112"/>
                  </a:lnTo>
                  <a:lnTo>
                    <a:pt x="54" y="117"/>
                  </a:lnTo>
                  <a:lnTo>
                    <a:pt x="57" y="120"/>
                  </a:lnTo>
                  <a:lnTo>
                    <a:pt x="65" y="137"/>
                  </a:lnTo>
                  <a:lnTo>
                    <a:pt x="65" y="147"/>
                  </a:lnTo>
                  <a:lnTo>
                    <a:pt x="66" y="149"/>
                  </a:lnTo>
                  <a:lnTo>
                    <a:pt x="70" y="145"/>
                  </a:lnTo>
                  <a:lnTo>
                    <a:pt x="72" y="147"/>
                  </a:lnTo>
                  <a:lnTo>
                    <a:pt x="75" y="155"/>
                  </a:lnTo>
                  <a:lnTo>
                    <a:pt x="78" y="176"/>
                  </a:lnTo>
                  <a:lnTo>
                    <a:pt x="82" y="187"/>
                  </a:lnTo>
                  <a:lnTo>
                    <a:pt x="84" y="191"/>
                  </a:lnTo>
                  <a:lnTo>
                    <a:pt x="94" y="195"/>
                  </a:lnTo>
                  <a:lnTo>
                    <a:pt x="98" y="197"/>
                  </a:lnTo>
                  <a:lnTo>
                    <a:pt x="104" y="198"/>
                  </a:lnTo>
                  <a:lnTo>
                    <a:pt x="111" y="208"/>
                  </a:lnTo>
                  <a:lnTo>
                    <a:pt x="121" y="209"/>
                  </a:lnTo>
                  <a:lnTo>
                    <a:pt x="126" y="217"/>
                  </a:lnTo>
                  <a:lnTo>
                    <a:pt x="132" y="228"/>
                  </a:lnTo>
                  <a:lnTo>
                    <a:pt x="136" y="230"/>
                  </a:lnTo>
                  <a:lnTo>
                    <a:pt x="147" y="241"/>
                  </a:lnTo>
                  <a:lnTo>
                    <a:pt x="151" y="244"/>
                  </a:lnTo>
                  <a:lnTo>
                    <a:pt x="170" y="268"/>
                  </a:lnTo>
                  <a:lnTo>
                    <a:pt x="172" y="276"/>
                  </a:lnTo>
                  <a:lnTo>
                    <a:pt x="172" y="284"/>
                  </a:lnTo>
                  <a:lnTo>
                    <a:pt x="173" y="287"/>
                  </a:lnTo>
                  <a:lnTo>
                    <a:pt x="172" y="290"/>
                  </a:lnTo>
                  <a:lnTo>
                    <a:pt x="173" y="295"/>
                  </a:lnTo>
                  <a:lnTo>
                    <a:pt x="168" y="296"/>
                  </a:lnTo>
                  <a:lnTo>
                    <a:pt x="164" y="300"/>
                  </a:lnTo>
                  <a:lnTo>
                    <a:pt x="164" y="305"/>
                  </a:lnTo>
                  <a:lnTo>
                    <a:pt x="167" y="306"/>
                  </a:lnTo>
                  <a:lnTo>
                    <a:pt x="165" y="311"/>
                  </a:lnTo>
                  <a:lnTo>
                    <a:pt x="159" y="306"/>
                  </a:lnTo>
                  <a:lnTo>
                    <a:pt x="142" y="311"/>
                  </a:lnTo>
                  <a:lnTo>
                    <a:pt x="120" y="309"/>
                  </a:lnTo>
                  <a:lnTo>
                    <a:pt x="120" y="317"/>
                  </a:lnTo>
                  <a:lnTo>
                    <a:pt x="122" y="319"/>
                  </a:lnTo>
                  <a:lnTo>
                    <a:pt x="126" y="315"/>
                  </a:lnTo>
                  <a:lnTo>
                    <a:pt x="137" y="326"/>
                  </a:lnTo>
                  <a:lnTo>
                    <a:pt x="147" y="330"/>
                  </a:lnTo>
                  <a:lnTo>
                    <a:pt x="149" y="333"/>
                  </a:lnTo>
                  <a:lnTo>
                    <a:pt x="152" y="344"/>
                  </a:lnTo>
                  <a:lnTo>
                    <a:pt x="156" y="347"/>
                  </a:lnTo>
                  <a:lnTo>
                    <a:pt x="165" y="348"/>
                  </a:lnTo>
                  <a:lnTo>
                    <a:pt x="170" y="351"/>
                  </a:lnTo>
                  <a:lnTo>
                    <a:pt x="173" y="357"/>
                  </a:lnTo>
                  <a:lnTo>
                    <a:pt x="179" y="358"/>
                  </a:lnTo>
                  <a:lnTo>
                    <a:pt x="188" y="363"/>
                  </a:lnTo>
                  <a:lnTo>
                    <a:pt x="192" y="369"/>
                  </a:lnTo>
                  <a:lnTo>
                    <a:pt x="199" y="373"/>
                  </a:lnTo>
                  <a:lnTo>
                    <a:pt x="212" y="375"/>
                  </a:lnTo>
                  <a:lnTo>
                    <a:pt x="222" y="363"/>
                  </a:lnTo>
                  <a:lnTo>
                    <a:pt x="224" y="368"/>
                  </a:lnTo>
                  <a:lnTo>
                    <a:pt x="223" y="375"/>
                  </a:lnTo>
                  <a:lnTo>
                    <a:pt x="227" y="380"/>
                  </a:lnTo>
                  <a:lnTo>
                    <a:pt x="239" y="397"/>
                  </a:lnTo>
                  <a:lnTo>
                    <a:pt x="251" y="405"/>
                  </a:lnTo>
                  <a:lnTo>
                    <a:pt x="258" y="408"/>
                  </a:lnTo>
                  <a:lnTo>
                    <a:pt x="264" y="408"/>
                  </a:lnTo>
                  <a:lnTo>
                    <a:pt x="267" y="414"/>
                  </a:lnTo>
                  <a:lnTo>
                    <a:pt x="277" y="436"/>
                  </a:lnTo>
                  <a:lnTo>
                    <a:pt x="278" y="444"/>
                  </a:lnTo>
                  <a:lnTo>
                    <a:pt x="280" y="466"/>
                  </a:lnTo>
                  <a:lnTo>
                    <a:pt x="276" y="483"/>
                  </a:lnTo>
                  <a:lnTo>
                    <a:pt x="272" y="491"/>
                  </a:lnTo>
                  <a:lnTo>
                    <a:pt x="272" y="497"/>
                  </a:lnTo>
                  <a:lnTo>
                    <a:pt x="275" y="492"/>
                  </a:lnTo>
                  <a:lnTo>
                    <a:pt x="277" y="491"/>
                  </a:lnTo>
                  <a:lnTo>
                    <a:pt x="280" y="495"/>
                  </a:lnTo>
                  <a:lnTo>
                    <a:pt x="286" y="494"/>
                  </a:lnTo>
                  <a:lnTo>
                    <a:pt x="291" y="498"/>
                  </a:lnTo>
                  <a:lnTo>
                    <a:pt x="292" y="504"/>
                  </a:lnTo>
                  <a:lnTo>
                    <a:pt x="294" y="508"/>
                  </a:lnTo>
                  <a:lnTo>
                    <a:pt x="305" y="509"/>
                  </a:lnTo>
                  <a:lnTo>
                    <a:pt x="305" y="514"/>
                  </a:lnTo>
                  <a:lnTo>
                    <a:pt x="315" y="524"/>
                  </a:lnTo>
                  <a:lnTo>
                    <a:pt x="334" y="534"/>
                  </a:lnTo>
                  <a:lnTo>
                    <a:pt x="340" y="541"/>
                  </a:lnTo>
                  <a:lnTo>
                    <a:pt x="361" y="559"/>
                  </a:lnTo>
                  <a:lnTo>
                    <a:pt x="368" y="562"/>
                  </a:lnTo>
                  <a:lnTo>
                    <a:pt x="379" y="575"/>
                  </a:lnTo>
                  <a:lnTo>
                    <a:pt x="388" y="600"/>
                  </a:lnTo>
                  <a:lnTo>
                    <a:pt x="394" y="606"/>
                  </a:lnTo>
                  <a:lnTo>
                    <a:pt x="399" y="607"/>
                  </a:lnTo>
                  <a:lnTo>
                    <a:pt x="404" y="601"/>
                  </a:lnTo>
                  <a:lnTo>
                    <a:pt x="412" y="597"/>
                  </a:lnTo>
                  <a:lnTo>
                    <a:pt x="419" y="590"/>
                  </a:lnTo>
                  <a:lnTo>
                    <a:pt x="422" y="584"/>
                  </a:lnTo>
                  <a:lnTo>
                    <a:pt x="423" y="575"/>
                  </a:lnTo>
                  <a:lnTo>
                    <a:pt x="421" y="569"/>
                  </a:lnTo>
                  <a:lnTo>
                    <a:pt x="415" y="563"/>
                  </a:lnTo>
                  <a:lnTo>
                    <a:pt x="412" y="557"/>
                  </a:lnTo>
                  <a:lnTo>
                    <a:pt x="404" y="546"/>
                  </a:lnTo>
                  <a:lnTo>
                    <a:pt x="404" y="541"/>
                  </a:lnTo>
                  <a:lnTo>
                    <a:pt x="390" y="532"/>
                  </a:lnTo>
                  <a:lnTo>
                    <a:pt x="382" y="524"/>
                  </a:lnTo>
                  <a:lnTo>
                    <a:pt x="373" y="531"/>
                  </a:lnTo>
                  <a:lnTo>
                    <a:pt x="367" y="529"/>
                  </a:lnTo>
                  <a:lnTo>
                    <a:pt x="362" y="524"/>
                  </a:lnTo>
                  <a:lnTo>
                    <a:pt x="355" y="511"/>
                  </a:lnTo>
                  <a:lnTo>
                    <a:pt x="353" y="507"/>
                  </a:lnTo>
                  <a:lnTo>
                    <a:pt x="353" y="488"/>
                  </a:lnTo>
                  <a:lnTo>
                    <a:pt x="346" y="475"/>
                  </a:lnTo>
                  <a:lnTo>
                    <a:pt x="342" y="468"/>
                  </a:lnTo>
                  <a:lnTo>
                    <a:pt x="341" y="470"/>
                  </a:lnTo>
                  <a:lnTo>
                    <a:pt x="341" y="451"/>
                  </a:lnTo>
                  <a:lnTo>
                    <a:pt x="333" y="445"/>
                  </a:lnTo>
                  <a:lnTo>
                    <a:pt x="330" y="441"/>
                  </a:lnTo>
                  <a:lnTo>
                    <a:pt x="324" y="434"/>
                  </a:lnTo>
                  <a:lnTo>
                    <a:pt x="323" y="424"/>
                  </a:lnTo>
                  <a:lnTo>
                    <a:pt x="320" y="405"/>
                  </a:lnTo>
                  <a:lnTo>
                    <a:pt x="317" y="402"/>
                  </a:lnTo>
                  <a:lnTo>
                    <a:pt x="315" y="395"/>
                  </a:lnTo>
                  <a:lnTo>
                    <a:pt x="308" y="379"/>
                  </a:lnTo>
                  <a:lnTo>
                    <a:pt x="299" y="370"/>
                  </a:lnTo>
                  <a:lnTo>
                    <a:pt x="294" y="370"/>
                  </a:lnTo>
                  <a:lnTo>
                    <a:pt x="296" y="382"/>
                  </a:lnTo>
                  <a:lnTo>
                    <a:pt x="299" y="387"/>
                  </a:lnTo>
                  <a:lnTo>
                    <a:pt x="298" y="387"/>
                  </a:lnTo>
                  <a:lnTo>
                    <a:pt x="292" y="380"/>
                  </a:lnTo>
                  <a:lnTo>
                    <a:pt x="292" y="375"/>
                  </a:lnTo>
                  <a:lnTo>
                    <a:pt x="287" y="368"/>
                  </a:lnTo>
                  <a:lnTo>
                    <a:pt x="285" y="360"/>
                  </a:lnTo>
                  <a:lnTo>
                    <a:pt x="285" y="358"/>
                  </a:lnTo>
                  <a:lnTo>
                    <a:pt x="282" y="353"/>
                  </a:lnTo>
                  <a:lnTo>
                    <a:pt x="274" y="349"/>
                  </a:lnTo>
                  <a:lnTo>
                    <a:pt x="272" y="341"/>
                  </a:lnTo>
                  <a:lnTo>
                    <a:pt x="266" y="330"/>
                  </a:lnTo>
                  <a:lnTo>
                    <a:pt x="247" y="309"/>
                  </a:lnTo>
                  <a:lnTo>
                    <a:pt x="244" y="298"/>
                  </a:lnTo>
                  <a:lnTo>
                    <a:pt x="243" y="289"/>
                  </a:lnTo>
                  <a:lnTo>
                    <a:pt x="240" y="282"/>
                  </a:lnTo>
                  <a:lnTo>
                    <a:pt x="239" y="274"/>
                  </a:lnTo>
                  <a:lnTo>
                    <a:pt x="238" y="274"/>
                  </a:lnTo>
                  <a:lnTo>
                    <a:pt x="237" y="271"/>
                  </a:lnTo>
                  <a:lnTo>
                    <a:pt x="234" y="269"/>
                  </a:lnTo>
                  <a:lnTo>
                    <a:pt x="231" y="271"/>
                  </a:lnTo>
                  <a:lnTo>
                    <a:pt x="229" y="269"/>
                  </a:lnTo>
                  <a:lnTo>
                    <a:pt x="224" y="261"/>
                  </a:lnTo>
                  <a:lnTo>
                    <a:pt x="219" y="246"/>
                  </a:lnTo>
                  <a:lnTo>
                    <a:pt x="217" y="247"/>
                  </a:lnTo>
                  <a:lnTo>
                    <a:pt x="215" y="246"/>
                  </a:lnTo>
                  <a:lnTo>
                    <a:pt x="208" y="241"/>
                  </a:lnTo>
                  <a:lnTo>
                    <a:pt x="204" y="242"/>
                  </a:lnTo>
                  <a:lnTo>
                    <a:pt x="197" y="229"/>
                  </a:lnTo>
                  <a:lnTo>
                    <a:pt x="195" y="218"/>
                  </a:lnTo>
                  <a:lnTo>
                    <a:pt x="175" y="202"/>
                  </a:lnTo>
                  <a:lnTo>
                    <a:pt x="170" y="197"/>
                  </a:lnTo>
                  <a:lnTo>
                    <a:pt x="168" y="192"/>
                  </a:lnTo>
                  <a:lnTo>
                    <a:pt x="164" y="190"/>
                  </a:lnTo>
                  <a:lnTo>
                    <a:pt x="157" y="188"/>
                  </a:lnTo>
                  <a:lnTo>
                    <a:pt x="156" y="183"/>
                  </a:lnTo>
                  <a:lnTo>
                    <a:pt x="152" y="176"/>
                  </a:lnTo>
                  <a:lnTo>
                    <a:pt x="148" y="169"/>
                  </a:lnTo>
                  <a:lnTo>
                    <a:pt x="143" y="164"/>
                  </a:lnTo>
                  <a:lnTo>
                    <a:pt x="140" y="143"/>
                  </a:lnTo>
                  <a:lnTo>
                    <a:pt x="138" y="125"/>
                  </a:lnTo>
                  <a:lnTo>
                    <a:pt x="137" y="115"/>
                  </a:lnTo>
                  <a:lnTo>
                    <a:pt x="132" y="107"/>
                  </a:lnTo>
                  <a:lnTo>
                    <a:pt x="130" y="100"/>
                  </a:lnTo>
                  <a:lnTo>
                    <a:pt x="127" y="82"/>
                  </a:lnTo>
                  <a:lnTo>
                    <a:pt x="127" y="72"/>
                  </a:lnTo>
                  <a:lnTo>
                    <a:pt x="129" y="64"/>
                  </a:lnTo>
                  <a:lnTo>
                    <a:pt x="127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grpSp>
          <p:nvGrpSpPr>
            <p:cNvPr id="76" name="Group 270"/>
            <p:cNvGrpSpPr>
              <a:grpSpLocks noChangeAspect="1"/>
            </p:cNvGrpSpPr>
            <p:nvPr/>
          </p:nvGrpSpPr>
          <p:grpSpPr bwMode="gray">
            <a:xfrm>
              <a:off x="2976146" y="2285477"/>
              <a:ext cx="1757105" cy="1480721"/>
              <a:chOff x="679" y="1356"/>
              <a:chExt cx="1105" cy="848"/>
            </a:xfrm>
            <a:grpFill/>
          </p:grpSpPr>
          <p:grpSp>
            <p:nvGrpSpPr>
              <p:cNvPr id="251" name="Group 271"/>
              <p:cNvGrpSpPr>
                <a:grpSpLocks noChangeAspect="1"/>
              </p:cNvGrpSpPr>
              <p:nvPr/>
            </p:nvGrpSpPr>
            <p:grpSpPr bwMode="gray">
              <a:xfrm>
                <a:off x="679" y="1356"/>
                <a:ext cx="411" cy="413"/>
                <a:chOff x="679" y="1356"/>
                <a:chExt cx="411" cy="413"/>
              </a:xfrm>
              <a:grpFill/>
            </p:grpSpPr>
            <p:sp>
              <p:nvSpPr>
                <p:cNvPr id="258" name="Freeform 272"/>
                <p:cNvSpPr>
                  <a:spLocks noChangeAspect="1"/>
                </p:cNvSpPr>
                <p:nvPr/>
              </p:nvSpPr>
              <p:spPr bwMode="gray">
                <a:xfrm>
                  <a:off x="776" y="1738"/>
                  <a:ext cx="3" cy="7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5"/>
                    </a:cxn>
                    <a:cxn ang="0">
                      <a:pos x="1" y="3"/>
                    </a:cxn>
                    <a:cxn ang="0">
                      <a:pos x="7" y="3"/>
                    </a:cxn>
                    <a:cxn ang="0">
                      <a:pos x="12" y="6"/>
                    </a:cxn>
                    <a:cxn ang="0">
                      <a:pos x="9" y="10"/>
                    </a:cxn>
                    <a:cxn ang="0">
                      <a:pos x="11" y="13"/>
                    </a:cxn>
                    <a:cxn ang="0">
                      <a:pos x="5" y="33"/>
                    </a:cxn>
                    <a:cxn ang="0">
                      <a:pos x="4" y="29"/>
                    </a:cxn>
                    <a:cxn ang="0">
                      <a:pos x="4" y="9"/>
                    </a:cxn>
                    <a:cxn ang="0">
                      <a:pos x="3" y="6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12" h="33">
                      <a:moveTo>
                        <a:pt x="3" y="0"/>
                      </a:move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7" y="3"/>
                      </a:lnTo>
                      <a:lnTo>
                        <a:pt x="12" y="6"/>
                      </a:lnTo>
                      <a:lnTo>
                        <a:pt x="9" y="10"/>
                      </a:lnTo>
                      <a:lnTo>
                        <a:pt x="11" y="13"/>
                      </a:lnTo>
                      <a:lnTo>
                        <a:pt x="5" y="33"/>
                      </a:lnTo>
                      <a:lnTo>
                        <a:pt x="4" y="29"/>
                      </a:lnTo>
                      <a:lnTo>
                        <a:pt x="4" y="9"/>
                      </a:lnTo>
                      <a:lnTo>
                        <a:pt x="3" y="6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59" name="Freeform 273"/>
                <p:cNvSpPr>
                  <a:spLocks noChangeAspect="1"/>
                </p:cNvSpPr>
                <p:nvPr/>
              </p:nvSpPr>
              <p:spPr bwMode="gray">
                <a:xfrm>
                  <a:off x="833" y="1721"/>
                  <a:ext cx="6" cy="4"/>
                </a:xfrm>
                <a:custGeom>
                  <a:avLst/>
                  <a:gdLst/>
                  <a:ahLst/>
                  <a:cxnLst>
                    <a:cxn ang="0">
                      <a:pos x="13" y="9"/>
                    </a:cxn>
                    <a:cxn ang="0">
                      <a:pos x="5" y="18"/>
                    </a:cxn>
                    <a:cxn ang="0">
                      <a:pos x="0" y="9"/>
                    </a:cxn>
                    <a:cxn ang="0">
                      <a:pos x="5" y="2"/>
                    </a:cxn>
                    <a:cxn ang="0">
                      <a:pos x="10" y="0"/>
                    </a:cxn>
                    <a:cxn ang="0">
                      <a:pos x="13" y="1"/>
                    </a:cxn>
                    <a:cxn ang="0">
                      <a:pos x="26" y="1"/>
                    </a:cxn>
                    <a:cxn ang="0">
                      <a:pos x="27" y="3"/>
                    </a:cxn>
                    <a:cxn ang="0">
                      <a:pos x="13" y="9"/>
                    </a:cxn>
                  </a:cxnLst>
                  <a:rect l="0" t="0" r="r" b="b"/>
                  <a:pathLst>
                    <a:path w="27" h="18">
                      <a:moveTo>
                        <a:pt x="13" y="9"/>
                      </a:moveTo>
                      <a:lnTo>
                        <a:pt x="5" y="18"/>
                      </a:lnTo>
                      <a:lnTo>
                        <a:pt x="0" y="9"/>
                      </a:lnTo>
                      <a:lnTo>
                        <a:pt x="5" y="2"/>
                      </a:lnTo>
                      <a:lnTo>
                        <a:pt x="10" y="0"/>
                      </a:lnTo>
                      <a:lnTo>
                        <a:pt x="13" y="1"/>
                      </a:lnTo>
                      <a:lnTo>
                        <a:pt x="26" y="1"/>
                      </a:lnTo>
                      <a:lnTo>
                        <a:pt x="27" y="3"/>
                      </a:lnTo>
                      <a:lnTo>
                        <a:pt x="13" y="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60" name="Freeform 274"/>
                <p:cNvSpPr>
                  <a:spLocks noChangeAspect="1"/>
                </p:cNvSpPr>
                <p:nvPr/>
              </p:nvSpPr>
              <p:spPr bwMode="gray">
                <a:xfrm>
                  <a:off x="817" y="1706"/>
                  <a:ext cx="29" cy="24"/>
                </a:xfrm>
                <a:custGeom>
                  <a:avLst/>
                  <a:gdLst/>
                  <a:ahLst/>
                  <a:cxnLst>
                    <a:cxn ang="0">
                      <a:pos x="0" y="60"/>
                    </a:cxn>
                    <a:cxn ang="0">
                      <a:pos x="9" y="56"/>
                    </a:cxn>
                    <a:cxn ang="0">
                      <a:pos x="21" y="33"/>
                    </a:cxn>
                    <a:cxn ang="0">
                      <a:pos x="28" y="30"/>
                    </a:cxn>
                    <a:cxn ang="0">
                      <a:pos x="45" y="29"/>
                    </a:cxn>
                    <a:cxn ang="0">
                      <a:pos x="44" y="39"/>
                    </a:cxn>
                    <a:cxn ang="0">
                      <a:pos x="48" y="51"/>
                    </a:cxn>
                    <a:cxn ang="0">
                      <a:pos x="58" y="43"/>
                    </a:cxn>
                    <a:cxn ang="0">
                      <a:pos x="58" y="34"/>
                    </a:cxn>
                    <a:cxn ang="0">
                      <a:pos x="50" y="16"/>
                    </a:cxn>
                    <a:cxn ang="0">
                      <a:pos x="53" y="6"/>
                    </a:cxn>
                    <a:cxn ang="0">
                      <a:pos x="66" y="14"/>
                    </a:cxn>
                    <a:cxn ang="0">
                      <a:pos x="70" y="25"/>
                    </a:cxn>
                    <a:cxn ang="0">
                      <a:pos x="80" y="12"/>
                    </a:cxn>
                    <a:cxn ang="0">
                      <a:pos x="93" y="9"/>
                    </a:cxn>
                    <a:cxn ang="0">
                      <a:pos x="90" y="0"/>
                    </a:cxn>
                    <a:cxn ang="0">
                      <a:pos x="100" y="1"/>
                    </a:cxn>
                    <a:cxn ang="0">
                      <a:pos x="104" y="14"/>
                    </a:cxn>
                    <a:cxn ang="0">
                      <a:pos x="117" y="4"/>
                    </a:cxn>
                    <a:cxn ang="0">
                      <a:pos x="128" y="7"/>
                    </a:cxn>
                    <a:cxn ang="0">
                      <a:pos x="125" y="23"/>
                    </a:cxn>
                    <a:cxn ang="0">
                      <a:pos x="127" y="29"/>
                    </a:cxn>
                    <a:cxn ang="0">
                      <a:pos x="145" y="34"/>
                    </a:cxn>
                    <a:cxn ang="0">
                      <a:pos x="129" y="49"/>
                    </a:cxn>
                    <a:cxn ang="0">
                      <a:pos x="104" y="40"/>
                    </a:cxn>
                    <a:cxn ang="0">
                      <a:pos x="118" y="52"/>
                    </a:cxn>
                    <a:cxn ang="0">
                      <a:pos x="122" y="65"/>
                    </a:cxn>
                    <a:cxn ang="0">
                      <a:pos x="112" y="56"/>
                    </a:cxn>
                    <a:cxn ang="0">
                      <a:pos x="103" y="61"/>
                    </a:cxn>
                    <a:cxn ang="0">
                      <a:pos x="96" y="63"/>
                    </a:cxn>
                    <a:cxn ang="0">
                      <a:pos x="95" y="68"/>
                    </a:cxn>
                    <a:cxn ang="0">
                      <a:pos x="74" y="86"/>
                    </a:cxn>
                    <a:cxn ang="0">
                      <a:pos x="65" y="90"/>
                    </a:cxn>
                    <a:cxn ang="0">
                      <a:pos x="66" y="102"/>
                    </a:cxn>
                    <a:cxn ang="0">
                      <a:pos x="43" y="117"/>
                    </a:cxn>
                    <a:cxn ang="0">
                      <a:pos x="53" y="100"/>
                    </a:cxn>
                    <a:cxn ang="0">
                      <a:pos x="44" y="93"/>
                    </a:cxn>
                    <a:cxn ang="0">
                      <a:pos x="44" y="83"/>
                    </a:cxn>
                    <a:cxn ang="0">
                      <a:pos x="31" y="77"/>
                    </a:cxn>
                    <a:cxn ang="0">
                      <a:pos x="29" y="82"/>
                    </a:cxn>
                    <a:cxn ang="0">
                      <a:pos x="37" y="102"/>
                    </a:cxn>
                    <a:cxn ang="0">
                      <a:pos x="20" y="98"/>
                    </a:cxn>
                    <a:cxn ang="0">
                      <a:pos x="16" y="78"/>
                    </a:cxn>
                    <a:cxn ang="0">
                      <a:pos x="7" y="66"/>
                    </a:cxn>
                  </a:cxnLst>
                  <a:rect l="0" t="0" r="r" b="b"/>
                  <a:pathLst>
                    <a:path w="145" h="117">
                      <a:moveTo>
                        <a:pt x="4" y="59"/>
                      </a:moveTo>
                      <a:lnTo>
                        <a:pt x="0" y="60"/>
                      </a:lnTo>
                      <a:lnTo>
                        <a:pt x="0" y="56"/>
                      </a:lnTo>
                      <a:lnTo>
                        <a:pt x="9" y="56"/>
                      </a:lnTo>
                      <a:lnTo>
                        <a:pt x="9" y="47"/>
                      </a:lnTo>
                      <a:lnTo>
                        <a:pt x="21" y="33"/>
                      </a:lnTo>
                      <a:lnTo>
                        <a:pt x="25" y="34"/>
                      </a:lnTo>
                      <a:lnTo>
                        <a:pt x="28" y="30"/>
                      </a:lnTo>
                      <a:lnTo>
                        <a:pt x="39" y="29"/>
                      </a:lnTo>
                      <a:lnTo>
                        <a:pt x="45" y="29"/>
                      </a:lnTo>
                      <a:lnTo>
                        <a:pt x="39" y="38"/>
                      </a:lnTo>
                      <a:lnTo>
                        <a:pt x="44" y="39"/>
                      </a:lnTo>
                      <a:lnTo>
                        <a:pt x="47" y="44"/>
                      </a:lnTo>
                      <a:lnTo>
                        <a:pt x="48" y="51"/>
                      </a:lnTo>
                      <a:lnTo>
                        <a:pt x="57" y="54"/>
                      </a:lnTo>
                      <a:lnTo>
                        <a:pt x="58" y="43"/>
                      </a:lnTo>
                      <a:lnTo>
                        <a:pt x="60" y="39"/>
                      </a:lnTo>
                      <a:lnTo>
                        <a:pt x="58" y="34"/>
                      </a:lnTo>
                      <a:lnTo>
                        <a:pt x="63" y="32"/>
                      </a:lnTo>
                      <a:lnTo>
                        <a:pt x="50" y="16"/>
                      </a:lnTo>
                      <a:lnTo>
                        <a:pt x="49" y="9"/>
                      </a:lnTo>
                      <a:lnTo>
                        <a:pt x="53" y="6"/>
                      </a:lnTo>
                      <a:lnTo>
                        <a:pt x="61" y="4"/>
                      </a:lnTo>
                      <a:lnTo>
                        <a:pt x="66" y="14"/>
                      </a:lnTo>
                      <a:lnTo>
                        <a:pt x="68" y="24"/>
                      </a:lnTo>
                      <a:lnTo>
                        <a:pt x="70" y="25"/>
                      </a:lnTo>
                      <a:lnTo>
                        <a:pt x="75" y="16"/>
                      </a:lnTo>
                      <a:lnTo>
                        <a:pt x="80" y="12"/>
                      </a:lnTo>
                      <a:lnTo>
                        <a:pt x="90" y="14"/>
                      </a:lnTo>
                      <a:lnTo>
                        <a:pt x="93" y="9"/>
                      </a:lnTo>
                      <a:lnTo>
                        <a:pt x="95" y="6"/>
                      </a:lnTo>
                      <a:lnTo>
                        <a:pt x="90" y="0"/>
                      </a:lnTo>
                      <a:lnTo>
                        <a:pt x="96" y="2"/>
                      </a:lnTo>
                      <a:lnTo>
                        <a:pt x="100" y="1"/>
                      </a:lnTo>
                      <a:lnTo>
                        <a:pt x="104" y="2"/>
                      </a:lnTo>
                      <a:lnTo>
                        <a:pt x="104" y="14"/>
                      </a:lnTo>
                      <a:lnTo>
                        <a:pt x="108" y="18"/>
                      </a:lnTo>
                      <a:lnTo>
                        <a:pt x="117" y="4"/>
                      </a:lnTo>
                      <a:lnTo>
                        <a:pt x="125" y="2"/>
                      </a:lnTo>
                      <a:lnTo>
                        <a:pt x="128" y="7"/>
                      </a:lnTo>
                      <a:lnTo>
                        <a:pt x="127" y="20"/>
                      </a:lnTo>
                      <a:lnTo>
                        <a:pt x="125" y="23"/>
                      </a:lnTo>
                      <a:lnTo>
                        <a:pt x="125" y="29"/>
                      </a:lnTo>
                      <a:lnTo>
                        <a:pt x="127" y="29"/>
                      </a:lnTo>
                      <a:lnTo>
                        <a:pt x="128" y="34"/>
                      </a:lnTo>
                      <a:lnTo>
                        <a:pt x="145" y="34"/>
                      </a:lnTo>
                      <a:lnTo>
                        <a:pt x="138" y="49"/>
                      </a:lnTo>
                      <a:lnTo>
                        <a:pt x="129" y="49"/>
                      </a:lnTo>
                      <a:lnTo>
                        <a:pt x="111" y="39"/>
                      </a:lnTo>
                      <a:lnTo>
                        <a:pt x="104" y="40"/>
                      </a:lnTo>
                      <a:lnTo>
                        <a:pt x="102" y="49"/>
                      </a:lnTo>
                      <a:lnTo>
                        <a:pt x="118" y="52"/>
                      </a:lnTo>
                      <a:lnTo>
                        <a:pt x="122" y="56"/>
                      </a:lnTo>
                      <a:lnTo>
                        <a:pt x="122" y="65"/>
                      </a:lnTo>
                      <a:lnTo>
                        <a:pt x="112" y="63"/>
                      </a:lnTo>
                      <a:lnTo>
                        <a:pt x="112" y="56"/>
                      </a:lnTo>
                      <a:lnTo>
                        <a:pt x="108" y="56"/>
                      </a:lnTo>
                      <a:lnTo>
                        <a:pt x="103" y="61"/>
                      </a:lnTo>
                      <a:lnTo>
                        <a:pt x="93" y="63"/>
                      </a:lnTo>
                      <a:lnTo>
                        <a:pt x="96" y="63"/>
                      </a:lnTo>
                      <a:lnTo>
                        <a:pt x="100" y="68"/>
                      </a:lnTo>
                      <a:lnTo>
                        <a:pt x="95" y="68"/>
                      </a:lnTo>
                      <a:lnTo>
                        <a:pt x="84" y="72"/>
                      </a:lnTo>
                      <a:lnTo>
                        <a:pt x="74" y="86"/>
                      </a:lnTo>
                      <a:lnTo>
                        <a:pt x="66" y="87"/>
                      </a:lnTo>
                      <a:lnTo>
                        <a:pt x="65" y="90"/>
                      </a:lnTo>
                      <a:lnTo>
                        <a:pt x="66" y="94"/>
                      </a:lnTo>
                      <a:lnTo>
                        <a:pt x="66" y="102"/>
                      </a:lnTo>
                      <a:lnTo>
                        <a:pt x="63" y="109"/>
                      </a:lnTo>
                      <a:lnTo>
                        <a:pt x="43" y="117"/>
                      </a:lnTo>
                      <a:lnTo>
                        <a:pt x="47" y="108"/>
                      </a:lnTo>
                      <a:lnTo>
                        <a:pt x="53" y="100"/>
                      </a:lnTo>
                      <a:lnTo>
                        <a:pt x="53" y="95"/>
                      </a:lnTo>
                      <a:lnTo>
                        <a:pt x="44" y="93"/>
                      </a:lnTo>
                      <a:lnTo>
                        <a:pt x="43" y="87"/>
                      </a:lnTo>
                      <a:lnTo>
                        <a:pt x="44" y="83"/>
                      </a:lnTo>
                      <a:lnTo>
                        <a:pt x="39" y="79"/>
                      </a:lnTo>
                      <a:lnTo>
                        <a:pt x="31" y="77"/>
                      </a:lnTo>
                      <a:lnTo>
                        <a:pt x="27" y="79"/>
                      </a:lnTo>
                      <a:lnTo>
                        <a:pt x="29" y="82"/>
                      </a:lnTo>
                      <a:lnTo>
                        <a:pt x="36" y="83"/>
                      </a:lnTo>
                      <a:lnTo>
                        <a:pt x="37" y="102"/>
                      </a:lnTo>
                      <a:lnTo>
                        <a:pt x="29" y="106"/>
                      </a:lnTo>
                      <a:lnTo>
                        <a:pt x="20" y="98"/>
                      </a:lnTo>
                      <a:lnTo>
                        <a:pt x="17" y="88"/>
                      </a:lnTo>
                      <a:lnTo>
                        <a:pt x="16" y="78"/>
                      </a:lnTo>
                      <a:lnTo>
                        <a:pt x="14" y="68"/>
                      </a:lnTo>
                      <a:lnTo>
                        <a:pt x="7" y="66"/>
                      </a:lnTo>
                      <a:lnTo>
                        <a:pt x="4" y="5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61" name="Freeform 275"/>
                <p:cNvSpPr>
                  <a:spLocks noChangeAspect="1"/>
                </p:cNvSpPr>
                <p:nvPr/>
              </p:nvSpPr>
              <p:spPr bwMode="gray">
                <a:xfrm>
                  <a:off x="679" y="1356"/>
                  <a:ext cx="328" cy="411"/>
                </a:xfrm>
                <a:custGeom>
                  <a:avLst/>
                  <a:gdLst/>
                  <a:ahLst/>
                  <a:cxnLst>
                    <a:cxn ang="0">
                      <a:pos x="1427" y="242"/>
                    </a:cxn>
                    <a:cxn ang="0">
                      <a:pos x="1252" y="223"/>
                    </a:cxn>
                    <a:cxn ang="0">
                      <a:pos x="977" y="152"/>
                    </a:cxn>
                    <a:cxn ang="0">
                      <a:pos x="845" y="94"/>
                    </a:cxn>
                    <a:cxn ang="0">
                      <a:pos x="709" y="40"/>
                    </a:cxn>
                    <a:cxn ang="0">
                      <a:pos x="672" y="64"/>
                    </a:cxn>
                    <a:cxn ang="0">
                      <a:pos x="602" y="33"/>
                    </a:cxn>
                    <a:cxn ang="0">
                      <a:pos x="466" y="88"/>
                    </a:cxn>
                    <a:cxn ang="0">
                      <a:pos x="440" y="158"/>
                    </a:cxn>
                    <a:cxn ang="0">
                      <a:pos x="353" y="233"/>
                    </a:cxn>
                    <a:cxn ang="0">
                      <a:pos x="270" y="323"/>
                    </a:cxn>
                    <a:cxn ang="0">
                      <a:pos x="102" y="459"/>
                    </a:cxn>
                    <a:cxn ang="0">
                      <a:pos x="233" y="608"/>
                    </a:cxn>
                    <a:cxn ang="0">
                      <a:pos x="319" y="670"/>
                    </a:cxn>
                    <a:cxn ang="0">
                      <a:pos x="436" y="717"/>
                    </a:cxn>
                    <a:cxn ang="0">
                      <a:pos x="392" y="748"/>
                    </a:cxn>
                    <a:cxn ang="0">
                      <a:pos x="393" y="780"/>
                    </a:cxn>
                    <a:cxn ang="0">
                      <a:pos x="289" y="796"/>
                    </a:cxn>
                    <a:cxn ang="0">
                      <a:pos x="160" y="749"/>
                    </a:cxn>
                    <a:cxn ang="0">
                      <a:pos x="36" y="829"/>
                    </a:cxn>
                    <a:cxn ang="0">
                      <a:pos x="70" y="906"/>
                    </a:cxn>
                    <a:cxn ang="0">
                      <a:pos x="270" y="1001"/>
                    </a:cxn>
                    <a:cxn ang="0">
                      <a:pos x="405" y="970"/>
                    </a:cxn>
                    <a:cxn ang="0">
                      <a:pos x="394" y="1115"/>
                    </a:cxn>
                    <a:cxn ang="0">
                      <a:pos x="256" y="1179"/>
                    </a:cxn>
                    <a:cxn ang="0">
                      <a:pos x="127" y="1305"/>
                    </a:cxn>
                    <a:cxn ang="0">
                      <a:pos x="155" y="1358"/>
                    </a:cxn>
                    <a:cxn ang="0">
                      <a:pos x="193" y="1420"/>
                    </a:cxn>
                    <a:cxn ang="0">
                      <a:pos x="222" y="1535"/>
                    </a:cxn>
                    <a:cxn ang="0">
                      <a:pos x="313" y="1517"/>
                    </a:cxn>
                    <a:cxn ang="0">
                      <a:pos x="349" y="1583"/>
                    </a:cxn>
                    <a:cxn ang="0">
                      <a:pos x="345" y="1683"/>
                    </a:cxn>
                    <a:cxn ang="0">
                      <a:pos x="461" y="1652"/>
                    </a:cxn>
                    <a:cxn ang="0">
                      <a:pos x="548" y="1679"/>
                    </a:cxn>
                    <a:cxn ang="0">
                      <a:pos x="549" y="1814"/>
                    </a:cxn>
                    <a:cxn ang="0">
                      <a:pos x="414" y="1939"/>
                    </a:cxn>
                    <a:cxn ang="0">
                      <a:pos x="326" y="1968"/>
                    </a:cxn>
                    <a:cxn ang="0">
                      <a:pos x="263" y="2054"/>
                    </a:cxn>
                    <a:cxn ang="0">
                      <a:pos x="334" y="2020"/>
                    </a:cxn>
                    <a:cxn ang="0">
                      <a:pos x="432" y="1975"/>
                    </a:cxn>
                    <a:cxn ang="0">
                      <a:pos x="515" y="1925"/>
                    </a:cxn>
                    <a:cxn ang="0">
                      <a:pos x="576" y="1872"/>
                    </a:cxn>
                    <a:cxn ang="0">
                      <a:pos x="658" y="1788"/>
                    </a:cxn>
                    <a:cxn ang="0">
                      <a:pos x="767" y="1707"/>
                    </a:cxn>
                    <a:cxn ang="0">
                      <a:pos x="785" y="1592"/>
                    </a:cxn>
                    <a:cxn ang="0">
                      <a:pos x="827" y="1501"/>
                    </a:cxn>
                    <a:cxn ang="0">
                      <a:pos x="983" y="1287"/>
                    </a:cxn>
                    <a:cxn ang="0">
                      <a:pos x="1042" y="1436"/>
                    </a:cxn>
                    <a:cxn ang="0">
                      <a:pos x="892" y="1567"/>
                    </a:cxn>
                    <a:cxn ang="0">
                      <a:pos x="892" y="1617"/>
                    </a:cxn>
                    <a:cxn ang="0">
                      <a:pos x="1000" y="1550"/>
                    </a:cxn>
                    <a:cxn ang="0">
                      <a:pos x="1088" y="1509"/>
                    </a:cxn>
                    <a:cxn ang="0">
                      <a:pos x="1066" y="1448"/>
                    </a:cxn>
                    <a:cxn ang="0">
                      <a:pos x="1115" y="1405"/>
                    </a:cxn>
                    <a:cxn ang="0">
                      <a:pos x="1168" y="1454"/>
                    </a:cxn>
                    <a:cxn ang="0">
                      <a:pos x="1263" y="1481"/>
                    </a:cxn>
                    <a:cxn ang="0">
                      <a:pos x="1383" y="1528"/>
                    </a:cxn>
                    <a:cxn ang="0">
                      <a:pos x="1574" y="1540"/>
                    </a:cxn>
                    <a:cxn ang="0">
                      <a:pos x="1564" y="1570"/>
                    </a:cxn>
                    <a:cxn ang="0">
                      <a:pos x="1628" y="1599"/>
                    </a:cxn>
                  </a:cxnLst>
                  <a:rect l="0" t="0" r="r" b="b"/>
                  <a:pathLst>
                    <a:path w="1638" h="2054">
                      <a:moveTo>
                        <a:pt x="1486" y="1466"/>
                      </a:moveTo>
                      <a:lnTo>
                        <a:pt x="1486" y="1356"/>
                      </a:lnTo>
                      <a:lnTo>
                        <a:pt x="1486" y="1249"/>
                      </a:lnTo>
                      <a:lnTo>
                        <a:pt x="1486" y="1148"/>
                      </a:lnTo>
                      <a:lnTo>
                        <a:pt x="1486" y="1039"/>
                      </a:lnTo>
                      <a:lnTo>
                        <a:pt x="1486" y="915"/>
                      </a:lnTo>
                      <a:lnTo>
                        <a:pt x="1486" y="793"/>
                      </a:lnTo>
                      <a:lnTo>
                        <a:pt x="1486" y="678"/>
                      </a:lnTo>
                      <a:lnTo>
                        <a:pt x="1486" y="553"/>
                      </a:lnTo>
                      <a:lnTo>
                        <a:pt x="1486" y="409"/>
                      </a:lnTo>
                      <a:lnTo>
                        <a:pt x="1486" y="266"/>
                      </a:lnTo>
                      <a:lnTo>
                        <a:pt x="1484" y="263"/>
                      </a:lnTo>
                      <a:lnTo>
                        <a:pt x="1477" y="263"/>
                      </a:lnTo>
                      <a:lnTo>
                        <a:pt x="1475" y="270"/>
                      </a:lnTo>
                      <a:lnTo>
                        <a:pt x="1470" y="280"/>
                      </a:lnTo>
                      <a:lnTo>
                        <a:pt x="1467" y="276"/>
                      </a:lnTo>
                      <a:lnTo>
                        <a:pt x="1456" y="259"/>
                      </a:lnTo>
                      <a:lnTo>
                        <a:pt x="1429" y="248"/>
                      </a:lnTo>
                      <a:lnTo>
                        <a:pt x="1427" y="242"/>
                      </a:lnTo>
                      <a:lnTo>
                        <a:pt x="1408" y="232"/>
                      </a:lnTo>
                      <a:lnTo>
                        <a:pt x="1408" y="228"/>
                      </a:lnTo>
                      <a:lnTo>
                        <a:pt x="1403" y="221"/>
                      </a:lnTo>
                      <a:lnTo>
                        <a:pt x="1365" y="201"/>
                      </a:lnTo>
                      <a:lnTo>
                        <a:pt x="1361" y="205"/>
                      </a:lnTo>
                      <a:lnTo>
                        <a:pt x="1355" y="206"/>
                      </a:lnTo>
                      <a:lnTo>
                        <a:pt x="1350" y="202"/>
                      </a:lnTo>
                      <a:lnTo>
                        <a:pt x="1351" y="214"/>
                      </a:lnTo>
                      <a:lnTo>
                        <a:pt x="1349" y="220"/>
                      </a:lnTo>
                      <a:lnTo>
                        <a:pt x="1341" y="209"/>
                      </a:lnTo>
                      <a:lnTo>
                        <a:pt x="1335" y="205"/>
                      </a:lnTo>
                      <a:lnTo>
                        <a:pt x="1330" y="209"/>
                      </a:lnTo>
                      <a:lnTo>
                        <a:pt x="1303" y="214"/>
                      </a:lnTo>
                      <a:lnTo>
                        <a:pt x="1302" y="217"/>
                      </a:lnTo>
                      <a:lnTo>
                        <a:pt x="1290" y="225"/>
                      </a:lnTo>
                      <a:lnTo>
                        <a:pt x="1280" y="225"/>
                      </a:lnTo>
                      <a:lnTo>
                        <a:pt x="1273" y="217"/>
                      </a:lnTo>
                      <a:lnTo>
                        <a:pt x="1271" y="225"/>
                      </a:lnTo>
                      <a:lnTo>
                        <a:pt x="1252" y="223"/>
                      </a:lnTo>
                      <a:lnTo>
                        <a:pt x="1251" y="221"/>
                      </a:lnTo>
                      <a:lnTo>
                        <a:pt x="1253" y="215"/>
                      </a:lnTo>
                      <a:lnTo>
                        <a:pt x="1232" y="211"/>
                      </a:lnTo>
                      <a:lnTo>
                        <a:pt x="1222" y="201"/>
                      </a:lnTo>
                      <a:lnTo>
                        <a:pt x="1211" y="194"/>
                      </a:lnTo>
                      <a:lnTo>
                        <a:pt x="1178" y="194"/>
                      </a:lnTo>
                      <a:lnTo>
                        <a:pt x="1158" y="199"/>
                      </a:lnTo>
                      <a:lnTo>
                        <a:pt x="1128" y="183"/>
                      </a:lnTo>
                      <a:lnTo>
                        <a:pt x="1115" y="180"/>
                      </a:lnTo>
                      <a:lnTo>
                        <a:pt x="1107" y="172"/>
                      </a:lnTo>
                      <a:lnTo>
                        <a:pt x="1091" y="167"/>
                      </a:lnTo>
                      <a:lnTo>
                        <a:pt x="1074" y="166"/>
                      </a:lnTo>
                      <a:lnTo>
                        <a:pt x="1072" y="156"/>
                      </a:lnTo>
                      <a:lnTo>
                        <a:pt x="1054" y="152"/>
                      </a:lnTo>
                      <a:lnTo>
                        <a:pt x="1032" y="142"/>
                      </a:lnTo>
                      <a:lnTo>
                        <a:pt x="1010" y="142"/>
                      </a:lnTo>
                      <a:lnTo>
                        <a:pt x="1001" y="148"/>
                      </a:lnTo>
                      <a:lnTo>
                        <a:pt x="975" y="158"/>
                      </a:lnTo>
                      <a:lnTo>
                        <a:pt x="977" y="152"/>
                      </a:lnTo>
                      <a:lnTo>
                        <a:pt x="985" y="151"/>
                      </a:lnTo>
                      <a:lnTo>
                        <a:pt x="983" y="144"/>
                      </a:lnTo>
                      <a:lnTo>
                        <a:pt x="977" y="141"/>
                      </a:lnTo>
                      <a:lnTo>
                        <a:pt x="967" y="140"/>
                      </a:lnTo>
                      <a:lnTo>
                        <a:pt x="929" y="151"/>
                      </a:lnTo>
                      <a:lnTo>
                        <a:pt x="899" y="148"/>
                      </a:lnTo>
                      <a:lnTo>
                        <a:pt x="908" y="140"/>
                      </a:lnTo>
                      <a:lnTo>
                        <a:pt x="909" y="132"/>
                      </a:lnTo>
                      <a:lnTo>
                        <a:pt x="872" y="132"/>
                      </a:lnTo>
                      <a:lnTo>
                        <a:pt x="866" y="129"/>
                      </a:lnTo>
                      <a:lnTo>
                        <a:pt x="887" y="128"/>
                      </a:lnTo>
                      <a:lnTo>
                        <a:pt x="882" y="120"/>
                      </a:lnTo>
                      <a:lnTo>
                        <a:pt x="872" y="120"/>
                      </a:lnTo>
                      <a:lnTo>
                        <a:pt x="870" y="114"/>
                      </a:lnTo>
                      <a:lnTo>
                        <a:pt x="877" y="99"/>
                      </a:lnTo>
                      <a:lnTo>
                        <a:pt x="877" y="87"/>
                      </a:lnTo>
                      <a:lnTo>
                        <a:pt x="859" y="80"/>
                      </a:lnTo>
                      <a:lnTo>
                        <a:pt x="843" y="80"/>
                      </a:lnTo>
                      <a:lnTo>
                        <a:pt x="845" y="94"/>
                      </a:lnTo>
                      <a:lnTo>
                        <a:pt x="843" y="91"/>
                      </a:lnTo>
                      <a:lnTo>
                        <a:pt x="835" y="94"/>
                      </a:lnTo>
                      <a:lnTo>
                        <a:pt x="832" y="81"/>
                      </a:lnTo>
                      <a:lnTo>
                        <a:pt x="827" y="69"/>
                      </a:lnTo>
                      <a:lnTo>
                        <a:pt x="817" y="69"/>
                      </a:lnTo>
                      <a:lnTo>
                        <a:pt x="807" y="71"/>
                      </a:lnTo>
                      <a:lnTo>
                        <a:pt x="790" y="83"/>
                      </a:lnTo>
                      <a:lnTo>
                        <a:pt x="785" y="75"/>
                      </a:lnTo>
                      <a:lnTo>
                        <a:pt x="778" y="80"/>
                      </a:lnTo>
                      <a:lnTo>
                        <a:pt x="771" y="91"/>
                      </a:lnTo>
                      <a:lnTo>
                        <a:pt x="763" y="91"/>
                      </a:lnTo>
                      <a:lnTo>
                        <a:pt x="757" y="83"/>
                      </a:lnTo>
                      <a:lnTo>
                        <a:pt x="747" y="83"/>
                      </a:lnTo>
                      <a:lnTo>
                        <a:pt x="740" y="78"/>
                      </a:lnTo>
                      <a:lnTo>
                        <a:pt x="744" y="70"/>
                      </a:lnTo>
                      <a:lnTo>
                        <a:pt x="733" y="45"/>
                      </a:lnTo>
                      <a:lnTo>
                        <a:pt x="716" y="39"/>
                      </a:lnTo>
                      <a:lnTo>
                        <a:pt x="716" y="48"/>
                      </a:lnTo>
                      <a:lnTo>
                        <a:pt x="709" y="40"/>
                      </a:lnTo>
                      <a:lnTo>
                        <a:pt x="710" y="51"/>
                      </a:lnTo>
                      <a:lnTo>
                        <a:pt x="704" y="51"/>
                      </a:lnTo>
                      <a:lnTo>
                        <a:pt x="697" y="58"/>
                      </a:lnTo>
                      <a:lnTo>
                        <a:pt x="695" y="72"/>
                      </a:lnTo>
                      <a:lnTo>
                        <a:pt x="704" y="83"/>
                      </a:lnTo>
                      <a:lnTo>
                        <a:pt x="704" y="91"/>
                      </a:lnTo>
                      <a:lnTo>
                        <a:pt x="705" y="103"/>
                      </a:lnTo>
                      <a:lnTo>
                        <a:pt x="695" y="103"/>
                      </a:lnTo>
                      <a:lnTo>
                        <a:pt x="694" y="94"/>
                      </a:lnTo>
                      <a:lnTo>
                        <a:pt x="688" y="87"/>
                      </a:lnTo>
                      <a:lnTo>
                        <a:pt x="683" y="94"/>
                      </a:lnTo>
                      <a:lnTo>
                        <a:pt x="678" y="83"/>
                      </a:lnTo>
                      <a:lnTo>
                        <a:pt x="676" y="96"/>
                      </a:lnTo>
                      <a:lnTo>
                        <a:pt x="657" y="83"/>
                      </a:lnTo>
                      <a:lnTo>
                        <a:pt x="649" y="82"/>
                      </a:lnTo>
                      <a:lnTo>
                        <a:pt x="646" y="85"/>
                      </a:lnTo>
                      <a:lnTo>
                        <a:pt x="654" y="66"/>
                      </a:lnTo>
                      <a:lnTo>
                        <a:pt x="660" y="70"/>
                      </a:lnTo>
                      <a:lnTo>
                        <a:pt x="672" y="64"/>
                      </a:lnTo>
                      <a:lnTo>
                        <a:pt x="689" y="49"/>
                      </a:lnTo>
                      <a:lnTo>
                        <a:pt x="690" y="42"/>
                      </a:lnTo>
                      <a:lnTo>
                        <a:pt x="689" y="33"/>
                      </a:lnTo>
                      <a:lnTo>
                        <a:pt x="681" y="26"/>
                      </a:lnTo>
                      <a:lnTo>
                        <a:pt x="661" y="30"/>
                      </a:lnTo>
                      <a:lnTo>
                        <a:pt x="660" y="27"/>
                      </a:lnTo>
                      <a:lnTo>
                        <a:pt x="658" y="16"/>
                      </a:lnTo>
                      <a:lnTo>
                        <a:pt x="650" y="11"/>
                      </a:lnTo>
                      <a:lnTo>
                        <a:pt x="642" y="15"/>
                      </a:lnTo>
                      <a:lnTo>
                        <a:pt x="635" y="10"/>
                      </a:lnTo>
                      <a:lnTo>
                        <a:pt x="627" y="0"/>
                      </a:lnTo>
                      <a:lnTo>
                        <a:pt x="622" y="3"/>
                      </a:lnTo>
                      <a:lnTo>
                        <a:pt x="619" y="10"/>
                      </a:lnTo>
                      <a:lnTo>
                        <a:pt x="613" y="17"/>
                      </a:lnTo>
                      <a:lnTo>
                        <a:pt x="612" y="24"/>
                      </a:lnTo>
                      <a:lnTo>
                        <a:pt x="609" y="22"/>
                      </a:lnTo>
                      <a:lnTo>
                        <a:pt x="612" y="33"/>
                      </a:lnTo>
                      <a:lnTo>
                        <a:pt x="608" y="37"/>
                      </a:lnTo>
                      <a:lnTo>
                        <a:pt x="602" y="33"/>
                      </a:lnTo>
                      <a:lnTo>
                        <a:pt x="598" y="35"/>
                      </a:lnTo>
                      <a:lnTo>
                        <a:pt x="597" y="40"/>
                      </a:lnTo>
                      <a:lnTo>
                        <a:pt x="591" y="48"/>
                      </a:lnTo>
                      <a:lnTo>
                        <a:pt x="584" y="60"/>
                      </a:lnTo>
                      <a:lnTo>
                        <a:pt x="558" y="86"/>
                      </a:lnTo>
                      <a:lnTo>
                        <a:pt x="536" y="86"/>
                      </a:lnTo>
                      <a:lnTo>
                        <a:pt x="537" y="91"/>
                      </a:lnTo>
                      <a:lnTo>
                        <a:pt x="511" y="96"/>
                      </a:lnTo>
                      <a:lnTo>
                        <a:pt x="491" y="91"/>
                      </a:lnTo>
                      <a:lnTo>
                        <a:pt x="495" y="96"/>
                      </a:lnTo>
                      <a:lnTo>
                        <a:pt x="486" y="101"/>
                      </a:lnTo>
                      <a:lnTo>
                        <a:pt x="489" y="113"/>
                      </a:lnTo>
                      <a:lnTo>
                        <a:pt x="472" y="103"/>
                      </a:lnTo>
                      <a:lnTo>
                        <a:pt x="480" y="92"/>
                      </a:lnTo>
                      <a:lnTo>
                        <a:pt x="483" y="83"/>
                      </a:lnTo>
                      <a:lnTo>
                        <a:pt x="496" y="78"/>
                      </a:lnTo>
                      <a:lnTo>
                        <a:pt x="500" y="73"/>
                      </a:lnTo>
                      <a:lnTo>
                        <a:pt x="478" y="81"/>
                      </a:lnTo>
                      <a:lnTo>
                        <a:pt x="466" y="88"/>
                      </a:lnTo>
                      <a:lnTo>
                        <a:pt x="452" y="101"/>
                      </a:lnTo>
                      <a:lnTo>
                        <a:pt x="448" y="109"/>
                      </a:lnTo>
                      <a:lnTo>
                        <a:pt x="448" y="113"/>
                      </a:lnTo>
                      <a:lnTo>
                        <a:pt x="440" y="116"/>
                      </a:lnTo>
                      <a:lnTo>
                        <a:pt x="445" y="121"/>
                      </a:lnTo>
                      <a:lnTo>
                        <a:pt x="452" y="124"/>
                      </a:lnTo>
                      <a:lnTo>
                        <a:pt x="457" y="136"/>
                      </a:lnTo>
                      <a:lnTo>
                        <a:pt x="464" y="141"/>
                      </a:lnTo>
                      <a:lnTo>
                        <a:pt x="474" y="139"/>
                      </a:lnTo>
                      <a:lnTo>
                        <a:pt x="461" y="145"/>
                      </a:lnTo>
                      <a:lnTo>
                        <a:pt x="453" y="145"/>
                      </a:lnTo>
                      <a:lnTo>
                        <a:pt x="450" y="155"/>
                      </a:lnTo>
                      <a:lnTo>
                        <a:pt x="453" y="162"/>
                      </a:lnTo>
                      <a:lnTo>
                        <a:pt x="452" y="174"/>
                      </a:lnTo>
                      <a:lnTo>
                        <a:pt x="447" y="182"/>
                      </a:lnTo>
                      <a:lnTo>
                        <a:pt x="442" y="175"/>
                      </a:lnTo>
                      <a:lnTo>
                        <a:pt x="442" y="162"/>
                      </a:lnTo>
                      <a:lnTo>
                        <a:pt x="434" y="168"/>
                      </a:lnTo>
                      <a:lnTo>
                        <a:pt x="440" y="158"/>
                      </a:lnTo>
                      <a:lnTo>
                        <a:pt x="439" y="146"/>
                      </a:lnTo>
                      <a:lnTo>
                        <a:pt x="445" y="140"/>
                      </a:lnTo>
                      <a:lnTo>
                        <a:pt x="442" y="131"/>
                      </a:lnTo>
                      <a:lnTo>
                        <a:pt x="432" y="128"/>
                      </a:lnTo>
                      <a:lnTo>
                        <a:pt x="405" y="148"/>
                      </a:lnTo>
                      <a:lnTo>
                        <a:pt x="405" y="152"/>
                      </a:lnTo>
                      <a:lnTo>
                        <a:pt x="418" y="145"/>
                      </a:lnTo>
                      <a:lnTo>
                        <a:pt x="408" y="156"/>
                      </a:lnTo>
                      <a:lnTo>
                        <a:pt x="366" y="184"/>
                      </a:lnTo>
                      <a:lnTo>
                        <a:pt x="348" y="188"/>
                      </a:lnTo>
                      <a:lnTo>
                        <a:pt x="338" y="200"/>
                      </a:lnTo>
                      <a:lnTo>
                        <a:pt x="342" y="191"/>
                      </a:lnTo>
                      <a:lnTo>
                        <a:pt x="342" y="183"/>
                      </a:lnTo>
                      <a:lnTo>
                        <a:pt x="348" y="177"/>
                      </a:lnTo>
                      <a:lnTo>
                        <a:pt x="337" y="175"/>
                      </a:lnTo>
                      <a:lnTo>
                        <a:pt x="326" y="200"/>
                      </a:lnTo>
                      <a:lnTo>
                        <a:pt x="323" y="211"/>
                      </a:lnTo>
                      <a:lnTo>
                        <a:pt x="342" y="228"/>
                      </a:lnTo>
                      <a:lnTo>
                        <a:pt x="353" y="233"/>
                      </a:lnTo>
                      <a:lnTo>
                        <a:pt x="353" y="239"/>
                      </a:lnTo>
                      <a:lnTo>
                        <a:pt x="324" y="225"/>
                      </a:lnTo>
                      <a:lnTo>
                        <a:pt x="321" y="218"/>
                      </a:lnTo>
                      <a:lnTo>
                        <a:pt x="312" y="217"/>
                      </a:lnTo>
                      <a:lnTo>
                        <a:pt x="307" y="227"/>
                      </a:lnTo>
                      <a:lnTo>
                        <a:pt x="285" y="253"/>
                      </a:lnTo>
                      <a:lnTo>
                        <a:pt x="295" y="258"/>
                      </a:lnTo>
                      <a:lnTo>
                        <a:pt x="318" y="259"/>
                      </a:lnTo>
                      <a:lnTo>
                        <a:pt x="314" y="261"/>
                      </a:lnTo>
                      <a:lnTo>
                        <a:pt x="287" y="261"/>
                      </a:lnTo>
                      <a:lnTo>
                        <a:pt x="280" y="264"/>
                      </a:lnTo>
                      <a:lnTo>
                        <a:pt x="279" y="268"/>
                      </a:lnTo>
                      <a:lnTo>
                        <a:pt x="291" y="282"/>
                      </a:lnTo>
                      <a:lnTo>
                        <a:pt x="302" y="288"/>
                      </a:lnTo>
                      <a:lnTo>
                        <a:pt x="299" y="293"/>
                      </a:lnTo>
                      <a:lnTo>
                        <a:pt x="279" y="279"/>
                      </a:lnTo>
                      <a:lnTo>
                        <a:pt x="280" y="287"/>
                      </a:lnTo>
                      <a:lnTo>
                        <a:pt x="273" y="318"/>
                      </a:lnTo>
                      <a:lnTo>
                        <a:pt x="270" y="323"/>
                      </a:lnTo>
                      <a:lnTo>
                        <a:pt x="269" y="306"/>
                      </a:lnTo>
                      <a:lnTo>
                        <a:pt x="263" y="331"/>
                      </a:lnTo>
                      <a:lnTo>
                        <a:pt x="251" y="356"/>
                      </a:lnTo>
                      <a:lnTo>
                        <a:pt x="226" y="379"/>
                      </a:lnTo>
                      <a:lnTo>
                        <a:pt x="189" y="388"/>
                      </a:lnTo>
                      <a:lnTo>
                        <a:pt x="155" y="393"/>
                      </a:lnTo>
                      <a:lnTo>
                        <a:pt x="127" y="401"/>
                      </a:lnTo>
                      <a:lnTo>
                        <a:pt x="117" y="400"/>
                      </a:lnTo>
                      <a:lnTo>
                        <a:pt x="125" y="397"/>
                      </a:lnTo>
                      <a:lnTo>
                        <a:pt x="124" y="393"/>
                      </a:lnTo>
                      <a:lnTo>
                        <a:pt x="102" y="395"/>
                      </a:lnTo>
                      <a:lnTo>
                        <a:pt x="102" y="397"/>
                      </a:lnTo>
                      <a:lnTo>
                        <a:pt x="103" y="401"/>
                      </a:lnTo>
                      <a:lnTo>
                        <a:pt x="101" y="419"/>
                      </a:lnTo>
                      <a:lnTo>
                        <a:pt x="101" y="435"/>
                      </a:lnTo>
                      <a:lnTo>
                        <a:pt x="98" y="453"/>
                      </a:lnTo>
                      <a:lnTo>
                        <a:pt x="103" y="455"/>
                      </a:lnTo>
                      <a:lnTo>
                        <a:pt x="108" y="452"/>
                      </a:lnTo>
                      <a:lnTo>
                        <a:pt x="102" y="459"/>
                      </a:lnTo>
                      <a:lnTo>
                        <a:pt x="88" y="465"/>
                      </a:lnTo>
                      <a:lnTo>
                        <a:pt x="85" y="471"/>
                      </a:lnTo>
                      <a:lnTo>
                        <a:pt x="79" y="471"/>
                      </a:lnTo>
                      <a:lnTo>
                        <a:pt x="86" y="465"/>
                      </a:lnTo>
                      <a:lnTo>
                        <a:pt x="88" y="457"/>
                      </a:lnTo>
                      <a:lnTo>
                        <a:pt x="86" y="458"/>
                      </a:lnTo>
                      <a:lnTo>
                        <a:pt x="71" y="468"/>
                      </a:lnTo>
                      <a:lnTo>
                        <a:pt x="69" y="474"/>
                      </a:lnTo>
                      <a:lnTo>
                        <a:pt x="102" y="489"/>
                      </a:lnTo>
                      <a:lnTo>
                        <a:pt x="112" y="500"/>
                      </a:lnTo>
                      <a:lnTo>
                        <a:pt x="118" y="511"/>
                      </a:lnTo>
                      <a:lnTo>
                        <a:pt x="140" y="524"/>
                      </a:lnTo>
                      <a:lnTo>
                        <a:pt x="152" y="527"/>
                      </a:lnTo>
                      <a:lnTo>
                        <a:pt x="182" y="556"/>
                      </a:lnTo>
                      <a:lnTo>
                        <a:pt x="206" y="572"/>
                      </a:lnTo>
                      <a:lnTo>
                        <a:pt x="221" y="587"/>
                      </a:lnTo>
                      <a:lnTo>
                        <a:pt x="221" y="592"/>
                      </a:lnTo>
                      <a:lnTo>
                        <a:pt x="230" y="599"/>
                      </a:lnTo>
                      <a:lnTo>
                        <a:pt x="233" y="608"/>
                      </a:lnTo>
                      <a:lnTo>
                        <a:pt x="237" y="621"/>
                      </a:lnTo>
                      <a:lnTo>
                        <a:pt x="241" y="626"/>
                      </a:lnTo>
                      <a:lnTo>
                        <a:pt x="238" y="629"/>
                      </a:lnTo>
                      <a:lnTo>
                        <a:pt x="240" y="641"/>
                      </a:lnTo>
                      <a:lnTo>
                        <a:pt x="244" y="657"/>
                      </a:lnTo>
                      <a:lnTo>
                        <a:pt x="259" y="659"/>
                      </a:lnTo>
                      <a:lnTo>
                        <a:pt x="268" y="666"/>
                      </a:lnTo>
                      <a:lnTo>
                        <a:pt x="291" y="675"/>
                      </a:lnTo>
                      <a:lnTo>
                        <a:pt x="287" y="670"/>
                      </a:lnTo>
                      <a:lnTo>
                        <a:pt x="292" y="666"/>
                      </a:lnTo>
                      <a:lnTo>
                        <a:pt x="294" y="658"/>
                      </a:lnTo>
                      <a:lnTo>
                        <a:pt x="308" y="659"/>
                      </a:lnTo>
                      <a:lnTo>
                        <a:pt x="310" y="657"/>
                      </a:lnTo>
                      <a:lnTo>
                        <a:pt x="307" y="651"/>
                      </a:lnTo>
                      <a:lnTo>
                        <a:pt x="313" y="648"/>
                      </a:lnTo>
                      <a:lnTo>
                        <a:pt x="317" y="648"/>
                      </a:lnTo>
                      <a:lnTo>
                        <a:pt x="305" y="673"/>
                      </a:lnTo>
                      <a:lnTo>
                        <a:pt x="310" y="677"/>
                      </a:lnTo>
                      <a:lnTo>
                        <a:pt x="319" y="670"/>
                      </a:lnTo>
                      <a:lnTo>
                        <a:pt x="335" y="666"/>
                      </a:lnTo>
                      <a:lnTo>
                        <a:pt x="348" y="667"/>
                      </a:lnTo>
                      <a:lnTo>
                        <a:pt x="354" y="669"/>
                      </a:lnTo>
                      <a:lnTo>
                        <a:pt x="362" y="678"/>
                      </a:lnTo>
                      <a:lnTo>
                        <a:pt x="359" y="683"/>
                      </a:lnTo>
                      <a:lnTo>
                        <a:pt x="349" y="686"/>
                      </a:lnTo>
                      <a:lnTo>
                        <a:pt x="343" y="705"/>
                      </a:lnTo>
                      <a:lnTo>
                        <a:pt x="355" y="723"/>
                      </a:lnTo>
                      <a:lnTo>
                        <a:pt x="372" y="736"/>
                      </a:lnTo>
                      <a:lnTo>
                        <a:pt x="375" y="729"/>
                      </a:lnTo>
                      <a:lnTo>
                        <a:pt x="375" y="718"/>
                      </a:lnTo>
                      <a:lnTo>
                        <a:pt x="378" y="713"/>
                      </a:lnTo>
                      <a:lnTo>
                        <a:pt x="377" y="724"/>
                      </a:lnTo>
                      <a:lnTo>
                        <a:pt x="381" y="727"/>
                      </a:lnTo>
                      <a:lnTo>
                        <a:pt x="383" y="721"/>
                      </a:lnTo>
                      <a:lnTo>
                        <a:pt x="399" y="720"/>
                      </a:lnTo>
                      <a:lnTo>
                        <a:pt x="415" y="731"/>
                      </a:lnTo>
                      <a:lnTo>
                        <a:pt x="427" y="727"/>
                      </a:lnTo>
                      <a:lnTo>
                        <a:pt x="436" y="717"/>
                      </a:lnTo>
                      <a:lnTo>
                        <a:pt x="446" y="720"/>
                      </a:lnTo>
                      <a:lnTo>
                        <a:pt x="453" y="713"/>
                      </a:lnTo>
                      <a:lnTo>
                        <a:pt x="469" y="716"/>
                      </a:lnTo>
                      <a:lnTo>
                        <a:pt x="464" y="722"/>
                      </a:lnTo>
                      <a:lnTo>
                        <a:pt x="440" y="731"/>
                      </a:lnTo>
                      <a:lnTo>
                        <a:pt x="435" y="739"/>
                      </a:lnTo>
                      <a:lnTo>
                        <a:pt x="441" y="742"/>
                      </a:lnTo>
                      <a:lnTo>
                        <a:pt x="443" y="736"/>
                      </a:lnTo>
                      <a:lnTo>
                        <a:pt x="467" y="728"/>
                      </a:lnTo>
                      <a:lnTo>
                        <a:pt x="472" y="732"/>
                      </a:lnTo>
                      <a:lnTo>
                        <a:pt x="472" y="739"/>
                      </a:lnTo>
                      <a:lnTo>
                        <a:pt x="464" y="745"/>
                      </a:lnTo>
                      <a:lnTo>
                        <a:pt x="442" y="747"/>
                      </a:lnTo>
                      <a:lnTo>
                        <a:pt x="434" y="750"/>
                      </a:lnTo>
                      <a:lnTo>
                        <a:pt x="430" y="756"/>
                      </a:lnTo>
                      <a:lnTo>
                        <a:pt x="410" y="759"/>
                      </a:lnTo>
                      <a:lnTo>
                        <a:pt x="403" y="758"/>
                      </a:lnTo>
                      <a:lnTo>
                        <a:pt x="398" y="750"/>
                      </a:lnTo>
                      <a:lnTo>
                        <a:pt x="392" y="748"/>
                      </a:lnTo>
                      <a:lnTo>
                        <a:pt x="389" y="744"/>
                      </a:lnTo>
                      <a:lnTo>
                        <a:pt x="382" y="743"/>
                      </a:lnTo>
                      <a:lnTo>
                        <a:pt x="381" y="737"/>
                      </a:lnTo>
                      <a:lnTo>
                        <a:pt x="376" y="738"/>
                      </a:lnTo>
                      <a:lnTo>
                        <a:pt x="369" y="744"/>
                      </a:lnTo>
                      <a:lnTo>
                        <a:pt x="351" y="744"/>
                      </a:lnTo>
                      <a:lnTo>
                        <a:pt x="342" y="736"/>
                      </a:lnTo>
                      <a:lnTo>
                        <a:pt x="332" y="717"/>
                      </a:lnTo>
                      <a:lnTo>
                        <a:pt x="338" y="734"/>
                      </a:lnTo>
                      <a:lnTo>
                        <a:pt x="344" y="744"/>
                      </a:lnTo>
                      <a:lnTo>
                        <a:pt x="339" y="755"/>
                      </a:lnTo>
                      <a:lnTo>
                        <a:pt x="339" y="766"/>
                      </a:lnTo>
                      <a:lnTo>
                        <a:pt x="346" y="769"/>
                      </a:lnTo>
                      <a:lnTo>
                        <a:pt x="344" y="764"/>
                      </a:lnTo>
                      <a:lnTo>
                        <a:pt x="349" y="753"/>
                      </a:lnTo>
                      <a:lnTo>
                        <a:pt x="361" y="755"/>
                      </a:lnTo>
                      <a:lnTo>
                        <a:pt x="388" y="764"/>
                      </a:lnTo>
                      <a:lnTo>
                        <a:pt x="394" y="771"/>
                      </a:lnTo>
                      <a:lnTo>
                        <a:pt x="393" y="780"/>
                      </a:lnTo>
                      <a:lnTo>
                        <a:pt x="385" y="791"/>
                      </a:lnTo>
                      <a:lnTo>
                        <a:pt x="386" y="785"/>
                      </a:lnTo>
                      <a:lnTo>
                        <a:pt x="383" y="779"/>
                      </a:lnTo>
                      <a:lnTo>
                        <a:pt x="364" y="771"/>
                      </a:lnTo>
                      <a:lnTo>
                        <a:pt x="354" y="793"/>
                      </a:lnTo>
                      <a:lnTo>
                        <a:pt x="350" y="802"/>
                      </a:lnTo>
                      <a:lnTo>
                        <a:pt x="350" y="809"/>
                      </a:lnTo>
                      <a:lnTo>
                        <a:pt x="346" y="814"/>
                      </a:lnTo>
                      <a:lnTo>
                        <a:pt x="339" y="810"/>
                      </a:lnTo>
                      <a:lnTo>
                        <a:pt x="337" y="804"/>
                      </a:lnTo>
                      <a:lnTo>
                        <a:pt x="332" y="798"/>
                      </a:lnTo>
                      <a:lnTo>
                        <a:pt x="322" y="801"/>
                      </a:lnTo>
                      <a:lnTo>
                        <a:pt x="321" y="803"/>
                      </a:lnTo>
                      <a:lnTo>
                        <a:pt x="314" y="799"/>
                      </a:lnTo>
                      <a:lnTo>
                        <a:pt x="302" y="802"/>
                      </a:lnTo>
                      <a:lnTo>
                        <a:pt x="300" y="797"/>
                      </a:lnTo>
                      <a:lnTo>
                        <a:pt x="296" y="801"/>
                      </a:lnTo>
                      <a:lnTo>
                        <a:pt x="297" y="795"/>
                      </a:lnTo>
                      <a:lnTo>
                        <a:pt x="289" y="796"/>
                      </a:lnTo>
                      <a:lnTo>
                        <a:pt x="285" y="802"/>
                      </a:lnTo>
                      <a:lnTo>
                        <a:pt x="280" y="799"/>
                      </a:lnTo>
                      <a:lnTo>
                        <a:pt x="269" y="797"/>
                      </a:lnTo>
                      <a:lnTo>
                        <a:pt x="246" y="799"/>
                      </a:lnTo>
                      <a:lnTo>
                        <a:pt x="237" y="792"/>
                      </a:lnTo>
                      <a:lnTo>
                        <a:pt x="237" y="782"/>
                      </a:lnTo>
                      <a:lnTo>
                        <a:pt x="221" y="781"/>
                      </a:lnTo>
                      <a:lnTo>
                        <a:pt x="238" y="767"/>
                      </a:lnTo>
                      <a:lnTo>
                        <a:pt x="237" y="756"/>
                      </a:lnTo>
                      <a:lnTo>
                        <a:pt x="238" y="744"/>
                      </a:lnTo>
                      <a:lnTo>
                        <a:pt x="237" y="736"/>
                      </a:lnTo>
                      <a:lnTo>
                        <a:pt x="227" y="729"/>
                      </a:lnTo>
                      <a:lnTo>
                        <a:pt x="230" y="727"/>
                      </a:lnTo>
                      <a:lnTo>
                        <a:pt x="246" y="724"/>
                      </a:lnTo>
                      <a:lnTo>
                        <a:pt x="227" y="723"/>
                      </a:lnTo>
                      <a:lnTo>
                        <a:pt x="215" y="727"/>
                      </a:lnTo>
                      <a:lnTo>
                        <a:pt x="188" y="728"/>
                      </a:lnTo>
                      <a:lnTo>
                        <a:pt x="172" y="747"/>
                      </a:lnTo>
                      <a:lnTo>
                        <a:pt x="160" y="749"/>
                      </a:lnTo>
                      <a:lnTo>
                        <a:pt x="154" y="753"/>
                      </a:lnTo>
                      <a:lnTo>
                        <a:pt x="149" y="752"/>
                      </a:lnTo>
                      <a:lnTo>
                        <a:pt x="136" y="761"/>
                      </a:lnTo>
                      <a:lnTo>
                        <a:pt x="125" y="772"/>
                      </a:lnTo>
                      <a:lnTo>
                        <a:pt x="135" y="780"/>
                      </a:lnTo>
                      <a:lnTo>
                        <a:pt x="141" y="790"/>
                      </a:lnTo>
                      <a:lnTo>
                        <a:pt x="136" y="792"/>
                      </a:lnTo>
                      <a:lnTo>
                        <a:pt x="115" y="793"/>
                      </a:lnTo>
                      <a:lnTo>
                        <a:pt x="111" y="790"/>
                      </a:lnTo>
                      <a:lnTo>
                        <a:pt x="109" y="783"/>
                      </a:lnTo>
                      <a:lnTo>
                        <a:pt x="101" y="787"/>
                      </a:lnTo>
                      <a:lnTo>
                        <a:pt x="77" y="802"/>
                      </a:lnTo>
                      <a:lnTo>
                        <a:pt x="71" y="810"/>
                      </a:lnTo>
                      <a:lnTo>
                        <a:pt x="68" y="808"/>
                      </a:lnTo>
                      <a:lnTo>
                        <a:pt x="66" y="814"/>
                      </a:lnTo>
                      <a:lnTo>
                        <a:pt x="61" y="823"/>
                      </a:lnTo>
                      <a:lnTo>
                        <a:pt x="50" y="828"/>
                      </a:lnTo>
                      <a:lnTo>
                        <a:pt x="45" y="822"/>
                      </a:lnTo>
                      <a:lnTo>
                        <a:pt x="36" y="829"/>
                      </a:lnTo>
                      <a:lnTo>
                        <a:pt x="32" y="835"/>
                      </a:lnTo>
                      <a:lnTo>
                        <a:pt x="32" y="840"/>
                      </a:lnTo>
                      <a:lnTo>
                        <a:pt x="34" y="842"/>
                      </a:lnTo>
                      <a:lnTo>
                        <a:pt x="11" y="855"/>
                      </a:lnTo>
                      <a:lnTo>
                        <a:pt x="6" y="856"/>
                      </a:lnTo>
                      <a:lnTo>
                        <a:pt x="12" y="842"/>
                      </a:lnTo>
                      <a:lnTo>
                        <a:pt x="0" y="850"/>
                      </a:lnTo>
                      <a:lnTo>
                        <a:pt x="0" y="858"/>
                      </a:lnTo>
                      <a:lnTo>
                        <a:pt x="6" y="865"/>
                      </a:lnTo>
                      <a:lnTo>
                        <a:pt x="43" y="889"/>
                      </a:lnTo>
                      <a:lnTo>
                        <a:pt x="71" y="899"/>
                      </a:lnTo>
                      <a:lnTo>
                        <a:pt x="75" y="898"/>
                      </a:lnTo>
                      <a:lnTo>
                        <a:pt x="70" y="890"/>
                      </a:lnTo>
                      <a:lnTo>
                        <a:pt x="107" y="903"/>
                      </a:lnTo>
                      <a:lnTo>
                        <a:pt x="90" y="910"/>
                      </a:lnTo>
                      <a:lnTo>
                        <a:pt x="81" y="922"/>
                      </a:lnTo>
                      <a:lnTo>
                        <a:pt x="72" y="919"/>
                      </a:lnTo>
                      <a:lnTo>
                        <a:pt x="74" y="911"/>
                      </a:lnTo>
                      <a:lnTo>
                        <a:pt x="70" y="906"/>
                      </a:lnTo>
                      <a:lnTo>
                        <a:pt x="68" y="915"/>
                      </a:lnTo>
                      <a:lnTo>
                        <a:pt x="80" y="941"/>
                      </a:lnTo>
                      <a:lnTo>
                        <a:pt x="91" y="952"/>
                      </a:lnTo>
                      <a:lnTo>
                        <a:pt x="91" y="963"/>
                      </a:lnTo>
                      <a:lnTo>
                        <a:pt x="88" y="976"/>
                      </a:lnTo>
                      <a:lnTo>
                        <a:pt x="100" y="990"/>
                      </a:lnTo>
                      <a:lnTo>
                        <a:pt x="104" y="991"/>
                      </a:lnTo>
                      <a:lnTo>
                        <a:pt x="108" y="996"/>
                      </a:lnTo>
                      <a:lnTo>
                        <a:pt x="150" y="1005"/>
                      </a:lnTo>
                      <a:lnTo>
                        <a:pt x="160" y="1003"/>
                      </a:lnTo>
                      <a:lnTo>
                        <a:pt x="179" y="1013"/>
                      </a:lnTo>
                      <a:lnTo>
                        <a:pt x="210" y="997"/>
                      </a:lnTo>
                      <a:lnTo>
                        <a:pt x="231" y="1001"/>
                      </a:lnTo>
                      <a:lnTo>
                        <a:pt x="247" y="996"/>
                      </a:lnTo>
                      <a:lnTo>
                        <a:pt x="263" y="1003"/>
                      </a:lnTo>
                      <a:lnTo>
                        <a:pt x="275" y="1017"/>
                      </a:lnTo>
                      <a:lnTo>
                        <a:pt x="278" y="1013"/>
                      </a:lnTo>
                      <a:lnTo>
                        <a:pt x="279" y="1003"/>
                      </a:lnTo>
                      <a:lnTo>
                        <a:pt x="270" y="1001"/>
                      </a:lnTo>
                      <a:lnTo>
                        <a:pt x="263" y="995"/>
                      </a:lnTo>
                      <a:lnTo>
                        <a:pt x="260" y="990"/>
                      </a:lnTo>
                      <a:lnTo>
                        <a:pt x="275" y="989"/>
                      </a:lnTo>
                      <a:lnTo>
                        <a:pt x="280" y="997"/>
                      </a:lnTo>
                      <a:lnTo>
                        <a:pt x="290" y="1005"/>
                      </a:lnTo>
                      <a:lnTo>
                        <a:pt x="294" y="1033"/>
                      </a:lnTo>
                      <a:lnTo>
                        <a:pt x="297" y="1033"/>
                      </a:lnTo>
                      <a:lnTo>
                        <a:pt x="303" y="1017"/>
                      </a:lnTo>
                      <a:lnTo>
                        <a:pt x="312" y="1002"/>
                      </a:lnTo>
                      <a:lnTo>
                        <a:pt x="324" y="990"/>
                      </a:lnTo>
                      <a:lnTo>
                        <a:pt x="330" y="981"/>
                      </a:lnTo>
                      <a:lnTo>
                        <a:pt x="351" y="971"/>
                      </a:lnTo>
                      <a:lnTo>
                        <a:pt x="350" y="964"/>
                      </a:lnTo>
                      <a:lnTo>
                        <a:pt x="365" y="970"/>
                      </a:lnTo>
                      <a:lnTo>
                        <a:pt x="371" y="969"/>
                      </a:lnTo>
                      <a:lnTo>
                        <a:pt x="377" y="962"/>
                      </a:lnTo>
                      <a:lnTo>
                        <a:pt x="389" y="954"/>
                      </a:lnTo>
                      <a:lnTo>
                        <a:pt x="400" y="968"/>
                      </a:lnTo>
                      <a:lnTo>
                        <a:pt x="405" y="970"/>
                      </a:lnTo>
                      <a:lnTo>
                        <a:pt x="405" y="984"/>
                      </a:lnTo>
                      <a:lnTo>
                        <a:pt x="400" y="995"/>
                      </a:lnTo>
                      <a:lnTo>
                        <a:pt x="394" y="1003"/>
                      </a:lnTo>
                      <a:lnTo>
                        <a:pt x="382" y="1008"/>
                      </a:lnTo>
                      <a:lnTo>
                        <a:pt x="373" y="1003"/>
                      </a:lnTo>
                      <a:lnTo>
                        <a:pt x="365" y="1003"/>
                      </a:lnTo>
                      <a:lnTo>
                        <a:pt x="365" y="1014"/>
                      </a:lnTo>
                      <a:lnTo>
                        <a:pt x="367" y="1021"/>
                      </a:lnTo>
                      <a:lnTo>
                        <a:pt x="372" y="1016"/>
                      </a:lnTo>
                      <a:lnTo>
                        <a:pt x="382" y="1019"/>
                      </a:lnTo>
                      <a:lnTo>
                        <a:pt x="387" y="1033"/>
                      </a:lnTo>
                      <a:lnTo>
                        <a:pt x="397" y="1052"/>
                      </a:lnTo>
                      <a:lnTo>
                        <a:pt x="396" y="1061"/>
                      </a:lnTo>
                      <a:lnTo>
                        <a:pt x="394" y="1065"/>
                      </a:lnTo>
                      <a:lnTo>
                        <a:pt x="400" y="1070"/>
                      </a:lnTo>
                      <a:lnTo>
                        <a:pt x="403" y="1077"/>
                      </a:lnTo>
                      <a:lnTo>
                        <a:pt x="404" y="1084"/>
                      </a:lnTo>
                      <a:lnTo>
                        <a:pt x="403" y="1098"/>
                      </a:lnTo>
                      <a:lnTo>
                        <a:pt x="394" y="1115"/>
                      </a:lnTo>
                      <a:lnTo>
                        <a:pt x="387" y="1125"/>
                      </a:lnTo>
                      <a:lnTo>
                        <a:pt x="380" y="1132"/>
                      </a:lnTo>
                      <a:lnTo>
                        <a:pt x="371" y="1135"/>
                      </a:lnTo>
                      <a:lnTo>
                        <a:pt x="360" y="1135"/>
                      </a:lnTo>
                      <a:lnTo>
                        <a:pt x="353" y="1140"/>
                      </a:lnTo>
                      <a:lnTo>
                        <a:pt x="344" y="1138"/>
                      </a:lnTo>
                      <a:lnTo>
                        <a:pt x="326" y="1143"/>
                      </a:lnTo>
                      <a:lnTo>
                        <a:pt x="322" y="1143"/>
                      </a:lnTo>
                      <a:lnTo>
                        <a:pt x="332" y="1132"/>
                      </a:lnTo>
                      <a:lnTo>
                        <a:pt x="330" y="1130"/>
                      </a:lnTo>
                      <a:lnTo>
                        <a:pt x="321" y="1131"/>
                      </a:lnTo>
                      <a:lnTo>
                        <a:pt x="317" y="1135"/>
                      </a:lnTo>
                      <a:lnTo>
                        <a:pt x="312" y="1147"/>
                      </a:lnTo>
                      <a:lnTo>
                        <a:pt x="303" y="1158"/>
                      </a:lnTo>
                      <a:lnTo>
                        <a:pt x="286" y="1174"/>
                      </a:lnTo>
                      <a:lnTo>
                        <a:pt x="280" y="1183"/>
                      </a:lnTo>
                      <a:lnTo>
                        <a:pt x="271" y="1186"/>
                      </a:lnTo>
                      <a:lnTo>
                        <a:pt x="260" y="1183"/>
                      </a:lnTo>
                      <a:lnTo>
                        <a:pt x="256" y="1179"/>
                      </a:lnTo>
                      <a:lnTo>
                        <a:pt x="240" y="1191"/>
                      </a:lnTo>
                      <a:lnTo>
                        <a:pt x="222" y="1197"/>
                      </a:lnTo>
                      <a:lnTo>
                        <a:pt x="219" y="1202"/>
                      </a:lnTo>
                      <a:lnTo>
                        <a:pt x="217" y="1207"/>
                      </a:lnTo>
                      <a:lnTo>
                        <a:pt x="220" y="1211"/>
                      </a:lnTo>
                      <a:lnTo>
                        <a:pt x="222" y="1219"/>
                      </a:lnTo>
                      <a:lnTo>
                        <a:pt x="219" y="1224"/>
                      </a:lnTo>
                      <a:lnTo>
                        <a:pt x="201" y="1221"/>
                      </a:lnTo>
                      <a:lnTo>
                        <a:pt x="190" y="1223"/>
                      </a:lnTo>
                      <a:lnTo>
                        <a:pt x="178" y="1237"/>
                      </a:lnTo>
                      <a:lnTo>
                        <a:pt x="174" y="1245"/>
                      </a:lnTo>
                      <a:lnTo>
                        <a:pt x="170" y="1243"/>
                      </a:lnTo>
                      <a:lnTo>
                        <a:pt x="162" y="1244"/>
                      </a:lnTo>
                      <a:lnTo>
                        <a:pt x="145" y="1266"/>
                      </a:lnTo>
                      <a:lnTo>
                        <a:pt x="142" y="1267"/>
                      </a:lnTo>
                      <a:lnTo>
                        <a:pt x="139" y="1271"/>
                      </a:lnTo>
                      <a:lnTo>
                        <a:pt x="138" y="1277"/>
                      </a:lnTo>
                      <a:lnTo>
                        <a:pt x="128" y="1299"/>
                      </a:lnTo>
                      <a:lnTo>
                        <a:pt x="127" y="1305"/>
                      </a:lnTo>
                      <a:lnTo>
                        <a:pt x="128" y="1323"/>
                      </a:lnTo>
                      <a:lnTo>
                        <a:pt x="125" y="1328"/>
                      </a:lnTo>
                      <a:lnTo>
                        <a:pt x="117" y="1330"/>
                      </a:lnTo>
                      <a:lnTo>
                        <a:pt x="111" y="1329"/>
                      </a:lnTo>
                      <a:lnTo>
                        <a:pt x="107" y="1330"/>
                      </a:lnTo>
                      <a:lnTo>
                        <a:pt x="107" y="1336"/>
                      </a:lnTo>
                      <a:lnTo>
                        <a:pt x="118" y="1345"/>
                      </a:lnTo>
                      <a:lnTo>
                        <a:pt x="115" y="1348"/>
                      </a:lnTo>
                      <a:lnTo>
                        <a:pt x="104" y="1351"/>
                      </a:lnTo>
                      <a:lnTo>
                        <a:pt x="102" y="1358"/>
                      </a:lnTo>
                      <a:lnTo>
                        <a:pt x="101" y="1366"/>
                      </a:lnTo>
                      <a:lnTo>
                        <a:pt x="104" y="1363"/>
                      </a:lnTo>
                      <a:lnTo>
                        <a:pt x="124" y="1360"/>
                      </a:lnTo>
                      <a:lnTo>
                        <a:pt x="131" y="1357"/>
                      </a:lnTo>
                      <a:lnTo>
                        <a:pt x="138" y="1351"/>
                      </a:lnTo>
                      <a:lnTo>
                        <a:pt x="156" y="1348"/>
                      </a:lnTo>
                      <a:lnTo>
                        <a:pt x="157" y="1352"/>
                      </a:lnTo>
                      <a:lnTo>
                        <a:pt x="151" y="1355"/>
                      </a:lnTo>
                      <a:lnTo>
                        <a:pt x="155" y="1358"/>
                      </a:lnTo>
                      <a:lnTo>
                        <a:pt x="134" y="1362"/>
                      </a:lnTo>
                      <a:lnTo>
                        <a:pt x="125" y="1366"/>
                      </a:lnTo>
                      <a:lnTo>
                        <a:pt x="119" y="1373"/>
                      </a:lnTo>
                      <a:lnTo>
                        <a:pt x="118" y="1378"/>
                      </a:lnTo>
                      <a:lnTo>
                        <a:pt x="133" y="1388"/>
                      </a:lnTo>
                      <a:lnTo>
                        <a:pt x="145" y="1378"/>
                      </a:lnTo>
                      <a:lnTo>
                        <a:pt x="151" y="1379"/>
                      </a:lnTo>
                      <a:lnTo>
                        <a:pt x="146" y="1385"/>
                      </a:lnTo>
                      <a:lnTo>
                        <a:pt x="144" y="1394"/>
                      </a:lnTo>
                      <a:lnTo>
                        <a:pt x="147" y="1405"/>
                      </a:lnTo>
                      <a:lnTo>
                        <a:pt x="151" y="1410"/>
                      </a:lnTo>
                      <a:lnTo>
                        <a:pt x="152" y="1417"/>
                      </a:lnTo>
                      <a:lnTo>
                        <a:pt x="156" y="1423"/>
                      </a:lnTo>
                      <a:lnTo>
                        <a:pt x="161" y="1427"/>
                      </a:lnTo>
                      <a:lnTo>
                        <a:pt x="165" y="1425"/>
                      </a:lnTo>
                      <a:lnTo>
                        <a:pt x="174" y="1411"/>
                      </a:lnTo>
                      <a:lnTo>
                        <a:pt x="176" y="1420"/>
                      </a:lnTo>
                      <a:lnTo>
                        <a:pt x="179" y="1422"/>
                      </a:lnTo>
                      <a:lnTo>
                        <a:pt x="193" y="1420"/>
                      </a:lnTo>
                      <a:lnTo>
                        <a:pt x="184" y="1436"/>
                      </a:lnTo>
                      <a:lnTo>
                        <a:pt x="197" y="1441"/>
                      </a:lnTo>
                      <a:lnTo>
                        <a:pt x="219" y="1446"/>
                      </a:lnTo>
                      <a:lnTo>
                        <a:pt x="230" y="1439"/>
                      </a:lnTo>
                      <a:lnTo>
                        <a:pt x="238" y="1439"/>
                      </a:lnTo>
                      <a:lnTo>
                        <a:pt x="242" y="1449"/>
                      </a:lnTo>
                      <a:lnTo>
                        <a:pt x="237" y="1457"/>
                      </a:lnTo>
                      <a:lnTo>
                        <a:pt x="220" y="1463"/>
                      </a:lnTo>
                      <a:lnTo>
                        <a:pt x="214" y="1474"/>
                      </a:lnTo>
                      <a:lnTo>
                        <a:pt x="203" y="1487"/>
                      </a:lnTo>
                      <a:lnTo>
                        <a:pt x="197" y="1497"/>
                      </a:lnTo>
                      <a:lnTo>
                        <a:pt x="194" y="1506"/>
                      </a:lnTo>
                      <a:lnTo>
                        <a:pt x="194" y="1514"/>
                      </a:lnTo>
                      <a:lnTo>
                        <a:pt x="204" y="1533"/>
                      </a:lnTo>
                      <a:lnTo>
                        <a:pt x="209" y="1534"/>
                      </a:lnTo>
                      <a:lnTo>
                        <a:pt x="216" y="1529"/>
                      </a:lnTo>
                      <a:lnTo>
                        <a:pt x="224" y="1527"/>
                      </a:lnTo>
                      <a:lnTo>
                        <a:pt x="226" y="1531"/>
                      </a:lnTo>
                      <a:lnTo>
                        <a:pt x="222" y="1535"/>
                      </a:lnTo>
                      <a:lnTo>
                        <a:pt x="224" y="1538"/>
                      </a:lnTo>
                      <a:lnTo>
                        <a:pt x="237" y="1538"/>
                      </a:lnTo>
                      <a:lnTo>
                        <a:pt x="235" y="1540"/>
                      </a:lnTo>
                      <a:lnTo>
                        <a:pt x="222" y="1541"/>
                      </a:lnTo>
                      <a:lnTo>
                        <a:pt x="215" y="1546"/>
                      </a:lnTo>
                      <a:lnTo>
                        <a:pt x="220" y="1554"/>
                      </a:lnTo>
                      <a:lnTo>
                        <a:pt x="232" y="1563"/>
                      </a:lnTo>
                      <a:lnTo>
                        <a:pt x="238" y="1563"/>
                      </a:lnTo>
                      <a:lnTo>
                        <a:pt x="243" y="1566"/>
                      </a:lnTo>
                      <a:lnTo>
                        <a:pt x="248" y="1565"/>
                      </a:lnTo>
                      <a:lnTo>
                        <a:pt x="254" y="1568"/>
                      </a:lnTo>
                      <a:lnTo>
                        <a:pt x="262" y="1567"/>
                      </a:lnTo>
                      <a:lnTo>
                        <a:pt x="269" y="1571"/>
                      </a:lnTo>
                      <a:lnTo>
                        <a:pt x="276" y="1571"/>
                      </a:lnTo>
                      <a:lnTo>
                        <a:pt x="278" y="1565"/>
                      </a:lnTo>
                      <a:lnTo>
                        <a:pt x="285" y="1559"/>
                      </a:lnTo>
                      <a:lnTo>
                        <a:pt x="301" y="1536"/>
                      </a:lnTo>
                      <a:lnTo>
                        <a:pt x="307" y="1519"/>
                      </a:lnTo>
                      <a:lnTo>
                        <a:pt x="313" y="1517"/>
                      </a:lnTo>
                      <a:lnTo>
                        <a:pt x="312" y="1512"/>
                      </a:lnTo>
                      <a:lnTo>
                        <a:pt x="305" y="1507"/>
                      </a:lnTo>
                      <a:lnTo>
                        <a:pt x="301" y="1496"/>
                      </a:lnTo>
                      <a:lnTo>
                        <a:pt x="318" y="1468"/>
                      </a:lnTo>
                      <a:lnTo>
                        <a:pt x="334" y="1457"/>
                      </a:lnTo>
                      <a:lnTo>
                        <a:pt x="342" y="1447"/>
                      </a:lnTo>
                      <a:lnTo>
                        <a:pt x="348" y="1442"/>
                      </a:lnTo>
                      <a:lnTo>
                        <a:pt x="361" y="1441"/>
                      </a:lnTo>
                      <a:lnTo>
                        <a:pt x="328" y="1471"/>
                      </a:lnTo>
                      <a:lnTo>
                        <a:pt x="312" y="1495"/>
                      </a:lnTo>
                      <a:lnTo>
                        <a:pt x="311" y="1501"/>
                      </a:lnTo>
                      <a:lnTo>
                        <a:pt x="312" y="1504"/>
                      </a:lnTo>
                      <a:lnTo>
                        <a:pt x="318" y="1509"/>
                      </a:lnTo>
                      <a:lnTo>
                        <a:pt x="321" y="1519"/>
                      </a:lnTo>
                      <a:lnTo>
                        <a:pt x="322" y="1528"/>
                      </a:lnTo>
                      <a:lnTo>
                        <a:pt x="326" y="1538"/>
                      </a:lnTo>
                      <a:lnTo>
                        <a:pt x="333" y="1546"/>
                      </a:lnTo>
                      <a:lnTo>
                        <a:pt x="343" y="1576"/>
                      </a:lnTo>
                      <a:lnTo>
                        <a:pt x="349" y="1583"/>
                      </a:lnTo>
                      <a:lnTo>
                        <a:pt x="349" y="1589"/>
                      </a:lnTo>
                      <a:lnTo>
                        <a:pt x="338" y="1604"/>
                      </a:lnTo>
                      <a:lnTo>
                        <a:pt x="337" y="1608"/>
                      </a:lnTo>
                      <a:lnTo>
                        <a:pt x="333" y="1609"/>
                      </a:lnTo>
                      <a:lnTo>
                        <a:pt x="332" y="1617"/>
                      </a:lnTo>
                      <a:lnTo>
                        <a:pt x="338" y="1631"/>
                      </a:lnTo>
                      <a:lnTo>
                        <a:pt x="343" y="1627"/>
                      </a:lnTo>
                      <a:lnTo>
                        <a:pt x="350" y="1627"/>
                      </a:lnTo>
                      <a:lnTo>
                        <a:pt x="356" y="1631"/>
                      </a:lnTo>
                      <a:lnTo>
                        <a:pt x="351" y="1633"/>
                      </a:lnTo>
                      <a:lnTo>
                        <a:pt x="345" y="1641"/>
                      </a:lnTo>
                      <a:lnTo>
                        <a:pt x="346" y="1657"/>
                      </a:lnTo>
                      <a:lnTo>
                        <a:pt x="351" y="1657"/>
                      </a:lnTo>
                      <a:lnTo>
                        <a:pt x="355" y="1660"/>
                      </a:lnTo>
                      <a:lnTo>
                        <a:pt x="351" y="1662"/>
                      </a:lnTo>
                      <a:lnTo>
                        <a:pt x="342" y="1673"/>
                      </a:lnTo>
                      <a:lnTo>
                        <a:pt x="333" y="1673"/>
                      </a:lnTo>
                      <a:lnTo>
                        <a:pt x="326" y="1680"/>
                      </a:lnTo>
                      <a:lnTo>
                        <a:pt x="345" y="1683"/>
                      </a:lnTo>
                      <a:lnTo>
                        <a:pt x="357" y="1676"/>
                      </a:lnTo>
                      <a:lnTo>
                        <a:pt x="366" y="1664"/>
                      </a:lnTo>
                      <a:lnTo>
                        <a:pt x="373" y="1662"/>
                      </a:lnTo>
                      <a:lnTo>
                        <a:pt x="388" y="1649"/>
                      </a:lnTo>
                      <a:lnTo>
                        <a:pt x="399" y="1649"/>
                      </a:lnTo>
                      <a:lnTo>
                        <a:pt x="413" y="1637"/>
                      </a:lnTo>
                      <a:lnTo>
                        <a:pt x="426" y="1611"/>
                      </a:lnTo>
                      <a:lnTo>
                        <a:pt x="429" y="1620"/>
                      </a:lnTo>
                      <a:lnTo>
                        <a:pt x="429" y="1630"/>
                      </a:lnTo>
                      <a:lnTo>
                        <a:pt x="425" y="1635"/>
                      </a:lnTo>
                      <a:lnTo>
                        <a:pt x="425" y="1642"/>
                      </a:lnTo>
                      <a:lnTo>
                        <a:pt x="426" y="1648"/>
                      </a:lnTo>
                      <a:lnTo>
                        <a:pt x="432" y="1654"/>
                      </a:lnTo>
                      <a:lnTo>
                        <a:pt x="436" y="1653"/>
                      </a:lnTo>
                      <a:lnTo>
                        <a:pt x="440" y="1659"/>
                      </a:lnTo>
                      <a:lnTo>
                        <a:pt x="446" y="1662"/>
                      </a:lnTo>
                      <a:lnTo>
                        <a:pt x="456" y="1653"/>
                      </a:lnTo>
                      <a:lnTo>
                        <a:pt x="458" y="1648"/>
                      </a:lnTo>
                      <a:lnTo>
                        <a:pt x="461" y="1652"/>
                      </a:lnTo>
                      <a:lnTo>
                        <a:pt x="466" y="1652"/>
                      </a:lnTo>
                      <a:lnTo>
                        <a:pt x="464" y="1658"/>
                      </a:lnTo>
                      <a:lnTo>
                        <a:pt x="470" y="1662"/>
                      </a:lnTo>
                      <a:lnTo>
                        <a:pt x="477" y="1670"/>
                      </a:lnTo>
                      <a:lnTo>
                        <a:pt x="491" y="1699"/>
                      </a:lnTo>
                      <a:lnTo>
                        <a:pt x="498" y="1703"/>
                      </a:lnTo>
                      <a:lnTo>
                        <a:pt x="501" y="1702"/>
                      </a:lnTo>
                      <a:lnTo>
                        <a:pt x="509" y="1694"/>
                      </a:lnTo>
                      <a:lnTo>
                        <a:pt x="509" y="1678"/>
                      </a:lnTo>
                      <a:lnTo>
                        <a:pt x="504" y="1668"/>
                      </a:lnTo>
                      <a:lnTo>
                        <a:pt x="506" y="1664"/>
                      </a:lnTo>
                      <a:lnTo>
                        <a:pt x="511" y="1654"/>
                      </a:lnTo>
                      <a:lnTo>
                        <a:pt x="520" y="1647"/>
                      </a:lnTo>
                      <a:lnTo>
                        <a:pt x="522" y="1641"/>
                      </a:lnTo>
                      <a:lnTo>
                        <a:pt x="526" y="1640"/>
                      </a:lnTo>
                      <a:lnTo>
                        <a:pt x="526" y="1647"/>
                      </a:lnTo>
                      <a:lnTo>
                        <a:pt x="522" y="1660"/>
                      </a:lnTo>
                      <a:lnTo>
                        <a:pt x="538" y="1676"/>
                      </a:lnTo>
                      <a:lnTo>
                        <a:pt x="548" y="1679"/>
                      </a:lnTo>
                      <a:lnTo>
                        <a:pt x="572" y="1667"/>
                      </a:lnTo>
                      <a:lnTo>
                        <a:pt x="590" y="1653"/>
                      </a:lnTo>
                      <a:lnTo>
                        <a:pt x="607" y="1636"/>
                      </a:lnTo>
                      <a:lnTo>
                        <a:pt x="619" y="1629"/>
                      </a:lnTo>
                      <a:lnTo>
                        <a:pt x="620" y="1632"/>
                      </a:lnTo>
                      <a:lnTo>
                        <a:pt x="606" y="1658"/>
                      </a:lnTo>
                      <a:lnTo>
                        <a:pt x="599" y="1663"/>
                      </a:lnTo>
                      <a:lnTo>
                        <a:pt x="603" y="1664"/>
                      </a:lnTo>
                      <a:lnTo>
                        <a:pt x="603" y="1667"/>
                      </a:lnTo>
                      <a:lnTo>
                        <a:pt x="595" y="1679"/>
                      </a:lnTo>
                      <a:lnTo>
                        <a:pt x="584" y="1686"/>
                      </a:lnTo>
                      <a:lnTo>
                        <a:pt x="579" y="1713"/>
                      </a:lnTo>
                      <a:lnTo>
                        <a:pt x="588" y="1714"/>
                      </a:lnTo>
                      <a:lnTo>
                        <a:pt x="575" y="1729"/>
                      </a:lnTo>
                      <a:lnTo>
                        <a:pt x="570" y="1760"/>
                      </a:lnTo>
                      <a:lnTo>
                        <a:pt x="569" y="1775"/>
                      </a:lnTo>
                      <a:lnTo>
                        <a:pt x="566" y="1783"/>
                      </a:lnTo>
                      <a:lnTo>
                        <a:pt x="560" y="1792"/>
                      </a:lnTo>
                      <a:lnTo>
                        <a:pt x="549" y="1814"/>
                      </a:lnTo>
                      <a:lnTo>
                        <a:pt x="545" y="1810"/>
                      </a:lnTo>
                      <a:lnTo>
                        <a:pt x="541" y="1812"/>
                      </a:lnTo>
                      <a:lnTo>
                        <a:pt x="538" y="1819"/>
                      </a:lnTo>
                      <a:lnTo>
                        <a:pt x="525" y="1837"/>
                      </a:lnTo>
                      <a:lnTo>
                        <a:pt x="522" y="1837"/>
                      </a:lnTo>
                      <a:lnTo>
                        <a:pt x="518" y="1846"/>
                      </a:lnTo>
                      <a:lnTo>
                        <a:pt x="516" y="1858"/>
                      </a:lnTo>
                      <a:lnTo>
                        <a:pt x="512" y="1866"/>
                      </a:lnTo>
                      <a:lnTo>
                        <a:pt x="506" y="1863"/>
                      </a:lnTo>
                      <a:lnTo>
                        <a:pt x="502" y="1867"/>
                      </a:lnTo>
                      <a:lnTo>
                        <a:pt x="498" y="1863"/>
                      </a:lnTo>
                      <a:lnTo>
                        <a:pt x="484" y="1877"/>
                      </a:lnTo>
                      <a:lnTo>
                        <a:pt x="472" y="1879"/>
                      </a:lnTo>
                      <a:lnTo>
                        <a:pt x="456" y="1891"/>
                      </a:lnTo>
                      <a:lnTo>
                        <a:pt x="451" y="1890"/>
                      </a:lnTo>
                      <a:lnTo>
                        <a:pt x="431" y="1910"/>
                      </a:lnTo>
                      <a:lnTo>
                        <a:pt x="423" y="1925"/>
                      </a:lnTo>
                      <a:lnTo>
                        <a:pt x="416" y="1932"/>
                      </a:lnTo>
                      <a:lnTo>
                        <a:pt x="414" y="1939"/>
                      </a:lnTo>
                      <a:lnTo>
                        <a:pt x="412" y="1952"/>
                      </a:lnTo>
                      <a:lnTo>
                        <a:pt x="410" y="1953"/>
                      </a:lnTo>
                      <a:lnTo>
                        <a:pt x="424" y="1958"/>
                      </a:lnTo>
                      <a:lnTo>
                        <a:pt x="427" y="1964"/>
                      </a:lnTo>
                      <a:lnTo>
                        <a:pt x="418" y="1963"/>
                      </a:lnTo>
                      <a:lnTo>
                        <a:pt x="412" y="1958"/>
                      </a:lnTo>
                      <a:lnTo>
                        <a:pt x="404" y="1955"/>
                      </a:lnTo>
                      <a:lnTo>
                        <a:pt x="403" y="1960"/>
                      </a:lnTo>
                      <a:lnTo>
                        <a:pt x="399" y="1963"/>
                      </a:lnTo>
                      <a:lnTo>
                        <a:pt x="394" y="1960"/>
                      </a:lnTo>
                      <a:lnTo>
                        <a:pt x="389" y="1953"/>
                      </a:lnTo>
                      <a:lnTo>
                        <a:pt x="393" y="1948"/>
                      </a:lnTo>
                      <a:lnTo>
                        <a:pt x="393" y="1943"/>
                      </a:lnTo>
                      <a:lnTo>
                        <a:pt x="383" y="1945"/>
                      </a:lnTo>
                      <a:lnTo>
                        <a:pt x="375" y="1942"/>
                      </a:lnTo>
                      <a:lnTo>
                        <a:pt x="370" y="1943"/>
                      </a:lnTo>
                      <a:lnTo>
                        <a:pt x="365" y="1947"/>
                      </a:lnTo>
                      <a:lnTo>
                        <a:pt x="349" y="1953"/>
                      </a:lnTo>
                      <a:lnTo>
                        <a:pt x="326" y="1968"/>
                      </a:lnTo>
                      <a:lnTo>
                        <a:pt x="310" y="1982"/>
                      </a:lnTo>
                      <a:lnTo>
                        <a:pt x="303" y="1992"/>
                      </a:lnTo>
                      <a:lnTo>
                        <a:pt x="301" y="1995"/>
                      </a:lnTo>
                      <a:lnTo>
                        <a:pt x="300" y="1997"/>
                      </a:lnTo>
                      <a:lnTo>
                        <a:pt x="300" y="2006"/>
                      </a:lnTo>
                      <a:lnTo>
                        <a:pt x="286" y="2013"/>
                      </a:lnTo>
                      <a:lnTo>
                        <a:pt x="286" y="2018"/>
                      </a:lnTo>
                      <a:lnTo>
                        <a:pt x="281" y="2022"/>
                      </a:lnTo>
                      <a:lnTo>
                        <a:pt x="276" y="2018"/>
                      </a:lnTo>
                      <a:lnTo>
                        <a:pt x="274" y="2018"/>
                      </a:lnTo>
                      <a:lnTo>
                        <a:pt x="270" y="2022"/>
                      </a:lnTo>
                      <a:lnTo>
                        <a:pt x="263" y="2026"/>
                      </a:lnTo>
                      <a:lnTo>
                        <a:pt x="258" y="2028"/>
                      </a:lnTo>
                      <a:lnTo>
                        <a:pt x="252" y="2031"/>
                      </a:lnTo>
                      <a:lnTo>
                        <a:pt x="252" y="2033"/>
                      </a:lnTo>
                      <a:lnTo>
                        <a:pt x="257" y="2033"/>
                      </a:lnTo>
                      <a:lnTo>
                        <a:pt x="260" y="2042"/>
                      </a:lnTo>
                      <a:lnTo>
                        <a:pt x="259" y="2054"/>
                      </a:lnTo>
                      <a:lnTo>
                        <a:pt x="263" y="2054"/>
                      </a:lnTo>
                      <a:lnTo>
                        <a:pt x="269" y="2050"/>
                      </a:lnTo>
                      <a:lnTo>
                        <a:pt x="271" y="2044"/>
                      </a:lnTo>
                      <a:lnTo>
                        <a:pt x="269" y="2031"/>
                      </a:lnTo>
                      <a:lnTo>
                        <a:pt x="274" y="2031"/>
                      </a:lnTo>
                      <a:lnTo>
                        <a:pt x="278" y="2040"/>
                      </a:lnTo>
                      <a:lnTo>
                        <a:pt x="284" y="2045"/>
                      </a:lnTo>
                      <a:lnTo>
                        <a:pt x="301" y="2038"/>
                      </a:lnTo>
                      <a:lnTo>
                        <a:pt x="297" y="2019"/>
                      </a:lnTo>
                      <a:lnTo>
                        <a:pt x="299" y="2017"/>
                      </a:lnTo>
                      <a:lnTo>
                        <a:pt x="305" y="2023"/>
                      </a:lnTo>
                      <a:lnTo>
                        <a:pt x="307" y="2028"/>
                      </a:lnTo>
                      <a:lnTo>
                        <a:pt x="306" y="2034"/>
                      </a:lnTo>
                      <a:lnTo>
                        <a:pt x="312" y="2034"/>
                      </a:lnTo>
                      <a:lnTo>
                        <a:pt x="316" y="2036"/>
                      </a:lnTo>
                      <a:lnTo>
                        <a:pt x="322" y="2033"/>
                      </a:lnTo>
                      <a:lnTo>
                        <a:pt x="324" y="2029"/>
                      </a:lnTo>
                      <a:lnTo>
                        <a:pt x="328" y="2031"/>
                      </a:lnTo>
                      <a:lnTo>
                        <a:pt x="332" y="2028"/>
                      </a:lnTo>
                      <a:lnTo>
                        <a:pt x="334" y="2020"/>
                      </a:lnTo>
                      <a:lnTo>
                        <a:pt x="342" y="2013"/>
                      </a:lnTo>
                      <a:lnTo>
                        <a:pt x="344" y="2001"/>
                      </a:lnTo>
                      <a:lnTo>
                        <a:pt x="349" y="1987"/>
                      </a:lnTo>
                      <a:lnTo>
                        <a:pt x="356" y="1982"/>
                      </a:lnTo>
                      <a:lnTo>
                        <a:pt x="364" y="1981"/>
                      </a:lnTo>
                      <a:lnTo>
                        <a:pt x="365" y="1992"/>
                      </a:lnTo>
                      <a:lnTo>
                        <a:pt x="357" y="2001"/>
                      </a:lnTo>
                      <a:lnTo>
                        <a:pt x="360" y="2006"/>
                      </a:lnTo>
                      <a:lnTo>
                        <a:pt x="373" y="2002"/>
                      </a:lnTo>
                      <a:lnTo>
                        <a:pt x="388" y="1993"/>
                      </a:lnTo>
                      <a:lnTo>
                        <a:pt x="402" y="1996"/>
                      </a:lnTo>
                      <a:lnTo>
                        <a:pt x="402" y="1990"/>
                      </a:lnTo>
                      <a:lnTo>
                        <a:pt x="404" y="1988"/>
                      </a:lnTo>
                      <a:lnTo>
                        <a:pt x="405" y="1983"/>
                      </a:lnTo>
                      <a:lnTo>
                        <a:pt x="413" y="1991"/>
                      </a:lnTo>
                      <a:lnTo>
                        <a:pt x="418" y="1982"/>
                      </a:lnTo>
                      <a:lnTo>
                        <a:pt x="419" y="1980"/>
                      </a:lnTo>
                      <a:lnTo>
                        <a:pt x="423" y="1976"/>
                      </a:lnTo>
                      <a:lnTo>
                        <a:pt x="432" y="1975"/>
                      </a:lnTo>
                      <a:lnTo>
                        <a:pt x="436" y="1969"/>
                      </a:lnTo>
                      <a:lnTo>
                        <a:pt x="441" y="1966"/>
                      </a:lnTo>
                      <a:lnTo>
                        <a:pt x="446" y="1966"/>
                      </a:lnTo>
                      <a:lnTo>
                        <a:pt x="450" y="1961"/>
                      </a:lnTo>
                      <a:lnTo>
                        <a:pt x="457" y="1961"/>
                      </a:lnTo>
                      <a:lnTo>
                        <a:pt x="459" y="1968"/>
                      </a:lnTo>
                      <a:lnTo>
                        <a:pt x="459" y="1979"/>
                      </a:lnTo>
                      <a:lnTo>
                        <a:pt x="458" y="1986"/>
                      </a:lnTo>
                      <a:lnTo>
                        <a:pt x="459" y="1987"/>
                      </a:lnTo>
                      <a:lnTo>
                        <a:pt x="468" y="1969"/>
                      </a:lnTo>
                      <a:lnTo>
                        <a:pt x="470" y="1955"/>
                      </a:lnTo>
                      <a:lnTo>
                        <a:pt x="473" y="1958"/>
                      </a:lnTo>
                      <a:lnTo>
                        <a:pt x="478" y="1958"/>
                      </a:lnTo>
                      <a:lnTo>
                        <a:pt x="495" y="1954"/>
                      </a:lnTo>
                      <a:lnTo>
                        <a:pt x="506" y="1945"/>
                      </a:lnTo>
                      <a:lnTo>
                        <a:pt x="512" y="1945"/>
                      </a:lnTo>
                      <a:lnTo>
                        <a:pt x="516" y="1941"/>
                      </a:lnTo>
                      <a:lnTo>
                        <a:pt x="515" y="1931"/>
                      </a:lnTo>
                      <a:lnTo>
                        <a:pt x="515" y="1925"/>
                      </a:lnTo>
                      <a:lnTo>
                        <a:pt x="506" y="1922"/>
                      </a:lnTo>
                      <a:lnTo>
                        <a:pt x="498" y="1915"/>
                      </a:lnTo>
                      <a:lnTo>
                        <a:pt x="493" y="1907"/>
                      </a:lnTo>
                      <a:lnTo>
                        <a:pt x="490" y="1898"/>
                      </a:lnTo>
                      <a:lnTo>
                        <a:pt x="495" y="1898"/>
                      </a:lnTo>
                      <a:lnTo>
                        <a:pt x="499" y="1909"/>
                      </a:lnTo>
                      <a:lnTo>
                        <a:pt x="504" y="1915"/>
                      </a:lnTo>
                      <a:lnTo>
                        <a:pt x="513" y="1916"/>
                      </a:lnTo>
                      <a:lnTo>
                        <a:pt x="528" y="1902"/>
                      </a:lnTo>
                      <a:lnTo>
                        <a:pt x="538" y="1899"/>
                      </a:lnTo>
                      <a:lnTo>
                        <a:pt x="556" y="1899"/>
                      </a:lnTo>
                      <a:lnTo>
                        <a:pt x="560" y="1890"/>
                      </a:lnTo>
                      <a:lnTo>
                        <a:pt x="558" y="1889"/>
                      </a:lnTo>
                      <a:lnTo>
                        <a:pt x="548" y="1891"/>
                      </a:lnTo>
                      <a:lnTo>
                        <a:pt x="552" y="1886"/>
                      </a:lnTo>
                      <a:lnTo>
                        <a:pt x="564" y="1879"/>
                      </a:lnTo>
                      <a:lnTo>
                        <a:pt x="569" y="1884"/>
                      </a:lnTo>
                      <a:lnTo>
                        <a:pt x="577" y="1884"/>
                      </a:lnTo>
                      <a:lnTo>
                        <a:pt x="576" y="1872"/>
                      </a:lnTo>
                      <a:lnTo>
                        <a:pt x="577" y="1864"/>
                      </a:lnTo>
                      <a:lnTo>
                        <a:pt x="584" y="1862"/>
                      </a:lnTo>
                      <a:lnTo>
                        <a:pt x="596" y="1867"/>
                      </a:lnTo>
                      <a:lnTo>
                        <a:pt x="609" y="1855"/>
                      </a:lnTo>
                      <a:lnTo>
                        <a:pt x="611" y="1850"/>
                      </a:lnTo>
                      <a:lnTo>
                        <a:pt x="615" y="1851"/>
                      </a:lnTo>
                      <a:lnTo>
                        <a:pt x="618" y="1848"/>
                      </a:lnTo>
                      <a:lnTo>
                        <a:pt x="619" y="1843"/>
                      </a:lnTo>
                      <a:lnTo>
                        <a:pt x="625" y="1847"/>
                      </a:lnTo>
                      <a:lnTo>
                        <a:pt x="627" y="1843"/>
                      </a:lnTo>
                      <a:lnTo>
                        <a:pt x="634" y="1839"/>
                      </a:lnTo>
                      <a:lnTo>
                        <a:pt x="639" y="1831"/>
                      </a:lnTo>
                      <a:lnTo>
                        <a:pt x="639" y="1818"/>
                      </a:lnTo>
                      <a:lnTo>
                        <a:pt x="633" y="1818"/>
                      </a:lnTo>
                      <a:lnTo>
                        <a:pt x="630" y="1815"/>
                      </a:lnTo>
                      <a:lnTo>
                        <a:pt x="635" y="1809"/>
                      </a:lnTo>
                      <a:lnTo>
                        <a:pt x="652" y="1797"/>
                      </a:lnTo>
                      <a:lnTo>
                        <a:pt x="655" y="1800"/>
                      </a:lnTo>
                      <a:lnTo>
                        <a:pt x="658" y="1788"/>
                      </a:lnTo>
                      <a:lnTo>
                        <a:pt x="672" y="1788"/>
                      </a:lnTo>
                      <a:lnTo>
                        <a:pt x="673" y="1783"/>
                      </a:lnTo>
                      <a:lnTo>
                        <a:pt x="676" y="1778"/>
                      </a:lnTo>
                      <a:lnTo>
                        <a:pt x="677" y="1770"/>
                      </a:lnTo>
                      <a:lnTo>
                        <a:pt x="684" y="1770"/>
                      </a:lnTo>
                      <a:lnTo>
                        <a:pt x="693" y="1775"/>
                      </a:lnTo>
                      <a:lnTo>
                        <a:pt x="698" y="1764"/>
                      </a:lnTo>
                      <a:lnTo>
                        <a:pt x="701" y="1762"/>
                      </a:lnTo>
                      <a:lnTo>
                        <a:pt x="708" y="1757"/>
                      </a:lnTo>
                      <a:lnTo>
                        <a:pt x="712" y="1751"/>
                      </a:lnTo>
                      <a:lnTo>
                        <a:pt x="714" y="1746"/>
                      </a:lnTo>
                      <a:lnTo>
                        <a:pt x="726" y="1742"/>
                      </a:lnTo>
                      <a:lnTo>
                        <a:pt x="740" y="1739"/>
                      </a:lnTo>
                      <a:lnTo>
                        <a:pt x="746" y="1729"/>
                      </a:lnTo>
                      <a:lnTo>
                        <a:pt x="752" y="1732"/>
                      </a:lnTo>
                      <a:lnTo>
                        <a:pt x="763" y="1726"/>
                      </a:lnTo>
                      <a:lnTo>
                        <a:pt x="764" y="1717"/>
                      </a:lnTo>
                      <a:lnTo>
                        <a:pt x="757" y="1712"/>
                      </a:lnTo>
                      <a:lnTo>
                        <a:pt x="767" y="1707"/>
                      </a:lnTo>
                      <a:lnTo>
                        <a:pt x="767" y="1703"/>
                      </a:lnTo>
                      <a:lnTo>
                        <a:pt x="765" y="1699"/>
                      </a:lnTo>
                      <a:lnTo>
                        <a:pt x="767" y="1692"/>
                      </a:lnTo>
                      <a:lnTo>
                        <a:pt x="773" y="1691"/>
                      </a:lnTo>
                      <a:lnTo>
                        <a:pt x="779" y="1681"/>
                      </a:lnTo>
                      <a:lnTo>
                        <a:pt x="796" y="1675"/>
                      </a:lnTo>
                      <a:lnTo>
                        <a:pt x="803" y="1668"/>
                      </a:lnTo>
                      <a:lnTo>
                        <a:pt x="805" y="1660"/>
                      </a:lnTo>
                      <a:lnTo>
                        <a:pt x="805" y="1653"/>
                      </a:lnTo>
                      <a:lnTo>
                        <a:pt x="801" y="1649"/>
                      </a:lnTo>
                      <a:lnTo>
                        <a:pt x="787" y="1642"/>
                      </a:lnTo>
                      <a:lnTo>
                        <a:pt x="785" y="1637"/>
                      </a:lnTo>
                      <a:lnTo>
                        <a:pt x="776" y="1633"/>
                      </a:lnTo>
                      <a:lnTo>
                        <a:pt x="762" y="1638"/>
                      </a:lnTo>
                      <a:lnTo>
                        <a:pt x="757" y="1636"/>
                      </a:lnTo>
                      <a:lnTo>
                        <a:pt x="765" y="1605"/>
                      </a:lnTo>
                      <a:lnTo>
                        <a:pt x="765" y="1600"/>
                      </a:lnTo>
                      <a:lnTo>
                        <a:pt x="779" y="1598"/>
                      </a:lnTo>
                      <a:lnTo>
                        <a:pt x="785" y="1592"/>
                      </a:lnTo>
                      <a:lnTo>
                        <a:pt x="785" y="1586"/>
                      </a:lnTo>
                      <a:lnTo>
                        <a:pt x="791" y="1582"/>
                      </a:lnTo>
                      <a:lnTo>
                        <a:pt x="791" y="1574"/>
                      </a:lnTo>
                      <a:lnTo>
                        <a:pt x="790" y="1566"/>
                      </a:lnTo>
                      <a:lnTo>
                        <a:pt x="795" y="1570"/>
                      </a:lnTo>
                      <a:lnTo>
                        <a:pt x="797" y="1561"/>
                      </a:lnTo>
                      <a:lnTo>
                        <a:pt x="805" y="1559"/>
                      </a:lnTo>
                      <a:lnTo>
                        <a:pt x="805" y="1568"/>
                      </a:lnTo>
                      <a:lnTo>
                        <a:pt x="816" y="1566"/>
                      </a:lnTo>
                      <a:lnTo>
                        <a:pt x="822" y="1561"/>
                      </a:lnTo>
                      <a:lnTo>
                        <a:pt x="822" y="1554"/>
                      </a:lnTo>
                      <a:lnTo>
                        <a:pt x="812" y="1550"/>
                      </a:lnTo>
                      <a:lnTo>
                        <a:pt x="818" y="1546"/>
                      </a:lnTo>
                      <a:lnTo>
                        <a:pt x="834" y="1545"/>
                      </a:lnTo>
                      <a:lnTo>
                        <a:pt x="843" y="1533"/>
                      </a:lnTo>
                      <a:lnTo>
                        <a:pt x="843" y="1525"/>
                      </a:lnTo>
                      <a:lnTo>
                        <a:pt x="840" y="1519"/>
                      </a:lnTo>
                      <a:lnTo>
                        <a:pt x="821" y="1502"/>
                      </a:lnTo>
                      <a:lnTo>
                        <a:pt x="827" y="1501"/>
                      </a:lnTo>
                      <a:lnTo>
                        <a:pt x="833" y="1508"/>
                      </a:lnTo>
                      <a:lnTo>
                        <a:pt x="846" y="1508"/>
                      </a:lnTo>
                      <a:lnTo>
                        <a:pt x="864" y="1490"/>
                      </a:lnTo>
                      <a:lnTo>
                        <a:pt x="870" y="1470"/>
                      </a:lnTo>
                      <a:lnTo>
                        <a:pt x="889" y="1447"/>
                      </a:lnTo>
                      <a:lnTo>
                        <a:pt x="892" y="1433"/>
                      </a:lnTo>
                      <a:lnTo>
                        <a:pt x="925" y="1415"/>
                      </a:lnTo>
                      <a:lnTo>
                        <a:pt x="950" y="1390"/>
                      </a:lnTo>
                      <a:lnTo>
                        <a:pt x="950" y="1383"/>
                      </a:lnTo>
                      <a:lnTo>
                        <a:pt x="948" y="1374"/>
                      </a:lnTo>
                      <a:lnTo>
                        <a:pt x="950" y="1362"/>
                      </a:lnTo>
                      <a:lnTo>
                        <a:pt x="953" y="1353"/>
                      </a:lnTo>
                      <a:lnTo>
                        <a:pt x="959" y="1342"/>
                      </a:lnTo>
                      <a:lnTo>
                        <a:pt x="973" y="1305"/>
                      </a:lnTo>
                      <a:lnTo>
                        <a:pt x="974" y="1296"/>
                      </a:lnTo>
                      <a:lnTo>
                        <a:pt x="974" y="1287"/>
                      </a:lnTo>
                      <a:lnTo>
                        <a:pt x="977" y="1276"/>
                      </a:lnTo>
                      <a:lnTo>
                        <a:pt x="982" y="1278"/>
                      </a:lnTo>
                      <a:lnTo>
                        <a:pt x="983" y="1287"/>
                      </a:lnTo>
                      <a:lnTo>
                        <a:pt x="978" y="1329"/>
                      </a:lnTo>
                      <a:lnTo>
                        <a:pt x="973" y="1342"/>
                      </a:lnTo>
                      <a:lnTo>
                        <a:pt x="961" y="1364"/>
                      </a:lnTo>
                      <a:lnTo>
                        <a:pt x="957" y="1378"/>
                      </a:lnTo>
                      <a:lnTo>
                        <a:pt x="957" y="1390"/>
                      </a:lnTo>
                      <a:lnTo>
                        <a:pt x="962" y="1395"/>
                      </a:lnTo>
                      <a:lnTo>
                        <a:pt x="983" y="1394"/>
                      </a:lnTo>
                      <a:lnTo>
                        <a:pt x="1002" y="1373"/>
                      </a:lnTo>
                      <a:lnTo>
                        <a:pt x="1017" y="1366"/>
                      </a:lnTo>
                      <a:lnTo>
                        <a:pt x="1027" y="1364"/>
                      </a:lnTo>
                      <a:lnTo>
                        <a:pt x="1018" y="1374"/>
                      </a:lnTo>
                      <a:lnTo>
                        <a:pt x="1011" y="1378"/>
                      </a:lnTo>
                      <a:lnTo>
                        <a:pt x="1001" y="1385"/>
                      </a:lnTo>
                      <a:lnTo>
                        <a:pt x="996" y="1395"/>
                      </a:lnTo>
                      <a:lnTo>
                        <a:pt x="988" y="1401"/>
                      </a:lnTo>
                      <a:lnTo>
                        <a:pt x="988" y="1411"/>
                      </a:lnTo>
                      <a:lnTo>
                        <a:pt x="995" y="1418"/>
                      </a:lnTo>
                      <a:lnTo>
                        <a:pt x="1021" y="1425"/>
                      </a:lnTo>
                      <a:lnTo>
                        <a:pt x="1042" y="1436"/>
                      </a:lnTo>
                      <a:lnTo>
                        <a:pt x="999" y="1428"/>
                      </a:lnTo>
                      <a:lnTo>
                        <a:pt x="983" y="1436"/>
                      </a:lnTo>
                      <a:lnTo>
                        <a:pt x="975" y="1434"/>
                      </a:lnTo>
                      <a:lnTo>
                        <a:pt x="968" y="1422"/>
                      </a:lnTo>
                      <a:lnTo>
                        <a:pt x="962" y="1423"/>
                      </a:lnTo>
                      <a:lnTo>
                        <a:pt x="954" y="1428"/>
                      </a:lnTo>
                      <a:lnTo>
                        <a:pt x="946" y="1437"/>
                      </a:lnTo>
                      <a:lnTo>
                        <a:pt x="918" y="1450"/>
                      </a:lnTo>
                      <a:lnTo>
                        <a:pt x="913" y="1459"/>
                      </a:lnTo>
                      <a:lnTo>
                        <a:pt x="916" y="1471"/>
                      </a:lnTo>
                      <a:lnTo>
                        <a:pt x="916" y="1487"/>
                      </a:lnTo>
                      <a:lnTo>
                        <a:pt x="914" y="1504"/>
                      </a:lnTo>
                      <a:lnTo>
                        <a:pt x="910" y="1513"/>
                      </a:lnTo>
                      <a:lnTo>
                        <a:pt x="902" y="1522"/>
                      </a:lnTo>
                      <a:lnTo>
                        <a:pt x="897" y="1534"/>
                      </a:lnTo>
                      <a:lnTo>
                        <a:pt x="896" y="1541"/>
                      </a:lnTo>
                      <a:lnTo>
                        <a:pt x="891" y="1551"/>
                      </a:lnTo>
                      <a:lnTo>
                        <a:pt x="888" y="1561"/>
                      </a:lnTo>
                      <a:lnTo>
                        <a:pt x="892" y="1567"/>
                      </a:lnTo>
                      <a:lnTo>
                        <a:pt x="904" y="1574"/>
                      </a:lnTo>
                      <a:lnTo>
                        <a:pt x="931" y="1557"/>
                      </a:lnTo>
                      <a:lnTo>
                        <a:pt x="936" y="1559"/>
                      </a:lnTo>
                      <a:lnTo>
                        <a:pt x="931" y="1571"/>
                      </a:lnTo>
                      <a:lnTo>
                        <a:pt x="926" y="1579"/>
                      </a:lnTo>
                      <a:lnTo>
                        <a:pt x="919" y="1586"/>
                      </a:lnTo>
                      <a:lnTo>
                        <a:pt x="913" y="1586"/>
                      </a:lnTo>
                      <a:lnTo>
                        <a:pt x="912" y="1589"/>
                      </a:lnTo>
                      <a:lnTo>
                        <a:pt x="916" y="1593"/>
                      </a:lnTo>
                      <a:lnTo>
                        <a:pt x="904" y="1589"/>
                      </a:lnTo>
                      <a:lnTo>
                        <a:pt x="902" y="1589"/>
                      </a:lnTo>
                      <a:lnTo>
                        <a:pt x="899" y="1592"/>
                      </a:lnTo>
                      <a:lnTo>
                        <a:pt x="898" y="1598"/>
                      </a:lnTo>
                      <a:lnTo>
                        <a:pt x="892" y="1592"/>
                      </a:lnTo>
                      <a:lnTo>
                        <a:pt x="888" y="1598"/>
                      </a:lnTo>
                      <a:lnTo>
                        <a:pt x="889" y="1604"/>
                      </a:lnTo>
                      <a:lnTo>
                        <a:pt x="883" y="1606"/>
                      </a:lnTo>
                      <a:lnTo>
                        <a:pt x="883" y="1615"/>
                      </a:lnTo>
                      <a:lnTo>
                        <a:pt x="892" y="1617"/>
                      </a:lnTo>
                      <a:lnTo>
                        <a:pt x="896" y="1622"/>
                      </a:lnTo>
                      <a:lnTo>
                        <a:pt x="907" y="1619"/>
                      </a:lnTo>
                      <a:lnTo>
                        <a:pt x="923" y="1617"/>
                      </a:lnTo>
                      <a:lnTo>
                        <a:pt x="923" y="1608"/>
                      </a:lnTo>
                      <a:lnTo>
                        <a:pt x="924" y="1605"/>
                      </a:lnTo>
                      <a:lnTo>
                        <a:pt x="932" y="1609"/>
                      </a:lnTo>
                      <a:lnTo>
                        <a:pt x="939" y="1614"/>
                      </a:lnTo>
                      <a:lnTo>
                        <a:pt x="948" y="1595"/>
                      </a:lnTo>
                      <a:lnTo>
                        <a:pt x="957" y="1584"/>
                      </a:lnTo>
                      <a:lnTo>
                        <a:pt x="963" y="1586"/>
                      </a:lnTo>
                      <a:lnTo>
                        <a:pt x="970" y="1581"/>
                      </a:lnTo>
                      <a:lnTo>
                        <a:pt x="970" y="1592"/>
                      </a:lnTo>
                      <a:lnTo>
                        <a:pt x="968" y="1603"/>
                      </a:lnTo>
                      <a:lnTo>
                        <a:pt x="980" y="1583"/>
                      </a:lnTo>
                      <a:lnTo>
                        <a:pt x="980" y="1572"/>
                      </a:lnTo>
                      <a:lnTo>
                        <a:pt x="993" y="1565"/>
                      </a:lnTo>
                      <a:lnTo>
                        <a:pt x="997" y="1568"/>
                      </a:lnTo>
                      <a:lnTo>
                        <a:pt x="1002" y="1560"/>
                      </a:lnTo>
                      <a:lnTo>
                        <a:pt x="1000" y="1550"/>
                      </a:lnTo>
                      <a:lnTo>
                        <a:pt x="1001" y="1546"/>
                      </a:lnTo>
                      <a:lnTo>
                        <a:pt x="1005" y="1540"/>
                      </a:lnTo>
                      <a:lnTo>
                        <a:pt x="1007" y="1554"/>
                      </a:lnTo>
                      <a:lnTo>
                        <a:pt x="1011" y="1566"/>
                      </a:lnTo>
                      <a:lnTo>
                        <a:pt x="1013" y="1551"/>
                      </a:lnTo>
                      <a:lnTo>
                        <a:pt x="1015" y="1540"/>
                      </a:lnTo>
                      <a:lnTo>
                        <a:pt x="1020" y="1534"/>
                      </a:lnTo>
                      <a:lnTo>
                        <a:pt x="1020" y="1524"/>
                      </a:lnTo>
                      <a:lnTo>
                        <a:pt x="1023" y="1536"/>
                      </a:lnTo>
                      <a:lnTo>
                        <a:pt x="1028" y="1534"/>
                      </a:lnTo>
                      <a:lnTo>
                        <a:pt x="1033" y="1534"/>
                      </a:lnTo>
                      <a:lnTo>
                        <a:pt x="1038" y="1538"/>
                      </a:lnTo>
                      <a:lnTo>
                        <a:pt x="1055" y="1540"/>
                      </a:lnTo>
                      <a:lnTo>
                        <a:pt x="1064" y="1534"/>
                      </a:lnTo>
                      <a:lnTo>
                        <a:pt x="1069" y="1533"/>
                      </a:lnTo>
                      <a:lnTo>
                        <a:pt x="1074" y="1518"/>
                      </a:lnTo>
                      <a:lnTo>
                        <a:pt x="1077" y="1519"/>
                      </a:lnTo>
                      <a:lnTo>
                        <a:pt x="1083" y="1517"/>
                      </a:lnTo>
                      <a:lnTo>
                        <a:pt x="1088" y="1509"/>
                      </a:lnTo>
                      <a:lnTo>
                        <a:pt x="1085" y="1508"/>
                      </a:lnTo>
                      <a:lnTo>
                        <a:pt x="1082" y="1504"/>
                      </a:lnTo>
                      <a:lnTo>
                        <a:pt x="1076" y="1506"/>
                      </a:lnTo>
                      <a:lnTo>
                        <a:pt x="1081" y="1496"/>
                      </a:lnTo>
                      <a:lnTo>
                        <a:pt x="1088" y="1486"/>
                      </a:lnTo>
                      <a:lnTo>
                        <a:pt x="1093" y="1486"/>
                      </a:lnTo>
                      <a:lnTo>
                        <a:pt x="1096" y="1476"/>
                      </a:lnTo>
                      <a:lnTo>
                        <a:pt x="1091" y="1469"/>
                      </a:lnTo>
                      <a:lnTo>
                        <a:pt x="1082" y="1477"/>
                      </a:lnTo>
                      <a:lnTo>
                        <a:pt x="1076" y="1477"/>
                      </a:lnTo>
                      <a:lnTo>
                        <a:pt x="1065" y="1482"/>
                      </a:lnTo>
                      <a:lnTo>
                        <a:pt x="1064" y="1474"/>
                      </a:lnTo>
                      <a:lnTo>
                        <a:pt x="1074" y="1470"/>
                      </a:lnTo>
                      <a:lnTo>
                        <a:pt x="1082" y="1463"/>
                      </a:lnTo>
                      <a:lnTo>
                        <a:pt x="1083" y="1453"/>
                      </a:lnTo>
                      <a:lnTo>
                        <a:pt x="1076" y="1458"/>
                      </a:lnTo>
                      <a:lnTo>
                        <a:pt x="1076" y="1453"/>
                      </a:lnTo>
                      <a:lnTo>
                        <a:pt x="1066" y="1454"/>
                      </a:lnTo>
                      <a:lnTo>
                        <a:pt x="1066" y="1448"/>
                      </a:lnTo>
                      <a:lnTo>
                        <a:pt x="1063" y="1447"/>
                      </a:lnTo>
                      <a:lnTo>
                        <a:pt x="1066" y="1439"/>
                      </a:lnTo>
                      <a:lnTo>
                        <a:pt x="1077" y="1436"/>
                      </a:lnTo>
                      <a:lnTo>
                        <a:pt x="1083" y="1425"/>
                      </a:lnTo>
                      <a:lnTo>
                        <a:pt x="1074" y="1423"/>
                      </a:lnTo>
                      <a:lnTo>
                        <a:pt x="1082" y="1411"/>
                      </a:lnTo>
                      <a:lnTo>
                        <a:pt x="1086" y="1409"/>
                      </a:lnTo>
                      <a:lnTo>
                        <a:pt x="1090" y="1417"/>
                      </a:lnTo>
                      <a:lnTo>
                        <a:pt x="1093" y="1416"/>
                      </a:lnTo>
                      <a:lnTo>
                        <a:pt x="1098" y="1405"/>
                      </a:lnTo>
                      <a:lnTo>
                        <a:pt x="1109" y="1394"/>
                      </a:lnTo>
                      <a:lnTo>
                        <a:pt x="1109" y="1404"/>
                      </a:lnTo>
                      <a:lnTo>
                        <a:pt x="1099" y="1421"/>
                      </a:lnTo>
                      <a:lnTo>
                        <a:pt x="1096" y="1431"/>
                      </a:lnTo>
                      <a:lnTo>
                        <a:pt x="1102" y="1437"/>
                      </a:lnTo>
                      <a:lnTo>
                        <a:pt x="1111" y="1436"/>
                      </a:lnTo>
                      <a:lnTo>
                        <a:pt x="1114" y="1431"/>
                      </a:lnTo>
                      <a:lnTo>
                        <a:pt x="1114" y="1415"/>
                      </a:lnTo>
                      <a:lnTo>
                        <a:pt x="1115" y="1405"/>
                      </a:lnTo>
                      <a:lnTo>
                        <a:pt x="1120" y="1418"/>
                      </a:lnTo>
                      <a:lnTo>
                        <a:pt x="1120" y="1426"/>
                      </a:lnTo>
                      <a:lnTo>
                        <a:pt x="1128" y="1427"/>
                      </a:lnTo>
                      <a:lnTo>
                        <a:pt x="1144" y="1425"/>
                      </a:lnTo>
                      <a:lnTo>
                        <a:pt x="1150" y="1426"/>
                      </a:lnTo>
                      <a:lnTo>
                        <a:pt x="1160" y="1423"/>
                      </a:lnTo>
                      <a:lnTo>
                        <a:pt x="1166" y="1414"/>
                      </a:lnTo>
                      <a:lnTo>
                        <a:pt x="1178" y="1409"/>
                      </a:lnTo>
                      <a:lnTo>
                        <a:pt x="1190" y="1409"/>
                      </a:lnTo>
                      <a:lnTo>
                        <a:pt x="1189" y="1412"/>
                      </a:lnTo>
                      <a:lnTo>
                        <a:pt x="1173" y="1415"/>
                      </a:lnTo>
                      <a:lnTo>
                        <a:pt x="1173" y="1422"/>
                      </a:lnTo>
                      <a:lnTo>
                        <a:pt x="1171" y="1432"/>
                      </a:lnTo>
                      <a:lnTo>
                        <a:pt x="1171" y="1439"/>
                      </a:lnTo>
                      <a:lnTo>
                        <a:pt x="1177" y="1442"/>
                      </a:lnTo>
                      <a:lnTo>
                        <a:pt x="1194" y="1436"/>
                      </a:lnTo>
                      <a:lnTo>
                        <a:pt x="1195" y="1441"/>
                      </a:lnTo>
                      <a:lnTo>
                        <a:pt x="1179" y="1450"/>
                      </a:lnTo>
                      <a:lnTo>
                        <a:pt x="1168" y="1454"/>
                      </a:lnTo>
                      <a:lnTo>
                        <a:pt x="1183" y="1457"/>
                      </a:lnTo>
                      <a:lnTo>
                        <a:pt x="1190" y="1448"/>
                      </a:lnTo>
                      <a:lnTo>
                        <a:pt x="1200" y="1443"/>
                      </a:lnTo>
                      <a:lnTo>
                        <a:pt x="1204" y="1446"/>
                      </a:lnTo>
                      <a:lnTo>
                        <a:pt x="1190" y="1463"/>
                      </a:lnTo>
                      <a:lnTo>
                        <a:pt x="1208" y="1458"/>
                      </a:lnTo>
                      <a:lnTo>
                        <a:pt x="1212" y="1461"/>
                      </a:lnTo>
                      <a:lnTo>
                        <a:pt x="1222" y="1460"/>
                      </a:lnTo>
                      <a:lnTo>
                        <a:pt x="1224" y="1463"/>
                      </a:lnTo>
                      <a:lnTo>
                        <a:pt x="1216" y="1475"/>
                      </a:lnTo>
                      <a:lnTo>
                        <a:pt x="1224" y="1477"/>
                      </a:lnTo>
                      <a:lnTo>
                        <a:pt x="1238" y="1495"/>
                      </a:lnTo>
                      <a:lnTo>
                        <a:pt x="1246" y="1498"/>
                      </a:lnTo>
                      <a:lnTo>
                        <a:pt x="1253" y="1497"/>
                      </a:lnTo>
                      <a:lnTo>
                        <a:pt x="1253" y="1493"/>
                      </a:lnTo>
                      <a:lnTo>
                        <a:pt x="1254" y="1490"/>
                      </a:lnTo>
                      <a:lnTo>
                        <a:pt x="1254" y="1485"/>
                      </a:lnTo>
                      <a:lnTo>
                        <a:pt x="1258" y="1482"/>
                      </a:lnTo>
                      <a:lnTo>
                        <a:pt x="1263" y="1481"/>
                      </a:lnTo>
                      <a:lnTo>
                        <a:pt x="1268" y="1485"/>
                      </a:lnTo>
                      <a:lnTo>
                        <a:pt x="1270" y="1491"/>
                      </a:lnTo>
                      <a:lnTo>
                        <a:pt x="1270" y="1500"/>
                      </a:lnTo>
                      <a:lnTo>
                        <a:pt x="1279" y="1506"/>
                      </a:lnTo>
                      <a:lnTo>
                        <a:pt x="1284" y="1512"/>
                      </a:lnTo>
                      <a:lnTo>
                        <a:pt x="1287" y="1514"/>
                      </a:lnTo>
                      <a:lnTo>
                        <a:pt x="1289" y="1509"/>
                      </a:lnTo>
                      <a:lnTo>
                        <a:pt x="1296" y="1514"/>
                      </a:lnTo>
                      <a:lnTo>
                        <a:pt x="1301" y="1513"/>
                      </a:lnTo>
                      <a:lnTo>
                        <a:pt x="1307" y="1517"/>
                      </a:lnTo>
                      <a:lnTo>
                        <a:pt x="1313" y="1524"/>
                      </a:lnTo>
                      <a:lnTo>
                        <a:pt x="1313" y="1528"/>
                      </a:lnTo>
                      <a:lnTo>
                        <a:pt x="1312" y="1531"/>
                      </a:lnTo>
                      <a:lnTo>
                        <a:pt x="1316" y="1534"/>
                      </a:lnTo>
                      <a:lnTo>
                        <a:pt x="1324" y="1535"/>
                      </a:lnTo>
                      <a:lnTo>
                        <a:pt x="1337" y="1530"/>
                      </a:lnTo>
                      <a:lnTo>
                        <a:pt x="1370" y="1529"/>
                      </a:lnTo>
                      <a:lnTo>
                        <a:pt x="1373" y="1523"/>
                      </a:lnTo>
                      <a:lnTo>
                        <a:pt x="1383" y="1528"/>
                      </a:lnTo>
                      <a:lnTo>
                        <a:pt x="1387" y="1523"/>
                      </a:lnTo>
                      <a:lnTo>
                        <a:pt x="1399" y="1525"/>
                      </a:lnTo>
                      <a:lnTo>
                        <a:pt x="1405" y="1531"/>
                      </a:lnTo>
                      <a:lnTo>
                        <a:pt x="1437" y="1538"/>
                      </a:lnTo>
                      <a:lnTo>
                        <a:pt x="1445" y="1539"/>
                      </a:lnTo>
                      <a:lnTo>
                        <a:pt x="1459" y="1531"/>
                      </a:lnTo>
                      <a:lnTo>
                        <a:pt x="1466" y="1536"/>
                      </a:lnTo>
                      <a:lnTo>
                        <a:pt x="1467" y="1539"/>
                      </a:lnTo>
                      <a:lnTo>
                        <a:pt x="1459" y="1541"/>
                      </a:lnTo>
                      <a:lnTo>
                        <a:pt x="1458" y="1545"/>
                      </a:lnTo>
                      <a:lnTo>
                        <a:pt x="1463" y="1549"/>
                      </a:lnTo>
                      <a:lnTo>
                        <a:pt x="1483" y="1557"/>
                      </a:lnTo>
                      <a:lnTo>
                        <a:pt x="1504" y="1562"/>
                      </a:lnTo>
                      <a:lnTo>
                        <a:pt x="1522" y="1565"/>
                      </a:lnTo>
                      <a:lnTo>
                        <a:pt x="1540" y="1556"/>
                      </a:lnTo>
                      <a:lnTo>
                        <a:pt x="1555" y="1538"/>
                      </a:lnTo>
                      <a:lnTo>
                        <a:pt x="1559" y="1529"/>
                      </a:lnTo>
                      <a:lnTo>
                        <a:pt x="1563" y="1525"/>
                      </a:lnTo>
                      <a:lnTo>
                        <a:pt x="1574" y="1540"/>
                      </a:lnTo>
                      <a:lnTo>
                        <a:pt x="1580" y="1546"/>
                      </a:lnTo>
                      <a:lnTo>
                        <a:pt x="1590" y="1550"/>
                      </a:lnTo>
                      <a:lnTo>
                        <a:pt x="1586" y="1551"/>
                      </a:lnTo>
                      <a:lnTo>
                        <a:pt x="1579" y="1557"/>
                      </a:lnTo>
                      <a:lnTo>
                        <a:pt x="1579" y="1565"/>
                      </a:lnTo>
                      <a:lnTo>
                        <a:pt x="1580" y="1571"/>
                      </a:lnTo>
                      <a:lnTo>
                        <a:pt x="1581" y="1578"/>
                      </a:lnTo>
                      <a:lnTo>
                        <a:pt x="1579" y="1582"/>
                      </a:lnTo>
                      <a:lnTo>
                        <a:pt x="1574" y="1577"/>
                      </a:lnTo>
                      <a:lnTo>
                        <a:pt x="1572" y="1557"/>
                      </a:lnTo>
                      <a:lnTo>
                        <a:pt x="1574" y="1552"/>
                      </a:lnTo>
                      <a:lnTo>
                        <a:pt x="1574" y="1545"/>
                      </a:lnTo>
                      <a:lnTo>
                        <a:pt x="1570" y="1539"/>
                      </a:lnTo>
                      <a:lnTo>
                        <a:pt x="1567" y="1536"/>
                      </a:lnTo>
                      <a:lnTo>
                        <a:pt x="1563" y="1541"/>
                      </a:lnTo>
                      <a:lnTo>
                        <a:pt x="1561" y="1546"/>
                      </a:lnTo>
                      <a:lnTo>
                        <a:pt x="1561" y="1560"/>
                      </a:lnTo>
                      <a:lnTo>
                        <a:pt x="1564" y="1563"/>
                      </a:lnTo>
                      <a:lnTo>
                        <a:pt x="1564" y="1570"/>
                      </a:lnTo>
                      <a:lnTo>
                        <a:pt x="1563" y="1574"/>
                      </a:lnTo>
                      <a:lnTo>
                        <a:pt x="1560" y="1578"/>
                      </a:lnTo>
                      <a:lnTo>
                        <a:pt x="1555" y="1579"/>
                      </a:lnTo>
                      <a:lnTo>
                        <a:pt x="1548" y="1587"/>
                      </a:lnTo>
                      <a:lnTo>
                        <a:pt x="1552" y="1592"/>
                      </a:lnTo>
                      <a:lnTo>
                        <a:pt x="1567" y="1595"/>
                      </a:lnTo>
                      <a:lnTo>
                        <a:pt x="1567" y="1599"/>
                      </a:lnTo>
                      <a:lnTo>
                        <a:pt x="1572" y="1601"/>
                      </a:lnTo>
                      <a:lnTo>
                        <a:pt x="1579" y="1601"/>
                      </a:lnTo>
                      <a:lnTo>
                        <a:pt x="1581" y="1603"/>
                      </a:lnTo>
                      <a:lnTo>
                        <a:pt x="1580" y="1606"/>
                      </a:lnTo>
                      <a:lnTo>
                        <a:pt x="1598" y="1614"/>
                      </a:lnTo>
                      <a:lnTo>
                        <a:pt x="1612" y="1627"/>
                      </a:lnTo>
                      <a:lnTo>
                        <a:pt x="1612" y="1624"/>
                      </a:lnTo>
                      <a:lnTo>
                        <a:pt x="1615" y="1620"/>
                      </a:lnTo>
                      <a:lnTo>
                        <a:pt x="1629" y="1620"/>
                      </a:lnTo>
                      <a:lnTo>
                        <a:pt x="1630" y="1619"/>
                      </a:lnTo>
                      <a:lnTo>
                        <a:pt x="1631" y="1608"/>
                      </a:lnTo>
                      <a:lnTo>
                        <a:pt x="1628" y="1599"/>
                      </a:lnTo>
                      <a:lnTo>
                        <a:pt x="1630" y="1598"/>
                      </a:lnTo>
                      <a:lnTo>
                        <a:pt x="1635" y="1600"/>
                      </a:lnTo>
                      <a:lnTo>
                        <a:pt x="1638" y="1595"/>
                      </a:lnTo>
                      <a:lnTo>
                        <a:pt x="1635" y="1592"/>
                      </a:lnTo>
                      <a:lnTo>
                        <a:pt x="1608" y="1557"/>
                      </a:lnTo>
                      <a:lnTo>
                        <a:pt x="1603" y="1546"/>
                      </a:lnTo>
                      <a:lnTo>
                        <a:pt x="1590" y="1535"/>
                      </a:lnTo>
                      <a:lnTo>
                        <a:pt x="1583" y="1529"/>
                      </a:lnTo>
                      <a:lnTo>
                        <a:pt x="1587" y="1529"/>
                      </a:lnTo>
                      <a:lnTo>
                        <a:pt x="1587" y="1523"/>
                      </a:lnTo>
                      <a:lnTo>
                        <a:pt x="1587" y="1501"/>
                      </a:lnTo>
                      <a:lnTo>
                        <a:pt x="1554" y="1502"/>
                      </a:lnTo>
                      <a:lnTo>
                        <a:pt x="1542" y="1517"/>
                      </a:lnTo>
                      <a:lnTo>
                        <a:pt x="1536" y="1514"/>
                      </a:lnTo>
                      <a:lnTo>
                        <a:pt x="1521" y="1503"/>
                      </a:lnTo>
                      <a:lnTo>
                        <a:pt x="1506" y="1514"/>
                      </a:lnTo>
                      <a:lnTo>
                        <a:pt x="1486" y="1502"/>
                      </a:lnTo>
                      <a:lnTo>
                        <a:pt x="1486" y="146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62" name="Freeform 276"/>
                <p:cNvSpPr>
                  <a:spLocks noChangeAspect="1"/>
                </p:cNvSpPr>
                <p:nvPr/>
              </p:nvSpPr>
              <p:spPr bwMode="gray">
                <a:xfrm>
                  <a:off x="999" y="1668"/>
                  <a:ext cx="91" cy="101"/>
                </a:xfrm>
                <a:custGeom>
                  <a:avLst/>
                  <a:gdLst/>
                  <a:ahLst/>
                  <a:cxnLst>
                    <a:cxn ang="0">
                      <a:pos x="39" y="90"/>
                    </a:cxn>
                    <a:cxn ang="0">
                      <a:pos x="91" y="60"/>
                    </a:cxn>
                    <a:cxn ang="0">
                      <a:pos x="103" y="29"/>
                    </a:cxn>
                    <a:cxn ang="0">
                      <a:pos x="162" y="7"/>
                    </a:cxn>
                    <a:cxn ang="0">
                      <a:pos x="192" y="55"/>
                    </a:cxn>
                    <a:cxn ang="0">
                      <a:pos x="214" y="100"/>
                    </a:cxn>
                    <a:cxn ang="0">
                      <a:pos x="292" y="206"/>
                    </a:cxn>
                    <a:cxn ang="0">
                      <a:pos x="322" y="262"/>
                    </a:cxn>
                    <a:cxn ang="0">
                      <a:pos x="334" y="292"/>
                    </a:cxn>
                    <a:cxn ang="0">
                      <a:pos x="353" y="335"/>
                    </a:cxn>
                    <a:cxn ang="0">
                      <a:pos x="450" y="384"/>
                    </a:cxn>
                    <a:cxn ang="0">
                      <a:pos x="451" y="416"/>
                    </a:cxn>
                    <a:cxn ang="0">
                      <a:pos x="451" y="474"/>
                    </a:cxn>
                    <a:cxn ang="0">
                      <a:pos x="424" y="498"/>
                    </a:cxn>
                    <a:cxn ang="0">
                      <a:pos x="404" y="506"/>
                    </a:cxn>
                    <a:cxn ang="0">
                      <a:pos x="416" y="479"/>
                    </a:cxn>
                    <a:cxn ang="0">
                      <a:pos x="421" y="454"/>
                    </a:cxn>
                    <a:cxn ang="0">
                      <a:pos x="407" y="439"/>
                    </a:cxn>
                    <a:cxn ang="0">
                      <a:pos x="394" y="390"/>
                    </a:cxn>
                    <a:cxn ang="0">
                      <a:pos x="389" y="378"/>
                    </a:cxn>
                    <a:cxn ang="0">
                      <a:pos x="362" y="396"/>
                    </a:cxn>
                    <a:cxn ang="0">
                      <a:pos x="354" y="418"/>
                    </a:cxn>
                    <a:cxn ang="0">
                      <a:pos x="338" y="431"/>
                    </a:cxn>
                    <a:cxn ang="0">
                      <a:pos x="342" y="405"/>
                    </a:cxn>
                    <a:cxn ang="0">
                      <a:pos x="369" y="366"/>
                    </a:cxn>
                    <a:cxn ang="0">
                      <a:pos x="328" y="320"/>
                    </a:cxn>
                    <a:cxn ang="0">
                      <a:pos x="302" y="305"/>
                    </a:cxn>
                    <a:cxn ang="0">
                      <a:pos x="305" y="299"/>
                    </a:cxn>
                    <a:cxn ang="0">
                      <a:pos x="286" y="282"/>
                    </a:cxn>
                    <a:cxn ang="0">
                      <a:pos x="275" y="276"/>
                    </a:cxn>
                    <a:cxn ang="0">
                      <a:pos x="279" y="260"/>
                    </a:cxn>
                    <a:cxn ang="0">
                      <a:pos x="268" y="246"/>
                    </a:cxn>
                    <a:cxn ang="0">
                      <a:pos x="267" y="229"/>
                    </a:cxn>
                    <a:cxn ang="0">
                      <a:pos x="284" y="238"/>
                    </a:cxn>
                    <a:cxn ang="0">
                      <a:pos x="276" y="219"/>
                    </a:cxn>
                    <a:cxn ang="0">
                      <a:pos x="264" y="198"/>
                    </a:cxn>
                    <a:cxn ang="0">
                      <a:pos x="254" y="203"/>
                    </a:cxn>
                    <a:cxn ang="0">
                      <a:pos x="251" y="190"/>
                    </a:cxn>
                    <a:cxn ang="0">
                      <a:pos x="256" y="169"/>
                    </a:cxn>
                    <a:cxn ang="0">
                      <a:pos x="233" y="183"/>
                    </a:cxn>
                    <a:cxn ang="0">
                      <a:pos x="219" y="165"/>
                    </a:cxn>
                    <a:cxn ang="0">
                      <a:pos x="178" y="124"/>
                    </a:cxn>
                    <a:cxn ang="0">
                      <a:pos x="156" y="52"/>
                    </a:cxn>
                    <a:cxn ang="0">
                      <a:pos x="150" y="63"/>
                    </a:cxn>
                    <a:cxn ang="0">
                      <a:pos x="172" y="142"/>
                    </a:cxn>
                    <a:cxn ang="0">
                      <a:pos x="152" y="142"/>
                    </a:cxn>
                    <a:cxn ang="0">
                      <a:pos x="133" y="127"/>
                    </a:cxn>
                    <a:cxn ang="0">
                      <a:pos x="117" y="90"/>
                    </a:cxn>
                    <a:cxn ang="0">
                      <a:pos x="90" y="85"/>
                    </a:cxn>
                    <a:cxn ang="0">
                      <a:pos x="71" y="82"/>
                    </a:cxn>
                    <a:cxn ang="0">
                      <a:pos x="77" y="95"/>
                    </a:cxn>
                    <a:cxn ang="0">
                      <a:pos x="98" y="121"/>
                    </a:cxn>
                    <a:cxn ang="0">
                      <a:pos x="117" y="141"/>
                    </a:cxn>
                    <a:cxn ang="0">
                      <a:pos x="97" y="149"/>
                    </a:cxn>
                    <a:cxn ang="0">
                      <a:pos x="48" y="135"/>
                    </a:cxn>
                    <a:cxn ang="0">
                      <a:pos x="27" y="116"/>
                    </a:cxn>
                    <a:cxn ang="0">
                      <a:pos x="5" y="47"/>
                    </a:cxn>
                  </a:cxnLst>
                  <a:rect l="0" t="0" r="r" b="b"/>
                  <a:pathLst>
                    <a:path w="456" h="507">
                      <a:moveTo>
                        <a:pt x="10" y="44"/>
                      </a:moveTo>
                      <a:lnTo>
                        <a:pt x="26" y="57"/>
                      </a:lnTo>
                      <a:lnTo>
                        <a:pt x="36" y="81"/>
                      </a:lnTo>
                      <a:lnTo>
                        <a:pt x="39" y="87"/>
                      </a:lnTo>
                      <a:lnTo>
                        <a:pt x="39" y="90"/>
                      </a:lnTo>
                      <a:lnTo>
                        <a:pt x="42" y="92"/>
                      </a:lnTo>
                      <a:lnTo>
                        <a:pt x="55" y="87"/>
                      </a:lnTo>
                      <a:lnTo>
                        <a:pt x="71" y="73"/>
                      </a:lnTo>
                      <a:lnTo>
                        <a:pt x="87" y="68"/>
                      </a:lnTo>
                      <a:lnTo>
                        <a:pt x="91" y="60"/>
                      </a:lnTo>
                      <a:lnTo>
                        <a:pt x="91" y="51"/>
                      </a:lnTo>
                      <a:lnTo>
                        <a:pt x="93" y="47"/>
                      </a:lnTo>
                      <a:lnTo>
                        <a:pt x="100" y="44"/>
                      </a:lnTo>
                      <a:lnTo>
                        <a:pt x="102" y="41"/>
                      </a:lnTo>
                      <a:lnTo>
                        <a:pt x="103" y="29"/>
                      </a:lnTo>
                      <a:lnTo>
                        <a:pt x="108" y="23"/>
                      </a:lnTo>
                      <a:lnTo>
                        <a:pt x="129" y="17"/>
                      </a:lnTo>
                      <a:lnTo>
                        <a:pt x="151" y="0"/>
                      </a:lnTo>
                      <a:lnTo>
                        <a:pt x="156" y="1"/>
                      </a:lnTo>
                      <a:lnTo>
                        <a:pt x="162" y="7"/>
                      </a:lnTo>
                      <a:lnTo>
                        <a:pt x="171" y="25"/>
                      </a:lnTo>
                      <a:lnTo>
                        <a:pt x="174" y="29"/>
                      </a:lnTo>
                      <a:lnTo>
                        <a:pt x="179" y="29"/>
                      </a:lnTo>
                      <a:lnTo>
                        <a:pt x="183" y="41"/>
                      </a:lnTo>
                      <a:lnTo>
                        <a:pt x="192" y="55"/>
                      </a:lnTo>
                      <a:lnTo>
                        <a:pt x="194" y="63"/>
                      </a:lnTo>
                      <a:lnTo>
                        <a:pt x="206" y="74"/>
                      </a:lnTo>
                      <a:lnTo>
                        <a:pt x="210" y="90"/>
                      </a:lnTo>
                      <a:lnTo>
                        <a:pt x="210" y="93"/>
                      </a:lnTo>
                      <a:lnTo>
                        <a:pt x="214" y="100"/>
                      </a:lnTo>
                      <a:lnTo>
                        <a:pt x="235" y="109"/>
                      </a:lnTo>
                      <a:lnTo>
                        <a:pt x="246" y="120"/>
                      </a:lnTo>
                      <a:lnTo>
                        <a:pt x="253" y="141"/>
                      </a:lnTo>
                      <a:lnTo>
                        <a:pt x="264" y="160"/>
                      </a:lnTo>
                      <a:lnTo>
                        <a:pt x="292" y="206"/>
                      </a:lnTo>
                      <a:lnTo>
                        <a:pt x="299" y="224"/>
                      </a:lnTo>
                      <a:lnTo>
                        <a:pt x="300" y="227"/>
                      </a:lnTo>
                      <a:lnTo>
                        <a:pt x="303" y="227"/>
                      </a:lnTo>
                      <a:lnTo>
                        <a:pt x="308" y="245"/>
                      </a:lnTo>
                      <a:lnTo>
                        <a:pt x="322" y="262"/>
                      </a:lnTo>
                      <a:lnTo>
                        <a:pt x="326" y="270"/>
                      </a:lnTo>
                      <a:lnTo>
                        <a:pt x="326" y="273"/>
                      </a:lnTo>
                      <a:lnTo>
                        <a:pt x="323" y="278"/>
                      </a:lnTo>
                      <a:lnTo>
                        <a:pt x="324" y="283"/>
                      </a:lnTo>
                      <a:lnTo>
                        <a:pt x="334" y="292"/>
                      </a:lnTo>
                      <a:lnTo>
                        <a:pt x="338" y="299"/>
                      </a:lnTo>
                      <a:lnTo>
                        <a:pt x="338" y="303"/>
                      </a:lnTo>
                      <a:lnTo>
                        <a:pt x="343" y="320"/>
                      </a:lnTo>
                      <a:lnTo>
                        <a:pt x="348" y="329"/>
                      </a:lnTo>
                      <a:lnTo>
                        <a:pt x="353" y="335"/>
                      </a:lnTo>
                      <a:lnTo>
                        <a:pt x="365" y="342"/>
                      </a:lnTo>
                      <a:lnTo>
                        <a:pt x="401" y="352"/>
                      </a:lnTo>
                      <a:lnTo>
                        <a:pt x="426" y="373"/>
                      </a:lnTo>
                      <a:lnTo>
                        <a:pt x="431" y="379"/>
                      </a:lnTo>
                      <a:lnTo>
                        <a:pt x="450" y="384"/>
                      </a:lnTo>
                      <a:lnTo>
                        <a:pt x="452" y="388"/>
                      </a:lnTo>
                      <a:lnTo>
                        <a:pt x="456" y="394"/>
                      </a:lnTo>
                      <a:lnTo>
                        <a:pt x="456" y="396"/>
                      </a:lnTo>
                      <a:lnTo>
                        <a:pt x="453" y="401"/>
                      </a:lnTo>
                      <a:lnTo>
                        <a:pt x="451" y="416"/>
                      </a:lnTo>
                      <a:lnTo>
                        <a:pt x="451" y="443"/>
                      </a:lnTo>
                      <a:lnTo>
                        <a:pt x="456" y="459"/>
                      </a:lnTo>
                      <a:lnTo>
                        <a:pt x="456" y="464"/>
                      </a:lnTo>
                      <a:lnTo>
                        <a:pt x="453" y="470"/>
                      </a:lnTo>
                      <a:lnTo>
                        <a:pt x="451" y="474"/>
                      </a:lnTo>
                      <a:lnTo>
                        <a:pt x="450" y="481"/>
                      </a:lnTo>
                      <a:lnTo>
                        <a:pt x="441" y="480"/>
                      </a:lnTo>
                      <a:lnTo>
                        <a:pt x="435" y="488"/>
                      </a:lnTo>
                      <a:lnTo>
                        <a:pt x="429" y="496"/>
                      </a:lnTo>
                      <a:lnTo>
                        <a:pt x="424" y="498"/>
                      </a:lnTo>
                      <a:lnTo>
                        <a:pt x="419" y="498"/>
                      </a:lnTo>
                      <a:lnTo>
                        <a:pt x="415" y="503"/>
                      </a:lnTo>
                      <a:lnTo>
                        <a:pt x="410" y="496"/>
                      </a:lnTo>
                      <a:lnTo>
                        <a:pt x="409" y="507"/>
                      </a:lnTo>
                      <a:lnTo>
                        <a:pt x="404" y="506"/>
                      </a:lnTo>
                      <a:lnTo>
                        <a:pt x="403" y="496"/>
                      </a:lnTo>
                      <a:lnTo>
                        <a:pt x="403" y="482"/>
                      </a:lnTo>
                      <a:lnTo>
                        <a:pt x="409" y="480"/>
                      </a:lnTo>
                      <a:lnTo>
                        <a:pt x="413" y="482"/>
                      </a:lnTo>
                      <a:lnTo>
                        <a:pt x="416" y="479"/>
                      </a:lnTo>
                      <a:lnTo>
                        <a:pt x="419" y="480"/>
                      </a:lnTo>
                      <a:lnTo>
                        <a:pt x="421" y="475"/>
                      </a:lnTo>
                      <a:lnTo>
                        <a:pt x="425" y="474"/>
                      </a:lnTo>
                      <a:lnTo>
                        <a:pt x="423" y="467"/>
                      </a:lnTo>
                      <a:lnTo>
                        <a:pt x="421" y="454"/>
                      </a:lnTo>
                      <a:lnTo>
                        <a:pt x="416" y="453"/>
                      </a:lnTo>
                      <a:lnTo>
                        <a:pt x="414" y="456"/>
                      </a:lnTo>
                      <a:lnTo>
                        <a:pt x="410" y="456"/>
                      </a:lnTo>
                      <a:lnTo>
                        <a:pt x="408" y="454"/>
                      </a:lnTo>
                      <a:lnTo>
                        <a:pt x="407" y="439"/>
                      </a:lnTo>
                      <a:lnTo>
                        <a:pt x="408" y="432"/>
                      </a:lnTo>
                      <a:lnTo>
                        <a:pt x="405" y="426"/>
                      </a:lnTo>
                      <a:lnTo>
                        <a:pt x="404" y="416"/>
                      </a:lnTo>
                      <a:lnTo>
                        <a:pt x="397" y="402"/>
                      </a:lnTo>
                      <a:lnTo>
                        <a:pt x="394" y="390"/>
                      </a:lnTo>
                      <a:lnTo>
                        <a:pt x="392" y="395"/>
                      </a:lnTo>
                      <a:lnTo>
                        <a:pt x="393" y="388"/>
                      </a:lnTo>
                      <a:lnTo>
                        <a:pt x="397" y="382"/>
                      </a:lnTo>
                      <a:lnTo>
                        <a:pt x="394" y="377"/>
                      </a:lnTo>
                      <a:lnTo>
                        <a:pt x="389" y="378"/>
                      </a:lnTo>
                      <a:lnTo>
                        <a:pt x="382" y="386"/>
                      </a:lnTo>
                      <a:lnTo>
                        <a:pt x="377" y="390"/>
                      </a:lnTo>
                      <a:lnTo>
                        <a:pt x="375" y="396"/>
                      </a:lnTo>
                      <a:lnTo>
                        <a:pt x="367" y="393"/>
                      </a:lnTo>
                      <a:lnTo>
                        <a:pt x="362" y="396"/>
                      </a:lnTo>
                      <a:lnTo>
                        <a:pt x="356" y="400"/>
                      </a:lnTo>
                      <a:lnTo>
                        <a:pt x="358" y="404"/>
                      </a:lnTo>
                      <a:lnTo>
                        <a:pt x="355" y="411"/>
                      </a:lnTo>
                      <a:lnTo>
                        <a:pt x="354" y="415"/>
                      </a:lnTo>
                      <a:lnTo>
                        <a:pt x="354" y="418"/>
                      </a:lnTo>
                      <a:lnTo>
                        <a:pt x="350" y="423"/>
                      </a:lnTo>
                      <a:lnTo>
                        <a:pt x="346" y="423"/>
                      </a:lnTo>
                      <a:lnTo>
                        <a:pt x="346" y="429"/>
                      </a:lnTo>
                      <a:lnTo>
                        <a:pt x="342" y="434"/>
                      </a:lnTo>
                      <a:lnTo>
                        <a:pt x="338" y="431"/>
                      </a:lnTo>
                      <a:lnTo>
                        <a:pt x="333" y="423"/>
                      </a:lnTo>
                      <a:lnTo>
                        <a:pt x="331" y="416"/>
                      </a:lnTo>
                      <a:lnTo>
                        <a:pt x="332" y="411"/>
                      </a:lnTo>
                      <a:lnTo>
                        <a:pt x="337" y="410"/>
                      </a:lnTo>
                      <a:lnTo>
                        <a:pt x="342" y="405"/>
                      </a:lnTo>
                      <a:lnTo>
                        <a:pt x="346" y="389"/>
                      </a:lnTo>
                      <a:lnTo>
                        <a:pt x="346" y="375"/>
                      </a:lnTo>
                      <a:lnTo>
                        <a:pt x="351" y="370"/>
                      </a:lnTo>
                      <a:lnTo>
                        <a:pt x="367" y="369"/>
                      </a:lnTo>
                      <a:lnTo>
                        <a:pt x="369" y="366"/>
                      </a:lnTo>
                      <a:lnTo>
                        <a:pt x="350" y="359"/>
                      </a:lnTo>
                      <a:lnTo>
                        <a:pt x="344" y="352"/>
                      </a:lnTo>
                      <a:lnTo>
                        <a:pt x="335" y="348"/>
                      </a:lnTo>
                      <a:lnTo>
                        <a:pt x="329" y="339"/>
                      </a:lnTo>
                      <a:lnTo>
                        <a:pt x="328" y="320"/>
                      </a:lnTo>
                      <a:lnTo>
                        <a:pt x="318" y="319"/>
                      </a:lnTo>
                      <a:lnTo>
                        <a:pt x="317" y="315"/>
                      </a:lnTo>
                      <a:lnTo>
                        <a:pt x="317" y="310"/>
                      </a:lnTo>
                      <a:lnTo>
                        <a:pt x="315" y="307"/>
                      </a:lnTo>
                      <a:lnTo>
                        <a:pt x="302" y="305"/>
                      </a:lnTo>
                      <a:lnTo>
                        <a:pt x="299" y="302"/>
                      </a:lnTo>
                      <a:lnTo>
                        <a:pt x="290" y="288"/>
                      </a:lnTo>
                      <a:lnTo>
                        <a:pt x="289" y="283"/>
                      </a:lnTo>
                      <a:lnTo>
                        <a:pt x="303" y="296"/>
                      </a:lnTo>
                      <a:lnTo>
                        <a:pt x="305" y="299"/>
                      </a:lnTo>
                      <a:lnTo>
                        <a:pt x="300" y="287"/>
                      </a:lnTo>
                      <a:lnTo>
                        <a:pt x="300" y="278"/>
                      </a:lnTo>
                      <a:lnTo>
                        <a:pt x="296" y="278"/>
                      </a:lnTo>
                      <a:lnTo>
                        <a:pt x="291" y="282"/>
                      </a:lnTo>
                      <a:lnTo>
                        <a:pt x="286" y="282"/>
                      </a:lnTo>
                      <a:lnTo>
                        <a:pt x="281" y="278"/>
                      </a:lnTo>
                      <a:lnTo>
                        <a:pt x="281" y="275"/>
                      </a:lnTo>
                      <a:lnTo>
                        <a:pt x="280" y="273"/>
                      </a:lnTo>
                      <a:lnTo>
                        <a:pt x="276" y="273"/>
                      </a:lnTo>
                      <a:lnTo>
                        <a:pt x="275" y="276"/>
                      </a:lnTo>
                      <a:lnTo>
                        <a:pt x="270" y="278"/>
                      </a:lnTo>
                      <a:lnTo>
                        <a:pt x="264" y="271"/>
                      </a:lnTo>
                      <a:lnTo>
                        <a:pt x="263" y="267"/>
                      </a:lnTo>
                      <a:lnTo>
                        <a:pt x="264" y="261"/>
                      </a:lnTo>
                      <a:lnTo>
                        <a:pt x="279" y="260"/>
                      </a:lnTo>
                      <a:lnTo>
                        <a:pt x="281" y="255"/>
                      </a:lnTo>
                      <a:lnTo>
                        <a:pt x="270" y="255"/>
                      </a:lnTo>
                      <a:lnTo>
                        <a:pt x="265" y="253"/>
                      </a:lnTo>
                      <a:lnTo>
                        <a:pt x="265" y="250"/>
                      </a:lnTo>
                      <a:lnTo>
                        <a:pt x="268" y="246"/>
                      </a:lnTo>
                      <a:lnTo>
                        <a:pt x="267" y="244"/>
                      </a:lnTo>
                      <a:lnTo>
                        <a:pt x="262" y="244"/>
                      </a:lnTo>
                      <a:lnTo>
                        <a:pt x="262" y="237"/>
                      </a:lnTo>
                      <a:lnTo>
                        <a:pt x="268" y="233"/>
                      </a:lnTo>
                      <a:lnTo>
                        <a:pt x="267" y="229"/>
                      </a:lnTo>
                      <a:lnTo>
                        <a:pt x="256" y="233"/>
                      </a:lnTo>
                      <a:lnTo>
                        <a:pt x="253" y="229"/>
                      </a:lnTo>
                      <a:lnTo>
                        <a:pt x="257" y="219"/>
                      </a:lnTo>
                      <a:lnTo>
                        <a:pt x="279" y="230"/>
                      </a:lnTo>
                      <a:lnTo>
                        <a:pt x="284" y="238"/>
                      </a:lnTo>
                      <a:lnTo>
                        <a:pt x="289" y="239"/>
                      </a:lnTo>
                      <a:lnTo>
                        <a:pt x="286" y="239"/>
                      </a:lnTo>
                      <a:lnTo>
                        <a:pt x="281" y="232"/>
                      </a:lnTo>
                      <a:lnTo>
                        <a:pt x="280" y="222"/>
                      </a:lnTo>
                      <a:lnTo>
                        <a:pt x="276" y="219"/>
                      </a:lnTo>
                      <a:lnTo>
                        <a:pt x="276" y="223"/>
                      </a:lnTo>
                      <a:lnTo>
                        <a:pt x="272" y="219"/>
                      </a:lnTo>
                      <a:lnTo>
                        <a:pt x="263" y="208"/>
                      </a:lnTo>
                      <a:lnTo>
                        <a:pt x="260" y="203"/>
                      </a:lnTo>
                      <a:lnTo>
                        <a:pt x="264" y="198"/>
                      </a:lnTo>
                      <a:lnTo>
                        <a:pt x="275" y="201"/>
                      </a:lnTo>
                      <a:lnTo>
                        <a:pt x="279" y="198"/>
                      </a:lnTo>
                      <a:lnTo>
                        <a:pt x="273" y="196"/>
                      </a:lnTo>
                      <a:lnTo>
                        <a:pt x="254" y="196"/>
                      </a:lnTo>
                      <a:lnTo>
                        <a:pt x="254" y="203"/>
                      </a:lnTo>
                      <a:lnTo>
                        <a:pt x="249" y="208"/>
                      </a:lnTo>
                      <a:lnTo>
                        <a:pt x="247" y="203"/>
                      </a:lnTo>
                      <a:lnTo>
                        <a:pt x="243" y="196"/>
                      </a:lnTo>
                      <a:lnTo>
                        <a:pt x="245" y="190"/>
                      </a:lnTo>
                      <a:lnTo>
                        <a:pt x="251" y="190"/>
                      </a:lnTo>
                      <a:lnTo>
                        <a:pt x="262" y="181"/>
                      </a:lnTo>
                      <a:lnTo>
                        <a:pt x="259" y="178"/>
                      </a:lnTo>
                      <a:lnTo>
                        <a:pt x="251" y="184"/>
                      </a:lnTo>
                      <a:lnTo>
                        <a:pt x="249" y="180"/>
                      </a:lnTo>
                      <a:lnTo>
                        <a:pt x="256" y="169"/>
                      </a:lnTo>
                      <a:lnTo>
                        <a:pt x="249" y="169"/>
                      </a:lnTo>
                      <a:lnTo>
                        <a:pt x="246" y="173"/>
                      </a:lnTo>
                      <a:lnTo>
                        <a:pt x="243" y="180"/>
                      </a:lnTo>
                      <a:lnTo>
                        <a:pt x="238" y="186"/>
                      </a:lnTo>
                      <a:lnTo>
                        <a:pt x="233" y="183"/>
                      </a:lnTo>
                      <a:lnTo>
                        <a:pt x="230" y="171"/>
                      </a:lnTo>
                      <a:lnTo>
                        <a:pt x="230" y="165"/>
                      </a:lnTo>
                      <a:lnTo>
                        <a:pt x="226" y="162"/>
                      </a:lnTo>
                      <a:lnTo>
                        <a:pt x="224" y="162"/>
                      </a:lnTo>
                      <a:lnTo>
                        <a:pt x="219" y="165"/>
                      </a:lnTo>
                      <a:lnTo>
                        <a:pt x="215" y="159"/>
                      </a:lnTo>
                      <a:lnTo>
                        <a:pt x="202" y="148"/>
                      </a:lnTo>
                      <a:lnTo>
                        <a:pt x="190" y="146"/>
                      </a:lnTo>
                      <a:lnTo>
                        <a:pt x="183" y="130"/>
                      </a:lnTo>
                      <a:lnTo>
                        <a:pt x="178" y="124"/>
                      </a:lnTo>
                      <a:lnTo>
                        <a:pt x="181" y="117"/>
                      </a:lnTo>
                      <a:lnTo>
                        <a:pt x="178" y="104"/>
                      </a:lnTo>
                      <a:lnTo>
                        <a:pt x="173" y="108"/>
                      </a:lnTo>
                      <a:lnTo>
                        <a:pt x="162" y="68"/>
                      </a:lnTo>
                      <a:lnTo>
                        <a:pt x="156" y="52"/>
                      </a:lnTo>
                      <a:lnTo>
                        <a:pt x="154" y="40"/>
                      </a:lnTo>
                      <a:lnTo>
                        <a:pt x="149" y="49"/>
                      </a:lnTo>
                      <a:lnTo>
                        <a:pt x="155" y="63"/>
                      </a:lnTo>
                      <a:lnTo>
                        <a:pt x="154" y="67"/>
                      </a:lnTo>
                      <a:lnTo>
                        <a:pt x="150" y="63"/>
                      </a:lnTo>
                      <a:lnTo>
                        <a:pt x="155" y="81"/>
                      </a:lnTo>
                      <a:lnTo>
                        <a:pt x="155" y="85"/>
                      </a:lnTo>
                      <a:lnTo>
                        <a:pt x="163" y="105"/>
                      </a:lnTo>
                      <a:lnTo>
                        <a:pt x="166" y="126"/>
                      </a:lnTo>
                      <a:lnTo>
                        <a:pt x="172" y="142"/>
                      </a:lnTo>
                      <a:lnTo>
                        <a:pt x="173" y="149"/>
                      </a:lnTo>
                      <a:lnTo>
                        <a:pt x="168" y="160"/>
                      </a:lnTo>
                      <a:lnTo>
                        <a:pt x="166" y="165"/>
                      </a:lnTo>
                      <a:lnTo>
                        <a:pt x="157" y="163"/>
                      </a:lnTo>
                      <a:lnTo>
                        <a:pt x="152" y="142"/>
                      </a:lnTo>
                      <a:lnTo>
                        <a:pt x="147" y="136"/>
                      </a:lnTo>
                      <a:lnTo>
                        <a:pt x="146" y="147"/>
                      </a:lnTo>
                      <a:lnTo>
                        <a:pt x="129" y="146"/>
                      </a:lnTo>
                      <a:lnTo>
                        <a:pt x="129" y="128"/>
                      </a:lnTo>
                      <a:lnTo>
                        <a:pt x="133" y="127"/>
                      </a:lnTo>
                      <a:lnTo>
                        <a:pt x="127" y="122"/>
                      </a:lnTo>
                      <a:lnTo>
                        <a:pt x="120" y="110"/>
                      </a:lnTo>
                      <a:lnTo>
                        <a:pt x="120" y="100"/>
                      </a:lnTo>
                      <a:lnTo>
                        <a:pt x="123" y="98"/>
                      </a:lnTo>
                      <a:lnTo>
                        <a:pt x="117" y="90"/>
                      </a:lnTo>
                      <a:lnTo>
                        <a:pt x="113" y="92"/>
                      </a:lnTo>
                      <a:lnTo>
                        <a:pt x="112" y="104"/>
                      </a:lnTo>
                      <a:lnTo>
                        <a:pt x="106" y="106"/>
                      </a:lnTo>
                      <a:lnTo>
                        <a:pt x="98" y="100"/>
                      </a:lnTo>
                      <a:lnTo>
                        <a:pt x="90" y="85"/>
                      </a:lnTo>
                      <a:lnTo>
                        <a:pt x="86" y="84"/>
                      </a:lnTo>
                      <a:lnTo>
                        <a:pt x="87" y="90"/>
                      </a:lnTo>
                      <a:lnTo>
                        <a:pt x="85" y="93"/>
                      </a:lnTo>
                      <a:lnTo>
                        <a:pt x="77" y="88"/>
                      </a:lnTo>
                      <a:lnTo>
                        <a:pt x="71" y="82"/>
                      </a:lnTo>
                      <a:lnTo>
                        <a:pt x="75" y="88"/>
                      </a:lnTo>
                      <a:lnTo>
                        <a:pt x="73" y="92"/>
                      </a:lnTo>
                      <a:lnTo>
                        <a:pt x="66" y="93"/>
                      </a:lnTo>
                      <a:lnTo>
                        <a:pt x="66" y="94"/>
                      </a:lnTo>
                      <a:lnTo>
                        <a:pt x="77" y="95"/>
                      </a:lnTo>
                      <a:lnTo>
                        <a:pt x="86" y="101"/>
                      </a:lnTo>
                      <a:lnTo>
                        <a:pt x="88" y="106"/>
                      </a:lnTo>
                      <a:lnTo>
                        <a:pt x="87" y="108"/>
                      </a:lnTo>
                      <a:lnTo>
                        <a:pt x="98" y="115"/>
                      </a:lnTo>
                      <a:lnTo>
                        <a:pt x="98" y="121"/>
                      </a:lnTo>
                      <a:lnTo>
                        <a:pt x="101" y="122"/>
                      </a:lnTo>
                      <a:lnTo>
                        <a:pt x="103" y="121"/>
                      </a:lnTo>
                      <a:lnTo>
                        <a:pt x="108" y="121"/>
                      </a:lnTo>
                      <a:lnTo>
                        <a:pt x="116" y="135"/>
                      </a:lnTo>
                      <a:lnTo>
                        <a:pt x="117" y="141"/>
                      </a:lnTo>
                      <a:lnTo>
                        <a:pt x="116" y="148"/>
                      </a:lnTo>
                      <a:lnTo>
                        <a:pt x="108" y="153"/>
                      </a:lnTo>
                      <a:lnTo>
                        <a:pt x="98" y="154"/>
                      </a:lnTo>
                      <a:lnTo>
                        <a:pt x="96" y="148"/>
                      </a:lnTo>
                      <a:lnTo>
                        <a:pt x="97" y="149"/>
                      </a:lnTo>
                      <a:lnTo>
                        <a:pt x="97" y="158"/>
                      </a:lnTo>
                      <a:lnTo>
                        <a:pt x="86" y="162"/>
                      </a:lnTo>
                      <a:lnTo>
                        <a:pt x="66" y="144"/>
                      </a:lnTo>
                      <a:lnTo>
                        <a:pt x="54" y="141"/>
                      </a:lnTo>
                      <a:lnTo>
                        <a:pt x="48" y="135"/>
                      </a:lnTo>
                      <a:lnTo>
                        <a:pt x="41" y="130"/>
                      </a:lnTo>
                      <a:lnTo>
                        <a:pt x="33" y="127"/>
                      </a:lnTo>
                      <a:lnTo>
                        <a:pt x="38" y="115"/>
                      </a:lnTo>
                      <a:lnTo>
                        <a:pt x="33" y="114"/>
                      </a:lnTo>
                      <a:lnTo>
                        <a:pt x="27" y="116"/>
                      </a:lnTo>
                      <a:lnTo>
                        <a:pt x="17" y="105"/>
                      </a:lnTo>
                      <a:lnTo>
                        <a:pt x="1" y="82"/>
                      </a:lnTo>
                      <a:lnTo>
                        <a:pt x="0" y="73"/>
                      </a:lnTo>
                      <a:lnTo>
                        <a:pt x="3" y="66"/>
                      </a:lnTo>
                      <a:lnTo>
                        <a:pt x="5" y="47"/>
                      </a:lnTo>
                      <a:lnTo>
                        <a:pt x="10" y="4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  <p:grpSp>
            <p:nvGrpSpPr>
              <p:cNvPr id="252" name="Group 277"/>
              <p:cNvGrpSpPr>
                <a:grpSpLocks noChangeAspect="1"/>
              </p:cNvGrpSpPr>
              <p:nvPr/>
            </p:nvGrpSpPr>
            <p:grpSpPr bwMode="gray">
              <a:xfrm>
                <a:off x="1149" y="1865"/>
                <a:ext cx="635" cy="339"/>
                <a:chOff x="1149" y="1865"/>
                <a:chExt cx="635" cy="339"/>
              </a:xfrm>
              <a:grpFill/>
            </p:grpSpPr>
            <p:sp>
              <p:nvSpPr>
                <p:cNvPr id="253" name="Freeform 278"/>
                <p:cNvSpPr>
                  <a:spLocks noChangeAspect="1"/>
                </p:cNvSpPr>
                <p:nvPr/>
              </p:nvSpPr>
              <p:spPr bwMode="gray">
                <a:xfrm>
                  <a:off x="1782" y="1939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2" y="3"/>
                    </a:cxn>
                    <a:cxn ang="0">
                      <a:pos x="1" y="10"/>
                    </a:cxn>
                    <a:cxn ang="0">
                      <a:pos x="0" y="15"/>
                    </a:cxn>
                    <a:cxn ang="0">
                      <a:pos x="5" y="10"/>
                    </a:cxn>
                    <a:cxn ang="0">
                      <a:pos x="8" y="10"/>
                    </a:cxn>
                    <a:cxn ang="0">
                      <a:pos x="8" y="6"/>
                    </a:cxn>
                    <a:cxn ang="0">
                      <a:pos x="10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10" h="15">
                      <a:moveTo>
                        <a:pt x="5" y="0"/>
                      </a:moveTo>
                      <a:lnTo>
                        <a:pt x="2" y="3"/>
                      </a:lnTo>
                      <a:lnTo>
                        <a:pt x="1" y="10"/>
                      </a:lnTo>
                      <a:lnTo>
                        <a:pt x="0" y="15"/>
                      </a:lnTo>
                      <a:lnTo>
                        <a:pt x="5" y="10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10" y="1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54" name="Freeform 279"/>
                <p:cNvSpPr>
                  <a:spLocks noChangeAspect="1"/>
                </p:cNvSpPr>
                <p:nvPr/>
              </p:nvSpPr>
              <p:spPr bwMode="gray">
                <a:xfrm>
                  <a:off x="1782" y="1939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2" y="3"/>
                    </a:cxn>
                    <a:cxn ang="0">
                      <a:pos x="1" y="10"/>
                    </a:cxn>
                    <a:cxn ang="0">
                      <a:pos x="0" y="15"/>
                    </a:cxn>
                    <a:cxn ang="0">
                      <a:pos x="5" y="10"/>
                    </a:cxn>
                    <a:cxn ang="0">
                      <a:pos x="8" y="10"/>
                    </a:cxn>
                    <a:cxn ang="0">
                      <a:pos x="8" y="6"/>
                    </a:cxn>
                    <a:cxn ang="0">
                      <a:pos x="10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10" h="15">
                      <a:moveTo>
                        <a:pt x="5" y="0"/>
                      </a:moveTo>
                      <a:lnTo>
                        <a:pt x="2" y="3"/>
                      </a:lnTo>
                      <a:lnTo>
                        <a:pt x="1" y="10"/>
                      </a:lnTo>
                      <a:lnTo>
                        <a:pt x="0" y="15"/>
                      </a:lnTo>
                      <a:lnTo>
                        <a:pt x="5" y="10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10" y="1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55" name="Freeform 280"/>
                <p:cNvSpPr>
                  <a:spLocks noChangeAspect="1"/>
                </p:cNvSpPr>
                <p:nvPr/>
              </p:nvSpPr>
              <p:spPr bwMode="gray">
                <a:xfrm>
                  <a:off x="1671" y="2027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0" y="0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h="3">
                      <a:moveTo>
                        <a:pt x="0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56" name="Freeform 281"/>
                <p:cNvSpPr>
                  <a:spLocks noChangeAspect="1"/>
                </p:cNvSpPr>
                <p:nvPr/>
              </p:nvSpPr>
              <p:spPr bwMode="gray">
                <a:xfrm>
                  <a:off x="1670" y="2025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3" y="2"/>
                    </a:cxn>
                    <a:cxn ang="0">
                      <a:pos x="0" y="0"/>
                    </a:cxn>
                    <a:cxn ang="0">
                      <a:pos x="3" y="2"/>
                    </a:cxn>
                    <a:cxn ang="0">
                      <a:pos x="5" y="6"/>
                    </a:cxn>
                    <a:cxn ang="0">
                      <a:pos x="3" y="2"/>
                    </a:cxn>
                  </a:cxnLst>
                  <a:rect l="0" t="0" r="r" b="b"/>
                  <a:pathLst>
                    <a:path w="5" h="6">
                      <a:moveTo>
                        <a:pt x="3" y="2"/>
                      </a:moveTo>
                      <a:lnTo>
                        <a:pt x="0" y="0"/>
                      </a:lnTo>
                      <a:lnTo>
                        <a:pt x="3" y="2"/>
                      </a:lnTo>
                      <a:lnTo>
                        <a:pt x="5" y="6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57" name="Freeform 282"/>
                <p:cNvSpPr>
                  <a:spLocks noChangeAspect="1"/>
                </p:cNvSpPr>
                <p:nvPr/>
              </p:nvSpPr>
              <p:spPr bwMode="gray">
                <a:xfrm>
                  <a:off x="1149" y="1865"/>
                  <a:ext cx="633" cy="339"/>
                </a:xfrm>
                <a:custGeom>
                  <a:avLst/>
                  <a:gdLst/>
                  <a:ahLst/>
                  <a:cxnLst>
                    <a:cxn ang="0">
                      <a:pos x="3079" y="181"/>
                    </a:cxn>
                    <a:cxn ang="0">
                      <a:pos x="2964" y="328"/>
                    </a:cxn>
                    <a:cxn ang="0">
                      <a:pos x="2682" y="394"/>
                    </a:cxn>
                    <a:cxn ang="0">
                      <a:pos x="2593" y="483"/>
                    </a:cxn>
                    <a:cxn ang="0">
                      <a:pos x="2432" y="575"/>
                    </a:cxn>
                    <a:cxn ang="0">
                      <a:pos x="2290" y="541"/>
                    </a:cxn>
                    <a:cxn ang="0">
                      <a:pos x="2235" y="456"/>
                    </a:cxn>
                    <a:cxn ang="0">
                      <a:pos x="2211" y="306"/>
                    </a:cxn>
                    <a:cxn ang="0">
                      <a:pos x="2135" y="345"/>
                    </a:cxn>
                    <a:cxn ang="0">
                      <a:pos x="2081" y="588"/>
                    </a:cxn>
                    <a:cxn ang="0">
                      <a:pos x="2036" y="404"/>
                    </a:cxn>
                    <a:cxn ang="0">
                      <a:pos x="2077" y="294"/>
                    </a:cxn>
                    <a:cxn ang="0">
                      <a:pos x="2231" y="279"/>
                    </a:cxn>
                    <a:cxn ang="0">
                      <a:pos x="2111" y="222"/>
                    </a:cxn>
                    <a:cxn ang="0">
                      <a:pos x="2021" y="160"/>
                    </a:cxn>
                    <a:cxn ang="0">
                      <a:pos x="1811" y="226"/>
                    </a:cxn>
                    <a:cxn ang="0">
                      <a:pos x="1785" y="86"/>
                    </a:cxn>
                    <a:cxn ang="0">
                      <a:pos x="1640" y="33"/>
                    </a:cxn>
                    <a:cxn ang="0">
                      <a:pos x="888" y="36"/>
                    </a:cxn>
                    <a:cxn ang="0">
                      <a:pos x="133" y="58"/>
                    </a:cxn>
                    <a:cxn ang="0">
                      <a:pos x="101" y="150"/>
                    </a:cxn>
                    <a:cxn ang="0">
                      <a:pos x="4" y="86"/>
                    </a:cxn>
                    <a:cxn ang="0">
                      <a:pos x="46" y="225"/>
                    </a:cxn>
                    <a:cxn ang="0">
                      <a:pos x="47" y="295"/>
                    </a:cxn>
                    <a:cxn ang="0">
                      <a:pos x="27" y="576"/>
                    </a:cxn>
                    <a:cxn ang="0">
                      <a:pos x="98" y="850"/>
                    </a:cxn>
                    <a:cxn ang="0">
                      <a:pos x="130" y="886"/>
                    </a:cxn>
                    <a:cxn ang="0">
                      <a:pos x="223" y="1056"/>
                    </a:cxn>
                    <a:cxn ang="0">
                      <a:pos x="336" y="1131"/>
                    </a:cxn>
                    <a:cxn ang="0">
                      <a:pos x="989" y="1276"/>
                    </a:cxn>
                    <a:cxn ang="0">
                      <a:pos x="1294" y="1430"/>
                    </a:cxn>
                    <a:cxn ang="0">
                      <a:pos x="1501" y="1624"/>
                    </a:cxn>
                    <a:cxn ang="0">
                      <a:pos x="1515" y="1515"/>
                    </a:cxn>
                    <a:cxn ang="0">
                      <a:pos x="1564" y="1480"/>
                    </a:cxn>
                    <a:cxn ang="0">
                      <a:pos x="1629" y="1410"/>
                    </a:cxn>
                    <a:cxn ang="0">
                      <a:pos x="1784" y="1405"/>
                    </a:cxn>
                    <a:cxn ang="0">
                      <a:pos x="1912" y="1435"/>
                    </a:cxn>
                    <a:cxn ang="0">
                      <a:pos x="1905" y="1382"/>
                    </a:cxn>
                    <a:cxn ang="0">
                      <a:pos x="2012" y="1367"/>
                    </a:cxn>
                    <a:cxn ang="0">
                      <a:pos x="2117" y="1377"/>
                    </a:cxn>
                    <a:cxn ang="0">
                      <a:pos x="2264" y="1424"/>
                    </a:cxn>
                    <a:cxn ang="0">
                      <a:pos x="2323" y="1587"/>
                    </a:cxn>
                    <a:cxn ang="0">
                      <a:pos x="2409" y="1690"/>
                    </a:cxn>
                    <a:cxn ang="0">
                      <a:pos x="2365" y="1348"/>
                    </a:cxn>
                    <a:cxn ang="0">
                      <a:pos x="2446" y="1228"/>
                    </a:cxn>
                    <a:cxn ang="0">
                      <a:pos x="2579" y="1118"/>
                    </a:cxn>
                    <a:cxn ang="0">
                      <a:pos x="2645" y="1037"/>
                    </a:cxn>
                    <a:cxn ang="0">
                      <a:pos x="2634" y="986"/>
                    </a:cxn>
                    <a:cxn ang="0">
                      <a:pos x="2655" y="940"/>
                    </a:cxn>
                    <a:cxn ang="0">
                      <a:pos x="2654" y="871"/>
                    </a:cxn>
                    <a:cxn ang="0">
                      <a:pos x="2651" y="857"/>
                    </a:cxn>
                    <a:cxn ang="0">
                      <a:pos x="2661" y="778"/>
                    </a:cxn>
                    <a:cxn ang="0">
                      <a:pos x="2683" y="867"/>
                    </a:cxn>
                    <a:cxn ang="0">
                      <a:pos x="2708" y="796"/>
                    </a:cxn>
                    <a:cxn ang="0">
                      <a:pos x="2774" y="727"/>
                    </a:cxn>
                    <a:cxn ang="0">
                      <a:pos x="2843" y="631"/>
                    </a:cxn>
                    <a:cxn ang="0">
                      <a:pos x="3004" y="602"/>
                    </a:cxn>
                    <a:cxn ang="0">
                      <a:pos x="2957" y="538"/>
                    </a:cxn>
                    <a:cxn ang="0">
                      <a:pos x="3032" y="440"/>
                    </a:cxn>
                    <a:cxn ang="0">
                      <a:pos x="3107" y="399"/>
                    </a:cxn>
                  </a:cxnLst>
                  <a:rect l="0" t="0" r="r" b="b"/>
                  <a:pathLst>
                    <a:path w="3166" h="1693">
                      <a:moveTo>
                        <a:pt x="3165" y="365"/>
                      </a:moveTo>
                      <a:lnTo>
                        <a:pt x="3158" y="364"/>
                      </a:lnTo>
                      <a:lnTo>
                        <a:pt x="3160" y="361"/>
                      </a:lnTo>
                      <a:lnTo>
                        <a:pt x="3162" y="355"/>
                      </a:lnTo>
                      <a:lnTo>
                        <a:pt x="3162" y="344"/>
                      </a:lnTo>
                      <a:lnTo>
                        <a:pt x="3161" y="339"/>
                      </a:lnTo>
                      <a:lnTo>
                        <a:pt x="3160" y="343"/>
                      </a:lnTo>
                      <a:lnTo>
                        <a:pt x="3155" y="343"/>
                      </a:lnTo>
                      <a:lnTo>
                        <a:pt x="3146" y="342"/>
                      </a:lnTo>
                      <a:lnTo>
                        <a:pt x="3138" y="335"/>
                      </a:lnTo>
                      <a:lnTo>
                        <a:pt x="3135" y="330"/>
                      </a:lnTo>
                      <a:lnTo>
                        <a:pt x="3134" y="326"/>
                      </a:lnTo>
                      <a:lnTo>
                        <a:pt x="3134" y="310"/>
                      </a:lnTo>
                      <a:lnTo>
                        <a:pt x="3119" y="302"/>
                      </a:lnTo>
                      <a:lnTo>
                        <a:pt x="3119" y="246"/>
                      </a:lnTo>
                      <a:lnTo>
                        <a:pt x="3119" y="195"/>
                      </a:lnTo>
                      <a:lnTo>
                        <a:pt x="3093" y="170"/>
                      </a:lnTo>
                      <a:lnTo>
                        <a:pt x="3086" y="170"/>
                      </a:lnTo>
                      <a:lnTo>
                        <a:pt x="3079" y="181"/>
                      </a:lnTo>
                      <a:lnTo>
                        <a:pt x="3061" y="184"/>
                      </a:lnTo>
                      <a:lnTo>
                        <a:pt x="3049" y="179"/>
                      </a:lnTo>
                      <a:lnTo>
                        <a:pt x="3047" y="176"/>
                      </a:lnTo>
                      <a:lnTo>
                        <a:pt x="3044" y="170"/>
                      </a:lnTo>
                      <a:lnTo>
                        <a:pt x="3037" y="163"/>
                      </a:lnTo>
                      <a:lnTo>
                        <a:pt x="3031" y="162"/>
                      </a:lnTo>
                      <a:lnTo>
                        <a:pt x="3025" y="166"/>
                      </a:lnTo>
                      <a:lnTo>
                        <a:pt x="2998" y="211"/>
                      </a:lnTo>
                      <a:lnTo>
                        <a:pt x="2994" y="235"/>
                      </a:lnTo>
                      <a:lnTo>
                        <a:pt x="2988" y="247"/>
                      </a:lnTo>
                      <a:lnTo>
                        <a:pt x="2987" y="253"/>
                      </a:lnTo>
                      <a:lnTo>
                        <a:pt x="2982" y="262"/>
                      </a:lnTo>
                      <a:lnTo>
                        <a:pt x="2979" y="269"/>
                      </a:lnTo>
                      <a:lnTo>
                        <a:pt x="2975" y="305"/>
                      </a:lnTo>
                      <a:lnTo>
                        <a:pt x="2974" y="307"/>
                      </a:lnTo>
                      <a:lnTo>
                        <a:pt x="2967" y="312"/>
                      </a:lnTo>
                      <a:lnTo>
                        <a:pt x="2964" y="317"/>
                      </a:lnTo>
                      <a:lnTo>
                        <a:pt x="2963" y="322"/>
                      </a:lnTo>
                      <a:lnTo>
                        <a:pt x="2964" y="328"/>
                      </a:lnTo>
                      <a:lnTo>
                        <a:pt x="2964" y="330"/>
                      </a:lnTo>
                      <a:lnTo>
                        <a:pt x="2957" y="327"/>
                      </a:lnTo>
                      <a:lnTo>
                        <a:pt x="2956" y="328"/>
                      </a:lnTo>
                      <a:lnTo>
                        <a:pt x="2956" y="334"/>
                      </a:lnTo>
                      <a:lnTo>
                        <a:pt x="2945" y="330"/>
                      </a:lnTo>
                      <a:lnTo>
                        <a:pt x="2936" y="333"/>
                      </a:lnTo>
                      <a:lnTo>
                        <a:pt x="2934" y="335"/>
                      </a:lnTo>
                      <a:lnTo>
                        <a:pt x="2921" y="337"/>
                      </a:lnTo>
                      <a:lnTo>
                        <a:pt x="2918" y="340"/>
                      </a:lnTo>
                      <a:lnTo>
                        <a:pt x="2912" y="356"/>
                      </a:lnTo>
                      <a:lnTo>
                        <a:pt x="2910" y="356"/>
                      </a:lnTo>
                      <a:lnTo>
                        <a:pt x="2812" y="356"/>
                      </a:lnTo>
                      <a:lnTo>
                        <a:pt x="2737" y="356"/>
                      </a:lnTo>
                      <a:lnTo>
                        <a:pt x="2722" y="356"/>
                      </a:lnTo>
                      <a:lnTo>
                        <a:pt x="2706" y="371"/>
                      </a:lnTo>
                      <a:lnTo>
                        <a:pt x="2687" y="382"/>
                      </a:lnTo>
                      <a:lnTo>
                        <a:pt x="2684" y="387"/>
                      </a:lnTo>
                      <a:lnTo>
                        <a:pt x="2683" y="388"/>
                      </a:lnTo>
                      <a:lnTo>
                        <a:pt x="2682" y="394"/>
                      </a:lnTo>
                      <a:lnTo>
                        <a:pt x="2676" y="404"/>
                      </a:lnTo>
                      <a:lnTo>
                        <a:pt x="2655" y="418"/>
                      </a:lnTo>
                      <a:lnTo>
                        <a:pt x="2651" y="423"/>
                      </a:lnTo>
                      <a:lnTo>
                        <a:pt x="2652" y="428"/>
                      </a:lnTo>
                      <a:lnTo>
                        <a:pt x="2660" y="428"/>
                      </a:lnTo>
                      <a:lnTo>
                        <a:pt x="2663" y="431"/>
                      </a:lnTo>
                      <a:lnTo>
                        <a:pt x="2662" y="436"/>
                      </a:lnTo>
                      <a:lnTo>
                        <a:pt x="2659" y="439"/>
                      </a:lnTo>
                      <a:lnTo>
                        <a:pt x="2655" y="437"/>
                      </a:lnTo>
                      <a:lnTo>
                        <a:pt x="2654" y="440"/>
                      </a:lnTo>
                      <a:lnTo>
                        <a:pt x="2655" y="442"/>
                      </a:lnTo>
                      <a:lnTo>
                        <a:pt x="2660" y="448"/>
                      </a:lnTo>
                      <a:lnTo>
                        <a:pt x="2661" y="458"/>
                      </a:lnTo>
                      <a:lnTo>
                        <a:pt x="2660" y="466"/>
                      </a:lnTo>
                      <a:lnTo>
                        <a:pt x="2643" y="468"/>
                      </a:lnTo>
                      <a:lnTo>
                        <a:pt x="2627" y="480"/>
                      </a:lnTo>
                      <a:lnTo>
                        <a:pt x="2617" y="484"/>
                      </a:lnTo>
                      <a:lnTo>
                        <a:pt x="2597" y="484"/>
                      </a:lnTo>
                      <a:lnTo>
                        <a:pt x="2593" y="483"/>
                      </a:lnTo>
                      <a:lnTo>
                        <a:pt x="2582" y="486"/>
                      </a:lnTo>
                      <a:lnTo>
                        <a:pt x="2575" y="480"/>
                      </a:lnTo>
                      <a:lnTo>
                        <a:pt x="2560" y="477"/>
                      </a:lnTo>
                      <a:lnTo>
                        <a:pt x="2553" y="477"/>
                      </a:lnTo>
                      <a:lnTo>
                        <a:pt x="2532" y="479"/>
                      </a:lnTo>
                      <a:lnTo>
                        <a:pt x="2511" y="484"/>
                      </a:lnTo>
                      <a:lnTo>
                        <a:pt x="2501" y="489"/>
                      </a:lnTo>
                      <a:lnTo>
                        <a:pt x="2504" y="499"/>
                      </a:lnTo>
                      <a:lnTo>
                        <a:pt x="2509" y="506"/>
                      </a:lnTo>
                      <a:lnTo>
                        <a:pt x="2511" y="518"/>
                      </a:lnTo>
                      <a:lnTo>
                        <a:pt x="2499" y="531"/>
                      </a:lnTo>
                      <a:lnTo>
                        <a:pt x="2495" y="536"/>
                      </a:lnTo>
                      <a:lnTo>
                        <a:pt x="2491" y="538"/>
                      </a:lnTo>
                      <a:lnTo>
                        <a:pt x="2488" y="539"/>
                      </a:lnTo>
                      <a:lnTo>
                        <a:pt x="2478" y="549"/>
                      </a:lnTo>
                      <a:lnTo>
                        <a:pt x="2461" y="560"/>
                      </a:lnTo>
                      <a:lnTo>
                        <a:pt x="2452" y="566"/>
                      </a:lnTo>
                      <a:lnTo>
                        <a:pt x="2441" y="568"/>
                      </a:lnTo>
                      <a:lnTo>
                        <a:pt x="2432" y="575"/>
                      </a:lnTo>
                      <a:lnTo>
                        <a:pt x="2419" y="582"/>
                      </a:lnTo>
                      <a:lnTo>
                        <a:pt x="2404" y="585"/>
                      </a:lnTo>
                      <a:lnTo>
                        <a:pt x="2386" y="593"/>
                      </a:lnTo>
                      <a:lnTo>
                        <a:pt x="2350" y="614"/>
                      </a:lnTo>
                      <a:lnTo>
                        <a:pt x="2334" y="614"/>
                      </a:lnTo>
                      <a:lnTo>
                        <a:pt x="2316" y="620"/>
                      </a:lnTo>
                      <a:lnTo>
                        <a:pt x="2296" y="618"/>
                      </a:lnTo>
                      <a:lnTo>
                        <a:pt x="2294" y="614"/>
                      </a:lnTo>
                      <a:lnTo>
                        <a:pt x="2286" y="614"/>
                      </a:lnTo>
                      <a:lnTo>
                        <a:pt x="2281" y="613"/>
                      </a:lnTo>
                      <a:lnTo>
                        <a:pt x="2274" y="607"/>
                      </a:lnTo>
                      <a:lnTo>
                        <a:pt x="2259" y="602"/>
                      </a:lnTo>
                      <a:lnTo>
                        <a:pt x="2264" y="595"/>
                      </a:lnTo>
                      <a:lnTo>
                        <a:pt x="2278" y="581"/>
                      </a:lnTo>
                      <a:lnTo>
                        <a:pt x="2278" y="570"/>
                      </a:lnTo>
                      <a:lnTo>
                        <a:pt x="2283" y="558"/>
                      </a:lnTo>
                      <a:lnTo>
                        <a:pt x="2289" y="553"/>
                      </a:lnTo>
                      <a:lnTo>
                        <a:pt x="2289" y="545"/>
                      </a:lnTo>
                      <a:lnTo>
                        <a:pt x="2290" y="541"/>
                      </a:lnTo>
                      <a:lnTo>
                        <a:pt x="2296" y="534"/>
                      </a:lnTo>
                      <a:lnTo>
                        <a:pt x="2308" y="534"/>
                      </a:lnTo>
                      <a:lnTo>
                        <a:pt x="2308" y="534"/>
                      </a:lnTo>
                      <a:lnTo>
                        <a:pt x="2316" y="507"/>
                      </a:lnTo>
                      <a:lnTo>
                        <a:pt x="2316" y="500"/>
                      </a:lnTo>
                      <a:lnTo>
                        <a:pt x="2315" y="502"/>
                      </a:lnTo>
                      <a:lnTo>
                        <a:pt x="2312" y="496"/>
                      </a:lnTo>
                      <a:lnTo>
                        <a:pt x="2308" y="489"/>
                      </a:lnTo>
                      <a:lnTo>
                        <a:pt x="2306" y="467"/>
                      </a:lnTo>
                      <a:lnTo>
                        <a:pt x="2305" y="456"/>
                      </a:lnTo>
                      <a:lnTo>
                        <a:pt x="2301" y="445"/>
                      </a:lnTo>
                      <a:lnTo>
                        <a:pt x="2289" y="425"/>
                      </a:lnTo>
                      <a:lnTo>
                        <a:pt x="2280" y="426"/>
                      </a:lnTo>
                      <a:lnTo>
                        <a:pt x="2263" y="434"/>
                      </a:lnTo>
                      <a:lnTo>
                        <a:pt x="2262" y="435"/>
                      </a:lnTo>
                      <a:lnTo>
                        <a:pt x="2256" y="451"/>
                      </a:lnTo>
                      <a:lnTo>
                        <a:pt x="2248" y="456"/>
                      </a:lnTo>
                      <a:lnTo>
                        <a:pt x="2242" y="458"/>
                      </a:lnTo>
                      <a:lnTo>
                        <a:pt x="2235" y="456"/>
                      </a:lnTo>
                      <a:lnTo>
                        <a:pt x="2232" y="451"/>
                      </a:lnTo>
                      <a:lnTo>
                        <a:pt x="2235" y="442"/>
                      </a:lnTo>
                      <a:lnTo>
                        <a:pt x="2240" y="432"/>
                      </a:lnTo>
                      <a:lnTo>
                        <a:pt x="2254" y="421"/>
                      </a:lnTo>
                      <a:lnTo>
                        <a:pt x="2258" y="412"/>
                      </a:lnTo>
                      <a:lnTo>
                        <a:pt x="2264" y="404"/>
                      </a:lnTo>
                      <a:lnTo>
                        <a:pt x="2267" y="398"/>
                      </a:lnTo>
                      <a:lnTo>
                        <a:pt x="2267" y="388"/>
                      </a:lnTo>
                      <a:lnTo>
                        <a:pt x="2263" y="367"/>
                      </a:lnTo>
                      <a:lnTo>
                        <a:pt x="2259" y="360"/>
                      </a:lnTo>
                      <a:lnTo>
                        <a:pt x="2259" y="353"/>
                      </a:lnTo>
                      <a:lnTo>
                        <a:pt x="2262" y="349"/>
                      </a:lnTo>
                      <a:lnTo>
                        <a:pt x="2263" y="348"/>
                      </a:lnTo>
                      <a:lnTo>
                        <a:pt x="2257" y="334"/>
                      </a:lnTo>
                      <a:lnTo>
                        <a:pt x="2251" y="328"/>
                      </a:lnTo>
                      <a:lnTo>
                        <a:pt x="2235" y="323"/>
                      </a:lnTo>
                      <a:lnTo>
                        <a:pt x="2229" y="318"/>
                      </a:lnTo>
                      <a:lnTo>
                        <a:pt x="2225" y="316"/>
                      </a:lnTo>
                      <a:lnTo>
                        <a:pt x="2211" y="306"/>
                      </a:lnTo>
                      <a:lnTo>
                        <a:pt x="2206" y="303"/>
                      </a:lnTo>
                      <a:lnTo>
                        <a:pt x="2199" y="305"/>
                      </a:lnTo>
                      <a:lnTo>
                        <a:pt x="2198" y="302"/>
                      </a:lnTo>
                      <a:lnTo>
                        <a:pt x="2186" y="299"/>
                      </a:lnTo>
                      <a:lnTo>
                        <a:pt x="2175" y="300"/>
                      </a:lnTo>
                      <a:lnTo>
                        <a:pt x="2170" y="307"/>
                      </a:lnTo>
                      <a:lnTo>
                        <a:pt x="2170" y="312"/>
                      </a:lnTo>
                      <a:lnTo>
                        <a:pt x="2171" y="318"/>
                      </a:lnTo>
                      <a:lnTo>
                        <a:pt x="2176" y="324"/>
                      </a:lnTo>
                      <a:lnTo>
                        <a:pt x="2173" y="327"/>
                      </a:lnTo>
                      <a:lnTo>
                        <a:pt x="2160" y="333"/>
                      </a:lnTo>
                      <a:lnTo>
                        <a:pt x="2151" y="334"/>
                      </a:lnTo>
                      <a:lnTo>
                        <a:pt x="2150" y="349"/>
                      </a:lnTo>
                      <a:lnTo>
                        <a:pt x="2149" y="360"/>
                      </a:lnTo>
                      <a:lnTo>
                        <a:pt x="2144" y="361"/>
                      </a:lnTo>
                      <a:lnTo>
                        <a:pt x="2140" y="367"/>
                      </a:lnTo>
                      <a:lnTo>
                        <a:pt x="2139" y="364"/>
                      </a:lnTo>
                      <a:lnTo>
                        <a:pt x="2138" y="351"/>
                      </a:lnTo>
                      <a:lnTo>
                        <a:pt x="2135" y="345"/>
                      </a:lnTo>
                      <a:lnTo>
                        <a:pt x="2130" y="349"/>
                      </a:lnTo>
                      <a:lnTo>
                        <a:pt x="2125" y="355"/>
                      </a:lnTo>
                      <a:lnTo>
                        <a:pt x="2112" y="362"/>
                      </a:lnTo>
                      <a:lnTo>
                        <a:pt x="2109" y="372"/>
                      </a:lnTo>
                      <a:lnTo>
                        <a:pt x="2104" y="378"/>
                      </a:lnTo>
                      <a:lnTo>
                        <a:pt x="2104" y="389"/>
                      </a:lnTo>
                      <a:lnTo>
                        <a:pt x="2103" y="396"/>
                      </a:lnTo>
                      <a:lnTo>
                        <a:pt x="2102" y="408"/>
                      </a:lnTo>
                      <a:lnTo>
                        <a:pt x="2103" y="412"/>
                      </a:lnTo>
                      <a:lnTo>
                        <a:pt x="2097" y="416"/>
                      </a:lnTo>
                      <a:lnTo>
                        <a:pt x="2095" y="435"/>
                      </a:lnTo>
                      <a:lnTo>
                        <a:pt x="2090" y="457"/>
                      </a:lnTo>
                      <a:lnTo>
                        <a:pt x="2097" y="480"/>
                      </a:lnTo>
                      <a:lnTo>
                        <a:pt x="2103" y="490"/>
                      </a:lnTo>
                      <a:lnTo>
                        <a:pt x="2106" y="499"/>
                      </a:lnTo>
                      <a:lnTo>
                        <a:pt x="2104" y="533"/>
                      </a:lnTo>
                      <a:lnTo>
                        <a:pt x="2095" y="559"/>
                      </a:lnTo>
                      <a:lnTo>
                        <a:pt x="2084" y="580"/>
                      </a:lnTo>
                      <a:lnTo>
                        <a:pt x="2081" y="588"/>
                      </a:lnTo>
                      <a:lnTo>
                        <a:pt x="2068" y="597"/>
                      </a:lnTo>
                      <a:lnTo>
                        <a:pt x="2054" y="606"/>
                      </a:lnTo>
                      <a:lnTo>
                        <a:pt x="2046" y="606"/>
                      </a:lnTo>
                      <a:lnTo>
                        <a:pt x="2039" y="602"/>
                      </a:lnTo>
                      <a:lnTo>
                        <a:pt x="2034" y="601"/>
                      </a:lnTo>
                      <a:lnTo>
                        <a:pt x="2032" y="595"/>
                      </a:lnTo>
                      <a:lnTo>
                        <a:pt x="2028" y="582"/>
                      </a:lnTo>
                      <a:lnTo>
                        <a:pt x="2020" y="560"/>
                      </a:lnTo>
                      <a:lnTo>
                        <a:pt x="2020" y="545"/>
                      </a:lnTo>
                      <a:lnTo>
                        <a:pt x="2020" y="533"/>
                      </a:lnTo>
                      <a:lnTo>
                        <a:pt x="2020" y="525"/>
                      </a:lnTo>
                      <a:lnTo>
                        <a:pt x="2016" y="506"/>
                      </a:lnTo>
                      <a:lnTo>
                        <a:pt x="2015" y="490"/>
                      </a:lnTo>
                      <a:lnTo>
                        <a:pt x="2018" y="477"/>
                      </a:lnTo>
                      <a:lnTo>
                        <a:pt x="2027" y="456"/>
                      </a:lnTo>
                      <a:lnTo>
                        <a:pt x="2027" y="442"/>
                      </a:lnTo>
                      <a:lnTo>
                        <a:pt x="2030" y="432"/>
                      </a:lnTo>
                      <a:lnTo>
                        <a:pt x="2036" y="413"/>
                      </a:lnTo>
                      <a:lnTo>
                        <a:pt x="2036" y="404"/>
                      </a:lnTo>
                      <a:lnTo>
                        <a:pt x="2038" y="391"/>
                      </a:lnTo>
                      <a:lnTo>
                        <a:pt x="2043" y="378"/>
                      </a:lnTo>
                      <a:lnTo>
                        <a:pt x="2053" y="362"/>
                      </a:lnTo>
                      <a:lnTo>
                        <a:pt x="2060" y="344"/>
                      </a:lnTo>
                      <a:lnTo>
                        <a:pt x="2058" y="334"/>
                      </a:lnTo>
                      <a:lnTo>
                        <a:pt x="2044" y="350"/>
                      </a:lnTo>
                      <a:lnTo>
                        <a:pt x="2043" y="359"/>
                      </a:lnTo>
                      <a:lnTo>
                        <a:pt x="2041" y="367"/>
                      </a:lnTo>
                      <a:lnTo>
                        <a:pt x="2034" y="369"/>
                      </a:lnTo>
                      <a:lnTo>
                        <a:pt x="2011" y="389"/>
                      </a:lnTo>
                      <a:lnTo>
                        <a:pt x="2011" y="385"/>
                      </a:lnTo>
                      <a:lnTo>
                        <a:pt x="2018" y="369"/>
                      </a:lnTo>
                      <a:lnTo>
                        <a:pt x="2021" y="364"/>
                      </a:lnTo>
                      <a:lnTo>
                        <a:pt x="2027" y="359"/>
                      </a:lnTo>
                      <a:lnTo>
                        <a:pt x="2034" y="346"/>
                      </a:lnTo>
                      <a:lnTo>
                        <a:pt x="2057" y="308"/>
                      </a:lnTo>
                      <a:lnTo>
                        <a:pt x="2066" y="296"/>
                      </a:lnTo>
                      <a:lnTo>
                        <a:pt x="2070" y="297"/>
                      </a:lnTo>
                      <a:lnTo>
                        <a:pt x="2077" y="294"/>
                      </a:lnTo>
                      <a:lnTo>
                        <a:pt x="2085" y="287"/>
                      </a:lnTo>
                      <a:lnTo>
                        <a:pt x="2084" y="307"/>
                      </a:lnTo>
                      <a:lnTo>
                        <a:pt x="2090" y="306"/>
                      </a:lnTo>
                      <a:lnTo>
                        <a:pt x="2107" y="287"/>
                      </a:lnTo>
                      <a:lnTo>
                        <a:pt x="2120" y="284"/>
                      </a:lnTo>
                      <a:lnTo>
                        <a:pt x="2136" y="281"/>
                      </a:lnTo>
                      <a:lnTo>
                        <a:pt x="2144" y="273"/>
                      </a:lnTo>
                      <a:lnTo>
                        <a:pt x="2155" y="270"/>
                      </a:lnTo>
                      <a:lnTo>
                        <a:pt x="2167" y="274"/>
                      </a:lnTo>
                      <a:lnTo>
                        <a:pt x="2178" y="279"/>
                      </a:lnTo>
                      <a:lnTo>
                        <a:pt x="2181" y="281"/>
                      </a:lnTo>
                      <a:lnTo>
                        <a:pt x="2184" y="286"/>
                      </a:lnTo>
                      <a:lnTo>
                        <a:pt x="2193" y="286"/>
                      </a:lnTo>
                      <a:lnTo>
                        <a:pt x="2194" y="279"/>
                      </a:lnTo>
                      <a:lnTo>
                        <a:pt x="2197" y="275"/>
                      </a:lnTo>
                      <a:lnTo>
                        <a:pt x="2202" y="278"/>
                      </a:lnTo>
                      <a:lnTo>
                        <a:pt x="2205" y="284"/>
                      </a:lnTo>
                      <a:lnTo>
                        <a:pt x="2224" y="279"/>
                      </a:lnTo>
                      <a:lnTo>
                        <a:pt x="2231" y="279"/>
                      </a:lnTo>
                      <a:lnTo>
                        <a:pt x="2231" y="278"/>
                      </a:lnTo>
                      <a:lnTo>
                        <a:pt x="2230" y="275"/>
                      </a:lnTo>
                      <a:lnTo>
                        <a:pt x="2225" y="272"/>
                      </a:lnTo>
                      <a:lnTo>
                        <a:pt x="2221" y="267"/>
                      </a:lnTo>
                      <a:lnTo>
                        <a:pt x="2215" y="263"/>
                      </a:lnTo>
                      <a:lnTo>
                        <a:pt x="2215" y="252"/>
                      </a:lnTo>
                      <a:lnTo>
                        <a:pt x="2213" y="246"/>
                      </a:lnTo>
                      <a:lnTo>
                        <a:pt x="2211" y="242"/>
                      </a:lnTo>
                      <a:lnTo>
                        <a:pt x="2209" y="238"/>
                      </a:lnTo>
                      <a:lnTo>
                        <a:pt x="2202" y="238"/>
                      </a:lnTo>
                      <a:lnTo>
                        <a:pt x="2187" y="240"/>
                      </a:lnTo>
                      <a:lnTo>
                        <a:pt x="2179" y="238"/>
                      </a:lnTo>
                      <a:lnTo>
                        <a:pt x="2171" y="233"/>
                      </a:lnTo>
                      <a:lnTo>
                        <a:pt x="2171" y="222"/>
                      </a:lnTo>
                      <a:lnTo>
                        <a:pt x="2168" y="216"/>
                      </a:lnTo>
                      <a:lnTo>
                        <a:pt x="2160" y="216"/>
                      </a:lnTo>
                      <a:lnTo>
                        <a:pt x="2150" y="221"/>
                      </a:lnTo>
                      <a:lnTo>
                        <a:pt x="2141" y="224"/>
                      </a:lnTo>
                      <a:lnTo>
                        <a:pt x="2111" y="222"/>
                      </a:lnTo>
                      <a:lnTo>
                        <a:pt x="2101" y="229"/>
                      </a:lnTo>
                      <a:lnTo>
                        <a:pt x="2092" y="232"/>
                      </a:lnTo>
                      <a:lnTo>
                        <a:pt x="2085" y="240"/>
                      </a:lnTo>
                      <a:lnTo>
                        <a:pt x="2080" y="242"/>
                      </a:lnTo>
                      <a:lnTo>
                        <a:pt x="2055" y="237"/>
                      </a:lnTo>
                      <a:lnTo>
                        <a:pt x="2047" y="238"/>
                      </a:lnTo>
                      <a:lnTo>
                        <a:pt x="2036" y="227"/>
                      </a:lnTo>
                      <a:lnTo>
                        <a:pt x="2030" y="217"/>
                      </a:lnTo>
                      <a:lnTo>
                        <a:pt x="2011" y="208"/>
                      </a:lnTo>
                      <a:lnTo>
                        <a:pt x="1995" y="210"/>
                      </a:lnTo>
                      <a:lnTo>
                        <a:pt x="1990" y="209"/>
                      </a:lnTo>
                      <a:lnTo>
                        <a:pt x="1983" y="216"/>
                      </a:lnTo>
                      <a:lnTo>
                        <a:pt x="1982" y="213"/>
                      </a:lnTo>
                      <a:lnTo>
                        <a:pt x="1983" y="200"/>
                      </a:lnTo>
                      <a:lnTo>
                        <a:pt x="1988" y="194"/>
                      </a:lnTo>
                      <a:lnTo>
                        <a:pt x="1995" y="190"/>
                      </a:lnTo>
                      <a:lnTo>
                        <a:pt x="2011" y="171"/>
                      </a:lnTo>
                      <a:lnTo>
                        <a:pt x="2020" y="165"/>
                      </a:lnTo>
                      <a:lnTo>
                        <a:pt x="2021" y="160"/>
                      </a:lnTo>
                      <a:lnTo>
                        <a:pt x="2018" y="159"/>
                      </a:lnTo>
                      <a:lnTo>
                        <a:pt x="2007" y="160"/>
                      </a:lnTo>
                      <a:lnTo>
                        <a:pt x="1996" y="163"/>
                      </a:lnTo>
                      <a:lnTo>
                        <a:pt x="1985" y="170"/>
                      </a:lnTo>
                      <a:lnTo>
                        <a:pt x="1969" y="179"/>
                      </a:lnTo>
                      <a:lnTo>
                        <a:pt x="1958" y="193"/>
                      </a:lnTo>
                      <a:lnTo>
                        <a:pt x="1947" y="199"/>
                      </a:lnTo>
                      <a:lnTo>
                        <a:pt x="1936" y="208"/>
                      </a:lnTo>
                      <a:lnTo>
                        <a:pt x="1921" y="211"/>
                      </a:lnTo>
                      <a:lnTo>
                        <a:pt x="1909" y="215"/>
                      </a:lnTo>
                      <a:lnTo>
                        <a:pt x="1890" y="229"/>
                      </a:lnTo>
                      <a:lnTo>
                        <a:pt x="1877" y="230"/>
                      </a:lnTo>
                      <a:lnTo>
                        <a:pt x="1856" y="227"/>
                      </a:lnTo>
                      <a:lnTo>
                        <a:pt x="1853" y="232"/>
                      </a:lnTo>
                      <a:lnTo>
                        <a:pt x="1851" y="230"/>
                      </a:lnTo>
                      <a:lnTo>
                        <a:pt x="1854" y="219"/>
                      </a:lnTo>
                      <a:lnTo>
                        <a:pt x="1854" y="209"/>
                      </a:lnTo>
                      <a:lnTo>
                        <a:pt x="1848" y="203"/>
                      </a:lnTo>
                      <a:lnTo>
                        <a:pt x="1811" y="226"/>
                      </a:lnTo>
                      <a:lnTo>
                        <a:pt x="1799" y="229"/>
                      </a:lnTo>
                      <a:lnTo>
                        <a:pt x="1790" y="227"/>
                      </a:lnTo>
                      <a:lnTo>
                        <a:pt x="1785" y="221"/>
                      </a:lnTo>
                      <a:lnTo>
                        <a:pt x="1792" y="213"/>
                      </a:lnTo>
                      <a:lnTo>
                        <a:pt x="1831" y="179"/>
                      </a:lnTo>
                      <a:lnTo>
                        <a:pt x="1872" y="145"/>
                      </a:lnTo>
                      <a:lnTo>
                        <a:pt x="1892" y="138"/>
                      </a:lnTo>
                      <a:lnTo>
                        <a:pt x="1915" y="118"/>
                      </a:lnTo>
                      <a:lnTo>
                        <a:pt x="1910" y="118"/>
                      </a:lnTo>
                      <a:lnTo>
                        <a:pt x="1896" y="111"/>
                      </a:lnTo>
                      <a:lnTo>
                        <a:pt x="1870" y="111"/>
                      </a:lnTo>
                      <a:lnTo>
                        <a:pt x="1853" y="103"/>
                      </a:lnTo>
                      <a:lnTo>
                        <a:pt x="1844" y="104"/>
                      </a:lnTo>
                      <a:lnTo>
                        <a:pt x="1831" y="111"/>
                      </a:lnTo>
                      <a:lnTo>
                        <a:pt x="1824" y="112"/>
                      </a:lnTo>
                      <a:lnTo>
                        <a:pt x="1812" y="106"/>
                      </a:lnTo>
                      <a:lnTo>
                        <a:pt x="1805" y="96"/>
                      </a:lnTo>
                      <a:lnTo>
                        <a:pt x="1792" y="92"/>
                      </a:lnTo>
                      <a:lnTo>
                        <a:pt x="1785" y="86"/>
                      </a:lnTo>
                      <a:lnTo>
                        <a:pt x="1776" y="84"/>
                      </a:lnTo>
                      <a:lnTo>
                        <a:pt x="1772" y="81"/>
                      </a:lnTo>
                      <a:lnTo>
                        <a:pt x="1765" y="74"/>
                      </a:lnTo>
                      <a:lnTo>
                        <a:pt x="1757" y="68"/>
                      </a:lnTo>
                      <a:lnTo>
                        <a:pt x="1747" y="64"/>
                      </a:lnTo>
                      <a:lnTo>
                        <a:pt x="1721" y="63"/>
                      </a:lnTo>
                      <a:lnTo>
                        <a:pt x="1713" y="68"/>
                      </a:lnTo>
                      <a:lnTo>
                        <a:pt x="1702" y="68"/>
                      </a:lnTo>
                      <a:lnTo>
                        <a:pt x="1695" y="66"/>
                      </a:lnTo>
                      <a:lnTo>
                        <a:pt x="1695" y="64"/>
                      </a:lnTo>
                      <a:lnTo>
                        <a:pt x="1693" y="63"/>
                      </a:lnTo>
                      <a:lnTo>
                        <a:pt x="1679" y="59"/>
                      </a:lnTo>
                      <a:lnTo>
                        <a:pt x="1675" y="55"/>
                      </a:lnTo>
                      <a:lnTo>
                        <a:pt x="1665" y="58"/>
                      </a:lnTo>
                      <a:lnTo>
                        <a:pt x="1661" y="58"/>
                      </a:lnTo>
                      <a:lnTo>
                        <a:pt x="1660" y="55"/>
                      </a:lnTo>
                      <a:lnTo>
                        <a:pt x="1651" y="57"/>
                      </a:lnTo>
                      <a:lnTo>
                        <a:pt x="1643" y="34"/>
                      </a:lnTo>
                      <a:lnTo>
                        <a:pt x="1640" y="33"/>
                      </a:lnTo>
                      <a:lnTo>
                        <a:pt x="1629" y="1"/>
                      </a:lnTo>
                      <a:lnTo>
                        <a:pt x="1622" y="0"/>
                      </a:lnTo>
                      <a:lnTo>
                        <a:pt x="1617" y="0"/>
                      </a:lnTo>
                      <a:lnTo>
                        <a:pt x="1617" y="36"/>
                      </a:lnTo>
                      <a:lnTo>
                        <a:pt x="1558" y="36"/>
                      </a:lnTo>
                      <a:lnTo>
                        <a:pt x="1503" y="36"/>
                      </a:lnTo>
                      <a:lnTo>
                        <a:pt x="1503" y="36"/>
                      </a:lnTo>
                      <a:lnTo>
                        <a:pt x="1491" y="36"/>
                      </a:lnTo>
                      <a:lnTo>
                        <a:pt x="1445" y="36"/>
                      </a:lnTo>
                      <a:lnTo>
                        <a:pt x="1397" y="36"/>
                      </a:lnTo>
                      <a:lnTo>
                        <a:pt x="1344" y="36"/>
                      </a:lnTo>
                      <a:lnTo>
                        <a:pt x="1294" y="36"/>
                      </a:lnTo>
                      <a:lnTo>
                        <a:pt x="1277" y="36"/>
                      </a:lnTo>
                      <a:lnTo>
                        <a:pt x="1130" y="36"/>
                      </a:lnTo>
                      <a:lnTo>
                        <a:pt x="1086" y="36"/>
                      </a:lnTo>
                      <a:lnTo>
                        <a:pt x="1032" y="36"/>
                      </a:lnTo>
                      <a:lnTo>
                        <a:pt x="983" y="36"/>
                      </a:lnTo>
                      <a:lnTo>
                        <a:pt x="936" y="36"/>
                      </a:lnTo>
                      <a:lnTo>
                        <a:pt x="888" y="36"/>
                      </a:lnTo>
                      <a:lnTo>
                        <a:pt x="834" y="36"/>
                      </a:lnTo>
                      <a:lnTo>
                        <a:pt x="802" y="36"/>
                      </a:lnTo>
                      <a:lnTo>
                        <a:pt x="753" y="34"/>
                      </a:lnTo>
                      <a:lnTo>
                        <a:pt x="699" y="34"/>
                      </a:lnTo>
                      <a:lnTo>
                        <a:pt x="649" y="34"/>
                      </a:lnTo>
                      <a:lnTo>
                        <a:pt x="580" y="34"/>
                      </a:lnTo>
                      <a:lnTo>
                        <a:pt x="471" y="34"/>
                      </a:lnTo>
                      <a:lnTo>
                        <a:pt x="418" y="34"/>
                      </a:lnTo>
                      <a:lnTo>
                        <a:pt x="365" y="34"/>
                      </a:lnTo>
                      <a:lnTo>
                        <a:pt x="320" y="34"/>
                      </a:lnTo>
                      <a:lnTo>
                        <a:pt x="270" y="34"/>
                      </a:lnTo>
                      <a:lnTo>
                        <a:pt x="218" y="34"/>
                      </a:lnTo>
                      <a:lnTo>
                        <a:pt x="167" y="34"/>
                      </a:lnTo>
                      <a:lnTo>
                        <a:pt x="105" y="34"/>
                      </a:lnTo>
                      <a:lnTo>
                        <a:pt x="108" y="43"/>
                      </a:lnTo>
                      <a:lnTo>
                        <a:pt x="113" y="50"/>
                      </a:lnTo>
                      <a:lnTo>
                        <a:pt x="121" y="50"/>
                      </a:lnTo>
                      <a:lnTo>
                        <a:pt x="129" y="53"/>
                      </a:lnTo>
                      <a:lnTo>
                        <a:pt x="133" y="58"/>
                      </a:lnTo>
                      <a:lnTo>
                        <a:pt x="132" y="59"/>
                      </a:lnTo>
                      <a:lnTo>
                        <a:pt x="128" y="57"/>
                      </a:lnTo>
                      <a:lnTo>
                        <a:pt x="124" y="58"/>
                      </a:lnTo>
                      <a:lnTo>
                        <a:pt x="124" y="66"/>
                      </a:lnTo>
                      <a:lnTo>
                        <a:pt x="119" y="74"/>
                      </a:lnTo>
                      <a:lnTo>
                        <a:pt x="116" y="75"/>
                      </a:lnTo>
                      <a:lnTo>
                        <a:pt x="116" y="76"/>
                      </a:lnTo>
                      <a:lnTo>
                        <a:pt x="122" y="81"/>
                      </a:lnTo>
                      <a:lnTo>
                        <a:pt x="127" y="84"/>
                      </a:lnTo>
                      <a:lnTo>
                        <a:pt x="128" y="87"/>
                      </a:lnTo>
                      <a:lnTo>
                        <a:pt x="133" y="103"/>
                      </a:lnTo>
                      <a:lnTo>
                        <a:pt x="133" y="119"/>
                      </a:lnTo>
                      <a:lnTo>
                        <a:pt x="132" y="133"/>
                      </a:lnTo>
                      <a:lnTo>
                        <a:pt x="130" y="133"/>
                      </a:lnTo>
                      <a:lnTo>
                        <a:pt x="127" y="125"/>
                      </a:lnTo>
                      <a:lnTo>
                        <a:pt x="124" y="125"/>
                      </a:lnTo>
                      <a:lnTo>
                        <a:pt x="118" y="127"/>
                      </a:lnTo>
                      <a:lnTo>
                        <a:pt x="111" y="143"/>
                      </a:lnTo>
                      <a:lnTo>
                        <a:pt x="101" y="150"/>
                      </a:lnTo>
                      <a:lnTo>
                        <a:pt x="98" y="155"/>
                      </a:lnTo>
                      <a:lnTo>
                        <a:pt x="101" y="156"/>
                      </a:lnTo>
                      <a:lnTo>
                        <a:pt x="101" y="162"/>
                      </a:lnTo>
                      <a:lnTo>
                        <a:pt x="92" y="162"/>
                      </a:lnTo>
                      <a:lnTo>
                        <a:pt x="92" y="151"/>
                      </a:lnTo>
                      <a:lnTo>
                        <a:pt x="101" y="130"/>
                      </a:lnTo>
                      <a:lnTo>
                        <a:pt x="103" y="127"/>
                      </a:lnTo>
                      <a:lnTo>
                        <a:pt x="109" y="124"/>
                      </a:lnTo>
                      <a:lnTo>
                        <a:pt x="111" y="122"/>
                      </a:lnTo>
                      <a:lnTo>
                        <a:pt x="112" y="112"/>
                      </a:lnTo>
                      <a:lnTo>
                        <a:pt x="109" y="104"/>
                      </a:lnTo>
                      <a:lnTo>
                        <a:pt x="98" y="106"/>
                      </a:lnTo>
                      <a:lnTo>
                        <a:pt x="84" y="100"/>
                      </a:lnTo>
                      <a:lnTo>
                        <a:pt x="70" y="101"/>
                      </a:lnTo>
                      <a:lnTo>
                        <a:pt x="58" y="98"/>
                      </a:lnTo>
                      <a:lnTo>
                        <a:pt x="48" y="98"/>
                      </a:lnTo>
                      <a:lnTo>
                        <a:pt x="19" y="87"/>
                      </a:lnTo>
                      <a:lnTo>
                        <a:pt x="9" y="81"/>
                      </a:lnTo>
                      <a:lnTo>
                        <a:pt x="4" y="86"/>
                      </a:lnTo>
                      <a:lnTo>
                        <a:pt x="1" y="96"/>
                      </a:lnTo>
                      <a:lnTo>
                        <a:pt x="0" y="106"/>
                      </a:lnTo>
                      <a:lnTo>
                        <a:pt x="3" y="113"/>
                      </a:lnTo>
                      <a:lnTo>
                        <a:pt x="6" y="122"/>
                      </a:lnTo>
                      <a:lnTo>
                        <a:pt x="15" y="131"/>
                      </a:lnTo>
                      <a:lnTo>
                        <a:pt x="21" y="147"/>
                      </a:lnTo>
                      <a:lnTo>
                        <a:pt x="28" y="181"/>
                      </a:lnTo>
                      <a:lnTo>
                        <a:pt x="32" y="193"/>
                      </a:lnTo>
                      <a:lnTo>
                        <a:pt x="33" y="194"/>
                      </a:lnTo>
                      <a:lnTo>
                        <a:pt x="38" y="188"/>
                      </a:lnTo>
                      <a:lnTo>
                        <a:pt x="42" y="193"/>
                      </a:lnTo>
                      <a:lnTo>
                        <a:pt x="41" y="199"/>
                      </a:lnTo>
                      <a:lnTo>
                        <a:pt x="37" y="205"/>
                      </a:lnTo>
                      <a:lnTo>
                        <a:pt x="37" y="211"/>
                      </a:lnTo>
                      <a:lnTo>
                        <a:pt x="38" y="215"/>
                      </a:lnTo>
                      <a:lnTo>
                        <a:pt x="42" y="216"/>
                      </a:lnTo>
                      <a:lnTo>
                        <a:pt x="46" y="215"/>
                      </a:lnTo>
                      <a:lnTo>
                        <a:pt x="47" y="217"/>
                      </a:lnTo>
                      <a:lnTo>
                        <a:pt x="46" y="225"/>
                      </a:lnTo>
                      <a:lnTo>
                        <a:pt x="47" y="236"/>
                      </a:lnTo>
                      <a:lnTo>
                        <a:pt x="46" y="240"/>
                      </a:lnTo>
                      <a:lnTo>
                        <a:pt x="43" y="238"/>
                      </a:lnTo>
                      <a:lnTo>
                        <a:pt x="42" y="229"/>
                      </a:lnTo>
                      <a:lnTo>
                        <a:pt x="38" y="225"/>
                      </a:lnTo>
                      <a:lnTo>
                        <a:pt x="37" y="238"/>
                      </a:lnTo>
                      <a:lnTo>
                        <a:pt x="39" y="246"/>
                      </a:lnTo>
                      <a:lnTo>
                        <a:pt x="47" y="252"/>
                      </a:lnTo>
                      <a:lnTo>
                        <a:pt x="68" y="251"/>
                      </a:lnTo>
                      <a:lnTo>
                        <a:pt x="74" y="257"/>
                      </a:lnTo>
                      <a:lnTo>
                        <a:pt x="81" y="260"/>
                      </a:lnTo>
                      <a:lnTo>
                        <a:pt x="80" y="264"/>
                      </a:lnTo>
                      <a:lnTo>
                        <a:pt x="68" y="259"/>
                      </a:lnTo>
                      <a:lnTo>
                        <a:pt x="48" y="262"/>
                      </a:lnTo>
                      <a:lnTo>
                        <a:pt x="46" y="264"/>
                      </a:lnTo>
                      <a:lnTo>
                        <a:pt x="44" y="269"/>
                      </a:lnTo>
                      <a:lnTo>
                        <a:pt x="43" y="285"/>
                      </a:lnTo>
                      <a:lnTo>
                        <a:pt x="43" y="291"/>
                      </a:lnTo>
                      <a:lnTo>
                        <a:pt x="47" y="295"/>
                      </a:lnTo>
                      <a:lnTo>
                        <a:pt x="44" y="301"/>
                      </a:lnTo>
                      <a:lnTo>
                        <a:pt x="46" y="312"/>
                      </a:lnTo>
                      <a:lnTo>
                        <a:pt x="42" y="321"/>
                      </a:lnTo>
                      <a:lnTo>
                        <a:pt x="41" y="353"/>
                      </a:lnTo>
                      <a:lnTo>
                        <a:pt x="37" y="366"/>
                      </a:lnTo>
                      <a:lnTo>
                        <a:pt x="38" y="409"/>
                      </a:lnTo>
                      <a:lnTo>
                        <a:pt x="36" y="419"/>
                      </a:lnTo>
                      <a:lnTo>
                        <a:pt x="36" y="431"/>
                      </a:lnTo>
                      <a:lnTo>
                        <a:pt x="30" y="457"/>
                      </a:lnTo>
                      <a:lnTo>
                        <a:pt x="28" y="464"/>
                      </a:lnTo>
                      <a:lnTo>
                        <a:pt x="30" y="466"/>
                      </a:lnTo>
                      <a:lnTo>
                        <a:pt x="31" y="466"/>
                      </a:lnTo>
                      <a:lnTo>
                        <a:pt x="32" y="474"/>
                      </a:lnTo>
                      <a:lnTo>
                        <a:pt x="26" y="478"/>
                      </a:lnTo>
                      <a:lnTo>
                        <a:pt x="20" y="488"/>
                      </a:lnTo>
                      <a:lnTo>
                        <a:pt x="15" y="515"/>
                      </a:lnTo>
                      <a:lnTo>
                        <a:pt x="17" y="529"/>
                      </a:lnTo>
                      <a:lnTo>
                        <a:pt x="20" y="555"/>
                      </a:lnTo>
                      <a:lnTo>
                        <a:pt x="27" y="576"/>
                      </a:lnTo>
                      <a:lnTo>
                        <a:pt x="28" y="580"/>
                      </a:lnTo>
                      <a:lnTo>
                        <a:pt x="31" y="590"/>
                      </a:lnTo>
                      <a:lnTo>
                        <a:pt x="39" y="624"/>
                      </a:lnTo>
                      <a:lnTo>
                        <a:pt x="36" y="646"/>
                      </a:lnTo>
                      <a:lnTo>
                        <a:pt x="36" y="667"/>
                      </a:lnTo>
                      <a:lnTo>
                        <a:pt x="30" y="678"/>
                      </a:lnTo>
                      <a:lnTo>
                        <a:pt x="22" y="688"/>
                      </a:lnTo>
                      <a:lnTo>
                        <a:pt x="22" y="697"/>
                      </a:lnTo>
                      <a:lnTo>
                        <a:pt x="24" y="701"/>
                      </a:lnTo>
                      <a:lnTo>
                        <a:pt x="30" y="706"/>
                      </a:lnTo>
                      <a:lnTo>
                        <a:pt x="54" y="747"/>
                      </a:lnTo>
                      <a:lnTo>
                        <a:pt x="55" y="752"/>
                      </a:lnTo>
                      <a:lnTo>
                        <a:pt x="54" y="758"/>
                      </a:lnTo>
                      <a:lnTo>
                        <a:pt x="54" y="769"/>
                      </a:lnTo>
                      <a:lnTo>
                        <a:pt x="63" y="806"/>
                      </a:lnTo>
                      <a:lnTo>
                        <a:pt x="69" y="813"/>
                      </a:lnTo>
                      <a:lnTo>
                        <a:pt x="78" y="824"/>
                      </a:lnTo>
                      <a:lnTo>
                        <a:pt x="95" y="841"/>
                      </a:lnTo>
                      <a:lnTo>
                        <a:pt x="98" y="850"/>
                      </a:lnTo>
                      <a:lnTo>
                        <a:pt x="98" y="857"/>
                      </a:lnTo>
                      <a:lnTo>
                        <a:pt x="100" y="862"/>
                      </a:lnTo>
                      <a:lnTo>
                        <a:pt x="108" y="868"/>
                      </a:lnTo>
                      <a:lnTo>
                        <a:pt x="114" y="868"/>
                      </a:lnTo>
                      <a:lnTo>
                        <a:pt x="116" y="872"/>
                      </a:lnTo>
                      <a:lnTo>
                        <a:pt x="119" y="872"/>
                      </a:lnTo>
                      <a:lnTo>
                        <a:pt x="122" y="870"/>
                      </a:lnTo>
                      <a:lnTo>
                        <a:pt x="123" y="868"/>
                      </a:lnTo>
                      <a:lnTo>
                        <a:pt x="124" y="854"/>
                      </a:lnTo>
                      <a:lnTo>
                        <a:pt x="138" y="854"/>
                      </a:lnTo>
                      <a:lnTo>
                        <a:pt x="150" y="859"/>
                      </a:lnTo>
                      <a:lnTo>
                        <a:pt x="144" y="864"/>
                      </a:lnTo>
                      <a:lnTo>
                        <a:pt x="138" y="865"/>
                      </a:lnTo>
                      <a:lnTo>
                        <a:pt x="133" y="870"/>
                      </a:lnTo>
                      <a:lnTo>
                        <a:pt x="134" y="876"/>
                      </a:lnTo>
                      <a:lnTo>
                        <a:pt x="144" y="894"/>
                      </a:lnTo>
                      <a:lnTo>
                        <a:pt x="145" y="899"/>
                      </a:lnTo>
                      <a:lnTo>
                        <a:pt x="137" y="893"/>
                      </a:lnTo>
                      <a:lnTo>
                        <a:pt x="130" y="886"/>
                      </a:lnTo>
                      <a:lnTo>
                        <a:pt x="129" y="881"/>
                      </a:lnTo>
                      <a:lnTo>
                        <a:pt x="124" y="880"/>
                      </a:lnTo>
                      <a:lnTo>
                        <a:pt x="123" y="887"/>
                      </a:lnTo>
                      <a:lnTo>
                        <a:pt x="124" y="894"/>
                      </a:lnTo>
                      <a:lnTo>
                        <a:pt x="129" y="905"/>
                      </a:lnTo>
                      <a:lnTo>
                        <a:pt x="133" y="925"/>
                      </a:lnTo>
                      <a:lnTo>
                        <a:pt x="143" y="934"/>
                      </a:lnTo>
                      <a:lnTo>
                        <a:pt x="155" y="936"/>
                      </a:lnTo>
                      <a:lnTo>
                        <a:pt x="161" y="946"/>
                      </a:lnTo>
                      <a:lnTo>
                        <a:pt x="161" y="958"/>
                      </a:lnTo>
                      <a:lnTo>
                        <a:pt x="155" y="963"/>
                      </a:lnTo>
                      <a:lnTo>
                        <a:pt x="155" y="977"/>
                      </a:lnTo>
                      <a:lnTo>
                        <a:pt x="157" y="980"/>
                      </a:lnTo>
                      <a:lnTo>
                        <a:pt x="180" y="1004"/>
                      </a:lnTo>
                      <a:lnTo>
                        <a:pt x="192" y="1023"/>
                      </a:lnTo>
                      <a:lnTo>
                        <a:pt x="207" y="1038"/>
                      </a:lnTo>
                      <a:lnTo>
                        <a:pt x="213" y="1042"/>
                      </a:lnTo>
                      <a:lnTo>
                        <a:pt x="214" y="1053"/>
                      </a:lnTo>
                      <a:lnTo>
                        <a:pt x="223" y="1056"/>
                      </a:lnTo>
                      <a:lnTo>
                        <a:pt x="227" y="1064"/>
                      </a:lnTo>
                      <a:lnTo>
                        <a:pt x="227" y="1066"/>
                      </a:lnTo>
                      <a:lnTo>
                        <a:pt x="226" y="1072"/>
                      </a:lnTo>
                      <a:lnTo>
                        <a:pt x="226" y="1081"/>
                      </a:lnTo>
                      <a:lnTo>
                        <a:pt x="229" y="1096"/>
                      </a:lnTo>
                      <a:lnTo>
                        <a:pt x="231" y="1099"/>
                      </a:lnTo>
                      <a:lnTo>
                        <a:pt x="238" y="1102"/>
                      </a:lnTo>
                      <a:lnTo>
                        <a:pt x="257" y="1104"/>
                      </a:lnTo>
                      <a:lnTo>
                        <a:pt x="268" y="1110"/>
                      </a:lnTo>
                      <a:lnTo>
                        <a:pt x="273" y="1108"/>
                      </a:lnTo>
                      <a:lnTo>
                        <a:pt x="280" y="1109"/>
                      </a:lnTo>
                      <a:lnTo>
                        <a:pt x="289" y="1114"/>
                      </a:lnTo>
                      <a:lnTo>
                        <a:pt x="299" y="1118"/>
                      </a:lnTo>
                      <a:lnTo>
                        <a:pt x="302" y="1124"/>
                      </a:lnTo>
                      <a:lnTo>
                        <a:pt x="318" y="1130"/>
                      </a:lnTo>
                      <a:lnTo>
                        <a:pt x="324" y="1134"/>
                      </a:lnTo>
                      <a:lnTo>
                        <a:pt x="328" y="1137"/>
                      </a:lnTo>
                      <a:lnTo>
                        <a:pt x="331" y="1131"/>
                      </a:lnTo>
                      <a:lnTo>
                        <a:pt x="336" y="1131"/>
                      </a:lnTo>
                      <a:lnTo>
                        <a:pt x="339" y="1134"/>
                      </a:lnTo>
                      <a:lnTo>
                        <a:pt x="348" y="1141"/>
                      </a:lnTo>
                      <a:lnTo>
                        <a:pt x="349" y="1151"/>
                      </a:lnTo>
                      <a:lnTo>
                        <a:pt x="350" y="1153"/>
                      </a:lnTo>
                      <a:lnTo>
                        <a:pt x="364" y="1155"/>
                      </a:lnTo>
                      <a:lnTo>
                        <a:pt x="376" y="1161"/>
                      </a:lnTo>
                      <a:lnTo>
                        <a:pt x="383" y="1167"/>
                      </a:lnTo>
                      <a:lnTo>
                        <a:pt x="397" y="1183"/>
                      </a:lnTo>
                      <a:lnTo>
                        <a:pt x="406" y="1192"/>
                      </a:lnTo>
                      <a:lnTo>
                        <a:pt x="412" y="1201"/>
                      </a:lnTo>
                      <a:lnTo>
                        <a:pt x="415" y="1227"/>
                      </a:lnTo>
                      <a:lnTo>
                        <a:pt x="417" y="1233"/>
                      </a:lnTo>
                      <a:lnTo>
                        <a:pt x="541" y="1223"/>
                      </a:lnTo>
                      <a:lnTo>
                        <a:pt x="542" y="1230"/>
                      </a:lnTo>
                      <a:lnTo>
                        <a:pt x="751" y="1307"/>
                      </a:lnTo>
                      <a:lnTo>
                        <a:pt x="854" y="1307"/>
                      </a:lnTo>
                      <a:lnTo>
                        <a:pt x="898" y="1307"/>
                      </a:lnTo>
                      <a:lnTo>
                        <a:pt x="899" y="1277"/>
                      </a:lnTo>
                      <a:lnTo>
                        <a:pt x="989" y="1276"/>
                      </a:lnTo>
                      <a:lnTo>
                        <a:pt x="999" y="1282"/>
                      </a:lnTo>
                      <a:lnTo>
                        <a:pt x="1004" y="1285"/>
                      </a:lnTo>
                      <a:lnTo>
                        <a:pt x="1011" y="1297"/>
                      </a:lnTo>
                      <a:lnTo>
                        <a:pt x="1023" y="1303"/>
                      </a:lnTo>
                      <a:lnTo>
                        <a:pt x="1032" y="1316"/>
                      </a:lnTo>
                      <a:lnTo>
                        <a:pt x="1052" y="1333"/>
                      </a:lnTo>
                      <a:lnTo>
                        <a:pt x="1081" y="1352"/>
                      </a:lnTo>
                      <a:lnTo>
                        <a:pt x="1095" y="1403"/>
                      </a:lnTo>
                      <a:lnTo>
                        <a:pt x="1109" y="1421"/>
                      </a:lnTo>
                      <a:lnTo>
                        <a:pt x="1128" y="1437"/>
                      </a:lnTo>
                      <a:lnTo>
                        <a:pt x="1152" y="1453"/>
                      </a:lnTo>
                      <a:lnTo>
                        <a:pt x="1176" y="1458"/>
                      </a:lnTo>
                      <a:lnTo>
                        <a:pt x="1199" y="1411"/>
                      </a:lnTo>
                      <a:lnTo>
                        <a:pt x="1202" y="1408"/>
                      </a:lnTo>
                      <a:lnTo>
                        <a:pt x="1213" y="1403"/>
                      </a:lnTo>
                      <a:lnTo>
                        <a:pt x="1224" y="1406"/>
                      </a:lnTo>
                      <a:lnTo>
                        <a:pt x="1269" y="1404"/>
                      </a:lnTo>
                      <a:lnTo>
                        <a:pt x="1277" y="1414"/>
                      </a:lnTo>
                      <a:lnTo>
                        <a:pt x="1294" y="1430"/>
                      </a:lnTo>
                      <a:lnTo>
                        <a:pt x="1300" y="1440"/>
                      </a:lnTo>
                      <a:lnTo>
                        <a:pt x="1311" y="1448"/>
                      </a:lnTo>
                      <a:lnTo>
                        <a:pt x="1331" y="1494"/>
                      </a:lnTo>
                      <a:lnTo>
                        <a:pt x="1347" y="1511"/>
                      </a:lnTo>
                      <a:lnTo>
                        <a:pt x="1355" y="1531"/>
                      </a:lnTo>
                      <a:lnTo>
                        <a:pt x="1372" y="1542"/>
                      </a:lnTo>
                      <a:lnTo>
                        <a:pt x="1387" y="1589"/>
                      </a:lnTo>
                      <a:lnTo>
                        <a:pt x="1404" y="1615"/>
                      </a:lnTo>
                      <a:lnTo>
                        <a:pt x="1421" y="1626"/>
                      </a:lnTo>
                      <a:lnTo>
                        <a:pt x="1435" y="1628"/>
                      </a:lnTo>
                      <a:lnTo>
                        <a:pt x="1450" y="1636"/>
                      </a:lnTo>
                      <a:lnTo>
                        <a:pt x="1477" y="1639"/>
                      </a:lnTo>
                      <a:lnTo>
                        <a:pt x="1495" y="1647"/>
                      </a:lnTo>
                      <a:lnTo>
                        <a:pt x="1512" y="1648"/>
                      </a:lnTo>
                      <a:lnTo>
                        <a:pt x="1514" y="1647"/>
                      </a:lnTo>
                      <a:lnTo>
                        <a:pt x="1509" y="1644"/>
                      </a:lnTo>
                      <a:lnTo>
                        <a:pt x="1505" y="1632"/>
                      </a:lnTo>
                      <a:lnTo>
                        <a:pt x="1503" y="1625"/>
                      </a:lnTo>
                      <a:lnTo>
                        <a:pt x="1501" y="1624"/>
                      </a:lnTo>
                      <a:lnTo>
                        <a:pt x="1495" y="1598"/>
                      </a:lnTo>
                      <a:lnTo>
                        <a:pt x="1494" y="1588"/>
                      </a:lnTo>
                      <a:lnTo>
                        <a:pt x="1499" y="1585"/>
                      </a:lnTo>
                      <a:lnTo>
                        <a:pt x="1499" y="1572"/>
                      </a:lnTo>
                      <a:lnTo>
                        <a:pt x="1498" y="1571"/>
                      </a:lnTo>
                      <a:lnTo>
                        <a:pt x="1491" y="1570"/>
                      </a:lnTo>
                      <a:lnTo>
                        <a:pt x="1489" y="1567"/>
                      </a:lnTo>
                      <a:lnTo>
                        <a:pt x="1490" y="1564"/>
                      </a:lnTo>
                      <a:lnTo>
                        <a:pt x="1498" y="1564"/>
                      </a:lnTo>
                      <a:lnTo>
                        <a:pt x="1500" y="1566"/>
                      </a:lnTo>
                      <a:lnTo>
                        <a:pt x="1505" y="1564"/>
                      </a:lnTo>
                      <a:lnTo>
                        <a:pt x="1506" y="1556"/>
                      </a:lnTo>
                      <a:lnTo>
                        <a:pt x="1506" y="1543"/>
                      </a:lnTo>
                      <a:lnTo>
                        <a:pt x="1501" y="1533"/>
                      </a:lnTo>
                      <a:lnTo>
                        <a:pt x="1516" y="1531"/>
                      </a:lnTo>
                      <a:lnTo>
                        <a:pt x="1521" y="1521"/>
                      </a:lnTo>
                      <a:lnTo>
                        <a:pt x="1520" y="1518"/>
                      </a:lnTo>
                      <a:lnTo>
                        <a:pt x="1515" y="1519"/>
                      </a:lnTo>
                      <a:lnTo>
                        <a:pt x="1515" y="1515"/>
                      </a:lnTo>
                      <a:lnTo>
                        <a:pt x="1525" y="1508"/>
                      </a:lnTo>
                      <a:lnTo>
                        <a:pt x="1528" y="1510"/>
                      </a:lnTo>
                      <a:lnTo>
                        <a:pt x="1533" y="1502"/>
                      </a:lnTo>
                      <a:lnTo>
                        <a:pt x="1534" y="1500"/>
                      </a:lnTo>
                      <a:lnTo>
                        <a:pt x="1537" y="1496"/>
                      </a:lnTo>
                      <a:lnTo>
                        <a:pt x="1547" y="1496"/>
                      </a:lnTo>
                      <a:lnTo>
                        <a:pt x="1550" y="1494"/>
                      </a:lnTo>
                      <a:lnTo>
                        <a:pt x="1552" y="1489"/>
                      </a:lnTo>
                      <a:lnTo>
                        <a:pt x="1546" y="1485"/>
                      </a:lnTo>
                      <a:lnTo>
                        <a:pt x="1546" y="1480"/>
                      </a:lnTo>
                      <a:lnTo>
                        <a:pt x="1547" y="1476"/>
                      </a:lnTo>
                      <a:lnTo>
                        <a:pt x="1552" y="1479"/>
                      </a:lnTo>
                      <a:lnTo>
                        <a:pt x="1555" y="1481"/>
                      </a:lnTo>
                      <a:lnTo>
                        <a:pt x="1557" y="1481"/>
                      </a:lnTo>
                      <a:lnTo>
                        <a:pt x="1557" y="1476"/>
                      </a:lnTo>
                      <a:lnTo>
                        <a:pt x="1558" y="1475"/>
                      </a:lnTo>
                      <a:lnTo>
                        <a:pt x="1559" y="1476"/>
                      </a:lnTo>
                      <a:lnTo>
                        <a:pt x="1563" y="1480"/>
                      </a:lnTo>
                      <a:lnTo>
                        <a:pt x="1564" y="1480"/>
                      </a:lnTo>
                      <a:lnTo>
                        <a:pt x="1566" y="1479"/>
                      </a:lnTo>
                      <a:lnTo>
                        <a:pt x="1569" y="1475"/>
                      </a:lnTo>
                      <a:lnTo>
                        <a:pt x="1570" y="1474"/>
                      </a:lnTo>
                      <a:lnTo>
                        <a:pt x="1571" y="1483"/>
                      </a:lnTo>
                      <a:lnTo>
                        <a:pt x="1587" y="1476"/>
                      </a:lnTo>
                      <a:lnTo>
                        <a:pt x="1590" y="1478"/>
                      </a:lnTo>
                      <a:lnTo>
                        <a:pt x="1590" y="1479"/>
                      </a:lnTo>
                      <a:lnTo>
                        <a:pt x="1585" y="1481"/>
                      </a:lnTo>
                      <a:lnTo>
                        <a:pt x="1575" y="1485"/>
                      </a:lnTo>
                      <a:lnTo>
                        <a:pt x="1566" y="1489"/>
                      </a:lnTo>
                      <a:lnTo>
                        <a:pt x="1565" y="1492"/>
                      </a:lnTo>
                      <a:lnTo>
                        <a:pt x="1568" y="1492"/>
                      </a:lnTo>
                      <a:lnTo>
                        <a:pt x="1584" y="1486"/>
                      </a:lnTo>
                      <a:lnTo>
                        <a:pt x="1598" y="1479"/>
                      </a:lnTo>
                      <a:lnTo>
                        <a:pt x="1606" y="1473"/>
                      </a:lnTo>
                      <a:lnTo>
                        <a:pt x="1619" y="1463"/>
                      </a:lnTo>
                      <a:lnTo>
                        <a:pt x="1622" y="1459"/>
                      </a:lnTo>
                      <a:lnTo>
                        <a:pt x="1628" y="1443"/>
                      </a:lnTo>
                      <a:lnTo>
                        <a:pt x="1629" y="1410"/>
                      </a:lnTo>
                      <a:lnTo>
                        <a:pt x="1632" y="1408"/>
                      </a:lnTo>
                      <a:lnTo>
                        <a:pt x="1635" y="1406"/>
                      </a:lnTo>
                      <a:lnTo>
                        <a:pt x="1638" y="1406"/>
                      </a:lnTo>
                      <a:lnTo>
                        <a:pt x="1638" y="1419"/>
                      </a:lnTo>
                      <a:lnTo>
                        <a:pt x="1645" y="1419"/>
                      </a:lnTo>
                      <a:lnTo>
                        <a:pt x="1643" y="1422"/>
                      </a:lnTo>
                      <a:lnTo>
                        <a:pt x="1636" y="1425"/>
                      </a:lnTo>
                      <a:lnTo>
                        <a:pt x="1639" y="1426"/>
                      </a:lnTo>
                      <a:lnTo>
                        <a:pt x="1659" y="1419"/>
                      </a:lnTo>
                      <a:lnTo>
                        <a:pt x="1671" y="1411"/>
                      </a:lnTo>
                      <a:lnTo>
                        <a:pt x="1688" y="1411"/>
                      </a:lnTo>
                      <a:lnTo>
                        <a:pt x="1719" y="1406"/>
                      </a:lnTo>
                      <a:lnTo>
                        <a:pt x="1740" y="1413"/>
                      </a:lnTo>
                      <a:lnTo>
                        <a:pt x="1751" y="1418"/>
                      </a:lnTo>
                      <a:lnTo>
                        <a:pt x="1763" y="1420"/>
                      </a:lnTo>
                      <a:lnTo>
                        <a:pt x="1775" y="1420"/>
                      </a:lnTo>
                      <a:lnTo>
                        <a:pt x="1781" y="1414"/>
                      </a:lnTo>
                      <a:lnTo>
                        <a:pt x="1781" y="1409"/>
                      </a:lnTo>
                      <a:lnTo>
                        <a:pt x="1784" y="1405"/>
                      </a:lnTo>
                      <a:lnTo>
                        <a:pt x="1794" y="1405"/>
                      </a:lnTo>
                      <a:lnTo>
                        <a:pt x="1810" y="1414"/>
                      </a:lnTo>
                      <a:lnTo>
                        <a:pt x="1816" y="1421"/>
                      </a:lnTo>
                      <a:lnTo>
                        <a:pt x="1822" y="1422"/>
                      </a:lnTo>
                      <a:lnTo>
                        <a:pt x="1833" y="1440"/>
                      </a:lnTo>
                      <a:lnTo>
                        <a:pt x="1845" y="1440"/>
                      </a:lnTo>
                      <a:lnTo>
                        <a:pt x="1848" y="1442"/>
                      </a:lnTo>
                      <a:lnTo>
                        <a:pt x="1856" y="1445"/>
                      </a:lnTo>
                      <a:lnTo>
                        <a:pt x="1864" y="1441"/>
                      </a:lnTo>
                      <a:lnTo>
                        <a:pt x="1870" y="1445"/>
                      </a:lnTo>
                      <a:lnTo>
                        <a:pt x="1875" y="1442"/>
                      </a:lnTo>
                      <a:lnTo>
                        <a:pt x="1880" y="1442"/>
                      </a:lnTo>
                      <a:lnTo>
                        <a:pt x="1890" y="1445"/>
                      </a:lnTo>
                      <a:lnTo>
                        <a:pt x="1897" y="1436"/>
                      </a:lnTo>
                      <a:lnTo>
                        <a:pt x="1898" y="1433"/>
                      </a:lnTo>
                      <a:lnTo>
                        <a:pt x="1897" y="1429"/>
                      </a:lnTo>
                      <a:lnTo>
                        <a:pt x="1899" y="1427"/>
                      </a:lnTo>
                      <a:lnTo>
                        <a:pt x="1904" y="1427"/>
                      </a:lnTo>
                      <a:lnTo>
                        <a:pt x="1912" y="1435"/>
                      </a:lnTo>
                      <a:lnTo>
                        <a:pt x="1923" y="1440"/>
                      </a:lnTo>
                      <a:lnTo>
                        <a:pt x="1934" y="1453"/>
                      </a:lnTo>
                      <a:lnTo>
                        <a:pt x="1937" y="1452"/>
                      </a:lnTo>
                      <a:lnTo>
                        <a:pt x="1945" y="1449"/>
                      </a:lnTo>
                      <a:lnTo>
                        <a:pt x="1946" y="1445"/>
                      </a:lnTo>
                      <a:lnTo>
                        <a:pt x="1941" y="1438"/>
                      </a:lnTo>
                      <a:lnTo>
                        <a:pt x="1925" y="1430"/>
                      </a:lnTo>
                      <a:lnTo>
                        <a:pt x="1918" y="1420"/>
                      </a:lnTo>
                      <a:lnTo>
                        <a:pt x="1918" y="1418"/>
                      </a:lnTo>
                      <a:lnTo>
                        <a:pt x="1923" y="1410"/>
                      </a:lnTo>
                      <a:lnTo>
                        <a:pt x="1934" y="1402"/>
                      </a:lnTo>
                      <a:lnTo>
                        <a:pt x="1936" y="1387"/>
                      </a:lnTo>
                      <a:lnTo>
                        <a:pt x="1934" y="1386"/>
                      </a:lnTo>
                      <a:lnTo>
                        <a:pt x="1933" y="1384"/>
                      </a:lnTo>
                      <a:lnTo>
                        <a:pt x="1920" y="1389"/>
                      </a:lnTo>
                      <a:lnTo>
                        <a:pt x="1914" y="1395"/>
                      </a:lnTo>
                      <a:lnTo>
                        <a:pt x="1910" y="1394"/>
                      </a:lnTo>
                      <a:lnTo>
                        <a:pt x="1908" y="1383"/>
                      </a:lnTo>
                      <a:lnTo>
                        <a:pt x="1905" y="1382"/>
                      </a:lnTo>
                      <a:lnTo>
                        <a:pt x="1902" y="1383"/>
                      </a:lnTo>
                      <a:lnTo>
                        <a:pt x="1893" y="1388"/>
                      </a:lnTo>
                      <a:lnTo>
                        <a:pt x="1883" y="1389"/>
                      </a:lnTo>
                      <a:lnTo>
                        <a:pt x="1876" y="1382"/>
                      </a:lnTo>
                      <a:lnTo>
                        <a:pt x="1878" y="1371"/>
                      </a:lnTo>
                      <a:lnTo>
                        <a:pt x="1891" y="1367"/>
                      </a:lnTo>
                      <a:lnTo>
                        <a:pt x="1905" y="1375"/>
                      </a:lnTo>
                      <a:lnTo>
                        <a:pt x="1921" y="1377"/>
                      </a:lnTo>
                      <a:lnTo>
                        <a:pt x="1934" y="1371"/>
                      </a:lnTo>
                      <a:lnTo>
                        <a:pt x="1942" y="1373"/>
                      </a:lnTo>
                      <a:lnTo>
                        <a:pt x="1953" y="1366"/>
                      </a:lnTo>
                      <a:lnTo>
                        <a:pt x="1987" y="1368"/>
                      </a:lnTo>
                      <a:lnTo>
                        <a:pt x="1995" y="1370"/>
                      </a:lnTo>
                      <a:lnTo>
                        <a:pt x="1999" y="1367"/>
                      </a:lnTo>
                      <a:lnTo>
                        <a:pt x="2007" y="1334"/>
                      </a:lnTo>
                      <a:lnTo>
                        <a:pt x="2010" y="1341"/>
                      </a:lnTo>
                      <a:lnTo>
                        <a:pt x="2010" y="1350"/>
                      </a:lnTo>
                      <a:lnTo>
                        <a:pt x="2012" y="1363"/>
                      </a:lnTo>
                      <a:lnTo>
                        <a:pt x="2012" y="1367"/>
                      </a:lnTo>
                      <a:lnTo>
                        <a:pt x="2010" y="1373"/>
                      </a:lnTo>
                      <a:lnTo>
                        <a:pt x="2011" y="1377"/>
                      </a:lnTo>
                      <a:lnTo>
                        <a:pt x="2020" y="1376"/>
                      </a:lnTo>
                      <a:lnTo>
                        <a:pt x="2041" y="1370"/>
                      </a:lnTo>
                      <a:lnTo>
                        <a:pt x="2049" y="1361"/>
                      </a:lnTo>
                      <a:lnTo>
                        <a:pt x="2054" y="1361"/>
                      </a:lnTo>
                      <a:lnTo>
                        <a:pt x="2059" y="1356"/>
                      </a:lnTo>
                      <a:lnTo>
                        <a:pt x="2061" y="1356"/>
                      </a:lnTo>
                      <a:lnTo>
                        <a:pt x="2061" y="1359"/>
                      </a:lnTo>
                      <a:lnTo>
                        <a:pt x="2058" y="1366"/>
                      </a:lnTo>
                      <a:lnTo>
                        <a:pt x="2065" y="1366"/>
                      </a:lnTo>
                      <a:lnTo>
                        <a:pt x="2087" y="1361"/>
                      </a:lnTo>
                      <a:lnTo>
                        <a:pt x="2098" y="1361"/>
                      </a:lnTo>
                      <a:lnTo>
                        <a:pt x="2103" y="1362"/>
                      </a:lnTo>
                      <a:lnTo>
                        <a:pt x="2102" y="1366"/>
                      </a:lnTo>
                      <a:lnTo>
                        <a:pt x="2100" y="1367"/>
                      </a:lnTo>
                      <a:lnTo>
                        <a:pt x="2100" y="1370"/>
                      </a:lnTo>
                      <a:lnTo>
                        <a:pt x="2107" y="1373"/>
                      </a:lnTo>
                      <a:lnTo>
                        <a:pt x="2117" y="1377"/>
                      </a:lnTo>
                      <a:lnTo>
                        <a:pt x="2143" y="1392"/>
                      </a:lnTo>
                      <a:lnTo>
                        <a:pt x="2147" y="1397"/>
                      </a:lnTo>
                      <a:lnTo>
                        <a:pt x="2152" y="1406"/>
                      </a:lnTo>
                      <a:lnTo>
                        <a:pt x="2157" y="1410"/>
                      </a:lnTo>
                      <a:lnTo>
                        <a:pt x="2171" y="1406"/>
                      </a:lnTo>
                      <a:lnTo>
                        <a:pt x="2186" y="1404"/>
                      </a:lnTo>
                      <a:lnTo>
                        <a:pt x="2199" y="1397"/>
                      </a:lnTo>
                      <a:lnTo>
                        <a:pt x="2205" y="1397"/>
                      </a:lnTo>
                      <a:lnTo>
                        <a:pt x="2206" y="1397"/>
                      </a:lnTo>
                      <a:lnTo>
                        <a:pt x="2208" y="1390"/>
                      </a:lnTo>
                      <a:lnTo>
                        <a:pt x="2213" y="1387"/>
                      </a:lnTo>
                      <a:lnTo>
                        <a:pt x="2221" y="1387"/>
                      </a:lnTo>
                      <a:lnTo>
                        <a:pt x="2226" y="1387"/>
                      </a:lnTo>
                      <a:lnTo>
                        <a:pt x="2236" y="1390"/>
                      </a:lnTo>
                      <a:lnTo>
                        <a:pt x="2243" y="1398"/>
                      </a:lnTo>
                      <a:lnTo>
                        <a:pt x="2253" y="1409"/>
                      </a:lnTo>
                      <a:lnTo>
                        <a:pt x="2258" y="1411"/>
                      </a:lnTo>
                      <a:lnTo>
                        <a:pt x="2259" y="1421"/>
                      </a:lnTo>
                      <a:lnTo>
                        <a:pt x="2264" y="1424"/>
                      </a:lnTo>
                      <a:lnTo>
                        <a:pt x="2274" y="1437"/>
                      </a:lnTo>
                      <a:lnTo>
                        <a:pt x="2280" y="1441"/>
                      </a:lnTo>
                      <a:lnTo>
                        <a:pt x="2292" y="1446"/>
                      </a:lnTo>
                      <a:lnTo>
                        <a:pt x="2295" y="1449"/>
                      </a:lnTo>
                      <a:lnTo>
                        <a:pt x="2296" y="1457"/>
                      </a:lnTo>
                      <a:lnTo>
                        <a:pt x="2297" y="1476"/>
                      </a:lnTo>
                      <a:lnTo>
                        <a:pt x="2292" y="1511"/>
                      </a:lnTo>
                      <a:lnTo>
                        <a:pt x="2292" y="1517"/>
                      </a:lnTo>
                      <a:lnTo>
                        <a:pt x="2295" y="1527"/>
                      </a:lnTo>
                      <a:lnTo>
                        <a:pt x="2295" y="1528"/>
                      </a:lnTo>
                      <a:lnTo>
                        <a:pt x="2300" y="1528"/>
                      </a:lnTo>
                      <a:lnTo>
                        <a:pt x="2301" y="1518"/>
                      </a:lnTo>
                      <a:lnTo>
                        <a:pt x="2305" y="1521"/>
                      </a:lnTo>
                      <a:lnTo>
                        <a:pt x="2308" y="1524"/>
                      </a:lnTo>
                      <a:lnTo>
                        <a:pt x="2305" y="1537"/>
                      </a:lnTo>
                      <a:lnTo>
                        <a:pt x="2303" y="1545"/>
                      </a:lnTo>
                      <a:lnTo>
                        <a:pt x="2305" y="1556"/>
                      </a:lnTo>
                      <a:lnTo>
                        <a:pt x="2310" y="1566"/>
                      </a:lnTo>
                      <a:lnTo>
                        <a:pt x="2323" y="1587"/>
                      </a:lnTo>
                      <a:lnTo>
                        <a:pt x="2326" y="1587"/>
                      </a:lnTo>
                      <a:lnTo>
                        <a:pt x="2333" y="1585"/>
                      </a:lnTo>
                      <a:lnTo>
                        <a:pt x="2335" y="1602"/>
                      </a:lnTo>
                      <a:lnTo>
                        <a:pt x="2340" y="1601"/>
                      </a:lnTo>
                      <a:lnTo>
                        <a:pt x="2340" y="1601"/>
                      </a:lnTo>
                      <a:lnTo>
                        <a:pt x="2338" y="1605"/>
                      </a:lnTo>
                      <a:lnTo>
                        <a:pt x="2337" y="1609"/>
                      </a:lnTo>
                      <a:lnTo>
                        <a:pt x="2345" y="1623"/>
                      </a:lnTo>
                      <a:lnTo>
                        <a:pt x="2349" y="1635"/>
                      </a:lnTo>
                      <a:lnTo>
                        <a:pt x="2353" y="1641"/>
                      </a:lnTo>
                      <a:lnTo>
                        <a:pt x="2358" y="1647"/>
                      </a:lnTo>
                      <a:lnTo>
                        <a:pt x="2366" y="1647"/>
                      </a:lnTo>
                      <a:lnTo>
                        <a:pt x="2371" y="1653"/>
                      </a:lnTo>
                      <a:lnTo>
                        <a:pt x="2381" y="1674"/>
                      </a:lnTo>
                      <a:lnTo>
                        <a:pt x="2381" y="1688"/>
                      </a:lnTo>
                      <a:lnTo>
                        <a:pt x="2382" y="1690"/>
                      </a:lnTo>
                      <a:lnTo>
                        <a:pt x="2386" y="1693"/>
                      </a:lnTo>
                      <a:lnTo>
                        <a:pt x="2399" y="1693"/>
                      </a:lnTo>
                      <a:lnTo>
                        <a:pt x="2409" y="1690"/>
                      </a:lnTo>
                      <a:lnTo>
                        <a:pt x="2421" y="1684"/>
                      </a:lnTo>
                      <a:lnTo>
                        <a:pt x="2429" y="1688"/>
                      </a:lnTo>
                      <a:lnTo>
                        <a:pt x="2432" y="1680"/>
                      </a:lnTo>
                      <a:lnTo>
                        <a:pt x="2429" y="1677"/>
                      </a:lnTo>
                      <a:lnTo>
                        <a:pt x="2434" y="1657"/>
                      </a:lnTo>
                      <a:lnTo>
                        <a:pt x="2440" y="1636"/>
                      </a:lnTo>
                      <a:lnTo>
                        <a:pt x="2442" y="1617"/>
                      </a:lnTo>
                      <a:lnTo>
                        <a:pt x="2440" y="1597"/>
                      </a:lnTo>
                      <a:lnTo>
                        <a:pt x="2441" y="1583"/>
                      </a:lnTo>
                      <a:lnTo>
                        <a:pt x="2424" y="1539"/>
                      </a:lnTo>
                      <a:lnTo>
                        <a:pt x="2414" y="1522"/>
                      </a:lnTo>
                      <a:lnTo>
                        <a:pt x="2412" y="1508"/>
                      </a:lnTo>
                      <a:lnTo>
                        <a:pt x="2414" y="1492"/>
                      </a:lnTo>
                      <a:lnTo>
                        <a:pt x="2412" y="1483"/>
                      </a:lnTo>
                      <a:lnTo>
                        <a:pt x="2404" y="1469"/>
                      </a:lnTo>
                      <a:lnTo>
                        <a:pt x="2387" y="1441"/>
                      </a:lnTo>
                      <a:lnTo>
                        <a:pt x="2374" y="1400"/>
                      </a:lnTo>
                      <a:lnTo>
                        <a:pt x="2362" y="1354"/>
                      </a:lnTo>
                      <a:lnTo>
                        <a:pt x="2365" y="1348"/>
                      </a:lnTo>
                      <a:lnTo>
                        <a:pt x="2365" y="1332"/>
                      </a:lnTo>
                      <a:lnTo>
                        <a:pt x="2371" y="1322"/>
                      </a:lnTo>
                      <a:lnTo>
                        <a:pt x="2374" y="1311"/>
                      </a:lnTo>
                      <a:lnTo>
                        <a:pt x="2377" y="1302"/>
                      </a:lnTo>
                      <a:lnTo>
                        <a:pt x="2389" y="1274"/>
                      </a:lnTo>
                      <a:lnTo>
                        <a:pt x="2396" y="1264"/>
                      </a:lnTo>
                      <a:lnTo>
                        <a:pt x="2398" y="1264"/>
                      </a:lnTo>
                      <a:lnTo>
                        <a:pt x="2398" y="1259"/>
                      </a:lnTo>
                      <a:lnTo>
                        <a:pt x="2399" y="1257"/>
                      </a:lnTo>
                      <a:lnTo>
                        <a:pt x="2408" y="1252"/>
                      </a:lnTo>
                      <a:lnTo>
                        <a:pt x="2413" y="1252"/>
                      </a:lnTo>
                      <a:lnTo>
                        <a:pt x="2417" y="1247"/>
                      </a:lnTo>
                      <a:lnTo>
                        <a:pt x="2414" y="1242"/>
                      </a:lnTo>
                      <a:lnTo>
                        <a:pt x="2409" y="1234"/>
                      </a:lnTo>
                      <a:lnTo>
                        <a:pt x="2409" y="1232"/>
                      </a:lnTo>
                      <a:lnTo>
                        <a:pt x="2409" y="1230"/>
                      </a:lnTo>
                      <a:lnTo>
                        <a:pt x="2425" y="1228"/>
                      </a:lnTo>
                      <a:lnTo>
                        <a:pt x="2441" y="1230"/>
                      </a:lnTo>
                      <a:lnTo>
                        <a:pt x="2446" y="1228"/>
                      </a:lnTo>
                      <a:lnTo>
                        <a:pt x="2468" y="1210"/>
                      </a:lnTo>
                      <a:lnTo>
                        <a:pt x="2471" y="1210"/>
                      </a:lnTo>
                      <a:lnTo>
                        <a:pt x="2475" y="1206"/>
                      </a:lnTo>
                      <a:lnTo>
                        <a:pt x="2478" y="1199"/>
                      </a:lnTo>
                      <a:lnTo>
                        <a:pt x="2487" y="1196"/>
                      </a:lnTo>
                      <a:lnTo>
                        <a:pt x="2493" y="1192"/>
                      </a:lnTo>
                      <a:lnTo>
                        <a:pt x="2495" y="1185"/>
                      </a:lnTo>
                      <a:lnTo>
                        <a:pt x="2493" y="1179"/>
                      </a:lnTo>
                      <a:lnTo>
                        <a:pt x="2499" y="1174"/>
                      </a:lnTo>
                      <a:lnTo>
                        <a:pt x="2505" y="1163"/>
                      </a:lnTo>
                      <a:lnTo>
                        <a:pt x="2512" y="1156"/>
                      </a:lnTo>
                      <a:lnTo>
                        <a:pt x="2526" y="1150"/>
                      </a:lnTo>
                      <a:lnTo>
                        <a:pt x="2527" y="1145"/>
                      </a:lnTo>
                      <a:lnTo>
                        <a:pt x="2533" y="1144"/>
                      </a:lnTo>
                      <a:lnTo>
                        <a:pt x="2550" y="1141"/>
                      </a:lnTo>
                      <a:lnTo>
                        <a:pt x="2569" y="1133"/>
                      </a:lnTo>
                      <a:lnTo>
                        <a:pt x="2571" y="1126"/>
                      </a:lnTo>
                      <a:lnTo>
                        <a:pt x="2574" y="1123"/>
                      </a:lnTo>
                      <a:lnTo>
                        <a:pt x="2579" y="1118"/>
                      </a:lnTo>
                      <a:lnTo>
                        <a:pt x="2585" y="1109"/>
                      </a:lnTo>
                      <a:lnTo>
                        <a:pt x="2592" y="1103"/>
                      </a:lnTo>
                      <a:lnTo>
                        <a:pt x="2611" y="1094"/>
                      </a:lnTo>
                      <a:lnTo>
                        <a:pt x="2631" y="1093"/>
                      </a:lnTo>
                      <a:lnTo>
                        <a:pt x="2646" y="1083"/>
                      </a:lnTo>
                      <a:lnTo>
                        <a:pt x="2649" y="1079"/>
                      </a:lnTo>
                      <a:lnTo>
                        <a:pt x="2649" y="1071"/>
                      </a:lnTo>
                      <a:lnTo>
                        <a:pt x="2640" y="1069"/>
                      </a:lnTo>
                      <a:lnTo>
                        <a:pt x="2635" y="1071"/>
                      </a:lnTo>
                      <a:lnTo>
                        <a:pt x="2634" y="1074"/>
                      </a:lnTo>
                      <a:lnTo>
                        <a:pt x="2634" y="1071"/>
                      </a:lnTo>
                      <a:lnTo>
                        <a:pt x="2634" y="1065"/>
                      </a:lnTo>
                      <a:lnTo>
                        <a:pt x="2639" y="1061"/>
                      </a:lnTo>
                      <a:lnTo>
                        <a:pt x="2640" y="1056"/>
                      </a:lnTo>
                      <a:lnTo>
                        <a:pt x="2645" y="1053"/>
                      </a:lnTo>
                      <a:lnTo>
                        <a:pt x="2641" y="1048"/>
                      </a:lnTo>
                      <a:lnTo>
                        <a:pt x="2625" y="1042"/>
                      </a:lnTo>
                      <a:lnTo>
                        <a:pt x="2639" y="1042"/>
                      </a:lnTo>
                      <a:lnTo>
                        <a:pt x="2645" y="1037"/>
                      </a:lnTo>
                      <a:lnTo>
                        <a:pt x="2647" y="1043"/>
                      </a:lnTo>
                      <a:lnTo>
                        <a:pt x="2651" y="1043"/>
                      </a:lnTo>
                      <a:lnTo>
                        <a:pt x="2655" y="1048"/>
                      </a:lnTo>
                      <a:lnTo>
                        <a:pt x="2665" y="1048"/>
                      </a:lnTo>
                      <a:lnTo>
                        <a:pt x="2671" y="1044"/>
                      </a:lnTo>
                      <a:lnTo>
                        <a:pt x="2679" y="1032"/>
                      </a:lnTo>
                      <a:lnTo>
                        <a:pt x="2686" y="1028"/>
                      </a:lnTo>
                      <a:lnTo>
                        <a:pt x="2686" y="1020"/>
                      </a:lnTo>
                      <a:lnTo>
                        <a:pt x="2684" y="1013"/>
                      </a:lnTo>
                      <a:lnTo>
                        <a:pt x="2679" y="1007"/>
                      </a:lnTo>
                      <a:lnTo>
                        <a:pt x="2674" y="1012"/>
                      </a:lnTo>
                      <a:lnTo>
                        <a:pt x="2670" y="1023"/>
                      </a:lnTo>
                      <a:lnTo>
                        <a:pt x="2670" y="1023"/>
                      </a:lnTo>
                      <a:lnTo>
                        <a:pt x="2667" y="1018"/>
                      </a:lnTo>
                      <a:lnTo>
                        <a:pt x="2666" y="1006"/>
                      </a:lnTo>
                      <a:lnTo>
                        <a:pt x="2641" y="1010"/>
                      </a:lnTo>
                      <a:lnTo>
                        <a:pt x="2635" y="1008"/>
                      </a:lnTo>
                      <a:lnTo>
                        <a:pt x="2634" y="1001"/>
                      </a:lnTo>
                      <a:lnTo>
                        <a:pt x="2634" y="986"/>
                      </a:lnTo>
                      <a:lnTo>
                        <a:pt x="2635" y="984"/>
                      </a:lnTo>
                      <a:lnTo>
                        <a:pt x="2639" y="997"/>
                      </a:lnTo>
                      <a:lnTo>
                        <a:pt x="2643" y="1000"/>
                      </a:lnTo>
                      <a:lnTo>
                        <a:pt x="2647" y="1000"/>
                      </a:lnTo>
                      <a:lnTo>
                        <a:pt x="2662" y="991"/>
                      </a:lnTo>
                      <a:lnTo>
                        <a:pt x="2666" y="993"/>
                      </a:lnTo>
                      <a:lnTo>
                        <a:pt x="2666" y="989"/>
                      </a:lnTo>
                      <a:lnTo>
                        <a:pt x="2672" y="991"/>
                      </a:lnTo>
                      <a:lnTo>
                        <a:pt x="2678" y="991"/>
                      </a:lnTo>
                      <a:lnTo>
                        <a:pt x="2682" y="999"/>
                      </a:lnTo>
                      <a:lnTo>
                        <a:pt x="2682" y="997"/>
                      </a:lnTo>
                      <a:lnTo>
                        <a:pt x="2679" y="990"/>
                      </a:lnTo>
                      <a:lnTo>
                        <a:pt x="2677" y="984"/>
                      </a:lnTo>
                      <a:lnTo>
                        <a:pt x="2674" y="975"/>
                      </a:lnTo>
                      <a:lnTo>
                        <a:pt x="2673" y="973"/>
                      </a:lnTo>
                      <a:lnTo>
                        <a:pt x="2676" y="957"/>
                      </a:lnTo>
                      <a:lnTo>
                        <a:pt x="2674" y="943"/>
                      </a:lnTo>
                      <a:lnTo>
                        <a:pt x="2657" y="938"/>
                      </a:lnTo>
                      <a:lnTo>
                        <a:pt x="2655" y="940"/>
                      </a:lnTo>
                      <a:lnTo>
                        <a:pt x="2654" y="942"/>
                      </a:lnTo>
                      <a:lnTo>
                        <a:pt x="2647" y="940"/>
                      </a:lnTo>
                      <a:lnTo>
                        <a:pt x="2643" y="936"/>
                      </a:lnTo>
                      <a:lnTo>
                        <a:pt x="2643" y="931"/>
                      </a:lnTo>
                      <a:lnTo>
                        <a:pt x="2652" y="931"/>
                      </a:lnTo>
                      <a:lnTo>
                        <a:pt x="2657" y="929"/>
                      </a:lnTo>
                      <a:lnTo>
                        <a:pt x="2656" y="925"/>
                      </a:lnTo>
                      <a:lnTo>
                        <a:pt x="2651" y="923"/>
                      </a:lnTo>
                      <a:lnTo>
                        <a:pt x="2649" y="916"/>
                      </a:lnTo>
                      <a:lnTo>
                        <a:pt x="2649" y="913"/>
                      </a:lnTo>
                      <a:lnTo>
                        <a:pt x="2654" y="910"/>
                      </a:lnTo>
                      <a:lnTo>
                        <a:pt x="2657" y="910"/>
                      </a:lnTo>
                      <a:lnTo>
                        <a:pt x="2654" y="903"/>
                      </a:lnTo>
                      <a:lnTo>
                        <a:pt x="2649" y="899"/>
                      </a:lnTo>
                      <a:lnTo>
                        <a:pt x="2647" y="892"/>
                      </a:lnTo>
                      <a:lnTo>
                        <a:pt x="2647" y="891"/>
                      </a:lnTo>
                      <a:lnTo>
                        <a:pt x="2651" y="889"/>
                      </a:lnTo>
                      <a:lnTo>
                        <a:pt x="2654" y="877"/>
                      </a:lnTo>
                      <a:lnTo>
                        <a:pt x="2654" y="871"/>
                      </a:lnTo>
                      <a:lnTo>
                        <a:pt x="2647" y="864"/>
                      </a:lnTo>
                      <a:lnTo>
                        <a:pt x="2635" y="857"/>
                      </a:lnTo>
                      <a:lnTo>
                        <a:pt x="2625" y="855"/>
                      </a:lnTo>
                      <a:lnTo>
                        <a:pt x="2616" y="846"/>
                      </a:lnTo>
                      <a:lnTo>
                        <a:pt x="2598" y="838"/>
                      </a:lnTo>
                      <a:lnTo>
                        <a:pt x="2597" y="835"/>
                      </a:lnTo>
                      <a:lnTo>
                        <a:pt x="2597" y="832"/>
                      </a:lnTo>
                      <a:lnTo>
                        <a:pt x="2600" y="825"/>
                      </a:lnTo>
                      <a:lnTo>
                        <a:pt x="2604" y="824"/>
                      </a:lnTo>
                      <a:lnTo>
                        <a:pt x="2604" y="827"/>
                      </a:lnTo>
                      <a:lnTo>
                        <a:pt x="2601" y="833"/>
                      </a:lnTo>
                      <a:lnTo>
                        <a:pt x="2603" y="835"/>
                      </a:lnTo>
                      <a:lnTo>
                        <a:pt x="2611" y="837"/>
                      </a:lnTo>
                      <a:lnTo>
                        <a:pt x="2622" y="843"/>
                      </a:lnTo>
                      <a:lnTo>
                        <a:pt x="2628" y="843"/>
                      </a:lnTo>
                      <a:lnTo>
                        <a:pt x="2631" y="846"/>
                      </a:lnTo>
                      <a:lnTo>
                        <a:pt x="2639" y="849"/>
                      </a:lnTo>
                      <a:lnTo>
                        <a:pt x="2644" y="854"/>
                      </a:lnTo>
                      <a:lnTo>
                        <a:pt x="2651" y="857"/>
                      </a:lnTo>
                      <a:lnTo>
                        <a:pt x="2646" y="841"/>
                      </a:lnTo>
                      <a:lnTo>
                        <a:pt x="2640" y="835"/>
                      </a:lnTo>
                      <a:lnTo>
                        <a:pt x="2645" y="834"/>
                      </a:lnTo>
                      <a:lnTo>
                        <a:pt x="2645" y="833"/>
                      </a:lnTo>
                      <a:lnTo>
                        <a:pt x="2643" y="828"/>
                      </a:lnTo>
                      <a:lnTo>
                        <a:pt x="2641" y="816"/>
                      </a:lnTo>
                      <a:lnTo>
                        <a:pt x="2644" y="790"/>
                      </a:lnTo>
                      <a:lnTo>
                        <a:pt x="2641" y="781"/>
                      </a:lnTo>
                      <a:lnTo>
                        <a:pt x="2649" y="778"/>
                      </a:lnTo>
                      <a:lnTo>
                        <a:pt x="2662" y="767"/>
                      </a:lnTo>
                      <a:lnTo>
                        <a:pt x="2666" y="760"/>
                      </a:lnTo>
                      <a:lnTo>
                        <a:pt x="2668" y="755"/>
                      </a:lnTo>
                      <a:lnTo>
                        <a:pt x="2671" y="755"/>
                      </a:lnTo>
                      <a:lnTo>
                        <a:pt x="2673" y="758"/>
                      </a:lnTo>
                      <a:lnTo>
                        <a:pt x="2674" y="760"/>
                      </a:lnTo>
                      <a:lnTo>
                        <a:pt x="2672" y="767"/>
                      </a:lnTo>
                      <a:lnTo>
                        <a:pt x="2670" y="770"/>
                      </a:lnTo>
                      <a:lnTo>
                        <a:pt x="2665" y="773"/>
                      </a:lnTo>
                      <a:lnTo>
                        <a:pt x="2661" y="778"/>
                      </a:lnTo>
                      <a:lnTo>
                        <a:pt x="2661" y="782"/>
                      </a:lnTo>
                      <a:lnTo>
                        <a:pt x="2663" y="789"/>
                      </a:lnTo>
                      <a:lnTo>
                        <a:pt x="2662" y="792"/>
                      </a:lnTo>
                      <a:lnTo>
                        <a:pt x="2655" y="801"/>
                      </a:lnTo>
                      <a:lnTo>
                        <a:pt x="2656" y="803"/>
                      </a:lnTo>
                      <a:lnTo>
                        <a:pt x="2662" y="803"/>
                      </a:lnTo>
                      <a:lnTo>
                        <a:pt x="2663" y="806"/>
                      </a:lnTo>
                      <a:lnTo>
                        <a:pt x="2663" y="812"/>
                      </a:lnTo>
                      <a:lnTo>
                        <a:pt x="2663" y="821"/>
                      </a:lnTo>
                      <a:lnTo>
                        <a:pt x="2660" y="823"/>
                      </a:lnTo>
                      <a:lnTo>
                        <a:pt x="2657" y="827"/>
                      </a:lnTo>
                      <a:lnTo>
                        <a:pt x="2656" y="832"/>
                      </a:lnTo>
                      <a:lnTo>
                        <a:pt x="2657" y="838"/>
                      </a:lnTo>
                      <a:lnTo>
                        <a:pt x="2663" y="845"/>
                      </a:lnTo>
                      <a:lnTo>
                        <a:pt x="2672" y="846"/>
                      </a:lnTo>
                      <a:lnTo>
                        <a:pt x="2676" y="848"/>
                      </a:lnTo>
                      <a:lnTo>
                        <a:pt x="2681" y="859"/>
                      </a:lnTo>
                      <a:lnTo>
                        <a:pt x="2682" y="865"/>
                      </a:lnTo>
                      <a:lnTo>
                        <a:pt x="2683" y="867"/>
                      </a:lnTo>
                      <a:lnTo>
                        <a:pt x="2688" y="870"/>
                      </a:lnTo>
                      <a:lnTo>
                        <a:pt x="2687" y="876"/>
                      </a:lnTo>
                      <a:lnTo>
                        <a:pt x="2682" y="877"/>
                      </a:lnTo>
                      <a:lnTo>
                        <a:pt x="2679" y="881"/>
                      </a:lnTo>
                      <a:lnTo>
                        <a:pt x="2671" y="903"/>
                      </a:lnTo>
                      <a:lnTo>
                        <a:pt x="2671" y="911"/>
                      </a:lnTo>
                      <a:lnTo>
                        <a:pt x="2672" y="923"/>
                      </a:lnTo>
                      <a:lnTo>
                        <a:pt x="2674" y="925"/>
                      </a:lnTo>
                      <a:lnTo>
                        <a:pt x="2679" y="924"/>
                      </a:lnTo>
                      <a:lnTo>
                        <a:pt x="2683" y="921"/>
                      </a:lnTo>
                      <a:lnTo>
                        <a:pt x="2686" y="916"/>
                      </a:lnTo>
                      <a:lnTo>
                        <a:pt x="2693" y="892"/>
                      </a:lnTo>
                      <a:lnTo>
                        <a:pt x="2709" y="862"/>
                      </a:lnTo>
                      <a:lnTo>
                        <a:pt x="2709" y="854"/>
                      </a:lnTo>
                      <a:lnTo>
                        <a:pt x="2717" y="843"/>
                      </a:lnTo>
                      <a:lnTo>
                        <a:pt x="2720" y="834"/>
                      </a:lnTo>
                      <a:lnTo>
                        <a:pt x="2722" y="828"/>
                      </a:lnTo>
                      <a:lnTo>
                        <a:pt x="2717" y="811"/>
                      </a:lnTo>
                      <a:lnTo>
                        <a:pt x="2708" y="796"/>
                      </a:lnTo>
                      <a:lnTo>
                        <a:pt x="2694" y="771"/>
                      </a:lnTo>
                      <a:lnTo>
                        <a:pt x="2692" y="763"/>
                      </a:lnTo>
                      <a:lnTo>
                        <a:pt x="2694" y="757"/>
                      </a:lnTo>
                      <a:lnTo>
                        <a:pt x="2700" y="764"/>
                      </a:lnTo>
                      <a:lnTo>
                        <a:pt x="2708" y="773"/>
                      </a:lnTo>
                      <a:lnTo>
                        <a:pt x="2715" y="775"/>
                      </a:lnTo>
                      <a:lnTo>
                        <a:pt x="2721" y="780"/>
                      </a:lnTo>
                      <a:lnTo>
                        <a:pt x="2732" y="781"/>
                      </a:lnTo>
                      <a:lnTo>
                        <a:pt x="2731" y="795"/>
                      </a:lnTo>
                      <a:lnTo>
                        <a:pt x="2732" y="797"/>
                      </a:lnTo>
                      <a:lnTo>
                        <a:pt x="2740" y="790"/>
                      </a:lnTo>
                      <a:lnTo>
                        <a:pt x="2751" y="773"/>
                      </a:lnTo>
                      <a:lnTo>
                        <a:pt x="2758" y="765"/>
                      </a:lnTo>
                      <a:lnTo>
                        <a:pt x="2762" y="759"/>
                      </a:lnTo>
                      <a:lnTo>
                        <a:pt x="2762" y="754"/>
                      </a:lnTo>
                      <a:lnTo>
                        <a:pt x="2767" y="752"/>
                      </a:lnTo>
                      <a:lnTo>
                        <a:pt x="2769" y="749"/>
                      </a:lnTo>
                      <a:lnTo>
                        <a:pt x="2773" y="730"/>
                      </a:lnTo>
                      <a:lnTo>
                        <a:pt x="2774" y="727"/>
                      </a:lnTo>
                      <a:lnTo>
                        <a:pt x="2776" y="728"/>
                      </a:lnTo>
                      <a:lnTo>
                        <a:pt x="2779" y="727"/>
                      </a:lnTo>
                      <a:lnTo>
                        <a:pt x="2783" y="712"/>
                      </a:lnTo>
                      <a:lnTo>
                        <a:pt x="2784" y="708"/>
                      </a:lnTo>
                      <a:lnTo>
                        <a:pt x="2781" y="703"/>
                      </a:lnTo>
                      <a:lnTo>
                        <a:pt x="2776" y="697"/>
                      </a:lnTo>
                      <a:lnTo>
                        <a:pt x="2769" y="693"/>
                      </a:lnTo>
                      <a:lnTo>
                        <a:pt x="2769" y="690"/>
                      </a:lnTo>
                      <a:lnTo>
                        <a:pt x="2769" y="687"/>
                      </a:lnTo>
                      <a:lnTo>
                        <a:pt x="2773" y="678"/>
                      </a:lnTo>
                      <a:lnTo>
                        <a:pt x="2775" y="674"/>
                      </a:lnTo>
                      <a:lnTo>
                        <a:pt x="2785" y="662"/>
                      </a:lnTo>
                      <a:lnTo>
                        <a:pt x="2790" y="662"/>
                      </a:lnTo>
                      <a:lnTo>
                        <a:pt x="2796" y="652"/>
                      </a:lnTo>
                      <a:lnTo>
                        <a:pt x="2807" y="650"/>
                      </a:lnTo>
                      <a:lnTo>
                        <a:pt x="2819" y="644"/>
                      </a:lnTo>
                      <a:lnTo>
                        <a:pt x="2830" y="641"/>
                      </a:lnTo>
                      <a:lnTo>
                        <a:pt x="2835" y="635"/>
                      </a:lnTo>
                      <a:lnTo>
                        <a:pt x="2843" y="631"/>
                      </a:lnTo>
                      <a:lnTo>
                        <a:pt x="2856" y="634"/>
                      </a:lnTo>
                      <a:lnTo>
                        <a:pt x="2869" y="631"/>
                      </a:lnTo>
                      <a:lnTo>
                        <a:pt x="2894" y="630"/>
                      </a:lnTo>
                      <a:lnTo>
                        <a:pt x="2913" y="625"/>
                      </a:lnTo>
                      <a:lnTo>
                        <a:pt x="2918" y="623"/>
                      </a:lnTo>
                      <a:lnTo>
                        <a:pt x="2923" y="619"/>
                      </a:lnTo>
                      <a:lnTo>
                        <a:pt x="2929" y="604"/>
                      </a:lnTo>
                      <a:lnTo>
                        <a:pt x="2931" y="602"/>
                      </a:lnTo>
                      <a:lnTo>
                        <a:pt x="2936" y="604"/>
                      </a:lnTo>
                      <a:lnTo>
                        <a:pt x="2937" y="614"/>
                      </a:lnTo>
                      <a:lnTo>
                        <a:pt x="2941" y="614"/>
                      </a:lnTo>
                      <a:lnTo>
                        <a:pt x="2948" y="613"/>
                      </a:lnTo>
                      <a:lnTo>
                        <a:pt x="2963" y="604"/>
                      </a:lnTo>
                      <a:lnTo>
                        <a:pt x="2967" y="604"/>
                      </a:lnTo>
                      <a:lnTo>
                        <a:pt x="2969" y="612"/>
                      </a:lnTo>
                      <a:lnTo>
                        <a:pt x="2974" y="613"/>
                      </a:lnTo>
                      <a:lnTo>
                        <a:pt x="2987" y="608"/>
                      </a:lnTo>
                      <a:lnTo>
                        <a:pt x="2993" y="609"/>
                      </a:lnTo>
                      <a:lnTo>
                        <a:pt x="3004" y="602"/>
                      </a:lnTo>
                      <a:lnTo>
                        <a:pt x="3006" y="599"/>
                      </a:lnTo>
                      <a:lnTo>
                        <a:pt x="3004" y="586"/>
                      </a:lnTo>
                      <a:lnTo>
                        <a:pt x="3002" y="583"/>
                      </a:lnTo>
                      <a:lnTo>
                        <a:pt x="3000" y="583"/>
                      </a:lnTo>
                      <a:lnTo>
                        <a:pt x="3000" y="596"/>
                      </a:lnTo>
                      <a:lnTo>
                        <a:pt x="2999" y="599"/>
                      </a:lnTo>
                      <a:lnTo>
                        <a:pt x="2991" y="602"/>
                      </a:lnTo>
                      <a:lnTo>
                        <a:pt x="2982" y="599"/>
                      </a:lnTo>
                      <a:lnTo>
                        <a:pt x="2972" y="593"/>
                      </a:lnTo>
                      <a:lnTo>
                        <a:pt x="2967" y="582"/>
                      </a:lnTo>
                      <a:lnTo>
                        <a:pt x="2963" y="580"/>
                      </a:lnTo>
                      <a:lnTo>
                        <a:pt x="2962" y="569"/>
                      </a:lnTo>
                      <a:lnTo>
                        <a:pt x="2957" y="564"/>
                      </a:lnTo>
                      <a:lnTo>
                        <a:pt x="2948" y="559"/>
                      </a:lnTo>
                      <a:lnTo>
                        <a:pt x="2947" y="558"/>
                      </a:lnTo>
                      <a:lnTo>
                        <a:pt x="2947" y="552"/>
                      </a:lnTo>
                      <a:lnTo>
                        <a:pt x="2950" y="548"/>
                      </a:lnTo>
                      <a:lnTo>
                        <a:pt x="2953" y="547"/>
                      </a:lnTo>
                      <a:lnTo>
                        <a:pt x="2957" y="538"/>
                      </a:lnTo>
                      <a:lnTo>
                        <a:pt x="2962" y="536"/>
                      </a:lnTo>
                      <a:lnTo>
                        <a:pt x="2957" y="528"/>
                      </a:lnTo>
                      <a:lnTo>
                        <a:pt x="2951" y="515"/>
                      </a:lnTo>
                      <a:lnTo>
                        <a:pt x="2956" y="500"/>
                      </a:lnTo>
                      <a:lnTo>
                        <a:pt x="2971" y="488"/>
                      </a:lnTo>
                      <a:lnTo>
                        <a:pt x="2982" y="470"/>
                      </a:lnTo>
                      <a:lnTo>
                        <a:pt x="2987" y="466"/>
                      </a:lnTo>
                      <a:lnTo>
                        <a:pt x="2989" y="455"/>
                      </a:lnTo>
                      <a:lnTo>
                        <a:pt x="2996" y="446"/>
                      </a:lnTo>
                      <a:lnTo>
                        <a:pt x="3005" y="442"/>
                      </a:lnTo>
                      <a:lnTo>
                        <a:pt x="3009" y="443"/>
                      </a:lnTo>
                      <a:lnTo>
                        <a:pt x="3011" y="451"/>
                      </a:lnTo>
                      <a:lnTo>
                        <a:pt x="3014" y="451"/>
                      </a:lnTo>
                      <a:lnTo>
                        <a:pt x="3017" y="447"/>
                      </a:lnTo>
                      <a:lnTo>
                        <a:pt x="3020" y="437"/>
                      </a:lnTo>
                      <a:lnTo>
                        <a:pt x="3022" y="437"/>
                      </a:lnTo>
                      <a:lnTo>
                        <a:pt x="3025" y="441"/>
                      </a:lnTo>
                      <a:lnTo>
                        <a:pt x="3027" y="441"/>
                      </a:lnTo>
                      <a:lnTo>
                        <a:pt x="3032" y="440"/>
                      </a:lnTo>
                      <a:lnTo>
                        <a:pt x="3036" y="432"/>
                      </a:lnTo>
                      <a:lnTo>
                        <a:pt x="3039" y="429"/>
                      </a:lnTo>
                      <a:lnTo>
                        <a:pt x="3045" y="431"/>
                      </a:lnTo>
                      <a:lnTo>
                        <a:pt x="3048" y="430"/>
                      </a:lnTo>
                      <a:lnTo>
                        <a:pt x="3053" y="421"/>
                      </a:lnTo>
                      <a:lnTo>
                        <a:pt x="3054" y="414"/>
                      </a:lnTo>
                      <a:lnTo>
                        <a:pt x="3058" y="408"/>
                      </a:lnTo>
                      <a:lnTo>
                        <a:pt x="3059" y="398"/>
                      </a:lnTo>
                      <a:lnTo>
                        <a:pt x="3065" y="393"/>
                      </a:lnTo>
                      <a:lnTo>
                        <a:pt x="3068" y="392"/>
                      </a:lnTo>
                      <a:lnTo>
                        <a:pt x="3070" y="393"/>
                      </a:lnTo>
                      <a:lnTo>
                        <a:pt x="3071" y="400"/>
                      </a:lnTo>
                      <a:lnTo>
                        <a:pt x="3072" y="405"/>
                      </a:lnTo>
                      <a:lnTo>
                        <a:pt x="3077" y="407"/>
                      </a:lnTo>
                      <a:lnTo>
                        <a:pt x="3082" y="404"/>
                      </a:lnTo>
                      <a:lnTo>
                        <a:pt x="3092" y="412"/>
                      </a:lnTo>
                      <a:lnTo>
                        <a:pt x="3097" y="410"/>
                      </a:lnTo>
                      <a:lnTo>
                        <a:pt x="3100" y="405"/>
                      </a:lnTo>
                      <a:lnTo>
                        <a:pt x="3107" y="399"/>
                      </a:lnTo>
                      <a:lnTo>
                        <a:pt x="3112" y="399"/>
                      </a:lnTo>
                      <a:lnTo>
                        <a:pt x="3118" y="396"/>
                      </a:lnTo>
                      <a:lnTo>
                        <a:pt x="3120" y="389"/>
                      </a:lnTo>
                      <a:lnTo>
                        <a:pt x="3133" y="388"/>
                      </a:lnTo>
                      <a:lnTo>
                        <a:pt x="3136" y="387"/>
                      </a:lnTo>
                      <a:lnTo>
                        <a:pt x="3141" y="383"/>
                      </a:lnTo>
                      <a:lnTo>
                        <a:pt x="3147" y="383"/>
                      </a:lnTo>
                      <a:lnTo>
                        <a:pt x="3151" y="380"/>
                      </a:lnTo>
                      <a:lnTo>
                        <a:pt x="3158" y="380"/>
                      </a:lnTo>
                      <a:lnTo>
                        <a:pt x="3165" y="375"/>
                      </a:lnTo>
                      <a:lnTo>
                        <a:pt x="3166" y="370"/>
                      </a:lnTo>
                      <a:lnTo>
                        <a:pt x="3165" y="365"/>
                      </a:lnTo>
                      <a:close/>
                    </a:path>
                  </a:pathLst>
                </a:custGeom>
                <a:grpFill/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</p:grpSp>
        <p:grpSp>
          <p:nvGrpSpPr>
            <p:cNvPr id="77" name="Group 283"/>
            <p:cNvGrpSpPr>
              <a:grpSpLocks noChangeAspect="1"/>
            </p:cNvGrpSpPr>
            <p:nvPr/>
          </p:nvGrpSpPr>
          <p:grpSpPr bwMode="gray">
            <a:xfrm>
              <a:off x="3437287" y="1594008"/>
              <a:ext cx="1540846" cy="1784549"/>
              <a:chOff x="969" y="960"/>
              <a:chExt cx="969" cy="1022"/>
            </a:xfrm>
            <a:grpFill/>
          </p:grpSpPr>
          <p:sp>
            <p:nvSpPr>
              <p:cNvPr id="222" name="Freeform 284"/>
              <p:cNvSpPr>
                <a:spLocks noChangeAspect="1"/>
              </p:cNvSpPr>
              <p:nvPr/>
            </p:nvSpPr>
            <p:spPr bwMode="gray">
              <a:xfrm>
                <a:off x="1903" y="179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3" y="2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23" name="Freeform 285"/>
              <p:cNvSpPr>
                <a:spLocks noChangeAspect="1"/>
              </p:cNvSpPr>
              <p:nvPr/>
            </p:nvSpPr>
            <p:spPr bwMode="gray">
              <a:xfrm>
                <a:off x="1865" y="1826"/>
                <a:ext cx="73" cy="84"/>
              </a:xfrm>
              <a:custGeom>
                <a:avLst/>
                <a:gdLst/>
                <a:ahLst/>
                <a:cxnLst>
                  <a:cxn ang="0">
                    <a:pos x="147" y="25"/>
                  </a:cxn>
                  <a:cxn ang="0">
                    <a:pos x="138" y="43"/>
                  </a:cxn>
                  <a:cxn ang="0">
                    <a:pos x="129" y="52"/>
                  </a:cxn>
                  <a:cxn ang="0">
                    <a:pos x="120" y="75"/>
                  </a:cxn>
                  <a:cxn ang="0">
                    <a:pos x="115" y="89"/>
                  </a:cxn>
                  <a:cxn ang="0">
                    <a:pos x="103" y="121"/>
                  </a:cxn>
                  <a:cxn ang="0">
                    <a:pos x="92" y="139"/>
                  </a:cxn>
                  <a:cxn ang="0">
                    <a:pos x="82" y="178"/>
                  </a:cxn>
                  <a:cxn ang="0">
                    <a:pos x="65" y="193"/>
                  </a:cxn>
                  <a:cxn ang="0">
                    <a:pos x="71" y="208"/>
                  </a:cxn>
                  <a:cxn ang="0">
                    <a:pos x="71" y="221"/>
                  </a:cxn>
                  <a:cxn ang="0">
                    <a:pos x="31" y="259"/>
                  </a:cxn>
                  <a:cxn ang="0">
                    <a:pos x="11" y="263"/>
                  </a:cxn>
                  <a:cxn ang="0">
                    <a:pos x="44" y="267"/>
                  </a:cxn>
                  <a:cxn ang="0">
                    <a:pos x="1" y="318"/>
                  </a:cxn>
                  <a:cxn ang="0">
                    <a:pos x="18" y="344"/>
                  </a:cxn>
                  <a:cxn ang="0">
                    <a:pos x="90" y="338"/>
                  </a:cxn>
                  <a:cxn ang="0">
                    <a:pos x="141" y="343"/>
                  </a:cxn>
                  <a:cxn ang="0">
                    <a:pos x="180" y="329"/>
                  </a:cxn>
                  <a:cxn ang="0">
                    <a:pos x="194" y="339"/>
                  </a:cxn>
                  <a:cxn ang="0">
                    <a:pos x="187" y="350"/>
                  </a:cxn>
                  <a:cxn ang="0">
                    <a:pos x="221" y="336"/>
                  </a:cxn>
                  <a:cxn ang="0">
                    <a:pos x="248" y="343"/>
                  </a:cxn>
                  <a:cxn ang="0">
                    <a:pos x="212" y="380"/>
                  </a:cxn>
                  <a:cxn ang="0">
                    <a:pos x="189" y="397"/>
                  </a:cxn>
                  <a:cxn ang="0">
                    <a:pos x="224" y="392"/>
                  </a:cxn>
                  <a:cxn ang="0">
                    <a:pos x="264" y="354"/>
                  </a:cxn>
                  <a:cxn ang="0">
                    <a:pos x="289" y="315"/>
                  </a:cxn>
                  <a:cxn ang="0">
                    <a:pos x="297" y="361"/>
                  </a:cxn>
                  <a:cxn ang="0">
                    <a:pos x="294" y="403"/>
                  </a:cxn>
                  <a:cxn ang="0">
                    <a:pos x="314" y="392"/>
                  </a:cxn>
                  <a:cxn ang="0">
                    <a:pos x="320" y="420"/>
                  </a:cxn>
                  <a:cxn ang="0">
                    <a:pos x="351" y="396"/>
                  </a:cxn>
                  <a:cxn ang="0">
                    <a:pos x="362" y="332"/>
                  </a:cxn>
                  <a:cxn ang="0">
                    <a:pos x="339" y="347"/>
                  </a:cxn>
                  <a:cxn ang="0">
                    <a:pos x="348" y="306"/>
                  </a:cxn>
                  <a:cxn ang="0">
                    <a:pos x="332" y="307"/>
                  </a:cxn>
                  <a:cxn ang="0">
                    <a:pos x="313" y="337"/>
                  </a:cxn>
                  <a:cxn ang="0">
                    <a:pos x="307" y="320"/>
                  </a:cxn>
                  <a:cxn ang="0">
                    <a:pos x="307" y="300"/>
                  </a:cxn>
                  <a:cxn ang="0">
                    <a:pos x="326" y="274"/>
                  </a:cxn>
                  <a:cxn ang="0">
                    <a:pos x="340" y="254"/>
                  </a:cxn>
                  <a:cxn ang="0">
                    <a:pos x="293" y="272"/>
                  </a:cxn>
                  <a:cxn ang="0">
                    <a:pos x="304" y="247"/>
                  </a:cxn>
                  <a:cxn ang="0">
                    <a:pos x="300" y="226"/>
                  </a:cxn>
                  <a:cxn ang="0">
                    <a:pos x="318" y="197"/>
                  </a:cxn>
                  <a:cxn ang="0">
                    <a:pos x="275" y="192"/>
                  </a:cxn>
                  <a:cxn ang="0">
                    <a:pos x="218" y="204"/>
                  </a:cxn>
                  <a:cxn ang="0">
                    <a:pos x="218" y="184"/>
                  </a:cxn>
                  <a:cxn ang="0">
                    <a:pos x="189" y="184"/>
                  </a:cxn>
                  <a:cxn ang="0">
                    <a:pos x="191" y="157"/>
                  </a:cxn>
                  <a:cxn ang="0">
                    <a:pos x="176" y="144"/>
                  </a:cxn>
                  <a:cxn ang="0">
                    <a:pos x="162" y="148"/>
                  </a:cxn>
                  <a:cxn ang="0">
                    <a:pos x="137" y="161"/>
                  </a:cxn>
                  <a:cxn ang="0">
                    <a:pos x="153" y="122"/>
                  </a:cxn>
                  <a:cxn ang="0">
                    <a:pos x="172" y="81"/>
                  </a:cxn>
                  <a:cxn ang="0">
                    <a:pos x="176" y="71"/>
                  </a:cxn>
                  <a:cxn ang="0">
                    <a:pos x="185" y="33"/>
                  </a:cxn>
                  <a:cxn ang="0">
                    <a:pos x="207" y="8"/>
                  </a:cxn>
                  <a:cxn ang="0">
                    <a:pos x="194" y="5"/>
                  </a:cxn>
                </a:cxnLst>
                <a:rect l="0" t="0" r="r" b="b"/>
                <a:pathLst>
                  <a:path w="362" h="420">
                    <a:moveTo>
                      <a:pt x="170" y="11"/>
                    </a:moveTo>
                    <a:lnTo>
                      <a:pt x="159" y="16"/>
                    </a:lnTo>
                    <a:lnTo>
                      <a:pt x="147" y="25"/>
                    </a:lnTo>
                    <a:lnTo>
                      <a:pt x="144" y="33"/>
                    </a:lnTo>
                    <a:lnTo>
                      <a:pt x="141" y="38"/>
                    </a:lnTo>
                    <a:lnTo>
                      <a:pt x="138" y="43"/>
                    </a:lnTo>
                    <a:lnTo>
                      <a:pt x="135" y="46"/>
                    </a:lnTo>
                    <a:lnTo>
                      <a:pt x="135" y="48"/>
                    </a:lnTo>
                    <a:lnTo>
                      <a:pt x="129" y="52"/>
                    </a:lnTo>
                    <a:lnTo>
                      <a:pt x="127" y="60"/>
                    </a:lnTo>
                    <a:lnTo>
                      <a:pt x="126" y="68"/>
                    </a:lnTo>
                    <a:lnTo>
                      <a:pt x="120" y="75"/>
                    </a:lnTo>
                    <a:lnTo>
                      <a:pt x="111" y="78"/>
                    </a:lnTo>
                    <a:lnTo>
                      <a:pt x="106" y="83"/>
                    </a:lnTo>
                    <a:lnTo>
                      <a:pt x="115" y="89"/>
                    </a:lnTo>
                    <a:lnTo>
                      <a:pt x="109" y="96"/>
                    </a:lnTo>
                    <a:lnTo>
                      <a:pt x="103" y="119"/>
                    </a:lnTo>
                    <a:lnTo>
                      <a:pt x="103" y="121"/>
                    </a:lnTo>
                    <a:lnTo>
                      <a:pt x="110" y="128"/>
                    </a:lnTo>
                    <a:lnTo>
                      <a:pt x="93" y="134"/>
                    </a:lnTo>
                    <a:lnTo>
                      <a:pt x="92" y="139"/>
                    </a:lnTo>
                    <a:lnTo>
                      <a:pt x="81" y="164"/>
                    </a:lnTo>
                    <a:lnTo>
                      <a:pt x="79" y="175"/>
                    </a:lnTo>
                    <a:lnTo>
                      <a:pt x="82" y="178"/>
                    </a:lnTo>
                    <a:lnTo>
                      <a:pt x="82" y="182"/>
                    </a:lnTo>
                    <a:lnTo>
                      <a:pt x="73" y="182"/>
                    </a:lnTo>
                    <a:lnTo>
                      <a:pt x="65" y="193"/>
                    </a:lnTo>
                    <a:lnTo>
                      <a:pt x="61" y="202"/>
                    </a:lnTo>
                    <a:lnTo>
                      <a:pt x="63" y="207"/>
                    </a:lnTo>
                    <a:lnTo>
                      <a:pt x="71" y="208"/>
                    </a:lnTo>
                    <a:lnTo>
                      <a:pt x="71" y="210"/>
                    </a:lnTo>
                    <a:lnTo>
                      <a:pt x="68" y="215"/>
                    </a:lnTo>
                    <a:lnTo>
                      <a:pt x="71" y="221"/>
                    </a:lnTo>
                    <a:lnTo>
                      <a:pt x="52" y="219"/>
                    </a:lnTo>
                    <a:lnTo>
                      <a:pt x="39" y="254"/>
                    </a:lnTo>
                    <a:lnTo>
                      <a:pt x="31" y="259"/>
                    </a:lnTo>
                    <a:lnTo>
                      <a:pt x="27" y="252"/>
                    </a:lnTo>
                    <a:lnTo>
                      <a:pt x="19" y="257"/>
                    </a:lnTo>
                    <a:lnTo>
                      <a:pt x="11" y="263"/>
                    </a:lnTo>
                    <a:lnTo>
                      <a:pt x="11" y="267"/>
                    </a:lnTo>
                    <a:lnTo>
                      <a:pt x="33" y="264"/>
                    </a:lnTo>
                    <a:lnTo>
                      <a:pt x="44" y="267"/>
                    </a:lnTo>
                    <a:lnTo>
                      <a:pt x="47" y="274"/>
                    </a:lnTo>
                    <a:lnTo>
                      <a:pt x="18" y="300"/>
                    </a:lnTo>
                    <a:lnTo>
                      <a:pt x="1" y="318"/>
                    </a:lnTo>
                    <a:lnTo>
                      <a:pt x="0" y="332"/>
                    </a:lnTo>
                    <a:lnTo>
                      <a:pt x="4" y="342"/>
                    </a:lnTo>
                    <a:lnTo>
                      <a:pt x="18" y="344"/>
                    </a:lnTo>
                    <a:lnTo>
                      <a:pt x="38" y="339"/>
                    </a:lnTo>
                    <a:lnTo>
                      <a:pt x="68" y="334"/>
                    </a:lnTo>
                    <a:lnTo>
                      <a:pt x="90" y="338"/>
                    </a:lnTo>
                    <a:lnTo>
                      <a:pt x="103" y="338"/>
                    </a:lnTo>
                    <a:lnTo>
                      <a:pt x="113" y="342"/>
                    </a:lnTo>
                    <a:lnTo>
                      <a:pt x="141" y="343"/>
                    </a:lnTo>
                    <a:lnTo>
                      <a:pt x="156" y="339"/>
                    </a:lnTo>
                    <a:lnTo>
                      <a:pt x="173" y="337"/>
                    </a:lnTo>
                    <a:lnTo>
                      <a:pt x="180" y="329"/>
                    </a:lnTo>
                    <a:lnTo>
                      <a:pt x="196" y="322"/>
                    </a:lnTo>
                    <a:lnTo>
                      <a:pt x="194" y="332"/>
                    </a:lnTo>
                    <a:lnTo>
                      <a:pt x="194" y="339"/>
                    </a:lnTo>
                    <a:lnTo>
                      <a:pt x="179" y="345"/>
                    </a:lnTo>
                    <a:lnTo>
                      <a:pt x="176" y="350"/>
                    </a:lnTo>
                    <a:lnTo>
                      <a:pt x="187" y="350"/>
                    </a:lnTo>
                    <a:lnTo>
                      <a:pt x="189" y="354"/>
                    </a:lnTo>
                    <a:lnTo>
                      <a:pt x="211" y="352"/>
                    </a:lnTo>
                    <a:lnTo>
                      <a:pt x="221" y="336"/>
                    </a:lnTo>
                    <a:lnTo>
                      <a:pt x="229" y="339"/>
                    </a:lnTo>
                    <a:lnTo>
                      <a:pt x="244" y="339"/>
                    </a:lnTo>
                    <a:lnTo>
                      <a:pt x="248" y="343"/>
                    </a:lnTo>
                    <a:lnTo>
                      <a:pt x="235" y="352"/>
                    </a:lnTo>
                    <a:lnTo>
                      <a:pt x="224" y="361"/>
                    </a:lnTo>
                    <a:lnTo>
                      <a:pt x="212" y="380"/>
                    </a:lnTo>
                    <a:lnTo>
                      <a:pt x="199" y="383"/>
                    </a:lnTo>
                    <a:lnTo>
                      <a:pt x="191" y="387"/>
                    </a:lnTo>
                    <a:lnTo>
                      <a:pt x="189" y="397"/>
                    </a:lnTo>
                    <a:lnTo>
                      <a:pt x="200" y="399"/>
                    </a:lnTo>
                    <a:lnTo>
                      <a:pt x="213" y="397"/>
                    </a:lnTo>
                    <a:lnTo>
                      <a:pt x="224" y="392"/>
                    </a:lnTo>
                    <a:lnTo>
                      <a:pt x="234" y="376"/>
                    </a:lnTo>
                    <a:lnTo>
                      <a:pt x="248" y="360"/>
                    </a:lnTo>
                    <a:lnTo>
                      <a:pt x="264" y="354"/>
                    </a:lnTo>
                    <a:lnTo>
                      <a:pt x="267" y="356"/>
                    </a:lnTo>
                    <a:lnTo>
                      <a:pt x="281" y="315"/>
                    </a:lnTo>
                    <a:lnTo>
                      <a:pt x="289" y="315"/>
                    </a:lnTo>
                    <a:lnTo>
                      <a:pt x="291" y="327"/>
                    </a:lnTo>
                    <a:lnTo>
                      <a:pt x="294" y="344"/>
                    </a:lnTo>
                    <a:lnTo>
                      <a:pt x="297" y="361"/>
                    </a:lnTo>
                    <a:lnTo>
                      <a:pt x="289" y="382"/>
                    </a:lnTo>
                    <a:lnTo>
                      <a:pt x="287" y="401"/>
                    </a:lnTo>
                    <a:lnTo>
                      <a:pt x="294" y="403"/>
                    </a:lnTo>
                    <a:lnTo>
                      <a:pt x="314" y="376"/>
                    </a:lnTo>
                    <a:lnTo>
                      <a:pt x="319" y="380"/>
                    </a:lnTo>
                    <a:lnTo>
                      <a:pt x="314" y="392"/>
                    </a:lnTo>
                    <a:lnTo>
                      <a:pt x="315" y="402"/>
                    </a:lnTo>
                    <a:lnTo>
                      <a:pt x="315" y="412"/>
                    </a:lnTo>
                    <a:lnTo>
                      <a:pt x="320" y="420"/>
                    </a:lnTo>
                    <a:lnTo>
                      <a:pt x="330" y="412"/>
                    </a:lnTo>
                    <a:lnTo>
                      <a:pt x="343" y="414"/>
                    </a:lnTo>
                    <a:lnTo>
                      <a:pt x="351" y="396"/>
                    </a:lnTo>
                    <a:lnTo>
                      <a:pt x="356" y="372"/>
                    </a:lnTo>
                    <a:lnTo>
                      <a:pt x="362" y="354"/>
                    </a:lnTo>
                    <a:lnTo>
                      <a:pt x="362" y="332"/>
                    </a:lnTo>
                    <a:lnTo>
                      <a:pt x="357" y="329"/>
                    </a:lnTo>
                    <a:lnTo>
                      <a:pt x="343" y="353"/>
                    </a:lnTo>
                    <a:lnTo>
                      <a:pt x="339" y="347"/>
                    </a:lnTo>
                    <a:lnTo>
                      <a:pt x="339" y="332"/>
                    </a:lnTo>
                    <a:lnTo>
                      <a:pt x="343" y="317"/>
                    </a:lnTo>
                    <a:lnTo>
                      <a:pt x="348" y="306"/>
                    </a:lnTo>
                    <a:lnTo>
                      <a:pt x="353" y="301"/>
                    </a:lnTo>
                    <a:lnTo>
                      <a:pt x="353" y="293"/>
                    </a:lnTo>
                    <a:lnTo>
                      <a:pt x="332" y="307"/>
                    </a:lnTo>
                    <a:lnTo>
                      <a:pt x="324" y="323"/>
                    </a:lnTo>
                    <a:lnTo>
                      <a:pt x="319" y="337"/>
                    </a:lnTo>
                    <a:lnTo>
                      <a:pt x="313" y="337"/>
                    </a:lnTo>
                    <a:lnTo>
                      <a:pt x="307" y="333"/>
                    </a:lnTo>
                    <a:lnTo>
                      <a:pt x="304" y="327"/>
                    </a:lnTo>
                    <a:lnTo>
                      <a:pt x="307" y="320"/>
                    </a:lnTo>
                    <a:lnTo>
                      <a:pt x="310" y="306"/>
                    </a:lnTo>
                    <a:lnTo>
                      <a:pt x="308" y="305"/>
                    </a:lnTo>
                    <a:lnTo>
                      <a:pt x="307" y="300"/>
                    </a:lnTo>
                    <a:lnTo>
                      <a:pt x="298" y="291"/>
                    </a:lnTo>
                    <a:lnTo>
                      <a:pt x="319" y="284"/>
                    </a:lnTo>
                    <a:lnTo>
                      <a:pt x="326" y="274"/>
                    </a:lnTo>
                    <a:lnTo>
                      <a:pt x="336" y="270"/>
                    </a:lnTo>
                    <a:lnTo>
                      <a:pt x="342" y="259"/>
                    </a:lnTo>
                    <a:lnTo>
                      <a:pt x="340" y="254"/>
                    </a:lnTo>
                    <a:lnTo>
                      <a:pt x="314" y="267"/>
                    </a:lnTo>
                    <a:lnTo>
                      <a:pt x="308" y="266"/>
                    </a:lnTo>
                    <a:lnTo>
                      <a:pt x="293" y="272"/>
                    </a:lnTo>
                    <a:lnTo>
                      <a:pt x="291" y="268"/>
                    </a:lnTo>
                    <a:lnTo>
                      <a:pt x="297" y="259"/>
                    </a:lnTo>
                    <a:lnTo>
                      <a:pt x="304" y="247"/>
                    </a:lnTo>
                    <a:lnTo>
                      <a:pt x="300" y="242"/>
                    </a:lnTo>
                    <a:lnTo>
                      <a:pt x="294" y="241"/>
                    </a:lnTo>
                    <a:lnTo>
                      <a:pt x="300" y="226"/>
                    </a:lnTo>
                    <a:lnTo>
                      <a:pt x="312" y="215"/>
                    </a:lnTo>
                    <a:lnTo>
                      <a:pt x="319" y="202"/>
                    </a:lnTo>
                    <a:lnTo>
                      <a:pt x="318" y="197"/>
                    </a:lnTo>
                    <a:lnTo>
                      <a:pt x="313" y="196"/>
                    </a:lnTo>
                    <a:lnTo>
                      <a:pt x="293" y="189"/>
                    </a:lnTo>
                    <a:lnTo>
                      <a:pt x="275" y="192"/>
                    </a:lnTo>
                    <a:lnTo>
                      <a:pt x="267" y="184"/>
                    </a:lnTo>
                    <a:lnTo>
                      <a:pt x="229" y="203"/>
                    </a:lnTo>
                    <a:lnTo>
                      <a:pt x="218" y="204"/>
                    </a:lnTo>
                    <a:lnTo>
                      <a:pt x="228" y="186"/>
                    </a:lnTo>
                    <a:lnTo>
                      <a:pt x="229" y="178"/>
                    </a:lnTo>
                    <a:lnTo>
                      <a:pt x="218" y="184"/>
                    </a:lnTo>
                    <a:lnTo>
                      <a:pt x="216" y="189"/>
                    </a:lnTo>
                    <a:lnTo>
                      <a:pt x="210" y="186"/>
                    </a:lnTo>
                    <a:lnTo>
                      <a:pt x="189" y="184"/>
                    </a:lnTo>
                    <a:lnTo>
                      <a:pt x="190" y="172"/>
                    </a:lnTo>
                    <a:lnTo>
                      <a:pt x="179" y="168"/>
                    </a:lnTo>
                    <a:lnTo>
                      <a:pt x="191" y="157"/>
                    </a:lnTo>
                    <a:lnTo>
                      <a:pt x="210" y="149"/>
                    </a:lnTo>
                    <a:lnTo>
                      <a:pt x="202" y="145"/>
                    </a:lnTo>
                    <a:lnTo>
                      <a:pt x="176" y="144"/>
                    </a:lnTo>
                    <a:lnTo>
                      <a:pt x="179" y="132"/>
                    </a:lnTo>
                    <a:lnTo>
                      <a:pt x="172" y="132"/>
                    </a:lnTo>
                    <a:lnTo>
                      <a:pt x="162" y="148"/>
                    </a:lnTo>
                    <a:lnTo>
                      <a:pt x="149" y="159"/>
                    </a:lnTo>
                    <a:lnTo>
                      <a:pt x="142" y="173"/>
                    </a:lnTo>
                    <a:lnTo>
                      <a:pt x="137" y="161"/>
                    </a:lnTo>
                    <a:lnTo>
                      <a:pt x="142" y="149"/>
                    </a:lnTo>
                    <a:lnTo>
                      <a:pt x="142" y="137"/>
                    </a:lnTo>
                    <a:lnTo>
                      <a:pt x="153" y="122"/>
                    </a:lnTo>
                    <a:lnTo>
                      <a:pt x="160" y="105"/>
                    </a:lnTo>
                    <a:lnTo>
                      <a:pt x="170" y="91"/>
                    </a:lnTo>
                    <a:lnTo>
                      <a:pt x="172" y="81"/>
                    </a:lnTo>
                    <a:lnTo>
                      <a:pt x="170" y="75"/>
                    </a:lnTo>
                    <a:lnTo>
                      <a:pt x="172" y="64"/>
                    </a:lnTo>
                    <a:lnTo>
                      <a:pt x="176" y="71"/>
                    </a:lnTo>
                    <a:lnTo>
                      <a:pt x="187" y="64"/>
                    </a:lnTo>
                    <a:lnTo>
                      <a:pt x="195" y="42"/>
                    </a:lnTo>
                    <a:lnTo>
                      <a:pt x="185" y="33"/>
                    </a:lnTo>
                    <a:lnTo>
                      <a:pt x="186" y="26"/>
                    </a:lnTo>
                    <a:lnTo>
                      <a:pt x="200" y="25"/>
                    </a:lnTo>
                    <a:lnTo>
                      <a:pt x="207" y="8"/>
                    </a:lnTo>
                    <a:lnTo>
                      <a:pt x="207" y="0"/>
                    </a:lnTo>
                    <a:lnTo>
                      <a:pt x="199" y="8"/>
                    </a:lnTo>
                    <a:lnTo>
                      <a:pt x="194" y="5"/>
                    </a:lnTo>
                    <a:lnTo>
                      <a:pt x="183" y="5"/>
                    </a:lnTo>
                    <a:lnTo>
                      <a:pt x="170" y="1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24" name="Freeform 286"/>
              <p:cNvSpPr>
                <a:spLocks noChangeAspect="1"/>
              </p:cNvSpPr>
              <p:nvPr/>
            </p:nvSpPr>
            <p:spPr bwMode="gray">
              <a:xfrm>
                <a:off x="1108" y="1839"/>
                <a:ext cx="55" cy="43"/>
              </a:xfrm>
              <a:custGeom>
                <a:avLst/>
                <a:gdLst/>
                <a:ahLst/>
                <a:cxnLst>
                  <a:cxn ang="0">
                    <a:pos x="48" y="41"/>
                  </a:cxn>
                  <a:cxn ang="0">
                    <a:pos x="48" y="41"/>
                  </a:cxn>
                  <a:cxn ang="0">
                    <a:pos x="45" y="22"/>
                  </a:cxn>
                  <a:cxn ang="0">
                    <a:pos x="19" y="15"/>
                  </a:cxn>
                  <a:cxn ang="0">
                    <a:pos x="13" y="27"/>
                  </a:cxn>
                  <a:cxn ang="0">
                    <a:pos x="0" y="19"/>
                  </a:cxn>
                  <a:cxn ang="0">
                    <a:pos x="2" y="6"/>
                  </a:cxn>
                  <a:cxn ang="0">
                    <a:pos x="18" y="0"/>
                  </a:cxn>
                  <a:cxn ang="0">
                    <a:pos x="38" y="9"/>
                  </a:cxn>
                  <a:cxn ang="0">
                    <a:pos x="56" y="18"/>
                  </a:cxn>
                  <a:cxn ang="0">
                    <a:pos x="119" y="38"/>
                  </a:cxn>
                  <a:cxn ang="0">
                    <a:pos x="148" y="46"/>
                  </a:cxn>
                  <a:cxn ang="0">
                    <a:pos x="157" y="57"/>
                  </a:cxn>
                  <a:cxn ang="0">
                    <a:pos x="188" y="99"/>
                  </a:cxn>
                  <a:cxn ang="0">
                    <a:pos x="188" y="106"/>
                  </a:cxn>
                  <a:cxn ang="0">
                    <a:pos x="194" y="116"/>
                  </a:cxn>
                  <a:cxn ang="0">
                    <a:pos x="215" y="129"/>
                  </a:cxn>
                  <a:cxn ang="0">
                    <a:pos x="228" y="134"/>
                  </a:cxn>
                  <a:cxn ang="0">
                    <a:pos x="250" y="151"/>
                  </a:cxn>
                  <a:cxn ang="0">
                    <a:pos x="260" y="174"/>
                  </a:cxn>
                  <a:cxn ang="0">
                    <a:pos x="264" y="189"/>
                  </a:cxn>
                  <a:cxn ang="0">
                    <a:pos x="269" y="188"/>
                  </a:cxn>
                  <a:cxn ang="0">
                    <a:pos x="272" y="203"/>
                  </a:cxn>
                  <a:cxn ang="0">
                    <a:pos x="264" y="214"/>
                  </a:cxn>
                  <a:cxn ang="0">
                    <a:pos x="239" y="207"/>
                  </a:cxn>
                  <a:cxn ang="0">
                    <a:pos x="222" y="196"/>
                  </a:cxn>
                  <a:cxn ang="0">
                    <a:pos x="211" y="196"/>
                  </a:cxn>
                  <a:cxn ang="0">
                    <a:pos x="196" y="185"/>
                  </a:cxn>
                  <a:cxn ang="0">
                    <a:pos x="202" y="175"/>
                  </a:cxn>
                  <a:cxn ang="0">
                    <a:pos x="196" y="182"/>
                  </a:cxn>
                  <a:cxn ang="0">
                    <a:pos x="182" y="176"/>
                  </a:cxn>
                  <a:cxn ang="0">
                    <a:pos x="179" y="167"/>
                  </a:cxn>
                  <a:cxn ang="0">
                    <a:pos x="190" y="160"/>
                  </a:cxn>
                  <a:cxn ang="0">
                    <a:pos x="178" y="155"/>
                  </a:cxn>
                  <a:cxn ang="0">
                    <a:pos x="166" y="160"/>
                  </a:cxn>
                  <a:cxn ang="0">
                    <a:pos x="143" y="154"/>
                  </a:cxn>
                  <a:cxn ang="0">
                    <a:pos x="157" y="153"/>
                  </a:cxn>
                  <a:cxn ang="0">
                    <a:pos x="143" y="135"/>
                  </a:cxn>
                  <a:cxn ang="0">
                    <a:pos x="130" y="129"/>
                  </a:cxn>
                  <a:cxn ang="0">
                    <a:pos x="109" y="126"/>
                  </a:cxn>
                  <a:cxn ang="0">
                    <a:pos x="100" y="112"/>
                  </a:cxn>
                  <a:cxn ang="0">
                    <a:pos x="118" y="110"/>
                  </a:cxn>
                  <a:cxn ang="0">
                    <a:pos x="119" y="100"/>
                  </a:cxn>
                  <a:cxn ang="0">
                    <a:pos x="107" y="100"/>
                  </a:cxn>
                  <a:cxn ang="0">
                    <a:pos x="99" y="99"/>
                  </a:cxn>
                  <a:cxn ang="0">
                    <a:pos x="86" y="83"/>
                  </a:cxn>
                  <a:cxn ang="0">
                    <a:pos x="80" y="80"/>
                  </a:cxn>
                  <a:cxn ang="0">
                    <a:pos x="65" y="80"/>
                  </a:cxn>
                  <a:cxn ang="0">
                    <a:pos x="70" y="65"/>
                  </a:cxn>
                  <a:cxn ang="0">
                    <a:pos x="60" y="61"/>
                  </a:cxn>
                  <a:cxn ang="0">
                    <a:pos x="49" y="61"/>
                  </a:cxn>
                  <a:cxn ang="0">
                    <a:pos x="40" y="59"/>
                  </a:cxn>
                  <a:cxn ang="0">
                    <a:pos x="29" y="64"/>
                  </a:cxn>
                  <a:cxn ang="0">
                    <a:pos x="29" y="57"/>
                  </a:cxn>
                  <a:cxn ang="0">
                    <a:pos x="24" y="45"/>
                  </a:cxn>
                  <a:cxn ang="0">
                    <a:pos x="33" y="35"/>
                  </a:cxn>
                  <a:cxn ang="0">
                    <a:pos x="45" y="41"/>
                  </a:cxn>
                </a:cxnLst>
                <a:rect l="0" t="0" r="r" b="b"/>
                <a:pathLst>
                  <a:path w="275" h="214">
                    <a:moveTo>
                      <a:pt x="45" y="41"/>
                    </a:moveTo>
                    <a:lnTo>
                      <a:pt x="48" y="41"/>
                    </a:lnTo>
                    <a:lnTo>
                      <a:pt x="48" y="42"/>
                    </a:lnTo>
                    <a:lnTo>
                      <a:pt x="48" y="41"/>
                    </a:lnTo>
                    <a:lnTo>
                      <a:pt x="45" y="31"/>
                    </a:lnTo>
                    <a:lnTo>
                      <a:pt x="45" y="22"/>
                    </a:lnTo>
                    <a:lnTo>
                      <a:pt x="24" y="20"/>
                    </a:lnTo>
                    <a:lnTo>
                      <a:pt x="19" y="15"/>
                    </a:lnTo>
                    <a:lnTo>
                      <a:pt x="16" y="21"/>
                    </a:lnTo>
                    <a:lnTo>
                      <a:pt x="13" y="27"/>
                    </a:lnTo>
                    <a:lnTo>
                      <a:pt x="6" y="24"/>
                    </a:lnTo>
                    <a:lnTo>
                      <a:pt x="0" y="19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8" y="2"/>
                    </a:lnTo>
                    <a:lnTo>
                      <a:pt x="18" y="0"/>
                    </a:lnTo>
                    <a:lnTo>
                      <a:pt x="28" y="4"/>
                    </a:lnTo>
                    <a:lnTo>
                      <a:pt x="38" y="9"/>
                    </a:lnTo>
                    <a:lnTo>
                      <a:pt x="46" y="10"/>
                    </a:lnTo>
                    <a:lnTo>
                      <a:pt x="56" y="18"/>
                    </a:lnTo>
                    <a:lnTo>
                      <a:pt x="89" y="31"/>
                    </a:lnTo>
                    <a:lnTo>
                      <a:pt x="119" y="38"/>
                    </a:lnTo>
                    <a:lnTo>
                      <a:pt x="134" y="43"/>
                    </a:lnTo>
                    <a:lnTo>
                      <a:pt x="148" y="46"/>
                    </a:lnTo>
                    <a:lnTo>
                      <a:pt x="153" y="51"/>
                    </a:lnTo>
                    <a:lnTo>
                      <a:pt x="157" y="57"/>
                    </a:lnTo>
                    <a:lnTo>
                      <a:pt x="158" y="65"/>
                    </a:lnTo>
                    <a:lnTo>
                      <a:pt x="188" y="99"/>
                    </a:lnTo>
                    <a:lnTo>
                      <a:pt x="189" y="101"/>
                    </a:lnTo>
                    <a:lnTo>
                      <a:pt x="188" y="106"/>
                    </a:lnTo>
                    <a:lnTo>
                      <a:pt x="190" y="112"/>
                    </a:lnTo>
                    <a:lnTo>
                      <a:pt x="194" y="116"/>
                    </a:lnTo>
                    <a:lnTo>
                      <a:pt x="206" y="126"/>
                    </a:lnTo>
                    <a:lnTo>
                      <a:pt x="215" y="129"/>
                    </a:lnTo>
                    <a:lnTo>
                      <a:pt x="225" y="131"/>
                    </a:lnTo>
                    <a:lnTo>
                      <a:pt x="228" y="134"/>
                    </a:lnTo>
                    <a:lnTo>
                      <a:pt x="236" y="137"/>
                    </a:lnTo>
                    <a:lnTo>
                      <a:pt x="250" y="151"/>
                    </a:lnTo>
                    <a:lnTo>
                      <a:pt x="253" y="160"/>
                    </a:lnTo>
                    <a:lnTo>
                      <a:pt x="260" y="174"/>
                    </a:lnTo>
                    <a:lnTo>
                      <a:pt x="261" y="180"/>
                    </a:lnTo>
                    <a:lnTo>
                      <a:pt x="264" y="189"/>
                    </a:lnTo>
                    <a:lnTo>
                      <a:pt x="266" y="194"/>
                    </a:lnTo>
                    <a:lnTo>
                      <a:pt x="269" y="188"/>
                    </a:lnTo>
                    <a:lnTo>
                      <a:pt x="275" y="202"/>
                    </a:lnTo>
                    <a:lnTo>
                      <a:pt x="272" y="203"/>
                    </a:lnTo>
                    <a:lnTo>
                      <a:pt x="271" y="209"/>
                    </a:lnTo>
                    <a:lnTo>
                      <a:pt x="264" y="214"/>
                    </a:lnTo>
                    <a:lnTo>
                      <a:pt x="258" y="214"/>
                    </a:lnTo>
                    <a:lnTo>
                      <a:pt x="239" y="207"/>
                    </a:lnTo>
                    <a:lnTo>
                      <a:pt x="222" y="198"/>
                    </a:lnTo>
                    <a:lnTo>
                      <a:pt x="222" y="196"/>
                    </a:lnTo>
                    <a:lnTo>
                      <a:pt x="217" y="193"/>
                    </a:lnTo>
                    <a:lnTo>
                      <a:pt x="211" y="196"/>
                    </a:lnTo>
                    <a:lnTo>
                      <a:pt x="196" y="189"/>
                    </a:lnTo>
                    <a:lnTo>
                      <a:pt x="196" y="185"/>
                    </a:lnTo>
                    <a:lnTo>
                      <a:pt x="200" y="180"/>
                    </a:lnTo>
                    <a:lnTo>
                      <a:pt x="202" y="175"/>
                    </a:lnTo>
                    <a:lnTo>
                      <a:pt x="199" y="176"/>
                    </a:lnTo>
                    <a:lnTo>
                      <a:pt x="196" y="182"/>
                    </a:lnTo>
                    <a:lnTo>
                      <a:pt x="190" y="183"/>
                    </a:lnTo>
                    <a:lnTo>
                      <a:pt x="182" y="176"/>
                    </a:lnTo>
                    <a:lnTo>
                      <a:pt x="179" y="172"/>
                    </a:lnTo>
                    <a:lnTo>
                      <a:pt x="179" y="167"/>
                    </a:lnTo>
                    <a:lnTo>
                      <a:pt x="184" y="165"/>
                    </a:lnTo>
                    <a:lnTo>
                      <a:pt x="190" y="160"/>
                    </a:lnTo>
                    <a:lnTo>
                      <a:pt x="184" y="159"/>
                    </a:lnTo>
                    <a:lnTo>
                      <a:pt x="178" y="155"/>
                    </a:lnTo>
                    <a:lnTo>
                      <a:pt x="173" y="161"/>
                    </a:lnTo>
                    <a:lnTo>
                      <a:pt x="166" y="160"/>
                    </a:lnTo>
                    <a:lnTo>
                      <a:pt x="153" y="162"/>
                    </a:lnTo>
                    <a:lnTo>
                      <a:pt x="143" y="154"/>
                    </a:lnTo>
                    <a:lnTo>
                      <a:pt x="147" y="155"/>
                    </a:lnTo>
                    <a:lnTo>
                      <a:pt x="157" y="153"/>
                    </a:lnTo>
                    <a:lnTo>
                      <a:pt x="153" y="145"/>
                    </a:lnTo>
                    <a:lnTo>
                      <a:pt x="143" y="135"/>
                    </a:lnTo>
                    <a:lnTo>
                      <a:pt x="132" y="134"/>
                    </a:lnTo>
                    <a:lnTo>
                      <a:pt x="130" y="129"/>
                    </a:lnTo>
                    <a:lnTo>
                      <a:pt x="120" y="124"/>
                    </a:lnTo>
                    <a:lnTo>
                      <a:pt x="109" y="126"/>
                    </a:lnTo>
                    <a:lnTo>
                      <a:pt x="104" y="124"/>
                    </a:lnTo>
                    <a:lnTo>
                      <a:pt x="100" y="112"/>
                    </a:lnTo>
                    <a:lnTo>
                      <a:pt x="105" y="108"/>
                    </a:lnTo>
                    <a:lnTo>
                      <a:pt x="118" y="110"/>
                    </a:lnTo>
                    <a:lnTo>
                      <a:pt x="129" y="105"/>
                    </a:lnTo>
                    <a:lnTo>
                      <a:pt x="119" y="100"/>
                    </a:lnTo>
                    <a:lnTo>
                      <a:pt x="109" y="102"/>
                    </a:lnTo>
                    <a:lnTo>
                      <a:pt x="107" y="100"/>
                    </a:lnTo>
                    <a:lnTo>
                      <a:pt x="105" y="94"/>
                    </a:lnTo>
                    <a:lnTo>
                      <a:pt x="99" y="99"/>
                    </a:lnTo>
                    <a:lnTo>
                      <a:pt x="96" y="89"/>
                    </a:lnTo>
                    <a:lnTo>
                      <a:pt x="86" y="83"/>
                    </a:lnTo>
                    <a:lnTo>
                      <a:pt x="82" y="84"/>
                    </a:lnTo>
                    <a:lnTo>
                      <a:pt x="80" y="80"/>
                    </a:lnTo>
                    <a:lnTo>
                      <a:pt x="72" y="86"/>
                    </a:lnTo>
                    <a:lnTo>
                      <a:pt x="65" y="80"/>
                    </a:lnTo>
                    <a:lnTo>
                      <a:pt x="66" y="70"/>
                    </a:lnTo>
                    <a:lnTo>
                      <a:pt x="70" y="65"/>
                    </a:lnTo>
                    <a:lnTo>
                      <a:pt x="66" y="65"/>
                    </a:lnTo>
                    <a:lnTo>
                      <a:pt x="60" y="61"/>
                    </a:lnTo>
                    <a:lnTo>
                      <a:pt x="56" y="70"/>
                    </a:lnTo>
                    <a:lnTo>
                      <a:pt x="49" y="61"/>
                    </a:lnTo>
                    <a:lnTo>
                      <a:pt x="45" y="62"/>
                    </a:lnTo>
                    <a:lnTo>
                      <a:pt x="40" y="59"/>
                    </a:lnTo>
                    <a:lnTo>
                      <a:pt x="34" y="67"/>
                    </a:lnTo>
                    <a:lnTo>
                      <a:pt x="29" y="64"/>
                    </a:lnTo>
                    <a:lnTo>
                      <a:pt x="27" y="62"/>
                    </a:lnTo>
                    <a:lnTo>
                      <a:pt x="29" y="57"/>
                    </a:lnTo>
                    <a:lnTo>
                      <a:pt x="30" y="48"/>
                    </a:lnTo>
                    <a:lnTo>
                      <a:pt x="24" y="45"/>
                    </a:lnTo>
                    <a:lnTo>
                      <a:pt x="23" y="37"/>
                    </a:lnTo>
                    <a:lnTo>
                      <a:pt x="33" y="35"/>
                    </a:lnTo>
                    <a:lnTo>
                      <a:pt x="41" y="36"/>
                    </a:lnTo>
                    <a:lnTo>
                      <a:pt x="45" y="4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25" name="Freeform 287"/>
              <p:cNvSpPr>
                <a:spLocks noChangeAspect="1"/>
              </p:cNvSpPr>
              <p:nvPr/>
            </p:nvSpPr>
            <p:spPr bwMode="gray">
              <a:xfrm>
                <a:off x="1425" y="1404"/>
                <a:ext cx="47" cy="44"/>
              </a:xfrm>
              <a:custGeom>
                <a:avLst/>
                <a:gdLst/>
                <a:ahLst/>
                <a:cxnLst>
                  <a:cxn ang="0">
                    <a:pos x="132" y="38"/>
                  </a:cxn>
                  <a:cxn ang="0">
                    <a:pos x="118" y="33"/>
                  </a:cxn>
                  <a:cxn ang="0">
                    <a:pos x="118" y="18"/>
                  </a:cxn>
                  <a:cxn ang="0">
                    <a:pos x="104" y="4"/>
                  </a:cxn>
                  <a:cxn ang="0">
                    <a:pos x="86" y="0"/>
                  </a:cxn>
                  <a:cxn ang="0">
                    <a:pos x="73" y="20"/>
                  </a:cxn>
                  <a:cxn ang="0">
                    <a:pos x="71" y="52"/>
                  </a:cxn>
                  <a:cxn ang="0">
                    <a:pos x="66" y="51"/>
                  </a:cxn>
                  <a:cxn ang="0">
                    <a:pos x="53" y="57"/>
                  </a:cxn>
                  <a:cxn ang="0">
                    <a:pos x="53" y="73"/>
                  </a:cxn>
                  <a:cxn ang="0">
                    <a:pos x="50" y="98"/>
                  </a:cxn>
                  <a:cxn ang="0">
                    <a:pos x="40" y="109"/>
                  </a:cxn>
                  <a:cxn ang="0">
                    <a:pos x="11" y="119"/>
                  </a:cxn>
                  <a:cxn ang="0">
                    <a:pos x="0" y="136"/>
                  </a:cxn>
                  <a:cxn ang="0">
                    <a:pos x="10" y="163"/>
                  </a:cxn>
                  <a:cxn ang="0">
                    <a:pos x="21" y="158"/>
                  </a:cxn>
                  <a:cxn ang="0">
                    <a:pos x="32" y="152"/>
                  </a:cxn>
                  <a:cxn ang="0">
                    <a:pos x="44" y="167"/>
                  </a:cxn>
                  <a:cxn ang="0">
                    <a:pos x="55" y="175"/>
                  </a:cxn>
                  <a:cxn ang="0">
                    <a:pos x="62" y="165"/>
                  </a:cxn>
                  <a:cxn ang="0">
                    <a:pos x="71" y="180"/>
                  </a:cxn>
                  <a:cxn ang="0">
                    <a:pos x="89" y="180"/>
                  </a:cxn>
                  <a:cxn ang="0">
                    <a:pos x="109" y="202"/>
                  </a:cxn>
                  <a:cxn ang="0">
                    <a:pos x="132" y="210"/>
                  </a:cxn>
                  <a:cxn ang="0">
                    <a:pos x="136" y="202"/>
                  </a:cxn>
                  <a:cxn ang="0">
                    <a:pos x="167" y="221"/>
                  </a:cxn>
                  <a:cxn ang="0">
                    <a:pos x="186" y="195"/>
                  </a:cxn>
                  <a:cxn ang="0">
                    <a:pos x="209" y="179"/>
                  </a:cxn>
                  <a:cxn ang="0">
                    <a:pos x="216" y="186"/>
                  </a:cxn>
                  <a:cxn ang="0">
                    <a:pos x="233" y="174"/>
                  </a:cxn>
                  <a:cxn ang="0">
                    <a:pos x="231" y="163"/>
                  </a:cxn>
                  <a:cxn ang="0">
                    <a:pos x="207" y="153"/>
                  </a:cxn>
                  <a:cxn ang="0">
                    <a:pos x="202" y="132"/>
                  </a:cxn>
                  <a:cxn ang="0">
                    <a:pos x="179" y="100"/>
                  </a:cxn>
                  <a:cxn ang="0">
                    <a:pos x="143" y="60"/>
                  </a:cxn>
                </a:cxnLst>
                <a:rect l="0" t="0" r="r" b="b"/>
                <a:pathLst>
                  <a:path w="236" h="221">
                    <a:moveTo>
                      <a:pt x="141" y="55"/>
                    </a:moveTo>
                    <a:lnTo>
                      <a:pt x="132" y="38"/>
                    </a:lnTo>
                    <a:lnTo>
                      <a:pt x="126" y="33"/>
                    </a:lnTo>
                    <a:lnTo>
                      <a:pt x="118" y="33"/>
                    </a:lnTo>
                    <a:lnTo>
                      <a:pt x="120" y="24"/>
                    </a:lnTo>
                    <a:lnTo>
                      <a:pt x="118" y="18"/>
                    </a:lnTo>
                    <a:lnTo>
                      <a:pt x="108" y="14"/>
                    </a:lnTo>
                    <a:lnTo>
                      <a:pt x="104" y="4"/>
                    </a:lnTo>
                    <a:lnTo>
                      <a:pt x="96" y="0"/>
                    </a:lnTo>
                    <a:lnTo>
                      <a:pt x="86" y="0"/>
                    </a:lnTo>
                    <a:lnTo>
                      <a:pt x="84" y="11"/>
                    </a:lnTo>
                    <a:lnTo>
                      <a:pt x="73" y="20"/>
                    </a:lnTo>
                    <a:lnTo>
                      <a:pt x="65" y="44"/>
                    </a:lnTo>
                    <a:lnTo>
                      <a:pt x="71" y="52"/>
                    </a:lnTo>
                    <a:lnTo>
                      <a:pt x="71" y="57"/>
                    </a:lnTo>
                    <a:lnTo>
                      <a:pt x="66" y="51"/>
                    </a:lnTo>
                    <a:lnTo>
                      <a:pt x="56" y="51"/>
                    </a:lnTo>
                    <a:lnTo>
                      <a:pt x="53" y="57"/>
                    </a:lnTo>
                    <a:lnTo>
                      <a:pt x="54" y="62"/>
                    </a:lnTo>
                    <a:lnTo>
                      <a:pt x="53" y="73"/>
                    </a:lnTo>
                    <a:lnTo>
                      <a:pt x="57" y="90"/>
                    </a:lnTo>
                    <a:lnTo>
                      <a:pt x="50" y="98"/>
                    </a:lnTo>
                    <a:lnTo>
                      <a:pt x="48" y="108"/>
                    </a:lnTo>
                    <a:lnTo>
                      <a:pt x="40" y="109"/>
                    </a:lnTo>
                    <a:lnTo>
                      <a:pt x="24" y="117"/>
                    </a:lnTo>
                    <a:lnTo>
                      <a:pt x="11" y="119"/>
                    </a:lnTo>
                    <a:lnTo>
                      <a:pt x="2" y="125"/>
                    </a:lnTo>
                    <a:lnTo>
                      <a:pt x="0" y="136"/>
                    </a:lnTo>
                    <a:lnTo>
                      <a:pt x="0" y="152"/>
                    </a:lnTo>
                    <a:lnTo>
                      <a:pt x="10" y="163"/>
                    </a:lnTo>
                    <a:lnTo>
                      <a:pt x="21" y="168"/>
                    </a:lnTo>
                    <a:lnTo>
                      <a:pt x="21" y="158"/>
                    </a:lnTo>
                    <a:lnTo>
                      <a:pt x="24" y="153"/>
                    </a:lnTo>
                    <a:lnTo>
                      <a:pt x="32" y="152"/>
                    </a:lnTo>
                    <a:lnTo>
                      <a:pt x="41" y="158"/>
                    </a:lnTo>
                    <a:lnTo>
                      <a:pt x="44" y="167"/>
                    </a:lnTo>
                    <a:lnTo>
                      <a:pt x="51" y="170"/>
                    </a:lnTo>
                    <a:lnTo>
                      <a:pt x="55" y="175"/>
                    </a:lnTo>
                    <a:lnTo>
                      <a:pt x="60" y="172"/>
                    </a:lnTo>
                    <a:lnTo>
                      <a:pt x="62" y="165"/>
                    </a:lnTo>
                    <a:lnTo>
                      <a:pt x="71" y="172"/>
                    </a:lnTo>
                    <a:lnTo>
                      <a:pt x="71" y="180"/>
                    </a:lnTo>
                    <a:lnTo>
                      <a:pt x="77" y="183"/>
                    </a:lnTo>
                    <a:lnTo>
                      <a:pt x="89" y="180"/>
                    </a:lnTo>
                    <a:lnTo>
                      <a:pt x="99" y="196"/>
                    </a:lnTo>
                    <a:lnTo>
                      <a:pt x="109" y="202"/>
                    </a:lnTo>
                    <a:lnTo>
                      <a:pt x="129" y="206"/>
                    </a:lnTo>
                    <a:lnTo>
                      <a:pt x="132" y="210"/>
                    </a:lnTo>
                    <a:lnTo>
                      <a:pt x="134" y="202"/>
                    </a:lnTo>
                    <a:lnTo>
                      <a:pt x="136" y="202"/>
                    </a:lnTo>
                    <a:lnTo>
                      <a:pt x="152" y="213"/>
                    </a:lnTo>
                    <a:lnTo>
                      <a:pt x="167" y="221"/>
                    </a:lnTo>
                    <a:lnTo>
                      <a:pt x="177" y="216"/>
                    </a:lnTo>
                    <a:lnTo>
                      <a:pt x="186" y="195"/>
                    </a:lnTo>
                    <a:lnTo>
                      <a:pt x="194" y="194"/>
                    </a:lnTo>
                    <a:lnTo>
                      <a:pt x="209" y="179"/>
                    </a:lnTo>
                    <a:lnTo>
                      <a:pt x="216" y="178"/>
                    </a:lnTo>
                    <a:lnTo>
                      <a:pt x="216" y="186"/>
                    </a:lnTo>
                    <a:lnTo>
                      <a:pt x="223" y="183"/>
                    </a:lnTo>
                    <a:lnTo>
                      <a:pt x="233" y="174"/>
                    </a:lnTo>
                    <a:lnTo>
                      <a:pt x="236" y="164"/>
                    </a:lnTo>
                    <a:lnTo>
                      <a:pt x="231" y="163"/>
                    </a:lnTo>
                    <a:lnTo>
                      <a:pt x="220" y="169"/>
                    </a:lnTo>
                    <a:lnTo>
                      <a:pt x="207" y="153"/>
                    </a:lnTo>
                    <a:lnTo>
                      <a:pt x="202" y="142"/>
                    </a:lnTo>
                    <a:lnTo>
                      <a:pt x="202" y="132"/>
                    </a:lnTo>
                    <a:lnTo>
                      <a:pt x="190" y="110"/>
                    </a:lnTo>
                    <a:lnTo>
                      <a:pt x="179" y="100"/>
                    </a:lnTo>
                    <a:lnTo>
                      <a:pt x="174" y="89"/>
                    </a:lnTo>
                    <a:lnTo>
                      <a:pt x="143" y="60"/>
                    </a:lnTo>
                    <a:lnTo>
                      <a:pt x="141" y="5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26" name="Freeform 288"/>
              <p:cNvSpPr>
                <a:spLocks noChangeAspect="1"/>
              </p:cNvSpPr>
              <p:nvPr/>
            </p:nvSpPr>
            <p:spPr bwMode="gray">
              <a:xfrm>
                <a:off x="1134" y="1234"/>
                <a:ext cx="117" cy="130"/>
              </a:xfrm>
              <a:custGeom>
                <a:avLst/>
                <a:gdLst/>
                <a:ahLst/>
                <a:cxnLst>
                  <a:cxn ang="0">
                    <a:pos x="109" y="137"/>
                  </a:cxn>
                  <a:cxn ang="0">
                    <a:pos x="97" y="189"/>
                  </a:cxn>
                  <a:cxn ang="0">
                    <a:pos x="84" y="213"/>
                  </a:cxn>
                  <a:cxn ang="0">
                    <a:pos x="72" y="242"/>
                  </a:cxn>
                  <a:cxn ang="0">
                    <a:pos x="66" y="272"/>
                  </a:cxn>
                  <a:cxn ang="0">
                    <a:pos x="55" y="288"/>
                  </a:cxn>
                  <a:cxn ang="0">
                    <a:pos x="66" y="305"/>
                  </a:cxn>
                  <a:cxn ang="0">
                    <a:pos x="72" y="321"/>
                  </a:cxn>
                  <a:cxn ang="0">
                    <a:pos x="41" y="333"/>
                  </a:cxn>
                  <a:cxn ang="0">
                    <a:pos x="46" y="358"/>
                  </a:cxn>
                  <a:cxn ang="0">
                    <a:pos x="44" y="380"/>
                  </a:cxn>
                  <a:cxn ang="0">
                    <a:pos x="44" y="391"/>
                  </a:cxn>
                  <a:cxn ang="0">
                    <a:pos x="40" y="409"/>
                  </a:cxn>
                  <a:cxn ang="0">
                    <a:pos x="27" y="430"/>
                  </a:cxn>
                  <a:cxn ang="0">
                    <a:pos x="30" y="449"/>
                  </a:cxn>
                  <a:cxn ang="0">
                    <a:pos x="18" y="465"/>
                  </a:cxn>
                  <a:cxn ang="0">
                    <a:pos x="11" y="479"/>
                  </a:cxn>
                  <a:cxn ang="0">
                    <a:pos x="0" y="500"/>
                  </a:cxn>
                  <a:cxn ang="0">
                    <a:pos x="49" y="504"/>
                  </a:cxn>
                  <a:cxn ang="0">
                    <a:pos x="41" y="511"/>
                  </a:cxn>
                  <a:cxn ang="0">
                    <a:pos x="66" y="519"/>
                  </a:cxn>
                  <a:cxn ang="0">
                    <a:pos x="99" y="541"/>
                  </a:cxn>
                  <a:cxn ang="0">
                    <a:pos x="124" y="585"/>
                  </a:cxn>
                  <a:cxn ang="0">
                    <a:pos x="163" y="650"/>
                  </a:cxn>
                  <a:cxn ang="0">
                    <a:pos x="215" y="603"/>
                  </a:cxn>
                  <a:cxn ang="0">
                    <a:pos x="238" y="587"/>
                  </a:cxn>
                  <a:cxn ang="0">
                    <a:pos x="249" y="601"/>
                  </a:cxn>
                  <a:cxn ang="0">
                    <a:pos x="264" y="581"/>
                  </a:cxn>
                  <a:cxn ang="0">
                    <a:pos x="279" y="587"/>
                  </a:cxn>
                  <a:cxn ang="0">
                    <a:pos x="298" y="549"/>
                  </a:cxn>
                  <a:cxn ang="0">
                    <a:pos x="299" y="511"/>
                  </a:cxn>
                  <a:cxn ang="0">
                    <a:pos x="313" y="461"/>
                  </a:cxn>
                  <a:cxn ang="0">
                    <a:pos x="328" y="455"/>
                  </a:cxn>
                  <a:cxn ang="0">
                    <a:pos x="362" y="433"/>
                  </a:cxn>
                  <a:cxn ang="0">
                    <a:pos x="371" y="381"/>
                  </a:cxn>
                  <a:cxn ang="0">
                    <a:pos x="406" y="357"/>
                  </a:cxn>
                  <a:cxn ang="0">
                    <a:pos x="462" y="309"/>
                  </a:cxn>
                  <a:cxn ang="0">
                    <a:pos x="514" y="267"/>
                  </a:cxn>
                  <a:cxn ang="0">
                    <a:pos x="581" y="203"/>
                  </a:cxn>
                  <a:cxn ang="0">
                    <a:pos x="552" y="176"/>
                  </a:cxn>
                  <a:cxn ang="0">
                    <a:pos x="506" y="119"/>
                  </a:cxn>
                  <a:cxn ang="0">
                    <a:pos x="462" y="69"/>
                  </a:cxn>
                  <a:cxn ang="0">
                    <a:pos x="385" y="78"/>
                  </a:cxn>
                  <a:cxn ang="0">
                    <a:pos x="384" y="105"/>
                  </a:cxn>
                  <a:cxn ang="0">
                    <a:pos x="368" y="108"/>
                  </a:cxn>
                  <a:cxn ang="0">
                    <a:pos x="373" y="78"/>
                  </a:cxn>
                  <a:cxn ang="0">
                    <a:pos x="352" y="86"/>
                  </a:cxn>
                  <a:cxn ang="0">
                    <a:pos x="338" y="102"/>
                  </a:cxn>
                  <a:cxn ang="0">
                    <a:pos x="304" y="52"/>
                  </a:cxn>
                  <a:cxn ang="0">
                    <a:pos x="276" y="13"/>
                  </a:cxn>
                  <a:cxn ang="0">
                    <a:pos x="224" y="14"/>
                  </a:cxn>
                  <a:cxn ang="0">
                    <a:pos x="157" y="19"/>
                  </a:cxn>
                  <a:cxn ang="0">
                    <a:pos x="158" y="46"/>
                  </a:cxn>
                  <a:cxn ang="0">
                    <a:pos x="150" y="21"/>
                  </a:cxn>
                  <a:cxn ang="0">
                    <a:pos x="139" y="27"/>
                  </a:cxn>
                  <a:cxn ang="0">
                    <a:pos x="120" y="27"/>
                  </a:cxn>
                  <a:cxn ang="0">
                    <a:pos x="99" y="31"/>
                  </a:cxn>
                  <a:cxn ang="0">
                    <a:pos x="75" y="42"/>
                  </a:cxn>
                  <a:cxn ang="0">
                    <a:pos x="84" y="78"/>
                  </a:cxn>
                </a:cxnLst>
                <a:rect l="0" t="0" r="r" b="b"/>
                <a:pathLst>
                  <a:path w="582" h="653">
                    <a:moveTo>
                      <a:pt x="93" y="117"/>
                    </a:moveTo>
                    <a:lnTo>
                      <a:pt x="100" y="129"/>
                    </a:lnTo>
                    <a:lnTo>
                      <a:pt x="109" y="137"/>
                    </a:lnTo>
                    <a:lnTo>
                      <a:pt x="113" y="148"/>
                    </a:lnTo>
                    <a:lnTo>
                      <a:pt x="105" y="161"/>
                    </a:lnTo>
                    <a:lnTo>
                      <a:pt x="97" y="189"/>
                    </a:lnTo>
                    <a:lnTo>
                      <a:pt x="93" y="198"/>
                    </a:lnTo>
                    <a:lnTo>
                      <a:pt x="84" y="208"/>
                    </a:lnTo>
                    <a:lnTo>
                      <a:pt x="84" y="213"/>
                    </a:lnTo>
                    <a:lnTo>
                      <a:pt x="81" y="225"/>
                    </a:lnTo>
                    <a:lnTo>
                      <a:pt x="76" y="229"/>
                    </a:lnTo>
                    <a:lnTo>
                      <a:pt x="72" y="242"/>
                    </a:lnTo>
                    <a:lnTo>
                      <a:pt x="72" y="251"/>
                    </a:lnTo>
                    <a:lnTo>
                      <a:pt x="65" y="263"/>
                    </a:lnTo>
                    <a:lnTo>
                      <a:pt x="66" y="272"/>
                    </a:lnTo>
                    <a:lnTo>
                      <a:pt x="64" y="275"/>
                    </a:lnTo>
                    <a:lnTo>
                      <a:pt x="60" y="284"/>
                    </a:lnTo>
                    <a:lnTo>
                      <a:pt x="55" y="288"/>
                    </a:lnTo>
                    <a:lnTo>
                      <a:pt x="57" y="299"/>
                    </a:lnTo>
                    <a:lnTo>
                      <a:pt x="64" y="298"/>
                    </a:lnTo>
                    <a:lnTo>
                      <a:pt x="66" y="305"/>
                    </a:lnTo>
                    <a:lnTo>
                      <a:pt x="72" y="309"/>
                    </a:lnTo>
                    <a:lnTo>
                      <a:pt x="73" y="315"/>
                    </a:lnTo>
                    <a:lnTo>
                      <a:pt x="72" y="321"/>
                    </a:lnTo>
                    <a:lnTo>
                      <a:pt x="51" y="331"/>
                    </a:lnTo>
                    <a:lnTo>
                      <a:pt x="43" y="327"/>
                    </a:lnTo>
                    <a:lnTo>
                      <a:pt x="41" y="333"/>
                    </a:lnTo>
                    <a:lnTo>
                      <a:pt x="44" y="342"/>
                    </a:lnTo>
                    <a:lnTo>
                      <a:pt x="46" y="345"/>
                    </a:lnTo>
                    <a:lnTo>
                      <a:pt x="46" y="358"/>
                    </a:lnTo>
                    <a:lnTo>
                      <a:pt x="48" y="359"/>
                    </a:lnTo>
                    <a:lnTo>
                      <a:pt x="48" y="366"/>
                    </a:lnTo>
                    <a:lnTo>
                      <a:pt x="44" y="380"/>
                    </a:lnTo>
                    <a:lnTo>
                      <a:pt x="49" y="377"/>
                    </a:lnTo>
                    <a:lnTo>
                      <a:pt x="50" y="387"/>
                    </a:lnTo>
                    <a:lnTo>
                      <a:pt x="44" y="391"/>
                    </a:lnTo>
                    <a:lnTo>
                      <a:pt x="38" y="400"/>
                    </a:lnTo>
                    <a:lnTo>
                      <a:pt x="45" y="404"/>
                    </a:lnTo>
                    <a:lnTo>
                      <a:pt x="40" y="409"/>
                    </a:lnTo>
                    <a:lnTo>
                      <a:pt x="33" y="406"/>
                    </a:lnTo>
                    <a:lnTo>
                      <a:pt x="27" y="418"/>
                    </a:lnTo>
                    <a:lnTo>
                      <a:pt x="27" y="430"/>
                    </a:lnTo>
                    <a:lnTo>
                      <a:pt x="21" y="435"/>
                    </a:lnTo>
                    <a:lnTo>
                      <a:pt x="22" y="441"/>
                    </a:lnTo>
                    <a:lnTo>
                      <a:pt x="30" y="449"/>
                    </a:lnTo>
                    <a:lnTo>
                      <a:pt x="12" y="455"/>
                    </a:lnTo>
                    <a:lnTo>
                      <a:pt x="17" y="457"/>
                    </a:lnTo>
                    <a:lnTo>
                      <a:pt x="18" y="465"/>
                    </a:lnTo>
                    <a:lnTo>
                      <a:pt x="13" y="463"/>
                    </a:lnTo>
                    <a:lnTo>
                      <a:pt x="10" y="471"/>
                    </a:lnTo>
                    <a:lnTo>
                      <a:pt x="11" y="479"/>
                    </a:lnTo>
                    <a:lnTo>
                      <a:pt x="16" y="482"/>
                    </a:lnTo>
                    <a:lnTo>
                      <a:pt x="8" y="499"/>
                    </a:lnTo>
                    <a:lnTo>
                      <a:pt x="0" y="500"/>
                    </a:lnTo>
                    <a:lnTo>
                      <a:pt x="3" y="509"/>
                    </a:lnTo>
                    <a:lnTo>
                      <a:pt x="30" y="499"/>
                    </a:lnTo>
                    <a:lnTo>
                      <a:pt x="49" y="504"/>
                    </a:lnTo>
                    <a:lnTo>
                      <a:pt x="51" y="509"/>
                    </a:lnTo>
                    <a:lnTo>
                      <a:pt x="41" y="505"/>
                    </a:lnTo>
                    <a:lnTo>
                      <a:pt x="41" y="511"/>
                    </a:lnTo>
                    <a:lnTo>
                      <a:pt x="60" y="522"/>
                    </a:lnTo>
                    <a:lnTo>
                      <a:pt x="66" y="530"/>
                    </a:lnTo>
                    <a:lnTo>
                      <a:pt x="66" y="519"/>
                    </a:lnTo>
                    <a:lnTo>
                      <a:pt x="75" y="520"/>
                    </a:lnTo>
                    <a:lnTo>
                      <a:pt x="75" y="531"/>
                    </a:lnTo>
                    <a:lnTo>
                      <a:pt x="99" y="541"/>
                    </a:lnTo>
                    <a:lnTo>
                      <a:pt x="113" y="560"/>
                    </a:lnTo>
                    <a:lnTo>
                      <a:pt x="116" y="575"/>
                    </a:lnTo>
                    <a:lnTo>
                      <a:pt x="124" y="585"/>
                    </a:lnTo>
                    <a:lnTo>
                      <a:pt x="139" y="632"/>
                    </a:lnTo>
                    <a:lnTo>
                      <a:pt x="151" y="653"/>
                    </a:lnTo>
                    <a:lnTo>
                      <a:pt x="163" y="650"/>
                    </a:lnTo>
                    <a:lnTo>
                      <a:pt x="180" y="628"/>
                    </a:lnTo>
                    <a:lnTo>
                      <a:pt x="194" y="624"/>
                    </a:lnTo>
                    <a:lnTo>
                      <a:pt x="215" y="603"/>
                    </a:lnTo>
                    <a:lnTo>
                      <a:pt x="223" y="592"/>
                    </a:lnTo>
                    <a:lnTo>
                      <a:pt x="229" y="580"/>
                    </a:lnTo>
                    <a:lnTo>
                      <a:pt x="238" y="587"/>
                    </a:lnTo>
                    <a:lnTo>
                      <a:pt x="239" y="592"/>
                    </a:lnTo>
                    <a:lnTo>
                      <a:pt x="238" y="600"/>
                    </a:lnTo>
                    <a:lnTo>
                      <a:pt x="249" y="601"/>
                    </a:lnTo>
                    <a:lnTo>
                      <a:pt x="259" y="600"/>
                    </a:lnTo>
                    <a:lnTo>
                      <a:pt x="263" y="591"/>
                    </a:lnTo>
                    <a:lnTo>
                      <a:pt x="264" y="581"/>
                    </a:lnTo>
                    <a:lnTo>
                      <a:pt x="269" y="590"/>
                    </a:lnTo>
                    <a:lnTo>
                      <a:pt x="272" y="591"/>
                    </a:lnTo>
                    <a:lnTo>
                      <a:pt x="279" y="587"/>
                    </a:lnTo>
                    <a:lnTo>
                      <a:pt x="291" y="575"/>
                    </a:lnTo>
                    <a:lnTo>
                      <a:pt x="298" y="562"/>
                    </a:lnTo>
                    <a:lnTo>
                      <a:pt x="298" y="549"/>
                    </a:lnTo>
                    <a:lnTo>
                      <a:pt x="301" y="542"/>
                    </a:lnTo>
                    <a:lnTo>
                      <a:pt x="298" y="537"/>
                    </a:lnTo>
                    <a:lnTo>
                      <a:pt x="299" y="511"/>
                    </a:lnTo>
                    <a:lnTo>
                      <a:pt x="297" y="501"/>
                    </a:lnTo>
                    <a:lnTo>
                      <a:pt x="310" y="474"/>
                    </a:lnTo>
                    <a:lnTo>
                      <a:pt x="313" y="461"/>
                    </a:lnTo>
                    <a:lnTo>
                      <a:pt x="314" y="449"/>
                    </a:lnTo>
                    <a:lnTo>
                      <a:pt x="317" y="446"/>
                    </a:lnTo>
                    <a:lnTo>
                      <a:pt x="328" y="455"/>
                    </a:lnTo>
                    <a:lnTo>
                      <a:pt x="336" y="446"/>
                    </a:lnTo>
                    <a:lnTo>
                      <a:pt x="346" y="444"/>
                    </a:lnTo>
                    <a:lnTo>
                      <a:pt x="362" y="433"/>
                    </a:lnTo>
                    <a:lnTo>
                      <a:pt x="366" y="412"/>
                    </a:lnTo>
                    <a:lnTo>
                      <a:pt x="371" y="395"/>
                    </a:lnTo>
                    <a:lnTo>
                      <a:pt x="371" y="381"/>
                    </a:lnTo>
                    <a:lnTo>
                      <a:pt x="379" y="370"/>
                    </a:lnTo>
                    <a:lnTo>
                      <a:pt x="392" y="361"/>
                    </a:lnTo>
                    <a:lnTo>
                      <a:pt x="406" y="357"/>
                    </a:lnTo>
                    <a:lnTo>
                      <a:pt x="416" y="343"/>
                    </a:lnTo>
                    <a:lnTo>
                      <a:pt x="438" y="330"/>
                    </a:lnTo>
                    <a:lnTo>
                      <a:pt x="462" y="309"/>
                    </a:lnTo>
                    <a:lnTo>
                      <a:pt x="474" y="304"/>
                    </a:lnTo>
                    <a:lnTo>
                      <a:pt x="481" y="294"/>
                    </a:lnTo>
                    <a:lnTo>
                      <a:pt x="514" y="267"/>
                    </a:lnTo>
                    <a:lnTo>
                      <a:pt x="550" y="251"/>
                    </a:lnTo>
                    <a:lnTo>
                      <a:pt x="582" y="224"/>
                    </a:lnTo>
                    <a:lnTo>
                      <a:pt x="581" y="203"/>
                    </a:lnTo>
                    <a:lnTo>
                      <a:pt x="573" y="198"/>
                    </a:lnTo>
                    <a:lnTo>
                      <a:pt x="561" y="180"/>
                    </a:lnTo>
                    <a:lnTo>
                      <a:pt x="552" y="176"/>
                    </a:lnTo>
                    <a:lnTo>
                      <a:pt x="535" y="150"/>
                    </a:lnTo>
                    <a:lnTo>
                      <a:pt x="512" y="129"/>
                    </a:lnTo>
                    <a:lnTo>
                      <a:pt x="506" y="119"/>
                    </a:lnTo>
                    <a:lnTo>
                      <a:pt x="487" y="95"/>
                    </a:lnTo>
                    <a:lnTo>
                      <a:pt x="478" y="89"/>
                    </a:lnTo>
                    <a:lnTo>
                      <a:pt x="462" y="69"/>
                    </a:lnTo>
                    <a:lnTo>
                      <a:pt x="420" y="59"/>
                    </a:lnTo>
                    <a:lnTo>
                      <a:pt x="390" y="73"/>
                    </a:lnTo>
                    <a:lnTo>
                      <a:pt x="385" y="78"/>
                    </a:lnTo>
                    <a:lnTo>
                      <a:pt x="382" y="86"/>
                    </a:lnTo>
                    <a:lnTo>
                      <a:pt x="389" y="96"/>
                    </a:lnTo>
                    <a:lnTo>
                      <a:pt x="384" y="105"/>
                    </a:lnTo>
                    <a:lnTo>
                      <a:pt x="382" y="115"/>
                    </a:lnTo>
                    <a:lnTo>
                      <a:pt x="371" y="121"/>
                    </a:lnTo>
                    <a:lnTo>
                      <a:pt x="368" y="108"/>
                    </a:lnTo>
                    <a:lnTo>
                      <a:pt x="374" y="101"/>
                    </a:lnTo>
                    <a:lnTo>
                      <a:pt x="374" y="85"/>
                    </a:lnTo>
                    <a:lnTo>
                      <a:pt x="373" y="78"/>
                    </a:lnTo>
                    <a:lnTo>
                      <a:pt x="358" y="75"/>
                    </a:lnTo>
                    <a:lnTo>
                      <a:pt x="352" y="81"/>
                    </a:lnTo>
                    <a:lnTo>
                      <a:pt x="352" y="86"/>
                    </a:lnTo>
                    <a:lnTo>
                      <a:pt x="345" y="92"/>
                    </a:lnTo>
                    <a:lnTo>
                      <a:pt x="340" y="111"/>
                    </a:lnTo>
                    <a:lnTo>
                      <a:pt x="338" y="102"/>
                    </a:lnTo>
                    <a:lnTo>
                      <a:pt x="336" y="90"/>
                    </a:lnTo>
                    <a:lnTo>
                      <a:pt x="345" y="76"/>
                    </a:lnTo>
                    <a:lnTo>
                      <a:pt x="304" y="52"/>
                    </a:lnTo>
                    <a:lnTo>
                      <a:pt x="291" y="33"/>
                    </a:lnTo>
                    <a:lnTo>
                      <a:pt x="279" y="24"/>
                    </a:lnTo>
                    <a:lnTo>
                      <a:pt x="276" y="13"/>
                    </a:lnTo>
                    <a:lnTo>
                      <a:pt x="244" y="0"/>
                    </a:lnTo>
                    <a:lnTo>
                      <a:pt x="231" y="3"/>
                    </a:lnTo>
                    <a:lnTo>
                      <a:pt x="224" y="14"/>
                    </a:lnTo>
                    <a:lnTo>
                      <a:pt x="213" y="9"/>
                    </a:lnTo>
                    <a:lnTo>
                      <a:pt x="197" y="16"/>
                    </a:lnTo>
                    <a:lnTo>
                      <a:pt x="157" y="19"/>
                    </a:lnTo>
                    <a:lnTo>
                      <a:pt x="156" y="24"/>
                    </a:lnTo>
                    <a:lnTo>
                      <a:pt x="158" y="36"/>
                    </a:lnTo>
                    <a:lnTo>
                      <a:pt x="158" y="46"/>
                    </a:lnTo>
                    <a:lnTo>
                      <a:pt x="154" y="36"/>
                    </a:lnTo>
                    <a:lnTo>
                      <a:pt x="151" y="31"/>
                    </a:lnTo>
                    <a:lnTo>
                      <a:pt x="150" y="21"/>
                    </a:lnTo>
                    <a:lnTo>
                      <a:pt x="146" y="19"/>
                    </a:lnTo>
                    <a:lnTo>
                      <a:pt x="141" y="29"/>
                    </a:lnTo>
                    <a:lnTo>
                      <a:pt x="139" y="27"/>
                    </a:lnTo>
                    <a:lnTo>
                      <a:pt x="136" y="20"/>
                    </a:lnTo>
                    <a:lnTo>
                      <a:pt x="120" y="24"/>
                    </a:lnTo>
                    <a:lnTo>
                      <a:pt x="120" y="27"/>
                    </a:lnTo>
                    <a:lnTo>
                      <a:pt x="105" y="24"/>
                    </a:lnTo>
                    <a:lnTo>
                      <a:pt x="99" y="25"/>
                    </a:lnTo>
                    <a:lnTo>
                      <a:pt x="99" y="31"/>
                    </a:lnTo>
                    <a:lnTo>
                      <a:pt x="83" y="33"/>
                    </a:lnTo>
                    <a:lnTo>
                      <a:pt x="70" y="40"/>
                    </a:lnTo>
                    <a:lnTo>
                      <a:pt x="75" y="42"/>
                    </a:lnTo>
                    <a:lnTo>
                      <a:pt x="80" y="63"/>
                    </a:lnTo>
                    <a:lnTo>
                      <a:pt x="93" y="73"/>
                    </a:lnTo>
                    <a:lnTo>
                      <a:pt x="84" y="78"/>
                    </a:lnTo>
                    <a:lnTo>
                      <a:pt x="83" y="89"/>
                    </a:lnTo>
                    <a:lnTo>
                      <a:pt x="93" y="1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27" name="Freeform 289"/>
              <p:cNvSpPr>
                <a:spLocks noChangeAspect="1"/>
              </p:cNvSpPr>
              <p:nvPr/>
            </p:nvSpPr>
            <p:spPr bwMode="gray">
              <a:xfrm>
                <a:off x="1210" y="1283"/>
                <a:ext cx="200" cy="164"/>
              </a:xfrm>
              <a:custGeom>
                <a:avLst/>
                <a:gdLst/>
                <a:ahLst/>
                <a:cxnLst>
                  <a:cxn ang="0">
                    <a:pos x="126" y="657"/>
                  </a:cxn>
                  <a:cxn ang="0">
                    <a:pos x="169" y="549"/>
                  </a:cxn>
                  <a:cxn ang="0">
                    <a:pos x="358" y="544"/>
                  </a:cxn>
                  <a:cxn ang="0">
                    <a:pos x="368" y="506"/>
                  </a:cxn>
                  <a:cxn ang="0">
                    <a:pos x="282" y="473"/>
                  </a:cxn>
                  <a:cxn ang="0">
                    <a:pos x="101" y="478"/>
                  </a:cxn>
                  <a:cxn ang="0">
                    <a:pos x="62" y="396"/>
                  </a:cxn>
                  <a:cxn ang="0">
                    <a:pos x="178" y="361"/>
                  </a:cxn>
                  <a:cxn ang="0">
                    <a:pos x="133" y="340"/>
                  </a:cxn>
                  <a:cxn ang="0">
                    <a:pos x="79" y="345"/>
                  </a:cxn>
                  <a:cxn ang="0">
                    <a:pos x="47" y="338"/>
                  </a:cxn>
                  <a:cxn ang="0">
                    <a:pos x="29" y="309"/>
                  </a:cxn>
                  <a:cxn ang="0">
                    <a:pos x="52" y="209"/>
                  </a:cxn>
                  <a:cxn ang="0">
                    <a:pos x="46" y="135"/>
                  </a:cxn>
                  <a:cxn ang="0">
                    <a:pos x="239" y="0"/>
                  </a:cxn>
                  <a:cxn ang="0">
                    <a:pos x="272" y="94"/>
                  </a:cxn>
                  <a:cxn ang="0">
                    <a:pos x="244" y="146"/>
                  </a:cxn>
                  <a:cxn ang="0">
                    <a:pos x="300" y="81"/>
                  </a:cxn>
                  <a:cxn ang="0">
                    <a:pos x="406" y="106"/>
                  </a:cxn>
                  <a:cxn ang="0">
                    <a:pos x="415" y="173"/>
                  </a:cxn>
                  <a:cxn ang="0">
                    <a:pos x="446" y="157"/>
                  </a:cxn>
                  <a:cxn ang="0">
                    <a:pos x="486" y="144"/>
                  </a:cxn>
                  <a:cxn ang="0">
                    <a:pos x="503" y="123"/>
                  </a:cxn>
                  <a:cxn ang="0">
                    <a:pos x="504" y="76"/>
                  </a:cxn>
                  <a:cxn ang="0">
                    <a:pos x="546" y="121"/>
                  </a:cxn>
                  <a:cxn ang="0">
                    <a:pos x="570" y="205"/>
                  </a:cxn>
                  <a:cxn ang="0">
                    <a:pos x="606" y="310"/>
                  </a:cxn>
                  <a:cxn ang="0">
                    <a:pos x="627" y="247"/>
                  </a:cxn>
                  <a:cxn ang="0">
                    <a:pos x="617" y="166"/>
                  </a:cxn>
                  <a:cxn ang="0">
                    <a:pos x="600" y="49"/>
                  </a:cxn>
                  <a:cxn ang="0">
                    <a:pos x="602" y="8"/>
                  </a:cxn>
                  <a:cxn ang="0">
                    <a:pos x="669" y="31"/>
                  </a:cxn>
                  <a:cxn ang="0">
                    <a:pos x="691" y="44"/>
                  </a:cxn>
                  <a:cxn ang="0">
                    <a:pos x="751" y="110"/>
                  </a:cxn>
                  <a:cxn ang="0">
                    <a:pos x="766" y="200"/>
                  </a:cxn>
                  <a:cxn ang="0">
                    <a:pos x="805" y="336"/>
                  </a:cxn>
                  <a:cxn ang="0">
                    <a:pos x="815" y="428"/>
                  </a:cxn>
                  <a:cxn ang="0">
                    <a:pos x="881" y="478"/>
                  </a:cxn>
                  <a:cxn ang="0">
                    <a:pos x="963" y="543"/>
                  </a:cxn>
                  <a:cxn ang="0">
                    <a:pos x="999" y="584"/>
                  </a:cxn>
                  <a:cxn ang="0">
                    <a:pos x="961" y="616"/>
                  </a:cxn>
                  <a:cxn ang="0">
                    <a:pos x="934" y="597"/>
                  </a:cxn>
                  <a:cxn ang="0">
                    <a:pos x="906" y="632"/>
                  </a:cxn>
                  <a:cxn ang="0">
                    <a:pos x="880" y="677"/>
                  </a:cxn>
                  <a:cxn ang="0">
                    <a:pos x="940" y="671"/>
                  </a:cxn>
                  <a:cxn ang="0">
                    <a:pos x="933" y="711"/>
                  </a:cxn>
                  <a:cxn ang="0">
                    <a:pos x="949" y="734"/>
                  </a:cxn>
                  <a:cxn ang="0">
                    <a:pos x="893" y="767"/>
                  </a:cxn>
                  <a:cxn ang="0">
                    <a:pos x="809" y="749"/>
                  </a:cxn>
                  <a:cxn ang="0">
                    <a:pos x="758" y="724"/>
                  </a:cxn>
                  <a:cxn ang="0">
                    <a:pos x="697" y="677"/>
                  </a:cxn>
                  <a:cxn ang="0">
                    <a:pos x="655" y="718"/>
                  </a:cxn>
                  <a:cxn ang="0">
                    <a:pos x="521" y="796"/>
                  </a:cxn>
                  <a:cxn ang="0">
                    <a:pos x="425" y="805"/>
                  </a:cxn>
                  <a:cxn ang="0">
                    <a:pos x="320" y="819"/>
                  </a:cxn>
                  <a:cxn ang="0">
                    <a:pos x="300" y="732"/>
                  </a:cxn>
                  <a:cxn ang="0">
                    <a:pos x="230" y="698"/>
                  </a:cxn>
                </a:cxnLst>
                <a:rect l="0" t="0" r="r" b="b"/>
                <a:pathLst>
                  <a:path w="999" h="819">
                    <a:moveTo>
                      <a:pt x="230" y="698"/>
                    </a:moveTo>
                    <a:lnTo>
                      <a:pt x="225" y="704"/>
                    </a:lnTo>
                    <a:lnTo>
                      <a:pt x="203" y="704"/>
                    </a:lnTo>
                    <a:lnTo>
                      <a:pt x="196" y="698"/>
                    </a:lnTo>
                    <a:lnTo>
                      <a:pt x="173" y="697"/>
                    </a:lnTo>
                    <a:lnTo>
                      <a:pt x="137" y="671"/>
                    </a:lnTo>
                    <a:lnTo>
                      <a:pt x="137" y="660"/>
                    </a:lnTo>
                    <a:lnTo>
                      <a:pt x="126" y="657"/>
                    </a:lnTo>
                    <a:lnTo>
                      <a:pt x="118" y="650"/>
                    </a:lnTo>
                    <a:lnTo>
                      <a:pt x="116" y="630"/>
                    </a:lnTo>
                    <a:lnTo>
                      <a:pt x="105" y="622"/>
                    </a:lnTo>
                    <a:lnTo>
                      <a:pt x="101" y="613"/>
                    </a:lnTo>
                    <a:lnTo>
                      <a:pt x="94" y="593"/>
                    </a:lnTo>
                    <a:lnTo>
                      <a:pt x="91" y="581"/>
                    </a:lnTo>
                    <a:lnTo>
                      <a:pt x="112" y="571"/>
                    </a:lnTo>
                    <a:lnTo>
                      <a:pt x="169" y="549"/>
                    </a:lnTo>
                    <a:lnTo>
                      <a:pt x="209" y="539"/>
                    </a:lnTo>
                    <a:lnTo>
                      <a:pt x="232" y="538"/>
                    </a:lnTo>
                    <a:lnTo>
                      <a:pt x="253" y="530"/>
                    </a:lnTo>
                    <a:lnTo>
                      <a:pt x="266" y="528"/>
                    </a:lnTo>
                    <a:lnTo>
                      <a:pt x="279" y="536"/>
                    </a:lnTo>
                    <a:lnTo>
                      <a:pt x="318" y="539"/>
                    </a:lnTo>
                    <a:lnTo>
                      <a:pt x="339" y="546"/>
                    </a:lnTo>
                    <a:lnTo>
                      <a:pt x="358" y="544"/>
                    </a:lnTo>
                    <a:lnTo>
                      <a:pt x="369" y="533"/>
                    </a:lnTo>
                    <a:lnTo>
                      <a:pt x="365" y="526"/>
                    </a:lnTo>
                    <a:lnTo>
                      <a:pt x="365" y="522"/>
                    </a:lnTo>
                    <a:lnTo>
                      <a:pt x="374" y="527"/>
                    </a:lnTo>
                    <a:lnTo>
                      <a:pt x="382" y="525"/>
                    </a:lnTo>
                    <a:lnTo>
                      <a:pt x="381" y="520"/>
                    </a:lnTo>
                    <a:lnTo>
                      <a:pt x="375" y="510"/>
                    </a:lnTo>
                    <a:lnTo>
                      <a:pt x="368" y="506"/>
                    </a:lnTo>
                    <a:lnTo>
                      <a:pt x="348" y="503"/>
                    </a:lnTo>
                    <a:lnTo>
                      <a:pt x="344" y="495"/>
                    </a:lnTo>
                    <a:lnTo>
                      <a:pt x="332" y="495"/>
                    </a:lnTo>
                    <a:lnTo>
                      <a:pt x="317" y="488"/>
                    </a:lnTo>
                    <a:lnTo>
                      <a:pt x="312" y="482"/>
                    </a:lnTo>
                    <a:lnTo>
                      <a:pt x="296" y="479"/>
                    </a:lnTo>
                    <a:lnTo>
                      <a:pt x="289" y="480"/>
                    </a:lnTo>
                    <a:lnTo>
                      <a:pt x="282" y="473"/>
                    </a:lnTo>
                    <a:lnTo>
                      <a:pt x="248" y="479"/>
                    </a:lnTo>
                    <a:lnTo>
                      <a:pt x="196" y="499"/>
                    </a:lnTo>
                    <a:lnTo>
                      <a:pt x="188" y="493"/>
                    </a:lnTo>
                    <a:lnTo>
                      <a:pt x="172" y="493"/>
                    </a:lnTo>
                    <a:lnTo>
                      <a:pt x="162" y="488"/>
                    </a:lnTo>
                    <a:lnTo>
                      <a:pt x="158" y="480"/>
                    </a:lnTo>
                    <a:lnTo>
                      <a:pt x="118" y="489"/>
                    </a:lnTo>
                    <a:lnTo>
                      <a:pt x="101" y="478"/>
                    </a:lnTo>
                    <a:lnTo>
                      <a:pt x="83" y="482"/>
                    </a:lnTo>
                    <a:lnTo>
                      <a:pt x="81" y="476"/>
                    </a:lnTo>
                    <a:lnTo>
                      <a:pt x="81" y="472"/>
                    </a:lnTo>
                    <a:lnTo>
                      <a:pt x="68" y="467"/>
                    </a:lnTo>
                    <a:lnTo>
                      <a:pt x="57" y="452"/>
                    </a:lnTo>
                    <a:lnTo>
                      <a:pt x="46" y="434"/>
                    </a:lnTo>
                    <a:lnTo>
                      <a:pt x="42" y="418"/>
                    </a:lnTo>
                    <a:lnTo>
                      <a:pt x="62" y="396"/>
                    </a:lnTo>
                    <a:lnTo>
                      <a:pt x="83" y="387"/>
                    </a:lnTo>
                    <a:lnTo>
                      <a:pt x="103" y="385"/>
                    </a:lnTo>
                    <a:lnTo>
                      <a:pt x="122" y="377"/>
                    </a:lnTo>
                    <a:lnTo>
                      <a:pt x="142" y="363"/>
                    </a:lnTo>
                    <a:lnTo>
                      <a:pt x="161" y="358"/>
                    </a:lnTo>
                    <a:lnTo>
                      <a:pt x="160" y="361"/>
                    </a:lnTo>
                    <a:lnTo>
                      <a:pt x="165" y="364"/>
                    </a:lnTo>
                    <a:lnTo>
                      <a:pt x="178" y="361"/>
                    </a:lnTo>
                    <a:lnTo>
                      <a:pt x="185" y="358"/>
                    </a:lnTo>
                    <a:lnTo>
                      <a:pt x="181" y="353"/>
                    </a:lnTo>
                    <a:lnTo>
                      <a:pt x="165" y="352"/>
                    </a:lnTo>
                    <a:lnTo>
                      <a:pt x="173" y="342"/>
                    </a:lnTo>
                    <a:lnTo>
                      <a:pt x="187" y="339"/>
                    </a:lnTo>
                    <a:lnTo>
                      <a:pt x="193" y="334"/>
                    </a:lnTo>
                    <a:lnTo>
                      <a:pt x="194" y="329"/>
                    </a:lnTo>
                    <a:lnTo>
                      <a:pt x="133" y="340"/>
                    </a:lnTo>
                    <a:lnTo>
                      <a:pt x="122" y="345"/>
                    </a:lnTo>
                    <a:lnTo>
                      <a:pt x="111" y="347"/>
                    </a:lnTo>
                    <a:lnTo>
                      <a:pt x="105" y="352"/>
                    </a:lnTo>
                    <a:lnTo>
                      <a:pt x="96" y="352"/>
                    </a:lnTo>
                    <a:lnTo>
                      <a:pt x="91" y="348"/>
                    </a:lnTo>
                    <a:lnTo>
                      <a:pt x="90" y="344"/>
                    </a:lnTo>
                    <a:lnTo>
                      <a:pt x="83" y="343"/>
                    </a:lnTo>
                    <a:lnTo>
                      <a:pt x="79" y="345"/>
                    </a:lnTo>
                    <a:lnTo>
                      <a:pt x="83" y="348"/>
                    </a:lnTo>
                    <a:lnTo>
                      <a:pt x="83" y="354"/>
                    </a:lnTo>
                    <a:lnTo>
                      <a:pt x="68" y="354"/>
                    </a:lnTo>
                    <a:lnTo>
                      <a:pt x="64" y="359"/>
                    </a:lnTo>
                    <a:lnTo>
                      <a:pt x="51" y="360"/>
                    </a:lnTo>
                    <a:lnTo>
                      <a:pt x="45" y="355"/>
                    </a:lnTo>
                    <a:lnTo>
                      <a:pt x="43" y="347"/>
                    </a:lnTo>
                    <a:lnTo>
                      <a:pt x="47" y="338"/>
                    </a:lnTo>
                    <a:lnTo>
                      <a:pt x="53" y="333"/>
                    </a:lnTo>
                    <a:lnTo>
                      <a:pt x="69" y="332"/>
                    </a:lnTo>
                    <a:lnTo>
                      <a:pt x="67" y="310"/>
                    </a:lnTo>
                    <a:lnTo>
                      <a:pt x="53" y="313"/>
                    </a:lnTo>
                    <a:lnTo>
                      <a:pt x="41" y="322"/>
                    </a:lnTo>
                    <a:lnTo>
                      <a:pt x="35" y="320"/>
                    </a:lnTo>
                    <a:lnTo>
                      <a:pt x="33" y="311"/>
                    </a:lnTo>
                    <a:lnTo>
                      <a:pt x="29" y="309"/>
                    </a:lnTo>
                    <a:lnTo>
                      <a:pt x="8" y="313"/>
                    </a:lnTo>
                    <a:lnTo>
                      <a:pt x="6" y="304"/>
                    </a:lnTo>
                    <a:lnTo>
                      <a:pt x="2" y="290"/>
                    </a:lnTo>
                    <a:lnTo>
                      <a:pt x="0" y="273"/>
                    </a:lnTo>
                    <a:lnTo>
                      <a:pt x="6" y="256"/>
                    </a:lnTo>
                    <a:lnTo>
                      <a:pt x="22" y="234"/>
                    </a:lnTo>
                    <a:lnTo>
                      <a:pt x="32" y="218"/>
                    </a:lnTo>
                    <a:lnTo>
                      <a:pt x="52" y="209"/>
                    </a:lnTo>
                    <a:lnTo>
                      <a:pt x="53" y="202"/>
                    </a:lnTo>
                    <a:lnTo>
                      <a:pt x="51" y="194"/>
                    </a:lnTo>
                    <a:lnTo>
                      <a:pt x="48" y="189"/>
                    </a:lnTo>
                    <a:lnTo>
                      <a:pt x="36" y="189"/>
                    </a:lnTo>
                    <a:lnTo>
                      <a:pt x="32" y="182"/>
                    </a:lnTo>
                    <a:lnTo>
                      <a:pt x="31" y="165"/>
                    </a:lnTo>
                    <a:lnTo>
                      <a:pt x="36" y="151"/>
                    </a:lnTo>
                    <a:lnTo>
                      <a:pt x="46" y="135"/>
                    </a:lnTo>
                    <a:lnTo>
                      <a:pt x="85" y="94"/>
                    </a:lnTo>
                    <a:lnTo>
                      <a:pt x="122" y="68"/>
                    </a:lnTo>
                    <a:lnTo>
                      <a:pt x="129" y="59"/>
                    </a:lnTo>
                    <a:lnTo>
                      <a:pt x="142" y="55"/>
                    </a:lnTo>
                    <a:lnTo>
                      <a:pt x="148" y="44"/>
                    </a:lnTo>
                    <a:lnTo>
                      <a:pt x="162" y="42"/>
                    </a:lnTo>
                    <a:lnTo>
                      <a:pt x="194" y="22"/>
                    </a:lnTo>
                    <a:lnTo>
                      <a:pt x="239" y="0"/>
                    </a:lnTo>
                    <a:lnTo>
                      <a:pt x="252" y="3"/>
                    </a:lnTo>
                    <a:lnTo>
                      <a:pt x="255" y="10"/>
                    </a:lnTo>
                    <a:lnTo>
                      <a:pt x="261" y="14"/>
                    </a:lnTo>
                    <a:lnTo>
                      <a:pt x="262" y="21"/>
                    </a:lnTo>
                    <a:lnTo>
                      <a:pt x="269" y="31"/>
                    </a:lnTo>
                    <a:lnTo>
                      <a:pt x="272" y="43"/>
                    </a:lnTo>
                    <a:lnTo>
                      <a:pt x="273" y="71"/>
                    </a:lnTo>
                    <a:lnTo>
                      <a:pt x="272" y="94"/>
                    </a:lnTo>
                    <a:lnTo>
                      <a:pt x="259" y="101"/>
                    </a:lnTo>
                    <a:lnTo>
                      <a:pt x="255" y="111"/>
                    </a:lnTo>
                    <a:lnTo>
                      <a:pt x="253" y="117"/>
                    </a:lnTo>
                    <a:lnTo>
                      <a:pt x="255" y="121"/>
                    </a:lnTo>
                    <a:lnTo>
                      <a:pt x="252" y="127"/>
                    </a:lnTo>
                    <a:lnTo>
                      <a:pt x="239" y="133"/>
                    </a:lnTo>
                    <a:lnTo>
                      <a:pt x="237" y="138"/>
                    </a:lnTo>
                    <a:lnTo>
                      <a:pt x="244" y="146"/>
                    </a:lnTo>
                    <a:lnTo>
                      <a:pt x="268" y="126"/>
                    </a:lnTo>
                    <a:lnTo>
                      <a:pt x="274" y="126"/>
                    </a:lnTo>
                    <a:lnTo>
                      <a:pt x="277" y="135"/>
                    </a:lnTo>
                    <a:lnTo>
                      <a:pt x="295" y="127"/>
                    </a:lnTo>
                    <a:lnTo>
                      <a:pt x="300" y="113"/>
                    </a:lnTo>
                    <a:lnTo>
                      <a:pt x="294" y="110"/>
                    </a:lnTo>
                    <a:lnTo>
                      <a:pt x="294" y="97"/>
                    </a:lnTo>
                    <a:lnTo>
                      <a:pt x="300" y="81"/>
                    </a:lnTo>
                    <a:lnTo>
                      <a:pt x="309" y="76"/>
                    </a:lnTo>
                    <a:lnTo>
                      <a:pt x="310" y="69"/>
                    </a:lnTo>
                    <a:lnTo>
                      <a:pt x="315" y="64"/>
                    </a:lnTo>
                    <a:lnTo>
                      <a:pt x="329" y="62"/>
                    </a:lnTo>
                    <a:lnTo>
                      <a:pt x="355" y="80"/>
                    </a:lnTo>
                    <a:lnTo>
                      <a:pt x="388" y="91"/>
                    </a:lnTo>
                    <a:lnTo>
                      <a:pt x="396" y="101"/>
                    </a:lnTo>
                    <a:lnTo>
                      <a:pt x="406" y="106"/>
                    </a:lnTo>
                    <a:lnTo>
                      <a:pt x="415" y="113"/>
                    </a:lnTo>
                    <a:lnTo>
                      <a:pt x="424" y="128"/>
                    </a:lnTo>
                    <a:lnTo>
                      <a:pt x="427" y="145"/>
                    </a:lnTo>
                    <a:lnTo>
                      <a:pt x="408" y="171"/>
                    </a:lnTo>
                    <a:lnTo>
                      <a:pt x="388" y="189"/>
                    </a:lnTo>
                    <a:lnTo>
                      <a:pt x="388" y="192"/>
                    </a:lnTo>
                    <a:lnTo>
                      <a:pt x="406" y="188"/>
                    </a:lnTo>
                    <a:lnTo>
                      <a:pt x="415" y="173"/>
                    </a:lnTo>
                    <a:lnTo>
                      <a:pt x="427" y="166"/>
                    </a:lnTo>
                    <a:lnTo>
                      <a:pt x="425" y="173"/>
                    </a:lnTo>
                    <a:lnTo>
                      <a:pt x="420" y="187"/>
                    </a:lnTo>
                    <a:lnTo>
                      <a:pt x="433" y="192"/>
                    </a:lnTo>
                    <a:lnTo>
                      <a:pt x="435" y="187"/>
                    </a:lnTo>
                    <a:lnTo>
                      <a:pt x="439" y="167"/>
                    </a:lnTo>
                    <a:lnTo>
                      <a:pt x="440" y="161"/>
                    </a:lnTo>
                    <a:lnTo>
                      <a:pt x="446" y="157"/>
                    </a:lnTo>
                    <a:lnTo>
                      <a:pt x="454" y="148"/>
                    </a:lnTo>
                    <a:lnTo>
                      <a:pt x="465" y="150"/>
                    </a:lnTo>
                    <a:lnTo>
                      <a:pt x="472" y="146"/>
                    </a:lnTo>
                    <a:lnTo>
                      <a:pt x="486" y="164"/>
                    </a:lnTo>
                    <a:lnTo>
                      <a:pt x="488" y="157"/>
                    </a:lnTo>
                    <a:lnTo>
                      <a:pt x="486" y="148"/>
                    </a:lnTo>
                    <a:lnTo>
                      <a:pt x="483" y="145"/>
                    </a:lnTo>
                    <a:lnTo>
                      <a:pt x="486" y="144"/>
                    </a:lnTo>
                    <a:lnTo>
                      <a:pt x="494" y="151"/>
                    </a:lnTo>
                    <a:lnTo>
                      <a:pt x="499" y="148"/>
                    </a:lnTo>
                    <a:lnTo>
                      <a:pt x="497" y="138"/>
                    </a:lnTo>
                    <a:lnTo>
                      <a:pt x="484" y="129"/>
                    </a:lnTo>
                    <a:lnTo>
                      <a:pt x="484" y="123"/>
                    </a:lnTo>
                    <a:lnTo>
                      <a:pt x="486" y="122"/>
                    </a:lnTo>
                    <a:lnTo>
                      <a:pt x="498" y="132"/>
                    </a:lnTo>
                    <a:lnTo>
                      <a:pt x="503" y="123"/>
                    </a:lnTo>
                    <a:lnTo>
                      <a:pt x="488" y="103"/>
                    </a:lnTo>
                    <a:lnTo>
                      <a:pt x="481" y="100"/>
                    </a:lnTo>
                    <a:lnTo>
                      <a:pt x="473" y="90"/>
                    </a:lnTo>
                    <a:lnTo>
                      <a:pt x="470" y="78"/>
                    </a:lnTo>
                    <a:lnTo>
                      <a:pt x="468" y="68"/>
                    </a:lnTo>
                    <a:lnTo>
                      <a:pt x="477" y="67"/>
                    </a:lnTo>
                    <a:lnTo>
                      <a:pt x="494" y="71"/>
                    </a:lnTo>
                    <a:lnTo>
                      <a:pt x="504" y="76"/>
                    </a:lnTo>
                    <a:lnTo>
                      <a:pt x="508" y="87"/>
                    </a:lnTo>
                    <a:lnTo>
                      <a:pt x="519" y="86"/>
                    </a:lnTo>
                    <a:lnTo>
                      <a:pt x="519" y="92"/>
                    </a:lnTo>
                    <a:lnTo>
                      <a:pt x="526" y="108"/>
                    </a:lnTo>
                    <a:lnTo>
                      <a:pt x="533" y="113"/>
                    </a:lnTo>
                    <a:lnTo>
                      <a:pt x="540" y="111"/>
                    </a:lnTo>
                    <a:lnTo>
                      <a:pt x="546" y="117"/>
                    </a:lnTo>
                    <a:lnTo>
                      <a:pt x="546" y="121"/>
                    </a:lnTo>
                    <a:lnTo>
                      <a:pt x="554" y="127"/>
                    </a:lnTo>
                    <a:lnTo>
                      <a:pt x="553" y="133"/>
                    </a:lnTo>
                    <a:lnTo>
                      <a:pt x="551" y="135"/>
                    </a:lnTo>
                    <a:lnTo>
                      <a:pt x="560" y="139"/>
                    </a:lnTo>
                    <a:lnTo>
                      <a:pt x="568" y="155"/>
                    </a:lnTo>
                    <a:lnTo>
                      <a:pt x="567" y="186"/>
                    </a:lnTo>
                    <a:lnTo>
                      <a:pt x="568" y="197"/>
                    </a:lnTo>
                    <a:lnTo>
                      <a:pt x="570" y="205"/>
                    </a:lnTo>
                    <a:lnTo>
                      <a:pt x="575" y="214"/>
                    </a:lnTo>
                    <a:lnTo>
                      <a:pt x="578" y="243"/>
                    </a:lnTo>
                    <a:lnTo>
                      <a:pt x="592" y="258"/>
                    </a:lnTo>
                    <a:lnTo>
                      <a:pt x="585" y="273"/>
                    </a:lnTo>
                    <a:lnTo>
                      <a:pt x="585" y="295"/>
                    </a:lnTo>
                    <a:lnTo>
                      <a:pt x="591" y="296"/>
                    </a:lnTo>
                    <a:lnTo>
                      <a:pt x="600" y="311"/>
                    </a:lnTo>
                    <a:lnTo>
                      <a:pt x="606" y="310"/>
                    </a:lnTo>
                    <a:lnTo>
                      <a:pt x="608" y="301"/>
                    </a:lnTo>
                    <a:lnTo>
                      <a:pt x="616" y="297"/>
                    </a:lnTo>
                    <a:lnTo>
                      <a:pt x="622" y="295"/>
                    </a:lnTo>
                    <a:lnTo>
                      <a:pt x="629" y="285"/>
                    </a:lnTo>
                    <a:lnTo>
                      <a:pt x="630" y="274"/>
                    </a:lnTo>
                    <a:lnTo>
                      <a:pt x="639" y="270"/>
                    </a:lnTo>
                    <a:lnTo>
                      <a:pt x="639" y="264"/>
                    </a:lnTo>
                    <a:lnTo>
                      <a:pt x="627" y="247"/>
                    </a:lnTo>
                    <a:lnTo>
                      <a:pt x="624" y="236"/>
                    </a:lnTo>
                    <a:lnTo>
                      <a:pt x="624" y="225"/>
                    </a:lnTo>
                    <a:lnTo>
                      <a:pt x="619" y="220"/>
                    </a:lnTo>
                    <a:lnTo>
                      <a:pt x="617" y="203"/>
                    </a:lnTo>
                    <a:lnTo>
                      <a:pt x="614" y="187"/>
                    </a:lnTo>
                    <a:lnTo>
                      <a:pt x="618" y="186"/>
                    </a:lnTo>
                    <a:lnTo>
                      <a:pt x="617" y="177"/>
                    </a:lnTo>
                    <a:lnTo>
                      <a:pt x="617" y="166"/>
                    </a:lnTo>
                    <a:lnTo>
                      <a:pt x="613" y="160"/>
                    </a:lnTo>
                    <a:lnTo>
                      <a:pt x="612" y="139"/>
                    </a:lnTo>
                    <a:lnTo>
                      <a:pt x="610" y="121"/>
                    </a:lnTo>
                    <a:lnTo>
                      <a:pt x="605" y="103"/>
                    </a:lnTo>
                    <a:lnTo>
                      <a:pt x="597" y="68"/>
                    </a:lnTo>
                    <a:lnTo>
                      <a:pt x="595" y="62"/>
                    </a:lnTo>
                    <a:lnTo>
                      <a:pt x="599" y="62"/>
                    </a:lnTo>
                    <a:lnTo>
                      <a:pt x="600" y="49"/>
                    </a:lnTo>
                    <a:lnTo>
                      <a:pt x="596" y="49"/>
                    </a:lnTo>
                    <a:lnTo>
                      <a:pt x="592" y="38"/>
                    </a:lnTo>
                    <a:lnTo>
                      <a:pt x="596" y="33"/>
                    </a:lnTo>
                    <a:lnTo>
                      <a:pt x="606" y="33"/>
                    </a:lnTo>
                    <a:lnTo>
                      <a:pt x="608" y="27"/>
                    </a:lnTo>
                    <a:lnTo>
                      <a:pt x="597" y="16"/>
                    </a:lnTo>
                    <a:lnTo>
                      <a:pt x="599" y="8"/>
                    </a:lnTo>
                    <a:lnTo>
                      <a:pt x="602" y="8"/>
                    </a:lnTo>
                    <a:lnTo>
                      <a:pt x="602" y="3"/>
                    </a:lnTo>
                    <a:lnTo>
                      <a:pt x="608" y="3"/>
                    </a:lnTo>
                    <a:lnTo>
                      <a:pt x="630" y="9"/>
                    </a:lnTo>
                    <a:lnTo>
                      <a:pt x="632" y="15"/>
                    </a:lnTo>
                    <a:lnTo>
                      <a:pt x="650" y="33"/>
                    </a:lnTo>
                    <a:lnTo>
                      <a:pt x="665" y="40"/>
                    </a:lnTo>
                    <a:lnTo>
                      <a:pt x="667" y="37"/>
                    </a:lnTo>
                    <a:lnTo>
                      <a:pt x="669" y="31"/>
                    </a:lnTo>
                    <a:lnTo>
                      <a:pt x="662" y="28"/>
                    </a:lnTo>
                    <a:lnTo>
                      <a:pt x="661" y="21"/>
                    </a:lnTo>
                    <a:lnTo>
                      <a:pt x="661" y="15"/>
                    </a:lnTo>
                    <a:lnTo>
                      <a:pt x="666" y="14"/>
                    </a:lnTo>
                    <a:lnTo>
                      <a:pt x="676" y="19"/>
                    </a:lnTo>
                    <a:lnTo>
                      <a:pt x="678" y="25"/>
                    </a:lnTo>
                    <a:lnTo>
                      <a:pt x="687" y="28"/>
                    </a:lnTo>
                    <a:lnTo>
                      <a:pt x="691" y="44"/>
                    </a:lnTo>
                    <a:lnTo>
                      <a:pt x="696" y="52"/>
                    </a:lnTo>
                    <a:lnTo>
                      <a:pt x="720" y="67"/>
                    </a:lnTo>
                    <a:lnTo>
                      <a:pt x="720" y="74"/>
                    </a:lnTo>
                    <a:lnTo>
                      <a:pt x="734" y="81"/>
                    </a:lnTo>
                    <a:lnTo>
                      <a:pt x="741" y="91"/>
                    </a:lnTo>
                    <a:lnTo>
                      <a:pt x="742" y="96"/>
                    </a:lnTo>
                    <a:lnTo>
                      <a:pt x="750" y="102"/>
                    </a:lnTo>
                    <a:lnTo>
                      <a:pt x="751" y="110"/>
                    </a:lnTo>
                    <a:lnTo>
                      <a:pt x="745" y="123"/>
                    </a:lnTo>
                    <a:lnTo>
                      <a:pt x="751" y="123"/>
                    </a:lnTo>
                    <a:lnTo>
                      <a:pt x="756" y="140"/>
                    </a:lnTo>
                    <a:lnTo>
                      <a:pt x="756" y="151"/>
                    </a:lnTo>
                    <a:lnTo>
                      <a:pt x="755" y="156"/>
                    </a:lnTo>
                    <a:lnTo>
                      <a:pt x="758" y="166"/>
                    </a:lnTo>
                    <a:lnTo>
                      <a:pt x="759" y="177"/>
                    </a:lnTo>
                    <a:lnTo>
                      <a:pt x="766" y="200"/>
                    </a:lnTo>
                    <a:lnTo>
                      <a:pt x="768" y="246"/>
                    </a:lnTo>
                    <a:lnTo>
                      <a:pt x="771" y="250"/>
                    </a:lnTo>
                    <a:lnTo>
                      <a:pt x="775" y="273"/>
                    </a:lnTo>
                    <a:lnTo>
                      <a:pt x="791" y="294"/>
                    </a:lnTo>
                    <a:lnTo>
                      <a:pt x="799" y="306"/>
                    </a:lnTo>
                    <a:lnTo>
                      <a:pt x="804" y="322"/>
                    </a:lnTo>
                    <a:lnTo>
                      <a:pt x="802" y="329"/>
                    </a:lnTo>
                    <a:lnTo>
                      <a:pt x="805" y="336"/>
                    </a:lnTo>
                    <a:lnTo>
                      <a:pt x="806" y="353"/>
                    </a:lnTo>
                    <a:lnTo>
                      <a:pt x="804" y="353"/>
                    </a:lnTo>
                    <a:lnTo>
                      <a:pt x="796" y="358"/>
                    </a:lnTo>
                    <a:lnTo>
                      <a:pt x="798" y="383"/>
                    </a:lnTo>
                    <a:lnTo>
                      <a:pt x="794" y="396"/>
                    </a:lnTo>
                    <a:lnTo>
                      <a:pt x="798" y="409"/>
                    </a:lnTo>
                    <a:lnTo>
                      <a:pt x="812" y="419"/>
                    </a:lnTo>
                    <a:lnTo>
                      <a:pt x="815" y="428"/>
                    </a:lnTo>
                    <a:lnTo>
                      <a:pt x="829" y="455"/>
                    </a:lnTo>
                    <a:lnTo>
                      <a:pt x="847" y="460"/>
                    </a:lnTo>
                    <a:lnTo>
                      <a:pt x="854" y="479"/>
                    </a:lnTo>
                    <a:lnTo>
                      <a:pt x="860" y="483"/>
                    </a:lnTo>
                    <a:lnTo>
                      <a:pt x="870" y="484"/>
                    </a:lnTo>
                    <a:lnTo>
                      <a:pt x="876" y="492"/>
                    </a:lnTo>
                    <a:lnTo>
                      <a:pt x="881" y="487"/>
                    </a:lnTo>
                    <a:lnTo>
                      <a:pt x="881" y="478"/>
                    </a:lnTo>
                    <a:lnTo>
                      <a:pt x="885" y="476"/>
                    </a:lnTo>
                    <a:lnTo>
                      <a:pt x="896" y="480"/>
                    </a:lnTo>
                    <a:lnTo>
                      <a:pt x="901" y="485"/>
                    </a:lnTo>
                    <a:lnTo>
                      <a:pt x="898" y="494"/>
                    </a:lnTo>
                    <a:lnTo>
                      <a:pt x="938" y="531"/>
                    </a:lnTo>
                    <a:lnTo>
                      <a:pt x="946" y="536"/>
                    </a:lnTo>
                    <a:lnTo>
                      <a:pt x="958" y="536"/>
                    </a:lnTo>
                    <a:lnTo>
                      <a:pt x="963" y="543"/>
                    </a:lnTo>
                    <a:lnTo>
                      <a:pt x="962" y="552"/>
                    </a:lnTo>
                    <a:lnTo>
                      <a:pt x="963" y="560"/>
                    </a:lnTo>
                    <a:lnTo>
                      <a:pt x="972" y="562"/>
                    </a:lnTo>
                    <a:lnTo>
                      <a:pt x="978" y="558"/>
                    </a:lnTo>
                    <a:lnTo>
                      <a:pt x="981" y="562"/>
                    </a:lnTo>
                    <a:lnTo>
                      <a:pt x="989" y="558"/>
                    </a:lnTo>
                    <a:lnTo>
                      <a:pt x="994" y="560"/>
                    </a:lnTo>
                    <a:lnTo>
                      <a:pt x="999" y="584"/>
                    </a:lnTo>
                    <a:lnTo>
                      <a:pt x="994" y="596"/>
                    </a:lnTo>
                    <a:lnTo>
                      <a:pt x="997" y="622"/>
                    </a:lnTo>
                    <a:lnTo>
                      <a:pt x="992" y="635"/>
                    </a:lnTo>
                    <a:lnTo>
                      <a:pt x="984" y="638"/>
                    </a:lnTo>
                    <a:lnTo>
                      <a:pt x="977" y="635"/>
                    </a:lnTo>
                    <a:lnTo>
                      <a:pt x="967" y="617"/>
                    </a:lnTo>
                    <a:lnTo>
                      <a:pt x="967" y="595"/>
                    </a:lnTo>
                    <a:lnTo>
                      <a:pt x="961" y="616"/>
                    </a:lnTo>
                    <a:lnTo>
                      <a:pt x="958" y="635"/>
                    </a:lnTo>
                    <a:lnTo>
                      <a:pt x="956" y="640"/>
                    </a:lnTo>
                    <a:lnTo>
                      <a:pt x="952" y="629"/>
                    </a:lnTo>
                    <a:lnTo>
                      <a:pt x="946" y="627"/>
                    </a:lnTo>
                    <a:lnTo>
                      <a:pt x="944" y="633"/>
                    </a:lnTo>
                    <a:lnTo>
                      <a:pt x="938" y="623"/>
                    </a:lnTo>
                    <a:lnTo>
                      <a:pt x="934" y="611"/>
                    </a:lnTo>
                    <a:lnTo>
                      <a:pt x="934" y="597"/>
                    </a:lnTo>
                    <a:lnTo>
                      <a:pt x="931" y="605"/>
                    </a:lnTo>
                    <a:lnTo>
                      <a:pt x="925" y="606"/>
                    </a:lnTo>
                    <a:lnTo>
                      <a:pt x="924" y="602"/>
                    </a:lnTo>
                    <a:lnTo>
                      <a:pt x="918" y="617"/>
                    </a:lnTo>
                    <a:lnTo>
                      <a:pt x="914" y="617"/>
                    </a:lnTo>
                    <a:lnTo>
                      <a:pt x="902" y="624"/>
                    </a:lnTo>
                    <a:lnTo>
                      <a:pt x="902" y="632"/>
                    </a:lnTo>
                    <a:lnTo>
                      <a:pt x="906" y="632"/>
                    </a:lnTo>
                    <a:lnTo>
                      <a:pt x="907" y="656"/>
                    </a:lnTo>
                    <a:lnTo>
                      <a:pt x="899" y="657"/>
                    </a:lnTo>
                    <a:lnTo>
                      <a:pt x="895" y="652"/>
                    </a:lnTo>
                    <a:lnTo>
                      <a:pt x="881" y="651"/>
                    </a:lnTo>
                    <a:lnTo>
                      <a:pt x="874" y="654"/>
                    </a:lnTo>
                    <a:lnTo>
                      <a:pt x="872" y="657"/>
                    </a:lnTo>
                    <a:lnTo>
                      <a:pt x="879" y="670"/>
                    </a:lnTo>
                    <a:lnTo>
                      <a:pt x="880" y="677"/>
                    </a:lnTo>
                    <a:lnTo>
                      <a:pt x="877" y="694"/>
                    </a:lnTo>
                    <a:lnTo>
                      <a:pt x="879" y="700"/>
                    </a:lnTo>
                    <a:lnTo>
                      <a:pt x="888" y="681"/>
                    </a:lnTo>
                    <a:lnTo>
                      <a:pt x="902" y="672"/>
                    </a:lnTo>
                    <a:lnTo>
                      <a:pt x="906" y="663"/>
                    </a:lnTo>
                    <a:lnTo>
                      <a:pt x="929" y="662"/>
                    </a:lnTo>
                    <a:lnTo>
                      <a:pt x="931" y="668"/>
                    </a:lnTo>
                    <a:lnTo>
                      <a:pt x="940" y="671"/>
                    </a:lnTo>
                    <a:lnTo>
                      <a:pt x="936" y="677"/>
                    </a:lnTo>
                    <a:lnTo>
                      <a:pt x="935" y="684"/>
                    </a:lnTo>
                    <a:lnTo>
                      <a:pt x="929" y="691"/>
                    </a:lnTo>
                    <a:lnTo>
                      <a:pt x="930" y="695"/>
                    </a:lnTo>
                    <a:lnTo>
                      <a:pt x="925" y="694"/>
                    </a:lnTo>
                    <a:lnTo>
                      <a:pt x="923" y="700"/>
                    </a:lnTo>
                    <a:lnTo>
                      <a:pt x="927" y="710"/>
                    </a:lnTo>
                    <a:lnTo>
                      <a:pt x="933" y="711"/>
                    </a:lnTo>
                    <a:lnTo>
                      <a:pt x="935" y="700"/>
                    </a:lnTo>
                    <a:lnTo>
                      <a:pt x="947" y="706"/>
                    </a:lnTo>
                    <a:lnTo>
                      <a:pt x="958" y="708"/>
                    </a:lnTo>
                    <a:lnTo>
                      <a:pt x="961" y="719"/>
                    </a:lnTo>
                    <a:lnTo>
                      <a:pt x="960" y="727"/>
                    </a:lnTo>
                    <a:lnTo>
                      <a:pt x="954" y="729"/>
                    </a:lnTo>
                    <a:lnTo>
                      <a:pt x="951" y="726"/>
                    </a:lnTo>
                    <a:lnTo>
                      <a:pt x="949" y="734"/>
                    </a:lnTo>
                    <a:lnTo>
                      <a:pt x="944" y="740"/>
                    </a:lnTo>
                    <a:lnTo>
                      <a:pt x="944" y="745"/>
                    </a:lnTo>
                    <a:lnTo>
                      <a:pt x="936" y="743"/>
                    </a:lnTo>
                    <a:lnTo>
                      <a:pt x="917" y="751"/>
                    </a:lnTo>
                    <a:lnTo>
                      <a:pt x="914" y="761"/>
                    </a:lnTo>
                    <a:lnTo>
                      <a:pt x="901" y="761"/>
                    </a:lnTo>
                    <a:lnTo>
                      <a:pt x="895" y="757"/>
                    </a:lnTo>
                    <a:lnTo>
                      <a:pt x="893" y="767"/>
                    </a:lnTo>
                    <a:lnTo>
                      <a:pt x="887" y="770"/>
                    </a:lnTo>
                    <a:lnTo>
                      <a:pt x="885" y="774"/>
                    </a:lnTo>
                    <a:lnTo>
                      <a:pt x="876" y="769"/>
                    </a:lnTo>
                    <a:lnTo>
                      <a:pt x="861" y="775"/>
                    </a:lnTo>
                    <a:lnTo>
                      <a:pt x="836" y="769"/>
                    </a:lnTo>
                    <a:lnTo>
                      <a:pt x="831" y="761"/>
                    </a:lnTo>
                    <a:lnTo>
                      <a:pt x="814" y="756"/>
                    </a:lnTo>
                    <a:lnTo>
                      <a:pt x="809" y="749"/>
                    </a:lnTo>
                    <a:lnTo>
                      <a:pt x="800" y="749"/>
                    </a:lnTo>
                    <a:lnTo>
                      <a:pt x="795" y="758"/>
                    </a:lnTo>
                    <a:lnTo>
                      <a:pt x="771" y="754"/>
                    </a:lnTo>
                    <a:lnTo>
                      <a:pt x="758" y="749"/>
                    </a:lnTo>
                    <a:lnTo>
                      <a:pt x="757" y="742"/>
                    </a:lnTo>
                    <a:lnTo>
                      <a:pt x="773" y="726"/>
                    </a:lnTo>
                    <a:lnTo>
                      <a:pt x="768" y="720"/>
                    </a:lnTo>
                    <a:lnTo>
                      <a:pt x="758" y="724"/>
                    </a:lnTo>
                    <a:lnTo>
                      <a:pt x="742" y="722"/>
                    </a:lnTo>
                    <a:lnTo>
                      <a:pt x="740" y="715"/>
                    </a:lnTo>
                    <a:lnTo>
                      <a:pt x="726" y="711"/>
                    </a:lnTo>
                    <a:lnTo>
                      <a:pt x="721" y="714"/>
                    </a:lnTo>
                    <a:lnTo>
                      <a:pt x="697" y="710"/>
                    </a:lnTo>
                    <a:lnTo>
                      <a:pt x="696" y="700"/>
                    </a:lnTo>
                    <a:lnTo>
                      <a:pt x="699" y="693"/>
                    </a:lnTo>
                    <a:lnTo>
                      <a:pt x="697" y="677"/>
                    </a:lnTo>
                    <a:lnTo>
                      <a:pt x="693" y="666"/>
                    </a:lnTo>
                    <a:lnTo>
                      <a:pt x="682" y="662"/>
                    </a:lnTo>
                    <a:lnTo>
                      <a:pt x="678" y="670"/>
                    </a:lnTo>
                    <a:lnTo>
                      <a:pt x="673" y="678"/>
                    </a:lnTo>
                    <a:lnTo>
                      <a:pt x="660" y="684"/>
                    </a:lnTo>
                    <a:lnTo>
                      <a:pt x="665" y="702"/>
                    </a:lnTo>
                    <a:lnTo>
                      <a:pt x="665" y="710"/>
                    </a:lnTo>
                    <a:lnTo>
                      <a:pt x="655" y="718"/>
                    </a:lnTo>
                    <a:lnTo>
                      <a:pt x="639" y="741"/>
                    </a:lnTo>
                    <a:lnTo>
                      <a:pt x="612" y="748"/>
                    </a:lnTo>
                    <a:lnTo>
                      <a:pt x="572" y="748"/>
                    </a:lnTo>
                    <a:lnTo>
                      <a:pt x="578" y="753"/>
                    </a:lnTo>
                    <a:lnTo>
                      <a:pt x="567" y="770"/>
                    </a:lnTo>
                    <a:lnTo>
                      <a:pt x="552" y="781"/>
                    </a:lnTo>
                    <a:lnTo>
                      <a:pt x="535" y="788"/>
                    </a:lnTo>
                    <a:lnTo>
                      <a:pt x="521" y="796"/>
                    </a:lnTo>
                    <a:lnTo>
                      <a:pt x="503" y="799"/>
                    </a:lnTo>
                    <a:lnTo>
                      <a:pt x="495" y="795"/>
                    </a:lnTo>
                    <a:lnTo>
                      <a:pt x="482" y="801"/>
                    </a:lnTo>
                    <a:lnTo>
                      <a:pt x="467" y="797"/>
                    </a:lnTo>
                    <a:lnTo>
                      <a:pt x="460" y="802"/>
                    </a:lnTo>
                    <a:lnTo>
                      <a:pt x="455" y="796"/>
                    </a:lnTo>
                    <a:lnTo>
                      <a:pt x="440" y="802"/>
                    </a:lnTo>
                    <a:lnTo>
                      <a:pt x="425" y="805"/>
                    </a:lnTo>
                    <a:lnTo>
                      <a:pt x="423" y="807"/>
                    </a:lnTo>
                    <a:lnTo>
                      <a:pt x="430" y="807"/>
                    </a:lnTo>
                    <a:lnTo>
                      <a:pt x="429" y="812"/>
                    </a:lnTo>
                    <a:lnTo>
                      <a:pt x="415" y="812"/>
                    </a:lnTo>
                    <a:lnTo>
                      <a:pt x="393" y="818"/>
                    </a:lnTo>
                    <a:lnTo>
                      <a:pt x="387" y="815"/>
                    </a:lnTo>
                    <a:lnTo>
                      <a:pt x="369" y="815"/>
                    </a:lnTo>
                    <a:lnTo>
                      <a:pt x="320" y="819"/>
                    </a:lnTo>
                    <a:lnTo>
                      <a:pt x="321" y="816"/>
                    </a:lnTo>
                    <a:lnTo>
                      <a:pt x="332" y="807"/>
                    </a:lnTo>
                    <a:lnTo>
                      <a:pt x="314" y="796"/>
                    </a:lnTo>
                    <a:lnTo>
                      <a:pt x="305" y="783"/>
                    </a:lnTo>
                    <a:lnTo>
                      <a:pt x="301" y="770"/>
                    </a:lnTo>
                    <a:lnTo>
                      <a:pt x="296" y="758"/>
                    </a:lnTo>
                    <a:lnTo>
                      <a:pt x="296" y="743"/>
                    </a:lnTo>
                    <a:lnTo>
                      <a:pt x="300" y="732"/>
                    </a:lnTo>
                    <a:lnTo>
                      <a:pt x="300" y="729"/>
                    </a:lnTo>
                    <a:lnTo>
                      <a:pt x="291" y="724"/>
                    </a:lnTo>
                    <a:lnTo>
                      <a:pt x="290" y="719"/>
                    </a:lnTo>
                    <a:lnTo>
                      <a:pt x="287" y="713"/>
                    </a:lnTo>
                    <a:lnTo>
                      <a:pt x="277" y="706"/>
                    </a:lnTo>
                    <a:lnTo>
                      <a:pt x="277" y="702"/>
                    </a:lnTo>
                    <a:lnTo>
                      <a:pt x="259" y="697"/>
                    </a:lnTo>
                    <a:lnTo>
                      <a:pt x="230" y="6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28" name="Freeform 290"/>
              <p:cNvSpPr>
                <a:spLocks noChangeAspect="1"/>
              </p:cNvSpPr>
              <p:nvPr/>
            </p:nvSpPr>
            <p:spPr bwMode="gray">
              <a:xfrm>
                <a:off x="1342" y="1267"/>
                <a:ext cx="27" cy="34"/>
              </a:xfrm>
              <a:custGeom>
                <a:avLst/>
                <a:gdLst/>
                <a:ahLst/>
                <a:cxnLst>
                  <a:cxn ang="0">
                    <a:pos x="114" y="130"/>
                  </a:cxn>
                  <a:cxn ang="0">
                    <a:pos x="114" y="121"/>
                  </a:cxn>
                  <a:cxn ang="0">
                    <a:pos x="118" y="111"/>
                  </a:cxn>
                  <a:cxn ang="0">
                    <a:pos x="127" y="95"/>
                  </a:cxn>
                  <a:cxn ang="0">
                    <a:pos x="132" y="76"/>
                  </a:cxn>
                  <a:cxn ang="0">
                    <a:pos x="135" y="59"/>
                  </a:cxn>
                  <a:cxn ang="0">
                    <a:pos x="135" y="46"/>
                  </a:cxn>
                  <a:cxn ang="0">
                    <a:pos x="137" y="39"/>
                  </a:cxn>
                  <a:cxn ang="0">
                    <a:pos x="134" y="29"/>
                  </a:cxn>
                  <a:cxn ang="0">
                    <a:pos x="126" y="28"/>
                  </a:cxn>
                  <a:cxn ang="0">
                    <a:pos x="120" y="16"/>
                  </a:cxn>
                  <a:cxn ang="0">
                    <a:pos x="99" y="2"/>
                  </a:cxn>
                  <a:cxn ang="0">
                    <a:pos x="88" y="0"/>
                  </a:cxn>
                  <a:cxn ang="0">
                    <a:pos x="69" y="6"/>
                  </a:cxn>
                  <a:cxn ang="0">
                    <a:pos x="34" y="6"/>
                  </a:cxn>
                  <a:cxn ang="0">
                    <a:pos x="23" y="12"/>
                  </a:cxn>
                  <a:cxn ang="0">
                    <a:pos x="13" y="32"/>
                  </a:cxn>
                  <a:cxn ang="0">
                    <a:pos x="2" y="48"/>
                  </a:cxn>
                  <a:cxn ang="0">
                    <a:pos x="0" y="57"/>
                  </a:cxn>
                  <a:cxn ang="0">
                    <a:pos x="26" y="71"/>
                  </a:cxn>
                  <a:cxn ang="0">
                    <a:pos x="32" y="81"/>
                  </a:cxn>
                  <a:cxn ang="0">
                    <a:pos x="44" y="92"/>
                  </a:cxn>
                  <a:cxn ang="0">
                    <a:pos x="54" y="109"/>
                  </a:cxn>
                  <a:cxn ang="0">
                    <a:pos x="60" y="115"/>
                  </a:cxn>
                  <a:cxn ang="0">
                    <a:pos x="71" y="132"/>
                  </a:cxn>
                  <a:cxn ang="0">
                    <a:pos x="72" y="141"/>
                  </a:cxn>
                  <a:cxn ang="0">
                    <a:pos x="93" y="167"/>
                  </a:cxn>
                  <a:cxn ang="0">
                    <a:pos x="96" y="163"/>
                  </a:cxn>
                  <a:cxn ang="0">
                    <a:pos x="96" y="158"/>
                  </a:cxn>
                  <a:cxn ang="0">
                    <a:pos x="100" y="158"/>
                  </a:cxn>
                  <a:cxn ang="0">
                    <a:pos x="110" y="145"/>
                  </a:cxn>
                  <a:cxn ang="0">
                    <a:pos x="114" y="136"/>
                  </a:cxn>
                  <a:cxn ang="0">
                    <a:pos x="114" y="130"/>
                  </a:cxn>
                </a:cxnLst>
                <a:rect l="0" t="0" r="r" b="b"/>
                <a:pathLst>
                  <a:path w="137" h="167">
                    <a:moveTo>
                      <a:pt x="114" y="130"/>
                    </a:moveTo>
                    <a:lnTo>
                      <a:pt x="114" y="121"/>
                    </a:lnTo>
                    <a:lnTo>
                      <a:pt x="118" y="111"/>
                    </a:lnTo>
                    <a:lnTo>
                      <a:pt x="127" y="95"/>
                    </a:lnTo>
                    <a:lnTo>
                      <a:pt x="132" y="76"/>
                    </a:lnTo>
                    <a:lnTo>
                      <a:pt x="135" y="59"/>
                    </a:lnTo>
                    <a:lnTo>
                      <a:pt x="135" y="46"/>
                    </a:lnTo>
                    <a:lnTo>
                      <a:pt x="137" y="39"/>
                    </a:lnTo>
                    <a:lnTo>
                      <a:pt x="134" y="29"/>
                    </a:lnTo>
                    <a:lnTo>
                      <a:pt x="126" y="28"/>
                    </a:lnTo>
                    <a:lnTo>
                      <a:pt x="120" y="16"/>
                    </a:lnTo>
                    <a:lnTo>
                      <a:pt x="99" y="2"/>
                    </a:lnTo>
                    <a:lnTo>
                      <a:pt x="88" y="0"/>
                    </a:lnTo>
                    <a:lnTo>
                      <a:pt x="69" y="6"/>
                    </a:lnTo>
                    <a:lnTo>
                      <a:pt x="34" y="6"/>
                    </a:lnTo>
                    <a:lnTo>
                      <a:pt x="23" y="12"/>
                    </a:lnTo>
                    <a:lnTo>
                      <a:pt x="13" y="32"/>
                    </a:lnTo>
                    <a:lnTo>
                      <a:pt x="2" y="48"/>
                    </a:lnTo>
                    <a:lnTo>
                      <a:pt x="0" y="57"/>
                    </a:lnTo>
                    <a:lnTo>
                      <a:pt x="26" y="71"/>
                    </a:lnTo>
                    <a:lnTo>
                      <a:pt x="32" y="81"/>
                    </a:lnTo>
                    <a:lnTo>
                      <a:pt x="44" y="92"/>
                    </a:lnTo>
                    <a:lnTo>
                      <a:pt x="54" y="109"/>
                    </a:lnTo>
                    <a:lnTo>
                      <a:pt x="60" y="115"/>
                    </a:lnTo>
                    <a:lnTo>
                      <a:pt x="71" y="132"/>
                    </a:lnTo>
                    <a:lnTo>
                      <a:pt x="72" y="141"/>
                    </a:lnTo>
                    <a:lnTo>
                      <a:pt x="93" y="167"/>
                    </a:lnTo>
                    <a:lnTo>
                      <a:pt x="96" y="163"/>
                    </a:lnTo>
                    <a:lnTo>
                      <a:pt x="96" y="158"/>
                    </a:lnTo>
                    <a:lnTo>
                      <a:pt x="100" y="158"/>
                    </a:lnTo>
                    <a:lnTo>
                      <a:pt x="110" y="145"/>
                    </a:lnTo>
                    <a:lnTo>
                      <a:pt x="114" y="136"/>
                    </a:lnTo>
                    <a:lnTo>
                      <a:pt x="114" y="13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29" name="Freeform 291"/>
              <p:cNvSpPr>
                <a:spLocks noChangeAspect="1"/>
              </p:cNvSpPr>
              <p:nvPr/>
            </p:nvSpPr>
            <p:spPr bwMode="gray">
              <a:xfrm>
                <a:off x="1392" y="1262"/>
                <a:ext cx="67" cy="97"/>
              </a:xfrm>
              <a:custGeom>
                <a:avLst/>
                <a:gdLst/>
                <a:ahLst/>
                <a:cxnLst>
                  <a:cxn ang="0">
                    <a:pos x="124" y="351"/>
                  </a:cxn>
                  <a:cxn ang="0">
                    <a:pos x="109" y="334"/>
                  </a:cxn>
                  <a:cxn ang="0">
                    <a:pos x="87" y="317"/>
                  </a:cxn>
                  <a:cxn ang="0">
                    <a:pos x="55" y="322"/>
                  </a:cxn>
                  <a:cxn ang="0">
                    <a:pos x="40" y="291"/>
                  </a:cxn>
                  <a:cxn ang="0">
                    <a:pos x="1" y="245"/>
                  </a:cxn>
                  <a:cxn ang="0">
                    <a:pos x="6" y="189"/>
                  </a:cxn>
                  <a:cxn ang="0">
                    <a:pos x="35" y="189"/>
                  </a:cxn>
                  <a:cxn ang="0">
                    <a:pos x="42" y="202"/>
                  </a:cxn>
                  <a:cxn ang="0">
                    <a:pos x="64" y="217"/>
                  </a:cxn>
                  <a:cxn ang="0">
                    <a:pos x="71" y="244"/>
                  </a:cxn>
                  <a:cxn ang="0">
                    <a:pos x="99" y="236"/>
                  </a:cxn>
                  <a:cxn ang="0">
                    <a:pos x="124" y="223"/>
                  </a:cxn>
                  <a:cxn ang="0">
                    <a:pos x="120" y="196"/>
                  </a:cxn>
                  <a:cxn ang="0">
                    <a:pos x="132" y="190"/>
                  </a:cxn>
                  <a:cxn ang="0">
                    <a:pos x="116" y="171"/>
                  </a:cxn>
                  <a:cxn ang="0">
                    <a:pos x="110" y="144"/>
                  </a:cxn>
                  <a:cxn ang="0">
                    <a:pos x="137" y="151"/>
                  </a:cxn>
                  <a:cxn ang="0">
                    <a:pos x="114" y="119"/>
                  </a:cxn>
                  <a:cxn ang="0">
                    <a:pos x="93" y="134"/>
                  </a:cxn>
                  <a:cxn ang="0">
                    <a:pos x="61" y="105"/>
                  </a:cxn>
                  <a:cxn ang="0">
                    <a:pos x="80" y="78"/>
                  </a:cxn>
                  <a:cxn ang="0">
                    <a:pos x="99" y="98"/>
                  </a:cxn>
                  <a:cxn ang="0">
                    <a:pos x="98" y="71"/>
                  </a:cxn>
                  <a:cxn ang="0">
                    <a:pos x="71" y="59"/>
                  </a:cxn>
                  <a:cxn ang="0">
                    <a:pos x="96" y="21"/>
                  </a:cxn>
                  <a:cxn ang="0">
                    <a:pos x="124" y="39"/>
                  </a:cxn>
                  <a:cxn ang="0">
                    <a:pos x="113" y="19"/>
                  </a:cxn>
                  <a:cxn ang="0">
                    <a:pos x="129" y="0"/>
                  </a:cxn>
                  <a:cxn ang="0">
                    <a:pos x="152" y="22"/>
                  </a:cxn>
                  <a:cxn ang="0">
                    <a:pos x="188" y="34"/>
                  </a:cxn>
                  <a:cxn ang="0">
                    <a:pos x="248" y="8"/>
                  </a:cxn>
                  <a:cxn ang="0">
                    <a:pos x="288" y="26"/>
                  </a:cxn>
                  <a:cxn ang="0">
                    <a:pos x="284" y="66"/>
                  </a:cxn>
                  <a:cxn ang="0">
                    <a:pos x="270" y="76"/>
                  </a:cxn>
                  <a:cxn ang="0">
                    <a:pos x="282" y="112"/>
                  </a:cxn>
                  <a:cxn ang="0">
                    <a:pos x="250" y="130"/>
                  </a:cxn>
                  <a:cxn ang="0">
                    <a:pos x="228" y="164"/>
                  </a:cxn>
                  <a:cxn ang="0">
                    <a:pos x="220" y="195"/>
                  </a:cxn>
                  <a:cxn ang="0">
                    <a:pos x="265" y="173"/>
                  </a:cxn>
                  <a:cxn ang="0">
                    <a:pos x="282" y="204"/>
                  </a:cxn>
                  <a:cxn ang="0">
                    <a:pos x="293" y="222"/>
                  </a:cxn>
                  <a:cxn ang="0">
                    <a:pos x="290" y="248"/>
                  </a:cxn>
                  <a:cxn ang="0">
                    <a:pos x="315" y="222"/>
                  </a:cxn>
                  <a:cxn ang="0">
                    <a:pos x="324" y="247"/>
                  </a:cxn>
                  <a:cxn ang="0">
                    <a:pos x="329" y="288"/>
                  </a:cxn>
                  <a:cxn ang="0">
                    <a:pos x="320" y="313"/>
                  </a:cxn>
                  <a:cxn ang="0">
                    <a:pos x="323" y="344"/>
                  </a:cxn>
                  <a:cxn ang="0">
                    <a:pos x="325" y="360"/>
                  </a:cxn>
                  <a:cxn ang="0">
                    <a:pos x="322" y="389"/>
                  </a:cxn>
                  <a:cxn ang="0">
                    <a:pos x="303" y="410"/>
                  </a:cxn>
                  <a:cxn ang="0">
                    <a:pos x="249" y="426"/>
                  </a:cxn>
                  <a:cxn ang="0">
                    <a:pos x="248" y="444"/>
                  </a:cxn>
                  <a:cxn ang="0">
                    <a:pos x="229" y="475"/>
                  </a:cxn>
                  <a:cxn ang="0">
                    <a:pos x="205" y="464"/>
                  </a:cxn>
                  <a:cxn ang="0">
                    <a:pos x="187" y="473"/>
                  </a:cxn>
                  <a:cxn ang="0">
                    <a:pos x="172" y="424"/>
                  </a:cxn>
                  <a:cxn ang="0">
                    <a:pos x="144" y="384"/>
                  </a:cxn>
                </a:cxnLst>
                <a:rect l="0" t="0" r="r" b="b"/>
                <a:pathLst>
                  <a:path w="331" h="484">
                    <a:moveTo>
                      <a:pt x="137" y="376"/>
                    </a:moveTo>
                    <a:lnTo>
                      <a:pt x="132" y="371"/>
                    </a:lnTo>
                    <a:lnTo>
                      <a:pt x="124" y="351"/>
                    </a:lnTo>
                    <a:lnTo>
                      <a:pt x="123" y="344"/>
                    </a:lnTo>
                    <a:lnTo>
                      <a:pt x="116" y="336"/>
                    </a:lnTo>
                    <a:lnTo>
                      <a:pt x="109" y="334"/>
                    </a:lnTo>
                    <a:lnTo>
                      <a:pt x="99" y="341"/>
                    </a:lnTo>
                    <a:lnTo>
                      <a:pt x="94" y="328"/>
                    </a:lnTo>
                    <a:lnTo>
                      <a:pt x="87" y="317"/>
                    </a:lnTo>
                    <a:lnTo>
                      <a:pt x="81" y="317"/>
                    </a:lnTo>
                    <a:lnTo>
                      <a:pt x="78" y="325"/>
                    </a:lnTo>
                    <a:lnTo>
                      <a:pt x="55" y="322"/>
                    </a:lnTo>
                    <a:lnTo>
                      <a:pt x="51" y="307"/>
                    </a:lnTo>
                    <a:lnTo>
                      <a:pt x="42" y="297"/>
                    </a:lnTo>
                    <a:lnTo>
                      <a:pt x="40" y="291"/>
                    </a:lnTo>
                    <a:lnTo>
                      <a:pt x="22" y="275"/>
                    </a:lnTo>
                    <a:lnTo>
                      <a:pt x="18" y="268"/>
                    </a:lnTo>
                    <a:lnTo>
                      <a:pt x="1" y="245"/>
                    </a:lnTo>
                    <a:lnTo>
                      <a:pt x="0" y="227"/>
                    </a:lnTo>
                    <a:lnTo>
                      <a:pt x="2" y="205"/>
                    </a:lnTo>
                    <a:lnTo>
                      <a:pt x="6" y="189"/>
                    </a:lnTo>
                    <a:lnTo>
                      <a:pt x="15" y="182"/>
                    </a:lnTo>
                    <a:lnTo>
                      <a:pt x="28" y="179"/>
                    </a:lnTo>
                    <a:lnTo>
                      <a:pt x="35" y="189"/>
                    </a:lnTo>
                    <a:lnTo>
                      <a:pt x="43" y="194"/>
                    </a:lnTo>
                    <a:lnTo>
                      <a:pt x="44" y="195"/>
                    </a:lnTo>
                    <a:lnTo>
                      <a:pt x="42" y="202"/>
                    </a:lnTo>
                    <a:lnTo>
                      <a:pt x="48" y="209"/>
                    </a:lnTo>
                    <a:lnTo>
                      <a:pt x="59" y="212"/>
                    </a:lnTo>
                    <a:lnTo>
                      <a:pt x="64" y="217"/>
                    </a:lnTo>
                    <a:lnTo>
                      <a:pt x="65" y="228"/>
                    </a:lnTo>
                    <a:lnTo>
                      <a:pt x="69" y="236"/>
                    </a:lnTo>
                    <a:lnTo>
                      <a:pt x="71" y="244"/>
                    </a:lnTo>
                    <a:lnTo>
                      <a:pt x="89" y="245"/>
                    </a:lnTo>
                    <a:lnTo>
                      <a:pt x="97" y="241"/>
                    </a:lnTo>
                    <a:lnTo>
                      <a:pt x="99" y="236"/>
                    </a:lnTo>
                    <a:lnTo>
                      <a:pt x="105" y="238"/>
                    </a:lnTo>
                    <a:lnTo>
                      <a:pt x="113" y="236"/>
                    </a:lnTo>
                    <a:lnTo>
                      <a:pt x="124" y="223"/>
                    </a:lnTo>
                    <a:lnTo>
                      <a:pt x="119" y="214"/>
                    </a:lnTo>
                    <a:lnTo>
                      <a:pt x="116" y="196"/>
                    </a:lnTo>
                    <a:lnTo>
                      <a:pt x="120" y="196"/>
                    </a:lnTo>
                    <a:lnTo>
                      <a:pt x="128" y="206"/>
                    </a:lnTo>
                    <a:lnTo>
                      <a:pt x="132" y="204"/>
                    </a:lnTo>
                    <a:lnTo>
                      <a:pt x="132" y="190"/>
                    </a:lnTo>
                    <a:lnTo>
                      <a:pt x="129" y="183"/>
                    </a:lnTo>
                    <a:lnTo>
                      <a:pt x="119" y="182"/>
                    </a:lnTo>
                    <a:lnTo>
                      <a:pt x="116" y="171"/>
                    </a:lnTo>
                    <a:lnTo>
                      <a:pt x="112" y="168"/>
                    </a:lnTo>
                    <a:lnTo>
                      <a:pt x="112" y="155"/>
                    </a:lnTo>
                    <a:lnTo>
                      <a:pt x="110" y="144"/>
                    </a:lnTo>
                    <a:lnTo>
                      <a:pt x="112" y="140"/>
                    </a:lnTo>
                    <a:lnTo>
                      <a:pt x="121" y="137"/>
                    </a:lnTo>
                    <a:lnTo>
                      <a:pt x="137" y="151"/>
                    </a:lnTo>
                    <a:lnTo>
                      <a:pt x="140" y="146"/>
                    </a:lnTo>
                    <a:lnTo>
                      <a:pt x="118" y="113"/>
                    </a:lnTo>
                    <a:lnTo>
                      <a:pt x="114" y="119"/>
                    </a:lnTo>
                    <a:lnTo>
                      <a:pt x="113" y="128"/>
                    </a:lnTo>
                    <a:lnTo>
                      <a:pt x="104" y="131"/>
                    </a:lnTo>
                    <a:lnTo>
                      <a:pt x="93" y="134"/>
                    </a:lnTo>
                    <a:lnTo>
                      <a:pt x="77" y="123"/>
                    </a:lnTo>
                    <a:lnTo>
                      <a:pt x="69" y="107"/>
                    </a:lnTo>
                    <a:lnTo>
                      <a:pt x="61" y="105"/>
                    </a:lnTo>
                    <a:lnTo>
                      <a:pt x="59" y="89"/>
                    </a:lnTo>
                    <a:lnTo>
                      <a:pt x="60" y="78"/>
                    </a:lnTo>
                    <a:lnTo>
                      <a:pt x="80" y="78"/>
                    </a:lnTo>
                    <a:lnTo>
                      <a:pt x="87" y="85"/>
                    </a:lnTo>
                    <a:lnTo>
                      <a:pt x="89" y="92"/>
                    </a:lnTo>
                    <a:lnTo>
                      <a:pt x="99" y="98"/>
                    </a:lnTo>
                    <a:lnTo>
                      <a:pt x="102" y="92"/>
                    </a:lnTo>
                    <a:lnTo>
                      <a:pt x="98" y="80"/>
                    </a:lnTo>
                    <a:lnTo>
                      <a:pt x="98" y="71"/>
                    </a:lnTo>
                    <a:lnTo>
                      <a:pt x="85" y="67"/>
                    </a:lnTo>
                    <a:lnTo>
                      <a:pt x="80" y="59"/>
                    </a:lnTo>
                    <a:lnTo>
                      <a:pt x="71" y="59"/>
                    </a:lnTo>
                    <a:lnTo>
                      <a:pt x="66" y="45"/>
                    </a:lnTo>
                    <a:lnTo>
                      <a:pt x="77" y="32"/>
                    </a:lnTo>
                    <a:lnTo>
                      <a:pt x="96" y="21"/>
                    </a:lnTo>
                    <a:lnTo>
                      <a:pt x="101" y="28"/>
                    </a:lnTo>
                    <a:lnTo>
                      <a:pt x="114" y="32"/>
                    </a:lnTo>
                    <a:lnTo>
                      <a:pt x="124" y="39"/>
                    </a:lnTo>
                    <a:lnTo>
                      <a:pt x="126" y="32"/>
                    </a:lnTo>
                    <a:lnTo>
                      <a:pt x="126" y="24"/>
                    </a:lnTo>
                    <a:lnTo>
                      <a:pt x="113" y="19"/>
                    </a:lnTo>
                    <a:lnTo>
                      <a:pt x="109" y="12"/>
                    </a:lnTo>
                    <a:lnTo>
                      <a:pt x="119" y="5"/>
                    </a:lnTo>
                    <a:lnTo>
                      <a:pt x="129" y="0"/>
                    </a:lnTo>
                    <a:lnTo>
                      <a:pt x="135" y="5"/>
                    </a:lnTo>
                    <a:lnTo>
                      <a:pt x="144" y="21"/>
                    </a:lnTo>
                    <a:lnTo>
                      <a:pt x="152" y="22"/>
                    </a:lnTo>
                    <a:lnTo>
                      <a:pt x="164" y="32"/>
                    </a:lnTo>
                    <a:lnTo>
                      <a:pt x="175" y="37"/>
                    </a:lnTo>
                    <a:lnTo>
                      <a:pt x="188" y="34"/>
                    </a:lnTo>
                    <a:lnTo>
                      <a:pt x="193" y="38"/>
                    </a:lnTo>
                    <a:lnTo>
                      <a:pt x="217" y="31"/>
                    </a:lnTo>
                    <a:lnTo>
                      <a:pt x="248" y="8"/>
                    </a:lnTo>
                    <a:lnTo>
                      <a:pt x="274" y="1"/>
                    </a:lnTo>
                    <a:lnTo>
                      <a:pt x="276" y="8"/>
                    </a:lnTo>
                    <a:lnTo>
                      <a:pt x="288" y="26"/>
                    </a:lnTo>
                    <a:lnTo>
                      <a:pt x="295" y="28"/>
                    </a:lnTo>
                    <a:lnTo>
                      <a:pt x="293" y="51"/>
                    </a:lnTo>
                    <a:lnTo>
                      <a:pt x="284" y="66"/>
                    </a:lnTo>
                    <a:lnTo>
                      <a:pt x="270" y="69"/>
                    </a:lnTo>
                    <a:lnTo>
                      <a:pt x="266" y="75"/>
                    </a:lnTo>
                    <a:lnTo>
                      <a:pt x="270" y="76"/>
                    </a:lnTo>
                    <a:lnTo>
                      <a:pt x="281" y="86"/>
                    </a:lnTo>
                    <a:lnTo>
                      <a:pt x="284" y="94"/>
                    </a:lnTo>
                    <a:lnTo>
                      <a:pt x="282" y="112"/>
                    </a:lnTo>
                    <a:lnTo>
                      <a:pt x="279" y="108"/>
                    </a:lnTo>
                    <a:lnTo>
                      <a:pt x="268" y="112"/>
                    </a:lnTo>
                    <a:lnTo>
                      <a:pt x="250" y="130"/>
                    </a:lnTo>
                    <a:lnTo>
                      <a:pt x="241" y="148"/>
                    </a:lnTo>
                    <a:lnTo>
                      <a:pt x="233" y="155"/>
                    </a:lnTo>
                    <a:lnTo>
                      <a:pt x="228" y="164"/>
                    </a:lnTo>
                    <a:lnTo>
                      <a:pt x="221" y="172"/>
                    </a:lnTo>
                    <a:lnTo>
                      <a:pt x="220" y="184"/>
                    </a:lnTo>
                    <a:lnTo>
                      <a:pt x="220" y="195"/>
                    </a:lnTo>
                    <a:lnTo>
                      <a:pt x="242" y="172"/>
                    </a:lnTo>
                    <a:lnTo>
                      <a:pt x="257" y="167"/>
                    </a:lnTo>
                    <a:lnTo>
                      <a:pt x="265" y="173"/>
                    </a:lnTo>
                    <a:lnTo>
                      <a:pt x="280" y="189"/>
                    </a:lnTo>
                    <a:lnTo>
                      <a:pt x="279" y="201"/>
                    </a:lnTo>
                    <a:lnTo>
                      <a:pt x="282" y="204"/>
                    </a:lnTo>
                    <a:lnTo>
                      <a:pt x="285" y="215"/>
                    </a:lnTo>
                    <a:lnTo>
                      <a:pt x="290" y="216"/>
                    </a:lnTo>
                    <a:lnTo>
                      <a:pt x="293" y="222"/>
                    </a:lnTo>
                    <a:lnTo>
                      <a:pt x="295" y="228"/>
                    </a:lnTo>
                    <a:lnTo>
                      <a:pt x="290" y="238"/>
                    </a:lnTo>
                    <a:lnTo>
                      <a:pt x="290" y="248"/>
                    </a:lnTo>
                    <a:lnTo>
                      <a:pt x="303" y="236"/>
                    </a:lnTo>
                    <a:lnTo>
                      <a:pt x="314" y="234"/>
                    </a:lnTo>
                    <a:lnTo>
                      <a:pt x="315" y="222"/>
                    </a:lnTo>
                    <a:lnTo>
                      <a:pt x="322" y="232"/>
                    </a:lnTo>
                    <a:lnTo>
                      <a:pt x="322" y="242"/>
                    </a:lnTo>
                    <a:lnTo>
                      <a:pt x="324" y="247"/>
                    </a:lnTo>
                    <a:lnTo>
                      <a:pt x="331" y="274"/>
                    </a:lnTo>
                    <a:lnTo>
                      <a:pt x="331" y="282"/>
                    </a:lnTo>
                    <a:lnTo>
                      <a:pt x="329" y="288"/>
                    </a:lnTo>
                    <a:lnTo>
                      <a:pt x="319" y="300"/>
                    </a:lnTo>
                    <a:lnTo>
                      <a:pt x="314" y="301"/>
                    </a:lnTo>
                    <a:lnTo>
                      <a:pt x="320" y="313"/>
                    </a:lnTo>
                    <a:lnTo>
                      <a:pt x="323" y="322"/>
                    </a:lnTo>
                    <a:lnTo>
                      <a:pt x="324" y="338"/>
                    </a:lnTo>
                    <a:lnTo>
                      <a:pt x="323" y="344"/>
                    </a:lnTo>
                    <a:lnTo>
                      <a:pt x="315" y="355"/>
                    </a:lnTo>
                    <a:lnTo>
                      <a:pt x="323" y="354"/>
                    </a:lnTo>
                    <a:lnTo>
                      <a:pt x="325" y="360"/>
                    </a:lnTo>
                    <a:lnTo>
                      <a:pt x="327" y="373"/>
                    </a:lnTo>
                    <a:lnTo>
                      <a:pt x="327" y="385"/>
                    </a:lnTo>
                    <a:lnTo>
                      <a:pt x="322" y="389"/>
                    </a:lnTo>
                    <a:lnTo>
                      <a:pt x="318" y="384"/>
                    </a:lnTo>
                    <a:lnTo>
                      <a:pt x="307" y="393"/>
                    </a:lnTo>
                    <a:lnTo>
                      <a:pt x="303" y="410"/>
                    </a:lnTo>
                    <a:lnTo>
                      <a:pt x="280" y="428"/>
                    </a:lnTo>
                    <a:lnTo>
                      <a:pt x="266" y="422"/>
                    </a:lnTo>
                    <a:lnTo>
                      <a:pt x="249" y="426"/>
                    </a:lnTo>
                    <a:lnTo>
                      <a:pt x="238" y="422"/>
                    </a:lnTo>
                    <a:lnTo>
                      <a:pt x="236" y="428"/>
                    </a:lnTo>
                    <a:lnTo>
                      <a:pt x="248" y="444"/>
                    </a:lnTo>
                    <a:lnTo>
                      <a:pt x="248" y="454"/>
                    </a:lnTo>
                    <a:lnTo>
                      <a:pt x="231" y="467"/>
                    </a:lnTo>
                    <a:lnTo>
                      <a:pt x="229" y="475"/>
                    </a:lnTo>
                    <a:lnTo>
                      <a:pt x="221" y="483"/>
                    </a:lnTo>
                    <a:lnTo>
                      <a:pt x="212" y="484"/>
                    </a:lnTo>
                    <a:lnTo>
                      <a:pt x="205" y="464"/>
                    </a:lnTo>
                    <a:lnTo>
                      <a:pt x="199" y="465"/>
                    </a:lnTo>
                    <a:lnTo>
                      <a:pt x="195" y="473"/>
                    </a:lnTo>
                    <a:lnTo>
                      <a:pt x="187" y="473"/>
                    </a:lnTo>
                    <a:lnTo>
                      <a:pt x="182" y="454"/>
                    </a:lnTo>
                    <a:lnTo>
                      <a:pt x="178" y="431"/>
                    </a:lnTo>
                    <a:lnTo>
                      <a:pt x="172" y="424"/>
                    </a:lnTo>
                    <a:lnTo>
                      <a:pt x="167" y="406"/>
                    </a:lnTo>
                    <a:lnTo>
                      <a:pt x="158" y="394"/>
                    </a:lnTo>
                    <a:lnTo>
                      <a:pt x="144" y="384"/>
                    </a:lnTo>
                    <a:lnTo>
                      <a:pt x="137" y="37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30" name="Freeform 292"/>
              <p:cNvSpPr>
                <a:spLocks noChangeAspect="1"/>
              </p:cNvSpPr>
              <p:nvPr/>
            </p:nvSpPr>
            <p:spPr bwMode="gray">
              <a:xfrm>
                <a:off x="1388" y="1141"/>
                <a:ext cx="59" cy="76"/>
              </a:xfrm>
              <a:custGeom>
                <a:avLst/>
                <a:gdLst/>
                <a:ahLst/>
                <a:cxnLst>
                  <a:cxn ang="0">
                    <a:pos x="281" y="171"/>
                  </a:cxn>
                  <a:cxn ang="0">
                    <a:pos x="266" y="206"/>
                  </a:cxn>
                  <a:cxn ang="0">
                    <a:pos x="291" y="237"/>
                  </a:cxn>
                  <a:cxn ang="0">
                    <a:pos x="279" y="244"/>
                  </a:cxn>
                  <a:cxn ang="0">
                    <a:pos x="260" y="249"/>
                  </a:cxn>
                  <a:cxn ang="0">
                    <a:pos x="265" y="259"/>
                  </a:cxn>
                  <a:cxn ang="0">
                    <a:pos x="259" y="280"/>
                  </a:cxn>
                  <a:cxn ang="0">
                    <a:pos x="253" y="286"/>
                  </a:cxn>
                  <a:cxn ang="0">
                    <a:pos x="271" y="338"/>
                  </a:cxn>
                  <a:cxn ang="0">
                    <a:pos x="258" y="334"/>
                  </a:cxn>
                  <a:cxn ang="0">
                    <a:pos x="250" y="345"/>
                  </a:cxn>
                  <a:cxn ang="0">
                    <a:pos x="230" y="372"/>
                  </a:cxn>
                  <a:cxn ang="0">
                    <a:pos x="208" y="370"/>
                  </a:cxn>
                  <a:cxn ang="0">
                    <a:pos x="190" y="371"/>
                  </a:cxn>
                  <a:cxn ang="0">
                    <a:pos x="177" y="364"/>
                  </a:cxn>
                  <a:cxn ang="0">
                    <a:pos x="130" y="373"/>
                  </a:cxn>
                  <a:cxn ang="0">
                    <a:pos x="119" y="327"/>
                  </a:cxn>
                  <a:cxn ang="0">
                    <a:pos x="136" y="303"/>
                  </a:cxn>
                  <a:cxn ang="0">
                    <a:pos x="113" y="280"/>
                  </a:cxn>
                  <a:cxn ang="0">
                    <a:pos x="141" y="270"/>
                  </a:cxn>
                  <a:cxn ang="0">
                    <a:pos x="155" y="256"/>
                  </a:cxn>
                  <a:cxn ang="0">
                    <a:pos x="168" y="237"/>
                  </a:cxn>
                  <a:cxn ang="0">
                    <a:pos x="211" y="214"/>
                  </a:cxn>
                  <a:cxn ang="0">
                    <a:pos x="172" y="214"/>
                  </a:cxn>
                  <a:cxn ang="0">
                    <a:pos x="129" y="225"/>
                  </a:cxn>
                  <a:cxn ang="0">
                    <a:pos x="60" y="242"/>
                  </a:cxn>
                  <a:cxn ang="0">
                    <a:pos x="4" y="256"/>
                  </a:cxn>
                  <a:cxn ang="0">
                    <a:pos x="10" y="222"/>
                  </a:cxn>
                  <a:cxn ang="0">
                    <a:pos x="31" y="215"/>
                  </a:cxn>
                  <a:cxn ang="0">
                    <a:pos x="42" y="183"/>
                  </a:cxn>
                  <a:cxn ang="0">
                    <a:pos x="83" y="205"/>
                  </a:cxn>
                  <a:cxn ang="0">
                    <a:pos x="69" y="166"/>
                  </a:cxn>
                  <a:cxn ang="0">
                    <a:pos x="51" y="149"/>
                  </a:cxn>
                  <a:cxn ang="0">
                    <a:pos x="33" y="109"/>
                  </a:cxn>
                  <a:cxn ang="0">
                    <a:pos x="43" y="65"/>
                  </a:cxn>
                  <a:cxn ang="0">
                    <a:pos x="77" y="57"/>
                  </a:cxn>
                  <a:cxn ang="0">
                    <a:pos x="96" y="82"/>
                  </a:cxn>
                  <a:cxn ang="0">
                    <a:pos x="114" y="133"/>
                  </a:cxn>
                  <a:cxn ang="0">
                    <a:pos x="134" y="147"/>
                  </a:cxn>
                  <a:cxn ang="0">
                    <a:pos x="171" y="156"/>
                  </a:cxn>
                  <a:cxn ang="0">
                    <a:pos x="158" y="113"/>
                  </a:cxn>
                  <a:cxn ang="0">
                    <a:pos x="125" y="93"/>
                  </a:cxn>
                  <a:cxn ang="0">
                    <a:pos x="141" y="82"/>
                  </a:cxn>
                  <a:cxn ang="0">
                    <a:pos x="96" y="45"/>
                  </a:cxn>
                  <a:cxn ang="0">
                    <a:pos x="129" y="7"/>
                  </a:cxn>
                  <a:cxn ang="0">
                    <a:pos x="183" y="28"/>
                  </a:cxn>
                  <a:cxn ang="0">
                    <a:pos x="205" y="45"/>
                  </a:cxn>
                  <a:cxn ang="0">
                    <a:pos x="216" y="15"/>
                  </a:cxn>
                  <a:cxn ang="0">
                    <a:pos x="237" y="0"/>
                  </a:cxn>
                  <a:cxn ang="0">
                    <a:pos x="246" y="26"/>
                  </a:cxn>
                  <a:cxn ang="0">
                    <a:pos x="274" y="72"/>
                  </a:cxn>
                  <a:cxn ang="0">
                    <a:pos x="280" y="134"/>
                  </a:cxn>
                </a:cxnLst>
                <a:rect l="0" t="0" r="r" b="b"/>
                <a:pathLst>
                  <a:path w="292" h="380">
                    <a:moveTo>
                      <a:pt x="281" y="160"/>
                    </a:moveTo>
                    <a:lnTo>
                      <a:pt x="282" y="162"/>
                    </a:lnTo>
                    <a:lnTo>
                      <a:pt x="281" y="165"/>
                    </a:lnTo>
                    <a:lnTo>
                      <a:pt x="281" y="171"/>
                    </a:lnTo>
                    <a:lnTo>
                      <a:pt x="282" y="177"/>
                    </a:lnTo>
                    <a:lnTo>
                      <a:pt x="281" y="187"/>
                    </a:lnTo>
                    <a:lnTo>
                      <a:pt x="268" y="198"/>
                    </a:lnTo>
                    <a:lnTo>
                      <a:pt x="266" y="206"/>
                    </a:lnTo>
                    <a:lnTo>
                      <a:pt x="285" y="213"/>
                    </a:lnTo>
                    <a:lnTo>
                      <a:pt x="291" y="210"/>
                    </a:lnTo>
                    <a:lnTo>
                      <a:pt x="292" y="224"/>
                    </a:lnTo>
                    <a:lnTo>
                      <a:pt x="291" y="237"/>
                    </a:lnTo>
                    <a:lnTo>
                      <a:pt x="290" y="267"/>
                    </a:lnTo>
                    <a:lnTo>
                      <a:pt x="292" y="285"/>
                    </a:lnTo>
                    <a:lnTo>
                      <a:pt x="284" y="254"/>
                    </a:lnTo>
                    <a:lnTo>
                      <a:pt x="279" y="244"/>
                    </a:lnTo>
                    <a:lnTo>
                      <a:pt x="274" y="240"/>
                    </a:lnTo>
                    <a:lnTo>
                      <a:pt x="270" y="244"/>
                    </a:lnTo>
                    <a:lnTo>
                      <a:pt x="263" y="242"/>
                    </a:lnTo>
                    <a:lnTo>
                      <a:pt x="260" y="249"/>
                    </a:lnTo>
                    <a:lnTo>
                      <a:pt x="268" y="254"/>
                    </a:lnTo>
                    <a:lnTo>
                      <a:pt x="269" y="263"/>
                    </a:lnTo>
                    <a:lnTo>
                      <a:pt x="268" y="267"/>
                    </a:lnTo>
                    <a:lnTo>
                      <a:pt x="265" y="259"/>
                    </a:lnTo>
                    <a:lnTo>
                      <a:pt x="258" y="264"/>
                    </a:lnTo>
                    <a:lnTo>
                      <a:pt x="255" y="270"/>
                    </a:lnTo>
                    <a:lnTo>
                      <a:pt x="263" y="279"/>
                    </a:lnTo>
                    <a:lnTo>
                      <a:pt x="259" y="280"/>
                    </a:lnTo>
                    <a:lnTo>
                      <a:pt x="258" y="285"/>
                    </a:lnTo>
                    <a:lnTo>
                      <a:pt x="260" y="291"/>
                    </a:lnTo>
                    <a:lnTo>
                      <a:pt x="258" y="292"/>
                    </a:lnTo>
                    <a:lnTo>
                      <a:pt x="253" y="286"/>
                    </a:lnTo>
                    <a:lnTo>
                      <a:pt x="248" y="302"/>
                    </a:lnTo>
                    <a:lnTo>
                      <a:pt x="249" y="308"/>
                    </a:lnTo>
                    <a:lnTo>
                      <a:pt x="254" y="306"/>
                    </a:lnTo>
                    <a:lnTo>
                      <a:pt x="271" y="338"/>
                    </a:lnTo>
                    <a:lnTo>
                      <a:pt x="274" y="345"/>
                    </a:lnTo>
                    <a:lnTo>
                      <a:pt x="269" y="349"/>
                    </a:lnTo>
                    <a:lnTo>
                      <a:pt x="263" y="345"/>
                    </a:lnTo>
                    <a:lnTo>
                      <a:pt x="258" y="334"/>
                    </a:lnTo>
                    <a:lnTo>
                      <a:pt x="254" y="330"/>
                    </a:lnTo>
                    <a:lnTo>
                      <a:pt x="248" y="332"/>
                    </a:lnTo>
                    <a:lnTo>
                      <a:pt x="248" y="339"/>
                    </a:lnTo>
                    <a:lnTo>
                      <a:pt x="250" y="345"/>
                    </a:lnTo>
                    <a:lnTo>
                      <a:pt x="250" y="350"/>
                    </a:lnTo>
                    <a:lnTo>
                      <a:pt x="255" y="359"/>
                    </a:lnTo>
                    <a:lnTo>
                      <a:pt x="255" y="369"/>
                    </a:lnTo>
                    <a:lnTo>
                      <a:pt x="230" y="372"/>
                    </a:lnTo>
                    <a:lnTo>
                      <a:pt x="228" y="365"/>
                    </a:lnTo>
                    <a:lnTo>
                      <a:pt x="219" y="375"/>
                    </a:lnTo>
                    <a:lnTo>
                      <a:pt x="211" y="375"/>
                    </a:lnTo>
                    <a:lnTo>
                      <a:pt x="208" y="370"/>
                    </a:lnTo>
                    <a:lnTo>
                      <a:pt x="209" y="360"/>
                    </a:lnTo>
                    <a:lnTo>
                      <a:pt x="203" y="364"/>
                    </a:lnTo>
                    <a:lnTo>
                      <a:pt x="201" y="373"/>
                    </a:lnTo>
                    <a:lnTo>
                      <a:pt x="190" y="371"/>
                    </a:lnTo>
                    <a:lnTo>
                      <a:pt x="190" y="360"/>
                    </a:lnTo>
                    <a:lnTo>
                      <a:pt x="188" y="369"/>
                    </a:lnTo>
                    <a:lnTo>
                      <a:pt x="180" y="372"/>
                    </a:lnTo>
                    <a:lnTo>
                      <a:pt x="177" y="364"/>
                    </a:lnTo>
                    <a:lnTo>
                      <a:pt x="179" y="354"/>
                    </a:lnTo>
                    <a:lnTo>
                      <a:pt x="167" y="380"/>
                    </a:lnTo>
                    <a:lnTo>
                      <a:pt x="144" y="380"/>
                    </a:lnTo>
                    <a:lnTo>
                      <a:pt x="130" y="373"/>
                    </a:lnTo>
                    <a:lnTo>
                      <a:pt x="123" y="365"/>
                    </a:lnTo>
                    <a:lnTo>
                      <a:pt x="122" y="339"/>
                    </a:lnTo>
                    <a:lnTo>
                      <a:pt x="118" y="332"/>
                    </a:lnTo>
                    <a:lnTo>
                      <a:pt x="119" y="327"/>
                    </a:lnTo>
                    <a:lnTo>
                      <a:pt x="142" y="327"/>
                    </a:lnTo>
                    <a:lnTo>
                      <a:pt x="147" y="322"/>
                    </a:lnTo>
                    <a:lnTo>
                      <a:pt x="131" y="319"/>
                    </a:lnTo>
                    <a:lnTo>
                      <a:pt x="136" y="303"/>
                    </a:lnTo>
                    <a:lnTo>
                      <a:pt x="119" y="310"/>
                    </a:lnTo>
                    <a:lnTo>
                      <a:pt x="115" y="300"/>
                    </a:lnTo>
                    <a:lnTo>
                      <a:pt x="128" y="291"/>
                    </a:lnTo>
                    <a:lnTo>
                      <a:pt x="113" y="280"/>
                    </a:lnTo>
                    <a:lnTo>
                      <a:pt x="131" y="276"/>
                    </a:lnTo>
                    <a:lnTo>
                      <a:pt x="141" y="279"/>
                    </a:lnTo>
                    <a:lnTo>
                      <a:pt x="145" y="273"/>
                    </a:lnTo>
                    <a:lnTo>
                      <a:pt x="141" y="270"/>
                    </a:lnTo>
                    <a:lnTo>
                      <a:pt x="162" y="268"/>
                    </a:lnTo>
                    <a:lnTo>
                      <a:pt x="163" y="262"/>
                    </a:lnTo>
                    <a:lnTo>
                      <a:pt x="141" y="265"/>
                    </a:lnTo>
                    <a:lnTo>
                      <a:pt x="155" y="256"/>
                    </a:lnTo>
                    <a:lnTo>
                      <a:pt x="152" y="252"/>
                    </a:lnTo>
                    <a:lnTo>
                      <a:pt x="156" y="247"/>
                    </a:lnTo>
                    <a:lnTo>
                      <a:pt x="169" y="242"/>
                    </a:lnTo>
                    <a:lnTo>
                      <a:pt x="168" y="237"/>
                    </a:lnTo>
                    <a:lnTo>
                      <a:pt x="163" y="232"/>
                    </a:lnTo>
                    <a:lnTo>
                      <a:pt x="166" y="225"/>
                    </a:lnTo>
                    <a:lnTo>
                      <a:pt x="204" y="219"/>
                    </a:lnTo>
                    <a:lnTo>
                      <a:pt x="211" y="214"/>
                    </a:lnTo>
                    <a:lnTo>
                      <a:pt x="210" y="209"/>
                    </a:lnTo>
                    <a:lnTo>
                      <a:pt x="203" y="214"/>
                    </a:lnTo>
                    <a:lnTo>
                      <a:pt x="174" y="216"/>
                    </a:lnTo>
                    <a:lnTo>
                      <a:pt x="172" y="214"/>
                    </a:lnTo>
                    <a:lnTo>
                      <a:pt x="163" y="220"/>
                    </a:lnTo>
                    <a:lnTo>
                      <a:pt x="153" y="219"/>
                    </a:lnTo>
                    <a:lnTo>
                      <a:pt x="135" y="227"/>
                    </a:lnTo>
                    <a:lnTo>
                      <a:pt x="129" y="225"/>
                    </a:lnTo>
                    <a:lnTo>
                      <a:pt x="92" y="241"/>
                    </a:lnTo>
                    <a:lnTo>
                      <a:pt x="72" y="240"/>
                    </a:lnTo>
                    <a:lnTo>
                      <a:pt x="67" y="248"/>
                    </a:lnTo>
                    <a:lnTo>
                      <a:pt x="60" y="242"/>
                    </a:lnTo>
                    <a:lnTo>
                      <a:pt x="50" y="252"/>
                    </a:lnTo>
                    <a:lnTo>
                      <a:pt x="26" y="254"/>
                    </a:lnTo>
                    <a:lnTo>
                      <a:pt x="17" y="263"/>
                    </a:lnTo>
                    <a:lnTo>
                      <a:pt x="4" y="256"/>
                    </a:lnTo>
                    <a:lnTo>
                      <a:pt x="0" y="242"/>
                    </a:lnTo>
                    <a:lnTo>
                      <a:pt x="8" y="240"/>
                    </a:lnTo>
                    <a:lnTo>
                      <a:pt x="7" y="232"/>
                    </a:lnTo>
                    <a:lnTo>
                      <a:pt x="10" y="222"/>
                    </a:lnTo>
                    <a:lnTo>
                      <a:pt x="18" y="220"/>
                    </a:lnTo>
                    <a:lnTo>
                      <a:pt x="39" y="227"/>
                    </a:lnTo>
                    <a:lnTo>
                      <a:pt x="37" y="219"/>
                    </a:lnTo>
                    <a:lnTo>
                      <a:pt x="31" y="215"/>
                    </a:lnTo>
                    <a:lnTo>
                      <a:pt x="33" y="206"/>
                    </a:lnTo>
                    <a:lnTo>
                      <a:pt x="27" y="206"/>
                    </a:lnTo>
                    <a:lnTo>
                      <a:pt x="28" y="193"/>
                    </a:lnTo>
                    <a:lnTo>
                      <a:pt x="42" y="183"/>
                    </a:lnTo>
                    <a:lnTo>
                      <a:pt x="49" y="183"/>
                    </a:lnTo>
                    <a:lnTo>
                      <a:pt x="67" y="198"/>
                    </a:lnTo>
                    <a:lnTo>
                      <a:pt x="71" y="209"/>
                    </a:lnTo>
                    <a:lnTo>
                      <a:pt x="83" y="205"/>
                    </a:lnTo>
                    <a:lnTo>
                      <a:pt x="82" y="195"/>
                    </a:lnTo>
                    <a:lnTo>
                      <a:pt x="81" y="187"/>
                    </a:lnTo>
                    <a:lnTo>
                      <a:pt x="65" y="176"/>
                    </a:lnTo>
                    <a:lnTo>
                      <a:pt x="69" y="166"/>
                    </a:lnTo>
                    <a:lnTo>
                      <a:pt x="77" y="156"/>
                    </a:lnTo>
                    <a:lnTo>
                      <a:pt x="77" y="150"/>
                    </a:lnTo>
                    <a:lnTo>
                      <a:pt x="53" y="161"/>
                    </a:lnTo>
                    <a:lnTo>
                      <a:pt x="51" y="149"/>
                    </a:lnTo>
                    <a:lnTo>
                      <a:pt x="44" y="136"/>
                    </a:lnTo>
                    <a:lnTo>
                      <a:pt x="44" y="122"/>
                    </a:lnTo>
                    <a:lnTo>
                      <a:pt x="48" y="109"/>
                    </a:lnTo>
                    <a:lnTo>
                      <a:pt x="33" y="109"/>
                    </a:lnTo>
                    <a:lnTo>
                      <a:pt x="34" y="95"/>
                    </a:lnTo>
                    <a:lnTo>
                      <a:pt x="33" y="85"/>
                    </a:lnTo>
                    <a:lnTo>
                      <a:pt x="44" y="66"/>
                    </a:lnTo>
                    <a:lnTo>
                      <a:pt x="43" y="65"/>
                    </a:lnTo>
                    <a:lnTo>
                      <a:pt x="47" y="55"/>
                    </a:lnTo>
                    <a:lnTo>
                      <a:pt x="53" y="50"/>
                    </a:lnTo>
                    <a:lnTo>
                      <a:pt x="74" y="58"/>
                    </a:lnTo>
                    <a:lnTo>
                      <a:pt x="77" y="57"/>
                    </a:lnTo>
                    <a:lnTo>
                      <a:pt x="81" y="63"/>
                    </a:lnTo>
                    <a:lnTo>
                      <a:pt x="81" y="74"/>
                    </a:lnTo>
                    <a:lnTo>
                      <a:pt x="85" y="72"/>
                    </a:lnTo>
                    <a:lnTo>
                      <a:pt x="96" y="82"/>
                    </a:lnTo>
                    <a:lnTo>
                      <a:pt x="90" y="93"/>
                    </a:lnTo>
                    <a:lnTo>
                      <a:pt x="110" y="123"/>
                    </a:lnTo>
                    <a:lnTo>
                      <a:pt x="110" y="127"/>
                    </a:lnTo>
                    <a:lnTo>
                      <a:pt x="114" y="133"/>
                    </a:lnTo>
                    <a:lnTo>
                      <a:pt x="122" y="129"/>
                    </a:lnTo>
                    <a:lnTo>
                      <a:pt x="128" y="131"/>
                    </a:lnTo>
                    <a:lnTo>
                      <a:pt x="122" y="140"/>
                    </a:lnTo>
                    <a:lnTo>
                      <a:pt x="134" y="147"/>
                    </a:lnTo>
                    <a:lnTo>
                      <a:pt x="150" y="165"/>
                    </a:lnTo>
                    <a:lnTo>
                      <a:pt x="161" y="167"/>
                    </a:lnTo>
                    <a:lnTo>
                      <a:pt x="169" y="160"/>
                    </a:lnTo>
                    <a:lnTo>
                      <a:pt x="171" y="156"/>
                    </a:lnTo>
                    <a:lnTo>
                      <a:pt x="161" y="158"/>
                    </a:lnTo>
                    <a:lnTo>
                      <a:pt x="152" y="144"/>
                    </a:lnTo>
                    <a:lnTo>
                      <a:pt x="142" y="117"/>
                    </a:lnTo>
                    <a:lnTo>
                      <a:pt x="158" y="113"/>
                    </a:lnTo>
                    <a:lnTo>
                      <a:pt x="153" y="104"/>
                    </a:lnTo>
                    <a:lnTo>
                      <a:pt x="130" y="108"/>
                    </a:lnTo>
                    <a:lnTo>
                      <a:pt x="122" y="100"/>
                    </a:lnTo>
                    <a:lnTo>
                      <a:pt x="125" y="93"/>
                    </a:lnTo>
                    <a:lnTo>
                      <a:pt x="137" y="93"/>
                    </a:lnTo>
                    <a:lnTo>
                      <a:pt x="140" y="86"/>
                    </a:lnTo>
                    <a:lnTo>
                      <a:pt x="147" y="86"/>
                    </a:lnTo>
                    <a:lnTo>
                      <a:pt x="141" y="82"/>
                    </a:lnTo>
                    <a:lnTo>
                      <a:pt x="133" y="71"/>
                    </a:lnTo>
                    <a:lnTo>
                      <a:pt x="115" y="71"/>
                    </a:lnTo>
                    <a:lnTo>
                      <a:pt x="107" y="64"/>
                    </a:lnTo>
                    <a:lnTo>
                      <a:pt x="96" y="45"/>
                    </a:lnTo>
                    <a:lnTo>
                      <a:pt x="97" y="38"/>
                    </a:lnTo>
                    <a:lnTo>
                      <a:pt x="108" y="37"/>
                    </a:lnTo>
                    <a:lnTo>
                      <a:pt x="112" y="21"/>
                    </a:lnTo>
                    <a:lnTo>
                      <a:pt x="129" y="7"/>
                    </a:lnTo>
                    <a:lnTo>
                      <a:pt x="153" y="11"/>
                    </a:lnTo>
                    <a:lnTo>
                      <a:pt x="168" y="6"/>
                    </a:lnTo>
                    <a:lnTo>
                      <a:pt x="172" y="16"/>
                    </a:lnTo>
                    <a:lnTo>
                      <a:pt x="183" y="28"/>
                    </a:lnTo>
                    <a:lnTo>
                      <a:pt x="204" y="36"/>
                    </a:lnTo>
                    <a:lnTo>
                      <a:pt x="201" y="45"/>
                    </a:lnTo>
                    <a:lnTo>
                      <a:pt x="203" y="52"/>
                    </a:lnTo>
                    <a:lnTo>
                      <a:pt x="205" y="45"/>
                    </a:lnTo>
                    <a:lnTo>
                      <a:pt x="216" y="49"/>
                    </a:lnTo>
                    <a:lnTo>
                      <a:pt x="220" y="39"/>
                    </a:lnTo>
                    <a:lnTo>
                      <a:pt x="212" y="21"/>
                    </a:lnTo>
                    <a:lnTo>
                      <a:pt x="216" y="15"/>
                    </a:lnTo>
                    <a:lnTo>
                      <a:pt x="231" y="18"/>
                    </a:lnTo>
                    <a:lnTo>
                      <a:pt x="235" y="6"/>
                    </a:lnTo>
                    <a:lnTo>
                      <a:pt x="219" y="0"/>
                    </a:lnTo>
                    <a:lnTo>
                      <a:pt x="237" y="0"/>
                    </a:lnTo>
                    <a:lnTo>
                      <a:pt x="243" y="11"/>
                    </a:lnTo>
                    <a:lnTo>
                      <a:pt x="255" y="22"/>
                    </a:lnTo>
                    <a:lnTo>
                      <a:pt x="242" y="20"/>
                    </a:lnTo>
                    <a:lnTo>
                      <a:pt x="246" y="26"/>
                    </a:lnTo>
                    <a:lnTo>
                      <a:pt x="265" y="33"/>
                    </a:lnTo>
                    <a:lnTo>
                      <a:pt x="276" y="48"/>
                    </a:lnTo>
                    <a:lnTo>
                      <a:pt x="278" y="60"/>
                    </a:lnTo>
                    <a:lnTo>
                      <a:pt x="274" y="72"/>
                    </a:lnTo>
                    <a:lnTo>
                      <a:pt x="274" y="90"/>
                    </a:lnTo>
                    <a:lnTo>
                      <a:pt x="282" y="107"/>
                    </a:lnTo>
                    <a:lnTo>
                      <a:pt x="284" y="123"/>
                    </a:lnTo>
                    <a:lnTo>
                      <a:pt x="280" y="134"/>
                    </a:lnTo>
                    <a:lnTo>
                      <a:pt x="281" y="140"/>
                    </a:lnTo>
                    <a:lnTo>
                      <a:pt x="280" y="149"/>
                    </a:lnTo>
                    <a:lnTo>
                      <a:pt x="281" y="16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31" name="Freeform 293"/>
              <p:cNvSpPr>
                <a:spLocks noChangeAspect="1"/>
              </p:cNvSpPr>
              <p:nvPr/>
            </p:nvSpPr>
            <p:spPr bwMode="gray">
              <a:xfrm>
                <a:off x="1225" y="1133"/>
                <a:ext cx="134" cy="107"/>
              </a:xfrm>
              <a:custGeom>
                <a:avLst/>
                <a:gdLst/>
                <a:ahLst/>
                <a:cxnLst>
                  <a:cxn ang="0">
                    <a:pos x="439" y="71"/>
                  </a:cxn>
                  <a:cxn ang="0">
                    <a:pos x="489" y="0"/>
                  </a:cxn>
                  <a:cxn ang="0">
                    <a:pos x="501" y="69"/>
                  </a:cxn>
                  <a:cxn ang="0">
                    <a:pos x="525" y="120"/>
                  </a:cxn>
                  <a:cxn ang="0">
                    <a:pos x="510" y="172"/>
                  </a:cxn>
                  <a:cxn ang="0">
                    <a:pos x="548" y="213"/>
                  </a:cxn>
                  <a:cxn ang="0">
                    <a:pos x="551" y="218"/>
                  </a:cxn>
                  <a:cxn ang="0">
                    <a:pos x="605" y="240"/>
                  </a:cxn>
                  <a:cxn ang="0">
                    <a:pos x="637" y="191"/>
                  </a:cxn>
                  <a:cxn ang="0">
                    <a:pos x="672" y="281"/>
                  </a:cxn>
                  <a:cxn ang="0">
                    <a:pos x="643" y="385"/>
                  </a:cxn>
                  <a:cxn ang="0">
                    <a:pos x="575" y="430"/>
                  </a:cxn>
                  <a:cxn ang="0">
                    <a:pos x="526" y="423"/>
                  </a:cxn>
                  <a:cxn ang="0">
                    <a:pos x="492" y="389"/>
                  </a:cxn>
                  <a:cxn ang="0">
                    <a:pos x="450" y="435"/>
                  </a:cxn>
                  <a:cxn ang="0">
                    <a:pos x="383" y="475"/>
                  </a:cxn>
                  <a:cxn ang="0">
                    <a:pos x="347" y="502"/>
                  </a:cxn>
                  <a:cxn ang="0">
                    <a:pos x="231" y="530"/>
                  </a:cxn>
                  <a:cxn ang="0">
                    <a:pos x="181" y="466"/>
                  </a:cxn>
                  <a:cxn ang="0">
                    <a:pos x="229" y="448"/>
                  </a:cxn>
                  <a:cxn ang="0">
                    <a:pos x="304" y="408"/>
                  </a:cxn>
                  <a:cxn ang="0">
                    <a:pos x="344" y="396"/>
                  </a:cxn>
                  <a:cxn ang="0">
                    <a:pos x="355" y="352"/>
                  </a:cxn>
                  <a:cxn ang="0">
                    <a:pos x="293" y="361"/>
                  </a:cxn>
                  <a:cxn ang="0">
                    <a:pos x="263" y="389"/>
                  </a:cxn>
                  <a:cxn ang="0">
                    <a:pos x="207" y="408"/>
                  </a:cxn>
                  <a:cxn ang="0">
                    <a:pos x="209" y="357"/>
                  </a:cxn>
                  <a:cxn ang="0">
                    <a:pos x="218" y="329"/>
                  </a:cxn>
                  <a:cxn ang="0">
                    <a:pos x="171" y="346"/>
                  </a:cxn>
                  <a:cxn ang="0">
                    <a:pos x="155" y="416"/>
                  </a:cxn>
                  <a:cxn ang="0">
                    <a:pos x="113" y="388"/>
                  </a:cxn>
                  <a:cxn ang="0">
                    <a:pos x="85" y="389"/>
                  </a:cxn>
                  <a:cxn ang="0">
                    <a:pos x="25" y="379"/>
                  </a:cxn>
                  <a:cxn ang="0">
                    <a:pos x="24" y="309"/>
                  </a:cxn>
                  <a:cxn ang="0">
                    <a:pos x="130" y="276"/>
                  </a:cxn>
                  <a:cxn ang="0">
                    <a:pos x="60" y="297"/>
                  </a:cxn>
                  <a:cxn ang="0">
                    <a:pos x="103" y="231"/>
                  </a:cxn>
                  <a:cxn ang="0">
                    <a:pos x="47" y="225"/>
                  </a:cxn>
                  <a:cxn ang="0">
                    <a:pos x="51" y="179"/>
                  </a:cxn>
                  <a:cxn ang="0">
                    <a:pos x="156" y="159"/>
                  </a:cxn>
                  <a:cxn ang="0">
                    <a:pos x="92" y="129"/>
                  </a:cxn>
                  <a:cxn ang="0">
                    <a:pos x="166" y="78"/>
                  </a:cxn>
                  <a:cxn ang="0">
                    <a:pos x="192" y="147"/>
                  </a:cxn>
                  <a:cxn ang="0">
                    <a:pos x="280" y="152"/>
                  </a:cxn>
                  <a:cxn ang="0">
                    <a:pos x="301" y="223"/>
                  </a:cxn>
                  <a:cxn ang="0">
                    <a:pos x="339" y="239"/>
                  </a:cxn>
                  <a:cxn ang="0">
                    <a:pos x="343" y="287"/>
                  </a:cxn>
                  <a:cxn ang="0">
                    <a:pos x="377" y="293"/>
                  </a:cxn>
                  <a:cxn ang="0">
                    <a:pos x="478" y="301"/>
                  </a:cxn>
                  <a:cxn ang="0">
                    <a:pos x="450" y="236"/>
                  </a:cxn>
                  <a:cxn ang="0">
                    <a:pos x="449" y="204"/>
                  </a:cxn>
                  <a:cxn ang="0">
                    <a:pos x="440" y="148"/>
                  </a:cxn>
                  <a:cxn ang="0">
                    <a:pos x="401" y="100"/>
                  </a:cxn>
                </a:cxnLst>
                <a:rect l="0" t="0" r="r" b="b"/>
                <a:pathLst>
                  <a:path w="672" h="534">
                    <a:moveTo>
                      <a:pt x="420" y="83"/>
                    </a:moveTo>
                    <a:lnTo>
                      <a:pt x="420" y="80"/>
                    </a:lnTo>
                    <a:lnTo>
                      <a:pt x="420" y="82"/>
                    </a:lnTo>
                    <a:lnTo>
                      <a:pt x="433" y="81"/>
                    </a:lnTo>
                    <a:lnTo>
                      <a:pt x="439" y="71"/>
                    </a:lnTo>
                    <a:lnTo>
                      <a:pt x="439" y="59"/>
                    </a:lnTo>
                    <a:lnTo>
                      <a:pt x="458" y="8"/>
                    </a:lnTo>
                    <a:lnTo>
                      <a:pt x="466" y="3"/>
                    </a:lnTo>
                    <a:lnTo>
                      <a:pt x="478" y="6"/>
                    </a:lnTo>
                    <a:lnTo>
                      <a:pt x="489" y="0"/>
                    </a:lnTo>
                    <a:lnTo>
                      <a:pt x="503" y="26"/>
                    </a:lnTo>
                    <a:lnTo>
                      <a:pt x="503" y="37"/>
                    </a:lnTo>
                    <a:lnTo>
                      <a:pt x="493" y="49"/>
                    </a:lnTo>
                    <a:lnTo>
                      <a:pt x="495" y="61"/>
                    </a:lnTo>
                    <a:lnTo>
                      <a:pt x="501" y="69"/>
                    </a:lnTo>
                    <a:lnTo>
                      <a:pt x="500" y="76"/>
                    </a:lnTo>
                    <a:lnTo>
                      <a:pt x="501" y="94"/>
                    </a:lnTo>
                    <a:lnTo>
                      <a:pt x="504" y="99"/>
                    </a:lnTo>
                    <a:lnTo>
                      <a:pt x="511" y="102"/>
                    </a:lnTo>
                    <a:lnTo>
                      <a:pt x="525" y="120"/>
                    </a:lnTo>
                    <a:lnTo>
                      <a:pt x="526" y="129"/>
                    </a:lnTo>
                    <a:lnTo>
                      <a:pt x="525" y="139"/>
                    </a:lnTo>
                    <a:lnTo>
                      <a:pt x="527" y="143"/>
                    </a:lnTo>
                    <a:lnTo>
                      <a:pt x="519" y="152"/>
                    </a:lnTo>
                    <a:lnTo>
                      <a:pt x="510" y="172"/>
                    </a:lnTo>
                    <a:lnTo>
                      <a:pt x="500" y="178"/>
                    </a:lnTo>
                    <a:lnTo>
                      <a:pt x="512" y="183"/>
                    </a:lnTo>
                    <a:lnTo>
                      <a:pt x="536" y="178"/>
                    </a:lnTo>
                    <a:lnTo>
                      <a:pt x="554" y="196"/>
                    </a:lnTo>
                    <a:lnTo>
                      <a:pt x="548" y="213"/>
                    </a:lnTo>
                    <a:lnTo>
                      <a:pt x="541" y="215"/>
                    </a:lnTo>
                    <a:lnTo>
                      <a:pt x="531" y="234"/>
                    </a:lnTo>
                    <a:lnTo>
                      <a:pt x="533" y="243"/>
                    </a:lnTo>
                    <a:lnTo>
                      <a:pt x="543" y="222"/>
                    </a:lnTo>
                    <a:lnTo>
                      <a:pt x="551" y="218"/>
                    </a:lnTo>
                    <a:lnTo>
                      <a:pt x="560" y="215"/>
                    </a:lnTo>
                    <a:lnTo>
                      <a:pt x="579" y="218"/>
                    </a:lnTo>
                    <a:lnTo>
                      <a:pt x="594" y="266"/>
                    </a:lnTo>
                    <a:lnTo>
                      <a:pt x="600" y="242"/>
                    </a:lnTo>
                    <a:lnTo>
                      <a:pt x="605" y="240"/>
                    </a:lnTo>
                    <a:lnTo>
                      <a:pt x="600" y="236"/>
                    </a:lnTo>
                    <a:lnTo>
                      <a:pt x="595" y="207"/>
                    </a:lnTo>
                    <a:lnTo>
                      <a:pt x="601" y="196"/>
                    </a:lnTo>
                    <a:lnTo>
                      <a:pt x="606" y="184"/>
                    </a:lnTo>
                    <a:lnTo>
                      <a:pt x="637" y="191"/>
                    </a:lnTo>
                    <a:lnTo>
                      <a:pt x="659" y="215"/>
                    </a:lnTo>
                    <a:lnTo>
                      <a:pt x="671" y="245"/>
                    </a:lnTo>
                    <a:lnTo>
                      <a:pt x="670" y="258"/>
                    </a:lnTo>
                    <a:lnTo>
                      <a:pt x="672" y="265"/>
                    </a:lnTo>
                    <a:lnTo>
                      <a:pt x="672" y="281"/>
                    </a:lnTo>
                    <a:lnTo>
                      <a:pt x="670" y="296"/>
                    </a:lnTo>
                    <a:lnTo>
                      <a:pt x="660" y="304"/>
                    </a:lnTo>
                    <a:lnTo>
                      <a:pt x="654" y="347"/>
                    </a:lnTo>
                    <a:lnTo>
                      <a:pt x="649" y="357"/>
                    </a:lnTo>
                    <a:lnTo>
                      <a:pt x="643" y="385"/>
                    </a:lnTo>
                    <a:lnTo>
                      <a:pt x="635" y="404"/>
                    </a:lnTo>
                    <a:lnTo>
                      <a:pt x="618" y="405"/>
                    </a:lnTo>
                    <a:lnTo>
                      <a:pt x="611" y="410"/>
                    </a:lnTo>
                    <a:lnTo>
                      <a:pt x="600" y="425"/>
                    </a:lnTo>
                    <a:lnTo>
                      <a:pt x="575" y="430"/>
                    </a:lnTo>
                    <a:lnTo>
                      <a:pt x="560" y="423"/>
                    </a:lnTo>
                    <a:lnTo>
                      <a:pt x="552" y="416"/>
                    </a:lnTo>
                    <a:lnTo>
                      <a:pt x="546" y="409"/>
                    </a:lnTo>
                    <a:lnTo>
                      <a:pt x="547" y="395"/>
                    </a:lnTo>
                    <a:lnTo>
                      <a:pt x="526" y="423"/>
                    </a:lnTo>
                    <a:lnTo>
                      <a:pt x="509" y="425"/>
                    </a:lnTo>
                    <a:lnTo>
                      <a:pt x="490" y="421"/>
                    </a:lnTo>
                    <a:lnTo>
                      <a:pt x="500" y="411"/>
                    </a:lnTo>
                    <a:lnTo>
                      <a:pt x="492" y="398"/>
                    </a:lnTo>
                    <a:lnTo>
                      <a:pt x="492" y="389"/>
                    </a:lnTo>
                    <a:lnTo>
                      <a:pt x="484" y="394"/>
                    </a:lnTo>
                    <a:lnTo>
                      <a:pt x="481" y="405"/>
                    </a:lnTo>
                    <a:lnTo>
                      <a:pt x="472" y="416"/>
                    </a:lnTo>
                    <a:lnTo>
                      <a:pt x="461" y="421"/>
                    </a:lnTo>
                    <a:lnTo>
                      <a:pt x="450" y="435"/>
                    </a:lnTo>
                    <a:lnTo>
                      <a:pt x="425" y="442"/>
                    </a:lnTo>
                    <a:lnTo>
                      <a:pt x="414" y="442"/>
                    </a:lnTo>
                    <a:lnTo>
                      <a:pt x="386" y="457"/>
                    </a:lnTo>
                    <a:lnTo>
                      <a:pt x="387" y="466"/>
                    </a:lnTo>
                    <a:lnTo>
                      <a:pt x="383" y="475"/>
                    </a:lnTo>
                    <a:lnTo>
                      <a:pt x="376" y="480"/>
                    </a:lnTo>
                    <a:lnTo>
                      <a:pt x="375" y="485"/>
                    </a:lnTo>
                    <a:lnTo>
                      <a:pt x="358" y="495"/>
                    </a:lnTo>
                    <a:lnTo>
                      <a:pt x="348" y="497"/>
                    </a:lnTo>
                    <a:lnTo>
                      <a:pt x="347" y="502"/>
                    </a:lnTo>
                    <a:lnTo>
                      <a:pt x="332" y="503"/>
                    </a:lnTo>
                    <a:lnTo>
                      <a:pt x="325" y="514"/>
                    </a:lnTo>
                    <a:lnTo>
                      <a:pt x="299" y="528"/>
                    </a:lnTo>
                    <a:lnTo>
                      <a:pt x="277" y="534"/>
                    </a:lnTo>
                    <a:lnTo>
                      <a:pt x="231" y="530"/>
                    </a:lnTo>
                    <a:lnTo>
                      <a:pt x="202" y="512"/>
                    </a:lnTo>
                    <a:lnTo>
                      <a:pt x="184" y="495"/>
                    </a:lnTo>
                    <a:lnTo>
                      <a:pt x="177" y="482"/>
                    </a:lnTo>
                    <a:lnTo>
                      <a:pt x="177" y="478"/>
                    </a:lnTo>
                    <a:lnTo>
                      <a:pt x="181" y="466"/>
                    </a:lnTo>
                    <a:lnTo>
                      <a:pt x="191" y="455"/>
                    </a:lnTo>
                    <a:lnTo>
                      <a:pt x="198" y="454"/>
                    </a:lnTo>
                    <a:lnTo>
                      <a:pt x="212" y="446"/>
                    </a:lnTo>
                    <a:lnTo>
                      <a:pt x="224" y="443"/>
                    </a:lnTo>
                    <a:lnTo>
                      <a:pt x="229" y="448"/>
                    </a:lnTo>
                    <a:lnTo>
                      <a:pt x="235" y="447"/>
                    </a:lnTo>
                    <a:lnTo>
                      <a:pt x="242" y="441"/>
                    </a:lnTo>
                    <a:lnTo>
                      <a:pt x="242" y="431"/>
                    </a:lnTo>
                    <a:lnTo>
                      <a:pt x="253" y="415"/>
                    </a:lnTo>
                    <a:lnTo>
                      <a:pt x="304" y="408"/>
                    </a:lnTo>
                    <a:lnTo>
                      <a:pt x="315" y="409"/>
                    </a:lnTo>
                    <a:lnTo>
                      <a:pt x="317" y="420"/>
                    </a:lnTo>
                    <a:lnTo>
                      <a:pt x="327" y="420"/>
                    </a:lnTo>
                    <a:lnTo>
                      <a:pt x="334" y="404"/>
                    </a:lnTo>
                    <a:lnTo>
                      <a:pt x="344" y="396"/>
                    </a:lnTo>
                    <a:lnTo>
                      <a:pt x="350" y="383"/>
                    </a:lnTo>
                    <a:lnTo>
                      <a:pt x="363" y="372"/>
                    </a:lnTo>
                    <a:lnTo>
                      <a:pt x="368" y="362"/>
                    </a:lnTo>
                    <a:lnTo>
                      <a:pt x="366" y="352"/>
                    </a:lnTo>
                    <a:lnTo>
                      <a:pt x="355" y="352"/>
                    </a:lnTo>
                    <a:lnTo>
                      <a:pt x="343" y="376"/>
                    </a:lnTo>
                    <a:lnTo>
                      <a:pt x="331" y="372"/>
                    </a:lnTo>
                    <a:lnTo>
                      <a:pt x="294" y="383"/>
                    </a:lnTo>
                    <a:lnTo>
                      <a:pt x="289" y="372"/>
                    </a:lnTo>
                    <a:lnTo>
                      <a:pt x="293" y="361"/>
                    </a:lnTo>
                    <a:lnTo>
                      <a:pt x="278" y="372"/>
                    </a:lnTo>
                    <a:lnTo>
                      <a:pt x="277" y="358"/>
                    </a:lnTo>
                    <a:lnTo>
                      <a:pt x="272" y="356"/>
                    </a:lnTo>
                    <a:lnTo>
                      <a:pt x="270" y="376"/>
                    </a:lnTo>
                    <a:lnTo>
                      <a:pt x="263" y="389"/>
                    </a:lnTo>
                    <a:lnTo>
                      <a:pt x="251" y="392"/>
                    </a:lnTo>
                    <a:lnTo>
                      <a:pt x="247" y="379"/>
                    </a:lnTo>
                    <a:lnTo>
                      <a:pt x="239" y="394"/>
                    </a:lnTo>
                    <a:lnTo>
                      <a:pt x="224" y="398"/>
                    </a:lnTo>
                    <a:lnTo>
                      <a:pt x="207" y="408"/>
                    </a:lnTo>
                    <a:lnTo>
                      <a:pt x="200" y="396"/>
                    </a:lnTo>
                    <a:lnTo>
                      <a:pt x="202" y="389"/>
                    </a:lnTo>
                    <a:lnTo>
                      <a:pt x="215" y="373"/>
                    </a:lnTo>
                    <a:lnTo>
                      <a:pt x="212" y="372"/>
                    </a:lnTo>
                    <a:lnTo>
                      <a:pt x="209" y="357"/>
                    </a:lnTo>
                    <a:lnTo>
                      <a:pt x="210" y="340"/>
                    </a:lnTo>
                    <a:lnTo>
                      <a:pt x="225" y="330"/>
                    </a:lnTo>
                    <a:lnTo>
                      <a:pt x="235" y="319"/>
                    </a:lnTo>
                    <a:lnTo>
                      <a:pt x="227" y="319"/>
                    </a:lnTo>
                    <a:lnTo>
                      <a:pt x="218" y="329"/>
                    </a:lnTo>
                    <a:lnTo>
                      <a:pt x="199" y="324"/>
                    </a:lnTo>
                    <a:lnTo>
                      <a:pt x="191" y="363"/>
                    </a:lnTo>
                    <a:lnTo>
                      <a:pt x="186" y="367"/>
                    </a:lnTo>
                    <a:lnTo>
                      <a:pt x="180" y="349"/>
                    </a:lnTo>
                    <a:lnTo>
                      <a:pt x="171" y="346"/>
                    </a:lnTo>
                    <a:lnTo>
                      <a:pt x="170" y="363"/>
                    </a:lnTo>
                    <a:lnTo>
                      <a:pt x="178" y="376"/>
                    </a:lnTo>
                    <a:lnTo>
                      <a:pt x="177" y="394"/>
                    </a:lnTo>
                    <a:lnTo>
                      <a:pt x="171" y="396"/>
                    </a:lnTo>
                    <a:lnTo>
                      <a:pt x="155" y="416"/>
                    </a:lnTo>
                    <a:lnTo>
                      <a:pt x="143" y="415"/>
                    </a:lnTo>
                    <a:lnTo>
                      <a:pt x="138" y="396"/>
                    </a:lnTo>
                    <a:lnTo>
                      <a:pt x="138" y="378"/>
                    </a:lnTo>
                    <a:lnTo>
                      <a:pt x="124" y="389"/>
                    </a:lnTo>
                    <a:lnTo>
                      <a:pt x="113" y="388"/>
                    </a:lnTo>
                    <a:lnTo>
                      <a:pt x="114" y="405"/>
                    </a:lnTo>
                    <a:lnTo>
                      <a:pt x="114" y="420"/>
                    </a:lnTo>
                    <a:lnTo>
                      <a:pt x="102" y="417"/>
                    </a:lnTo>
                    <a:lnTo>
                      <a:pt x="80" y="399"/>
                    </a:lnTo>
                    <a:lnTo>
                      <a:pt x="85" y="389"/>
                    </a:lnTo>
                    <a:lnTo>
                      <a:pt x="76" y="383"/>
                    </a:lnTo>
                    <a:lnTo>
                      <a:pt x="78" y="369"/>
                    </a:lnTo>
                    <a:lnTo>
                      <a:pt x="64" y="374"/>
                    </a:lnTo>
                    <a:lnTo>
                      <a:pt x="58" y="388"/>
                    </a:lnTo>
                    <a:lnTo>
                      <a:pt x="25" y="379"/>
                    </a:lnTo>
                    <a:lnTo>
                      <a:pt x="10" y="372"/>
                    </a:lnTo>
                    <a:lnTo>
                      <a:pt x="0" y="358"/>
                    </a:lnTo>
                    <a:lnTo>
                      <a:pt x="1" y="351"/>
                    </a:lnTo>
                    <a:lnTo>
                      <a:pt x="11" y="325"/>
                    </a:lnTo>
                    <a:lnTo>
                      <a:pt x="24" y="309"/>
                    </a:lnTo>
                    <a:lnTo>
                      <a:pt x="51" y="307"/>
                    </a:lnTo>
                    <a:lnTo>
                      <a:pt x="87" y="309"/>
                    </a:lnTo>
                    <a:lnTo>
                      <a:pt x="94" y="306"/>
                    </a:lnTo>
                    <a:lnTo>
                      <a:pt x="105" y="291"/>
                    </a:lnTo>
                    <a:lnTo>
                      <a:pt x="130" y="276"/>
                    </a:lnTo>
                    <a:lnTo>
                      <a:pt x="140" y="259"/>
                    </a:lnTo>
                    <a:lnTo>
                      <a:pt x="122" y="272"/>
                    </a:lnTo>
                    <a:lnTo>
                      <a:pt x="101" y="276"/>
                    </a:lnTo>
                    <a:lnTo>
                      <a:pt x="86" y="288"/>
                    </a:lnTo>
                    <a:lnTo>
                      <a:pt x="60" y="297"/>
                    </a:lnTo>
                    <a:lnTo>
                      <a:pt x="22" y="293"/>
                    </a:lnTo>
                    <a:lnTo>
                      <a:pt x="22" y="270"/>
                    </a:lnTo>
                    <a:lnTo>
                      <a:pt x="33" y="245"/>
                    </a:lnTo>
                    <a:lnTo>
                      <a:pt x="76" y="240"/>
                    </a:lnTo>
                    <a:lnTo>
                      <a:pt x="103" y="231"/>
                    </a:lnTo>
                    <a:lnTo>
                      <a:pt x="144" y="226"/>
                    </a:lnTo>
                    <a:lnTo>
                      <a:pt x="157" y="212"/>
                    </a:lnTo>
                    <a:lnTo>
                      <a:pt x="134" y="222"/>
                    </a:lnTo>
                    <a:lnTo>
                      <a:pt x="55" y="231"/>
                    </a:lnTo>
                    <a:lnTo>
                      <a:pt x="47" y="225"/>
                    </a:lnTo>
                    <a:lnTo>
                      <a:pt x="47" y="210"/>
                    </a:lnTo>
                    <a:lnTo>
                      <a:pt x="53" y="200"/>
                    </a:lnTo>
                    <a:lnTo>
                      <a:pt x="60" y="196"/>
                    </a:lnTo>
                    <a:lnTo>
                      <a:pt x="58" y="188"/>
                    </a:lnTo>
                    <a:lnTo>
                      <a:pt x="51" y="179"/>
                    </a:lnTo>
                    <a:lnTo>
                      <a:pt x="62" y="158"/>
                    </a:lnTo>
                    <a:lnTo>
                      <a:pt x="76" y="151"/>
                    </a:lnTo>
                    <a:lnTo>
                      <a:pt x="103" y="153"/>
                    </a:lnTo>
                    <a:lnTo>
                      <a:pt x="118" y="151"/>
                    </a:lnTo>
                    <a:lnTo>
                      <a:pt x="156" y="159"/>
                    </a:lnTo>
                    <a:lnTo>
                      <a:pt x="161" y="154"/>
                    </a:lnTo>
                    <a:lnTo>
                      <a:pt x="151" y="154"/>
                    </a:lnTo>
                    <a:lnTo>
                      <a:pt x="144" y="143"/>
                    </a:lnTo>
                    <a:lnTo>
                      <a:pt x="100" y="139"/>
                    </a:lnTo>
                    <a:lnTo>
                      <a:pt x="92" y="129"/>
                    </a:lnTo>
                    <a:lnTo>
                      <a:pt x="101" y="103"/>
                    </a:lnTo>
                    <a:lnTo>
                      <a:pt x="113" y="88"/>
                    </a:lnTo>
                    <a:lnTo>
                      <a:pt x="138" y="88"/>
                    </a:lnTo>
                    <a:lnTo>
                      <a:pt x="146" y="78"/>
                    </a:lnTo>
                    <a:lnTo>
                      <a:pt x="166" y="78"/>
                    </a:lnTo>
                    <a:lnTo>
                      <a:pt x="180" y="83"/>
                    </a:lnTo>
                    <a:lnTo>
                      <a:pt x="191" y="97"/>
                    </a:lnTo>
                    <a:lnTo>
                      <a:pt x="191" y="116"/>
                    </a:lnTo>
                    <a:lnTo>
                      <a:pt x="186" y="124"/>
                    </a:lnTo>
                    <a:lnTo>
                      <a:pt x="192" y="147"/>
                    </a:lnTo>
                    <a:lnTo>
                      <a:pt x="219" y="147"/>
                    </a:lnTo>
                    <a:lnTo>
                      <a:pt x="234" y="136"/>
                    </a:lnTo>
                    <a:lnTo>
                      <a:pt x="258" y="135"/>
                    </a:lnTo>
                    <a:lnTo>
                      <a:pt x="258" y="148"/>
                    </a:lnTo>
                    <a:lnTo>
                      <a:pt x="280" y="152"/>
                    </a:lnTo>
                    <a:lnTo>
                      <a:pt x="288" y="179"/>
                    </a:lnTo>
                    <a:lnTo>
                      <a:pt x="302" y="200"/>
                    </a:lnTo>
                    <a:lnTo>
                      <a:pt x="312" y="200"/>
                    </a:lnTo>
                    <a:lnTo>
                      <a:pt x="321" y="210"/>
                    </a:lnTo>
                    <a:lnTo>
                      <a:pt x="301" y="223"/>
                    </a:lnTo>
                    <a:lnTo>
                      <a:pt x="300" y="234"/>
                    </a:lnTo>
                    <a:lnTo>
                      <a:pt x="310" y="237"/>
                    </a:lnTo>
                    <a:lnTo>
                      <a:pt x="336" y="227"/>
                    </a:lnTo>
                    <a:lnTo>
                      <a:pt x="336" y="232"/>
                    </a:lnTo>
                    <a:lnTo>
                      <a:pt x="339" y="239"/>
                    </a:lnTo>
                    <a:lnTo>
                      <a:pt x="342" y="250"/>
                    </a:lnTo>
                    <a:lnTo>
                      <a:pt x="336" y="258"/>
                    </a:lnTo>
                    <a:lnTo>
                      <a:pt x="340" y="256"/>
                    </a:lnTo>
                    <a:lnTo>
                      <a:pt x="344" y="271"/>
                    </a:lnTo>
                    <a:lnTo>
                      <a:pt x="343" y="287"/>
                    </a:lnTo>
                    <a:lnTo>
                      <a:pt x="349" y="297"/>
                    </a:lnTo>
                    <a:lnTo>
                      <a:pt x="359" y="298"/>
                    </a:lnTo>
                    <a:lnTo>
                      <a:pt x="366" y="297"/>
                    </a:lnTo>
                    <a:lnTo>
                      <a:pt x="371" y="292"/>
                    </a:lnTo>
                    <a:lnTo>
                      <a:pt x="377" y="293"/>
                    </a:lnTo>
                    <a:lnTo>
                      <a:pt x="395" y="288"/>
                    </a:lnTo>
                    <a:lnTo>
                      <a:pt x="399" y="297"/>
                    </a:lnTo>
                    <a:lnTo>
                      <a:pt x="419" y="293"/>
                    </a:lnTo>
                    <a:lnTo>
                      <a:pt x="469" y="303"/>
                    </a:lnTo>
                    <a:lnTo>
                      <a:pt x="478" y="301"/>
                    </a:lnTo>
                    <a:lnTo>
                      <a:pt x="482" y="283"/>
                    </a:lnTo>
                    <a:lnTo>
                      <a:pt x="482" y="261"/>
                    </a:lnTo>
                    <a:lnTo>
                      <a:pt x="468" y="245"/>
                    </a:lnTo>
                    <a:lnTo>
                      <a:pt x="462" y="233"/>
                    </a:lnTo>
                    <a:lnTo>
                      <a:pt x="450" y="236"/>
                    </a:lnTo>
                    <a:lnTo>
                      <a:pt x="444" y="229"/>
                    </a:lnTo>
                    <a:lnTo>
                      <a:pt x="440" y="221"/>
                    </a:lnTo>
                    <a:lnTo>
                      <a:pt x="431" y="227"/>
                    </a:lnTo>
                    <a:lnTo>
                      <a:pt x="425" y="218"/>
                    </a:lnTo>
                    <a:lnTo>
                      <a:pt x="449" y="204"/>
                    </a:lnTo>
                    <a:lnTo>
                      <a:pt x="451" y="193"/>
                    </a:lnTo>
                    <a:lnTo>
                      <a:pt x="462" y="190"/>
                    </a:lnTo>
                    <a:lnTo>
                      <a:pt x="456" y="163"/>
                    </a:lnTo>
                    <a:lnTo>
                      <a:pt x="450" y="152"/>
                    </a:lnTo>
                    <a:lnTo>
                      <a:pt x="440" y="148"/>
                    </a:lnTo>
                    <a:lnTo>
                      <a:pt x="438" y="142"/>
                    </a:lnTo>
                    <a:lnTo>
                      <a:pt x="424" y="139"/>
                    </a:lnTo>
                    <a:lnTo>
                      <a:pt x="402" y="120"/>
                    </a:lnTo>
                    <a:lnTo>
                      <a:pt x="401" y="110"/>
                    </a:lnTo>
                    <a:lnTo>
                      <a:pt x="401" y="100"/>
                    </a:lnTo>
                    <a:lnTo>
                      <a:pt x="396" y="93"/>
                    </a:lnTo>
                    <a:lnTo>
                      <a:pt x="412" y="89"/>
                    </a:lnTo>
                    <a:lnTo>
                      <a:pt x="420" y="8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32" name="Freeform 294"/>
              <p:cNvSpPr>
                <a:spLocks noChangeAspect="1"/>
              </p:cNvSpPr>
              <p:nvPr/>
            </p:nvSpPr>
            <p:spPr bwMode="gray">
              <a:xfrm>
                <a:off x="1168" y="1099"/>
                <a:ext cx="80" cy="82"/>
              </a:xfrm>
              <a:custGeom>
                <a:avLst/>
                <a:gdLst/>
                <a:ahLst/>
                <a:cxnLst>
                  <a:cxn ang="0">
                    <a:pos x="157" y="126"/>
                  </a:cxn>
                  <a:cxn ang="0">
                    <a:pos x="177" y="100"/>
                  </a:cxn>
                  <a:cxn ang="0">
                    <a:pos x="197" y="75"/>
                  </a:cxn>
                  <a:cxn ang="0">
                    <a:pos x="224" y="48"/>
                  </a:cxn>
                  <a:cxn ang="0">
                    <a:pos x="242" y="51"/>
                  </a:cxn>
                  <a:cxn ang="0">
                    <a:pos x="269" y="44"/>
                  </a:cxn>
                  <a:cxn ang="0">
                    <a:pos x="274" y="72"/>
                  </a:cxn>
                  <a:cxn ang="0">
                    <a:pos x="285" y="59"/>
                  </a:cxn>
                  <a:cxn ang="0">
                    <a:pos x="303" y="57"/>
                  </a:cxn>
                  <a:cxn ang="0">
                    <a:pos x="329" y="43"/>
                  </a:cxn>
                  <a:cxn ang="0">
                    <a:pos x="307" y="23"/>
                  </a:cxn>
                  <a:cxn ang="0">
                    <a:pos x="343" y="0"/>
                  </a:cxn>
                  <a:cxn ang="0">
                    <a:pos x="382" y="37"/>
                  </a:cxn>
                  <a:cxn ang="0">
                    <a:pos x="397" y="72"/>
                  </a:cxn>
                  <a:cxn ang="0">
                    <a:pos x="356" y="91"/>
                  </a:cxn>
                  <a:cxn ang="0">
                    <a:pos x="353" y="119"/>
                  </a:cxn>
                  <a:cxn ang="0">
                    <a:pos x="369" y="159"/>
                  </a:cxn>
                  <a:cxn ang="0">
                    <a:pos x="355" y="173"/>
                  </a:cxn>
                  <a:cxn ang="0">
                    <a:pos x="370" y="190"/>
                  </a:cxn>
                  <a:cxn ang="0">
                    <a:pos x="350" y="237"/>
                  </a:cxn>
                  <a:cxn ang="0">
                    <a:pos x="314" y="258"/>
                  </a:cxn>
                  <a:cxn ang="0">
                    <a:pos x="300" y="309"/>
                  </a:cxn>
                  <a:cxn ang="0">
                    <a:pos x="265" y="253"/>
                  </a:cxn>
                  <a:cxn ang="0">
                    <a:pos x="275" y="195"/>
                  </a:cxn>
                  <a:cxn ang="0">
                    <a:pos x="262" y="193"/>
                  </a:cxn>
                  <a:cxn ang="0">
                    <a:pos x="244" y="206"/>
                  </a:cxn>
                  <a:cxn ang="0">
                    <a:pos x="244" y="244"/>
                  </a:cxn>
                  <a:cxn ang="0">
                    <a:pos x="216" y="239"/>
                  </a:cxn>
                  <a:cxn ang="0">
                    <a:pos x="217" y="264"/>
                  </a:cxn>
                  <a:cxn ang="0">
                    <a:pos x="231" y="302"/>
                  </a:cxn>
                  <a:cxn ang="0">
                    <a:pos x="211" y="342"/>
                  </a:cxn>
                  <a:cxn ang="0">
                    <a:pos x="195" y="324"/>
                  </a:cxn>
                  <a:cxn ang="0">
                    <a:pos x="181" y="295"/>
                  </a:cxn>
                  <a:cxn ang="0">
                    <a:pos x="174" y="318"/>
                  </a:cxn>
                  <a:cxn ang="0">
                    <a:pos x="181" y="336"/>
                  </a:cxn>
                  <a:cxn ang="0">
                    <a:pos x="181" y="368"/>
                  </a:cxn>
                  <a:cxn ang="0">
                    <a:pos x="171" y="393"/>
                  </a:cxn>
                  <a:cxn ang="0">
                    <a:pos x="145" y="384"/>
                  </a:cxn>
                  <a:cxn ang="0">
                    <a:pos x="131" y="393"/>
                  </a:cxn>
                  <a:cxn ang="0">
                    <a:pos x="114" y="351"/>
                  </a:cxn>
                  <a:cxn ang="0">
                    <a:pos x="114" y="319"/>
                  </a:cxn>
                  <a:cxn ang="0">
                    <a:pos x="101" y="360"/>
                  </a:cxn>
                  <a:cxn ang="0">
                    <a:pos x="56" y="360"/>
                  </a:cxn>
                  <a:cxn ang="0">
                    <a:pos x="58" y="334"/>
                  </a:cxn>
                  <a:cxn ang="0">
                    <a:pos x="37" y="378"/>
                  </a:cxn>
                  <a:cxn ang="0">
                    <a:pos x="12" y="367"/>
                  </a:cxn>
                  <a:cxn ang="0">
                    <a:pos x="2" y="346"/>
                  </a:cxn>
                  <a:cxn ang="0">
                    <a:pos x="15" y="308"/>
                  </a:cxn>
                  <a:cxn ang="0">
                    <a:pos x="29" y="274"/>
                  </a:cxn>
                  <a:cxn ang="0">
                    <a:pos x="59" y="274"/>
                  </a:cxn>
                  <a:cxn ang="0">
                    <a:pos x="82" y="239"/>
                  </a:cxn>
                  <a:cxn ang="0">
                    <a:pos x="90" y="209"/>
                  </a:cxn>
                  <a:cxn ang="0">
                    <a:pos x="111" y="206"/>
                  </a:cxn>
                  <a:cxn ang="0">
                    <a:pos x="134" y="178"/>
                  </a:cxn>
                  <a:cxn ang="0">
                    <a:pos x="147" y="150"/>
                  </a:cxn>
                </a:cxnLst>
                <a:rect l="0" t="0" r="r" b="b"/>
                <a:pathLst>
                  <a:path w="399" h="411">
                    <a:moveTo>
                      <a:pt x="154" y="134"/>
                    </a:moveTo>
                    <a:lnTo>
                      <a:pt x="156" y="136"/>
                    </a:lnTo>
                    <a:lnTo>
                      <a:pt x="157" y="126"/>
                    </a:lnTo>
                    <a:lnTo>
                      <a:pt x="166" y="120"/>
                    </a:lnTo>
                    <a:lnTo>
                      <a:pt x="170" y="109"/>
                    </a:lnTo>
                    <a:lnTo>
                      <a:pt x="177" y="100"/>
                    </a:lnTo>
                    <a:lnTo>
                      <a:pt x="184" y="99"/>
                    </a:lnTo>
                    <a:lnTo>
                      <a:pt x="187" y="89"/>
                    </a:lnTo>
                    <a:lnTo>
                      <a:pt x="197" y="75"/>
                    </a:lnTo>
                    <a:lnTo>
                      <a:pt x="198" y="61"/>
                    </a:lnTo>
                    <a:lnTo>
                      <a:pt x="221" y="57"/>
                    </a:lnTo>
                    <a:lnTo>
                      <a:pt x="224" y="48"/>
                    </a:lnTo>
                    <a:lnTo>
                      <a:pt x="232" y="49"/>
                    </a:lnTo>
                    <a:lnTo>
                      <a:pt x="238" y="57"/>
                    </a:lnTo>
                    <a:lnTo>
                      <a:pt x="242" y="51"/>
                    </a:lnTo>
                    <a:lnTo>
                      <a:pt x="256" y="50"/>
                    </a:lnTo>
                    <a:lnTo>
                      <a:pt x="260" y="45"/>
                    </a:lnTo>
                    <a:lnTo>
                      <a:pt x="269" y="44"/>
                    </a:lnTo>
                    <a:lnTo>
                      <a:pt x="267" y="60"/>
                    </a:lnTo>
                    <a:lnTo>
                      <a:pt x="270" y="76"/>
                    </a:lnTo>
                    <a:lnTo>
                      <a:pt x="274" y="72"/>
                    </a:lnTo>
                    <a:lnTo>
                      <a:pt x="271" y="57"/>
                    </a:lnTo>
                    <a:lnTo>
                      <a:pt x="275" y="48"/>
                    </a:lnTo>
                    <a:lnTo>
                      <a:pt x="285" y="59"/>
                    </a:lnTo>
                    <a:lnTo>
                      <a:pt x="298" y="66"/>
                    </a:lnTo>
                    <a:lnTo>
                      <a:pt x="306" y="66"/>
                    </a:lnTo>
                    <a:lnTo>
                      <a:pt x="303" y="57"/>
                    </a:lnTo>
                    <a:lnTo>
                      <a:pt x="319" y="61"/>
                    </a:lnTo>
                    <a:lnTo>
                      <a:pt x="330" y="49"/>
                    </a:lnTo>
                    <a:lnTo>
                      <a:pt x="329" y="43"/>
                    </a:lnTo>
                    <a:lnTo>
                      <a:pt x="322" y="44"/>
                    </a:lnTo>
                    <a:lnTo>
                      <a:pt x="313" y="37"/>
                    </a:lnTo>
                    <a:lnTo>
                      <a:pt x="307" y="23"/>
                    </a:lnTo>
                    <a:lnTo>
                      <a:pt x="317" y="19"/>
                    </a:lnTo>
                    <a:lnTo>
                      <a:pt x="323" y="7"/>
                    </a:lnTo>
                    <a:lnTo>
                      <a:pt x="343" y="0"/>
                    </a:lnTo>
                    <a:lnTo>
                      <a:pt x="365" y="18"/>
                    </a:lnTo>
                    <a:lnTo>
                      <a:pt x="365" y="24"/>
                    </a:lnTo>
                    <a:lnTo>
                      <a:pt x="382" y="37"/>
                    </a:lnTo>
                    <a:lnTo>
                      <a:pt x="399" y="57"/>
                    </a:lnTo>
                    <a:lnTo>
                      <a:pt x="399" y="66"/>
                    </a:lnTo>
                    <a:lnTo>
                      <a:pt x="397" y="72"/>
                    </a:lnTo>
                    <a:lnTo>
                      <a:pt x="384" y="77"/>
                    </a:lnTo>
                    <a:lnTo>
                      <a:pt x="381" y="85"/>
                    </a:lnTo>
                    <a:lnTo>
                      <a:pt x="356" y="91"/>
                    </a:lnTo>
                    <a:lnTo>
                      <a:pt x="349" y="99"/>
                    </a:lnTo>
                    <a:lnTo>
                      <a:pt x="348" y="108"/>
                    </a:lnTo>
                    <a:lnTo>
                      <a:pt x="353" y="119"/>
                    </a:lnTo>
                    <a:lnTo>
                      <a:pt x="376" y="148"/>
                    </a:lnTo>
                    <a:lnTo>
                      <a:pt x="377" y="159"/>
                    </a:lnTo>
                    <a:lnTo>
                      <a:pt x="369" y="159"/>
                    </a:lnTo>
                    <a:lnTo>
                      <a:pt x="360" y="152"/>
                    </a:lnTo>
                    <a:lnTo>
                      <a:pt x="353" y="159"/>
                    </a:lnTo>
                    <a:lnTo>
                      <a:pt x="355" y="173"/>
                    </a:lnTo>
                    <a:lnTo>
                      <a:pt x="364" y="174"/>
                    </a:lnTo>
                    <a:lnTo>
                      <a:pt x="366" y="186"/>
                    </a:lnTo>
                    <a:lnTo>
                      <a:pt x="370" y="190"/>
                    </a:lnTo>
                    <a:lnTo>
                      <a:pt x="375" y="210"/>
                    </a:lnTo>
                    <a:lnTo>
                      <a:pt x="366" y="222"/>
                    </a:lnTo>
                    <a:lnTo>
                      <a:pt x="350" y="237"/>
                    </a:lnTo>
                    <a:lnTo>
                      <a:pt x="324" y="237"/>
                    </a:lnTo>
                    <a:lnTo>
                      <a:pt x="318" y="244"/>
                    </a:lnTo>
                    <a:lnTo>
                      <a:pt x="314" y="258"/>
                    </a:lnTo>
                    <a:lnTo>
                      <a:pt x="317" y="288"/>
                    </a:lnTo>
                    <a:lnTo>
                      <a:pt x="313" y="302"/>
                    </a:lnTo>
                    <a:lnTo>
                      <a:pt x="300" y="309"/>
                    </a:lnTo>
                    <a:lnTo>
                      <a:pt x="287" y="307"/>
                    </a:lnTo>
                    <a:lnTo>
                      <a:pt x="265" y="269"/>
                    </a:lnTo>
                    <a:lnTo>
                      <a:pt x="265" y="253"/>
                    </a:lnTo>
                    <a:lnTo>
                      <a:pt x="269" y="237"/>
                    </a:lnTo>
                    <a:lnTo>
                      <a:pt x="268" y="220"/>
                    </a:lnTo>
                    <a:lnTo>
                      <a:pt x="275" y="195"/>
                    </a:lnTo>
                    <a:lnTo>
                      <a:pt x="276" y="183"/>
                    </a:lnTo>
                    <a:lnTo>
                      <a:pt x="270" y="182"/>
                    </a:lnTo>
                    <a:lnTo>
                      <a:pt x="262" y="193"/>
                    </a:lnTo>
                    <a:lnTo>
                      <a:pt x="246" y="189"/>
                    </a:lnTo>
                    <a:lnTo>
                      <a:pt x="244" y="200"/>
                    </a:lnTo>
                    <a:lnTo>
                      <a:pt x="244" y="206"/>
                    </a:lnTo>
                    <a:lnTo>
                      <a:pt x="237" y="213"/>
                    </a:lnTo>
                    <a:lnTo>
                      <a:pt x="243" y="220"/>
                    </a:lnTo>
                    <a:lnTo>
                      <a:pt x="244" y="244"/>
                    </a:lnTo>
                    <a:lnTo>
                      <a:pt x="235" y="255"/>
                    </a:lnTo>
                    <a:lnTo>
                      <a:pt x="225" y="242"/>
                    </a:lnTo>
                    <a:lnTo>
                      <a:pt x="216" y="239"/>
                    </a:lnTo>
                    <a:lnTo>
                      <a:pt x="216" y="247"/>
                    </a:lnTo>
                    <a:lnTo>
                      <a:pt x="211" y="256"/>
                    </a:lnTo>
                    <a:lnTo>
                      <a:pt x="217" y="264"/>
                    </a:lnTo>
                    <a:lnTo>
                      <a:pt x="227" y="268"/>
                    </a:lnTo>
                    <a:lnTo>
                      <a:pt x="233" y="291"/>
                    </a:lnTo>
                    <a:lnTo>
                      <a:pt x="231" y="302"/>
                    </a:lnTo>
                    <a:lnTo>
                      <a:pt x="216" y="311"/>
                    </a:lnTo>
                    <a:lnTo>
                      <a:pt x="215" y="331"/>
                    </a:lnTo>
                    <a:lnTo>
                      <a:pt x="211" y="342"/>
                    </a:lnTo>
                    <a:lnTo>
                      <a:pt x="209" y="340"/>
                    </a:lnTo>
                    <a:lnTo>
                      <a:pt x="201" y="344"/>
                    </a:lnTo>
                    <a:lnTo>
                      <a:pt x="195" y="324"/>
                    </a:lnTo>
                    <a:lnTo>
                      <a:pt x="188" y="308"/>
                    </a:lnTo>
                    <a:lnTo>
                      <a:pt x="185" y="287"/>
                    </a:lnTo>
                    <a:lnTo>
                      <a:pt x="181" y="295"/>
                    </a:lnTo>
                    <a:lnTo>
                      <a:pt x="173" y="290"/>
                    </a:lnTo>
                    <a:lnTo>
                      <a:pt x="172" y="301"/>
                    </a:lnTo>
                    <a:lnTo>
                      <a:pt x="174" y="318"/>
                    </a:lnTo>
                    <a:lnTo>
                      <a:pt x="178" y="324"/>
                    </a:lnTo>
                    <a:lnTo>
                      <a:pt x="173" y="334"/>
                    </a:lnTo>
                    <a:lnTo>
                      <a:pt x="181" y="336"/>
                    </a:lnTo>
                    <a:lnTo>
                      <a:pt x="162" y="346"/>
                    </a:lnTo>
                    <a:lnTo>
                      <a:pt x="173" y="352"/>
                    </a:lnTo>
                    <a:lnTo>
                      <a:pt x="181" y="368"/>
                    </a:lnTo>
                    <a:lnTo>
                      <a:pt x="182" y="376"/>
                    </a:lnTo>
                    <a:lnTo>
                      <a:pt x="173" y="376"/>
                    </a:lnTo>
                    <a:lnTo>
                      <a:pt x="171" y="393"/>
                    </a:lnTo>
                    <a:lnTo>
                      <a:pt x="162" y="398"/>
                    </a:lnTo>
                    <a:lnTo>
                      <a:pt x="154" y="398"/>
                    </a:lnTo>
                    <a:lnTo>
                      <a:pt x="145" y="384"/>
                    </a:lnTo>
                    <a:lnTo>
                      <a:pt x="144" y="400"/>
                    </a:lnTo>
                    <a:lnTo>
                      <a:pt x="139" y="411"/>
                    </a:lnTo>
                    <a:lnTo>
                      <a:pt x="131" y="393"/>
                    </a:lnTo>
                    <a:lnTo>
                      <a:pt x="130" y="367"/>
                    </a:lnTo>
                    <a:lnTo>
                      <a:pt x="123" y="367"/>
                    </a:lnTo>
                    <a:lnTo>
                      <a:pt x="114" y="351"/>
                    </a:lnTo>
                    <a:lnTo>
                      <a:pt x="118" y="339"/>
                    </a:lnTo>
                    <a:lnTo>
                      <a:pt x="117" y="328"/>
                    </a:lnTo>
                    <a:lnTo>
                      <a:pt x="114" y="319"/>
                    </a:lnTo>
                    <a:lnTo>
                      <a:pt x="103" y="329"/>
                    </a:lnTo>
                    <a:lnTo>
                      <a:pt x="101" y="349"/>
                    </a:lnTo>
                    <a:lnTo>
                      <a:pt x="101" y="360"/>
                    </a:lnTo>
                    <a:lnTo>
                      <a:pt x="91" y="382"/>
                    </a:lnTo>
                    <a:lnTo>
                      <a:pt x="82" y="371"/>
                    </a:lnTo>
                    <a:lnTo>
                      <a:pt x="56" y="360"/>
                    </a:lnTo>
                    <a:lnTo>
                      <a:pt x="55" y="352"/>
                    </a:lnTo>
                    <a:lnTo>
                      <a:pt x="58" y="346"/>
                    </a:lnTo>
                    <a:lnTo>
                      <a:pt x="58" y="334"/>
                    </a:lnTo>
                    <a:lnTo>
                      <a:pt x="50" y="356"/>
                    </a:lnTo>
                    <a:lnTo>
                      <a:pt x="44" y="361"/>
                    </a:lnTo>
                    <a:lnTo>
                      <a:pt x="37" y="378"/>
                    </a:lnTo>
                    <a:lnTo>
                      <a:pt x="21" y="383"/>
                    </a:lnTo>
                    <a:lnTo>
                      <a:pt x="12" y="373"/>
                    </a:lnTo>
                    <a:lnTo>
                      <a:pt x="12" y="367"/>
                    </a:lnTo>
                    <a:lnTo>
                      <a:pt x="25" y="333"/>
                    </a:lnTo>
                    <a:lnTo>
                      <a:pt x="16" y="328"/>
                    </a:lnTo>
                    <a:lnTo>
                      <a:pt x="2" y="346"/>
                    </a:lnTo>
                    <a:lnTo>
                      <a:pt x="0" y="326"/>
                    </a:lnTo>
                    <a:lnTo>
                      <a:pt x="5" y="317"/>
                    </a:lnTo>
                    <a:lnTo>
                      <a:pt x="15" y="308"/>
                    </a:lnTo>
                    <a:lnTo>
                      <a:pt x="16" y="285"/>
                    </a:lnTo>
                    <a:lnTo>
                      <a:pt x="27" y="280"/>
                    </a:lnTo>
                    <a:lnTo>
                      <a:pt x="29" y="274"/>
                    </a:lnTo>
                    <a:lnTo>
                      <a:pt x="39" y="266"/>
                    </a:lnTo>
                    <a:lnTo>
                      <a:pt x="47" y="266"/>
                    </a:lnTo>
                    <a:lnTo>
                      <a:pt x="59" y="274"/>
                    </a:lnTo>
                    <a:lnTo>
                      <a:pt x="64" y="269"/>
                    </a:lnTo>
                    <a:lnTo>
                      <a:pt x="70" y="271"/>
                    </a:lnTo>
                    <a:lnTo>
                      <a:pt x="82" y="239"/>
                    </a:lnTo>
                    <a:lnTo>
                      <a:pt x="90" y="231"/>
                    </a:lnTo>
                    <a:lnTo>
                      <a:pt x="91" y="225"/>
                    </a:lnTo>
                    <a:lnTo>
                      <a:pt x="90" y="209"/>
                    </a:lnTo>
                    <a:lnTo>
                      <a:pt x="93" y="216"/>
                    </a:lnTo>
                    <a:lnTo>
                      <a:pt x="99" y="213"/>
                    </a:lnTo>
                    <a:lnTo>
                      <a:pt x="111" y="206"/>
                    </a:lnTo>
                    <a:lnTo>
                      <a:pt x="114" y="198"/>
                    </a:lnTo>
                    <a:lnTo>
                      <a:pt x="120" y="198"/>
                    </a:lnTo>
                    <a:lnTo>
                      <a:pt x="134" y="178"/>
                    </a:lnTo>
                    <a:lnTo>
                      <a:pt x="147" y="174"/>
                    </a:lnTo>
                    <a:lnTo>
                      <a:pt x="138" y="170"/>
                    </a:lnTo>
                    <a:lnTo>
                      <a:pt x="147" y="150"/>
                    </a:lnTo>
                    <a:lnTo>
                      <a:pt x="149" y="139"/>
                    </a:lnTo>
                    <a:lnTo>
                      <a:pt x="154" y="13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33" name="Freeform 295"/>
              <p:cNvSpPr>
                <a:spLocks noChangeAspect="1"/>
              </p:cNvSpPr>
              <p:nvPr/>
            </p:nvSpPr>
            <p:spPr bwMode="gray">
              <a:xfrm>
                <a:off x="1271" y="1070"/>
                <a:ext cx="40" cy="39"/>
              </a:xfrm>
              <a:custGeom>
                <a:avLst/>
                <a:gdLst/>
                <a:ahLst/>
                <a:cxnLst>
                  <a:cxn ang="0">
                    <a:pos x="76" y="19"/>
                  </a:cxn>
                  <a:cxn ang="0">
                    <a:pos x="84" y="23"/>
                  </a:cxn>
                  <a:cxn ang="0">
                    <a:pos x="84" y="19"/>
                  </a:cxn>
                  <a:cxn ang="0">
                    <a:pos x="95" y="13"/>
                  </a:cxn>
                  <a:cxn ang="0">
                    <a:pos x="127" y="7"/>
                  </a:cxn>
                  <a:cxn ang="0">
                    <a:pos x="128" y="13"/>
                  </a:cxn>
                  <a:cxn ang="0">
                    <a:pos x="138" y="16"/>
                  </a:cxn>
                  <a:cxn ang="0">
                    <a:pos x="145" y="5"/>
                  </a:cxn>
                  <a:cxn ang="0">
                    <a:pos x="172" y="0"/>
                  </a:cxn>
                  <a:cxn ang="0">
                    <a:pos x="198" y="8"/>
                  </a:cxn>
                  <a:cxn ang="0">
                    <a:pos x="200" y="21"/>
                  </a:cxn>
                  <a:cxn ang="0">
                    <a:pos x="199" y="37"/>
                  </a:cxn>
                  <a:cxn ang="0">
                    <a:pos x="194" y="46"/>
                  </a:cxn>
                  <a:cxn ang="0">
                    <a:pos x="149" y="60"/>
                  </a:cxn>
                  <a:cxn ang="0">
                    <a:pos x="135" y="60"/>
                  </a:cxn>
                  <a:cxn ang="0">
                    <a:pos x="134" y="65"/>
                  </a:cxn>
                  <a:cxn ang="0">
                    <a:pos x="127" y="70"/>
                  </a:cxn>
                  <a:cxn ang="0">
                    <a:pos x="134" y="76"/>
                  </a:cxn>
                  <a:cxn ang="0">
                    <a:pos x="129" y="80"/>
                  </a:cxn>
                  <a:cxn ang="0">
                    <a:pos x="105" y="81"/>
                  </a:cxn>
                  <a:cxn ang="0">
                    <a:pos x="107" y="85"/>
                  </a:cxn>
                  <a:cxn ang="0">
                    <a:pos x="107" y="97"/>
                  </a:cxn>
                  <a:cxn ang="0">
                    <a:pos x="114" y="87"/>
                  </a:cxn>
                  <a:cxn ang="0">
                    <a:pos x="116" y="94"/>
                  </a:cxn>
                  <a:cxn ang="0">
                    <a:pos x="111" y="104"/>
                  </a:cxn>
                  <a:cxn ang="0">
                    <a:pos x="123" y="92"/>
                  </a:cxn>
                  <a:cxn ang="0">
                    <a:pos x="129" y="92"/>
                  </a:cxn>
                  <a:cxn ang="0">
                    <a:pos x="129" y="104"/>
                  </a:cxn>
                  <a:cxn ang="0">
                    <a:pos x="134" y="99"/>
                  </a:cxn>
                  <a:cxn ang="0">
                    <a:pos x="135" y="87"/>
                  </a:cxn>
                  <a:cxn ang="0">
                    <a:pos x="140" y="81"/>
                  </a:cxn>
                  <a:cxn ang="0">
                    <a:pos x="144" y="89"/>
                  </a:cxn>
                  <a:cxn ang="0">
                    <a:pos x="155" y="92"/>
                  </a:cxn>
                  <a:cxn ang="0">
                    <a:pos x="173" y="87"/>
                  </a:cxn>
                  <a:cxn ang="0">
                    <a:pos x="177" y="115"/>
                  </a:cxn>
                  <a:cxn ang="0">
                    <a:pos x="173" y="150"/>
                  </a:cxn>
                  <a:cxn ang="0">
                    <a:pos x="168" y="157"/>
                  </a:cxn>
                  <a:cxn ang="0">
                    <a:pos x="161" y="163"/>
                  </a:cxn>
                  <a:cxn ang="0">
                    <a:pos x="125" y="177"/>
                  </a:cxn>
                  <a:cxn ang="0">
                    <a:pos x="117" y="172"/>
                  </a:cxn>
                  <a:cxn ang="0">
                    <a:pos x="76" y="195"/>
                  </a:cxn>
                  <a:cxn ang="0">
                    <a:pos x="64" y="195"/>
                  </a:cxn>
                  <a:cxn ang="0">
                    <a:pos x="52" y="190"/>
                  </a:cxn>
                  <a:cxn ang="0">
                    <a:pos x="46" y="179"/>
                  </a:cxn>
                  <a:cxn ang="0">
                    <a:pos x="44" y="169"/>
                  </a:cxn>
                  <a:cxn ang="0">
                    <a:pos x="14" y="158"/>
                  </a:cxn>
                  <a:cxn ang="0">
                    <a:pos x="6" y="148"/>
                  </a:cxn>
                  <a:cxn ang="0">
                    <a:pos x="6" y="136"/>
                  </a:cxn>
                  <a:cxn ang="0">
                    <a:pos x="9" y="129"/>
                  </a:cxn>
                  <a:cxn ang="0">
                    <a:pos x="6" y="118"/>
                  </a:cxn>
                  <a:cxn ang="0">
                    <a:pos x="6" y="102"/>
                  </a:cxn>
                  <a:cxn ang="0">
                    <a:pos x="0" y="83"/>
                  </a:cxn>
                  <a:cxn ang="0">
                    <a:pos x="4" y="61"/>
                  </a:cxn>
                  <a:cxn ang="0">
                    <a:pos x="8" y="56"/>
                  </a:cxn>
                  <a:cxn ang="0">
                    <a:pos x="32" y="49"/>
                  </a:cxn>
                  <a:cxn ang="0">
                    <a:pos x="37" y="39"/>
                  </a:cxn>
                  <a:cxn ang="0">
                    <a:pos x="46" y="33"/>
                  </a:cxn>
                  <a:cxn ang="0">
                    <a:pos x="54" y="37"/>
                  </a:cxn>
                  <a:cxn ang="0">
                    <a:pos x="63" y="23"/>
                  </a:cxn>
                  <a:cxn ang="0">
                    <a:pos x="71" y="23"/>
                  </a:cxn>
                  <a:cxn ang="0">
                    <a:pos x="76" y="19"/>
                  </a:cxn>
                </a:cxnLst>
                <a:rect l="0" t="0" r="r" b="b"/>
                <a:pathLst>
                  <a:path w="200" h="195">
                    <a:moveTo>
                      <a:pt x="76" y="19"/>
                    </a:moveTo>
                    <a:lnTo>
                      <a:pt x="84" y="23"/>
                    </a:lnTo>
                    <a:lnTo>
                      <a:pt x="84" y="19"/>
                    </a:lnTo>
                    <a:lnTo>
                      <a:pt x="95" y="13"/>
                    </a:lnTo>
                    <a:lnTo>
                      <a:pt x="127" y="7"/>
                    </a:lnTo>
                    <a:lnTo>
                      <a:pt x="128" y="13"/>
                    </a:lnTo>
                    <a:lnTo>
                      <a:pt x="138" y="16"/>
                    </a:lnTo>
                    <a:lnTo>
                      <a:pt x="145" y="5"/>
                    </a:lnTo>
                    <a:lnTo>
                      <a:pt x="172" y="0"/>
                    </a:lnTo>
                    <a:lnTo>
                      <a:pt x="198" y="8"/>
                    </a:lnTo>
                    <a:lnTo>
                      <a:pt x="200" y="21"/>
                    </a:lnTo>
                    <a:lnTo>
                      <a:pt x="199" y="37"/>
                    </a:lnTo>
                    <a:lnTo>
                      <a:pt x="194" y="46"/>
                    </a:lnTo>
                    <a:lnTo>
                      <a:pt x="149" y="60"/>
                    </a:lnTo>
                    <a:lnTo>
                      <a:pt x="135" y="60"/>
                    </a:lnTo>
                    <a:lnTo>
                      <a:pt x="134" y="65"/>
                    </a:lnTo>
                    <a:lnTo>
                      <a:pt x="127" y="70"/>
                    </a:lnTo>
                    <a:lnTo>
                      <a:pt x="134" y="76"/>
                    </a:lnTo>
                    <a:lnTo>
                      <a:pt x="129" y="80"/>
                    </a:lnTo>
                    <a:lnTo>
                      <a:pt x="105" y="81"/>
                    </a:lnTo>
                    <a:lnTo>
                      <a:pt x="107" y="85"/>
                    </a:lnTo>
                    <a:lnTo>
                      <a:pt x="107" y="97"/>
                    </a:lnTo>
                    <a:lnTo>
                      <a:pt x="114" y="87"/>
                    </a:lnTo>
                    <a:lnTo>
                      <a:pt x="116" y="94"/>
                    </a:lnTo>
                    <a:lnTo>
                      <a:pt x="111" y="104"/>
                    </a:lnTo>
                    <a:lnTo>
                      <a:pt x="123" y="92"/>
                    </a:lnTo>
                    <a:lnTo>
                      <a:pt x="129" y="92"/>
                    </a:lnTo>
                    <a:lnTo>
                      <a:pt x="129" y="104"/>
                    </a:lnTo>
                    <a:lnTo>
                      <a:pt x="134" y="99"/>
                    </a:lnTo>
                    <a:lnTo>
                      <a:pt x="135" y="87"/>
                    </a:lnTo>
                    <a:lnTo>
                      <a:pt x="140" y="81"/>
                    </a:lnTo>
                    <a:lnTo>
                      <a:pt x="144" y="89"/>
                    </a:lnTo>
                    <a:lnTo>
                      <a:pt x="155" y="92"/>
                    </a:lnTo>
                    <a:lnTo>
                      <a:pt x="173" y="87"/>
                    </a:lnTo>
                    <a:lnTo>
                      <a:pt x="177" y="115"/>
                    </a:lnTo>
                    <a:lnTo>
                      <a:pt x="173" y="150"/>
                    </a:lnTo>
                    <a:lnTo>
                      <a:pt x="168" y="157"/>
                    </a:lnTo>
                    <a:lnTo>
                      <a:pt x="161" y="163"/>
                    </a:lnTo>
                    <a:lnTo>
                      <a:pt x="125" y="177"/>
                    </a:lnTo>
                    <a:lnTo>
                      <a:pt x="117" y="172"/>
                    </a:lnTo>
                    <a:lnTo>
                      <a:pt x="76" y="195"/>
                    </a:lnTo>
                    <a:lnTo>
                      <a:pt x="64" y="195"/>
                    </a:lnTo>
                    <a:lnTo>
                      <a:pt x="52" y="190"/>
                    </a:lnTo>
                    <a:lnTo>
                      <a:pt x="46" y="179"/>
                    </a:lnTo>
                    <a:lnTo>
                      <a:pt x="44" y="169"/>
                    </a:lnTo>
                    <a:lnTo>
                      <a:pt x="14" y="158"/>
                    </a:lnTo>
                    <a:lnTo>
                      <a:pt x="6" y="148"/>
                    </a:lnTo>
                    <a:lnTo>
                      <a:pt x="6" y="136"/>
                    </a:lnTo>
                    <a:lnTo>
                      <a:pt x="9" y="129"/>
                    </a:lnTo>
                    <a:lnTo>
                      <a:pt x="6" y="118"/>
                    </a:lnTo>
                    <a:lnTo>
                      <a:pt x="6" y="102"/>
                    </a:lnTo>
                    <a:lnTo>
                      <a:pt x="0" y="83"/>
                    </a:lnTo>
                    <a:lnTo>
                      <a:pt x="4" y="61"/>
                    </a:lnTo>
                    <a:lnTo>
                      <a:pt x="8" y="56"/>
                    </a:lnTo>
                    <a:lnTo>
                      <a:pt x="32" y="49"/>
                    </a:lnTo>
                    <a:lnTo>
                      <a:pt x="37" y="39"/>
                    </a:lnTo>
                    <a:lnTo>
                      <a:pt x="46" y="33"/>
                    </a:lnTo>
                    <a:lnTo>
                      <a:pt x="54" y="37"/>
                    </a:lnTo>
                    <a:lnTo>
                      <a:pt x="63" y="23"/>
                    </a:lnTo>
                    <a:lnTo>
                      <a:pt x="71" y="23"/>
                    </a:lnTo>
                    <a:lnTo>
                      <a:pt x="76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34" name="Freeform 296"/>
              <p:cNvSpPr>
                <a:spLocks noChangeAspect="1"/>
              </p:cNvSpPr>
              <p:nvPr/>
            </p:nvSpPr>
            <p:spPr bwMode="gray">
              <a:xfrm>
                <a:off x="1271" y="1035"/>
                <a:ext cx="44" cy="26"/>
              </a:xfrm>
              <a:custGeom>
                <a:avLst/>
                <a:gdLst/>
                <a:ahLst/>
                <a:cxnLst>
                  <a:cxn ang="0">
                    <a:pos x="184" y="32"/>
                  </a:cxn>
                  <a:cxn ang="0">
                    <a:pos x="188" y="31"/>
                  </a:cxn>
                  <a:cxn ang="0">
                    <a:pos x="192" y="46"/>
                  </a:cxn>
                  <a:cxn ang="0">
                    <a:pos x="207" y="47"/>
                  </a:cxn>
                  <a:cxn ang="0">
                    <a:pos x="208" y="57"/>
                  </a:cxn>
                  <a:cxn ang="0">
                    <a:pos x="216" y="66"/>
                  </a:cxn>
                  <a:cxn ang="0">
                    <a:pos x="216" y="74"/>
                  </a:cxn>
                  <a:cxn ang="0">
                    <a:pos x="219" y="80"/>
                  </a:cxn>
                  <a:cxn ang="0">
                    <a:pos x="219" y="101"/>
                  </a:cxn>
                  <a:cxn ang="0">
                    <a:pos x="216" y="117"/>
                  </a:cxn>
                  <a:cxn ang="0">
                    <a:pos x="208" y="122"/>
                  </a:cxn>
                  <a:cxn ang="0">
                    <a:pos x="195" y="126"/>
                  </a:cxn>
                  <a:cxn ang="0">
                    <a:pos x="188" y="121"/>
                  </a:cxn>
                  <a:cxn ang="0">
                    <a:pos x="160" y="131"/>
                  </a:cxn>
                  <a:cxn ang="0">
                    <a:pos x="148" y="127"/>
                  </a:cxn>
                  <a:cxn ang="0">
                    <a:pos x="130" y="105"/>
                  </a:cxn>
                  <a:cxn ang="0">
                    <a:pos x="121" y="104"/>
                  </a:cxn>
                  <a:cxn ang="0">
                    <a:pos x="114" y="94"/>
                  </a:cxn>
                  <a:cxn ang="0">
                    <a:pos x="109" y="97"/>
                  </a:cxn>
                  <a:cxn ang="0">
                    <a:pos x="107" y="90"/>
                  </a:cxn>
                  <a:cxn ang="0">
                    <a:pos x="107" y="105"/>
                  </a:cxn>
                  <a:cxn ang="0">
                    <a:pos x="111" y="117"/>
                  </a:cxn>
                  <a:cxn ang="0">
                    <a:pos x="105" y="120"/>
                  </a:cxn>
                  <a:cxn ang="0">
                    <a:pos x="107" y="131"/>
                  </a:cxn>
                  <a:cxn ang="0">
                    <a:pos x="86" y="133"/>
                  </a:cxn>
                  <a:cxn ang="0">
                    <a:pos x="78" y="111"/>
                  </a:cxn>
                  <a:cxn ang="0">
                    <a:pos x="60" y="107"/>
                  </a:cxn>
                  <a:cxn ang="0">
                    <a:pos x="57" y="99"/>
                  </a:cxn>
                  <a:cxn ang="0">
                    <a:pos x="49" y="101"/>
                  </a:cxn>
                  <a:cxn ang="0">
                    <a:pos x="51" y="107"/>
                  </a:cxn>
                  <a:cxn ang="0">
                    <a:pos x="51" y="110"/>
                  </a:cxn>
                  <a:cxn ang="0">
                    <a:pos x="43" y="107"/>
                  </a:cxn>
                  <a:cxn ang="0">
                    <a:pos x="31" y="115"/>
                  </a:cxn>
                  <a:cxn ang="0">
                    <a:pos x="32" y="124"/>
                  </a:cxn>
                  <a:cxn ang="0">
                    <a:pos x="31" y="132"/>
                  </a:cxn>
                  <a:cxn ang="0">
                    <a:pos x="28" y="126"/>
                  </a:cxn>
                  <a:cxn ang="0">
                    <a:pos x="15" y="133"/>
                  </a:cxn>
                  <a:cxn ang="0">
                    <a:pos x="8" y="131"/>
                  </a:cxn>
                  <a:cxn ang="0">
                    <a:pos x="6" y="120"/>
                  </a:cxn>
                  <a:cxn ang="0">
                    <a:pos x="0" y="120"/>
                  </a:cxn>
                  <a:cxn ang="0">
                    <a:pos x="8" y="94"/>
                  </a:cxn>
                  <a:cxn ang="0">
                    <a:pos x="23" y="79"/>
                  </a:cxn>
                  <a:cxn ang="0">
                    <a:pos x="27" y="84"/>
                  </a:cxn>
                  <a:cxn ang="0">
                    <a:pos x="36" y="81"/>
                  </a:cxn>
                  <a:cxn ang="0">
                    <a:pos x="36" y="75"/>
                  </a:cxn>
                  <a:cxn ang="0">
                    <a:pos x="53" y="62"/>
                  </a:cxn>
                  <a:cxn ang="0">
                    <a:pos x="85" y="54"/>
                  </a:cxn>
                  <a:cxn ang="0">
                    <a:pos x="105" y="45"/>
                  </a:cxn>
                  <a:cxn ang="0">
                    <a:pos x="117" y="19"/>
                  </a:cxn>
                  <a:cxn ang="0">
                    <a:pos x="121" y="26"/>
                  </a:cxn>
                  <a:cxn ang="0">
                    <a:pos x="140" y="3"/>
                  </a:cxn>
                  <a:cxn ang="0">
                    <a:pos x="159" y="0"/>
                  </a:cxn>
                  <a:cxn ang="0">
                    <a:pos x="164" y="5"/>
                  </a:cxn>
                  <a:cxn ang="0">
                    <a:pos x="164" y="13"/>
                  </a:cxn>
                  <a:cxn ang="0">
                    <a:pos x="168" y="13"/>
                  </a:cxn>
                  <a:cxn ang="0">
                    <a:pos x="171" y="21"/>
                  </a:cxn>
                  <a:cxn ang="0">
                    <a:pos x="184" y="26"/>
                  </a:cxn>
                  <a:cxn ang="0">
                    <a:pos x="184" y="32"/>
                  </a:cxn>
                </a:cxnLst>
                <a:rect l="0" t="0" r="r" b="b"/>
                <a:pathLst>
                  <a:path w="219" h="133">
                    <a:moveTo>
                      <a:pt x="184" y="32"/>
                    </a:moveTo>
                    <a:lnTo>
                      <a:pt x="188" y="31"/>
                    </a:lnTo>
                    <a:lnTo>
                      <a:pt x="192" y="46"/>
                    </a:lnTo>
                    <a:lnTo>
                      <a:pt x="207" y="47"/>
                    </a:lnTo>
                    <a:lnTo>
                      <a:pt x="208" y="57"/>
                    </a:lnTo>
                    <a:lnTo>
                      <a:pt x="216" y="66"/>
                    </a:lnTo>
                    <a:lnTo>
                      <a:pt x="216" y="74"/>
                    </a:lnTo>
                    <a:lnTo>
                      <a:pt x="219" y="80"/>
                    </a:lnTo>
                    <a:lnTo>
                      <a:pt x="219" y="101"/>
                    </a:lnTo>
                    <a:lnTo>
                      <a:pt x="216" y="117"/>
                    </a:lnTo>
                    <a:lnTo>
                      <a:pt x="208" y="122"/>
                    </a:lnTo>
                    <a:lnTo>
                      <a:pt x="195" y="126"/>
                    </a:lnTo>
                    <a:lnTo>
                      <a:pt x="188" y="121"/>
                    </a:lnTo>
                    <a:lnTo>
                      <a:pt x="160" y="131"/>
                    </a:lnTo>
                    <a:lnTo>
                      <a:pt x="148" y="127"/>
                    </a:lnTo>
                    <a:lnTo>
                      <a:pt x="130" y="105"/>
                    </a:lnTo>
                    <a:lnTo>
                      <a:pt x="121" y="104"/>
                    </a:lnTo>
                    <a:lnTo>
                      <a:pt x="114" y="94"/>
                    </a:lnTo>
                    <a:lnTo>
                      <a:pt x="109" y="97"/>
                    </a:lnTo>
                    <a:lnTo>
                      <a:pt x="107" y="90"/>
                    </a:lnTo>
                    <a:lnTo>
                      <a:pt x="107" y="105"/>
                    </a:lnTo>
                    <a:lnTo>
                      <a:pt x="111" y="117"/>
                    </a:lnTo>
                    <a:lnTo>
                      <a:pt x="105" y="120"/>
                    </a:lnTo>
                    <a:lnTo>
                      <a:pt x="107" y="131"/>
                    </a:lnTo>
                    <a:lnTo>
                      <a:pt x="86" y="133"/>
                    </a:lnTo>
                    <a:lnTo>
                      <a:pt x="78" y="111"/>
                    </a:lnTo>
                    <a:lnTo>
                      <a:pt x="60" y="107"/>
                    </a:lnTo>
                    <a:lnTo>
                      <a:pt x="57" y="99"/>
                    </a:lnTo>
                    <a:lnTo>
                      <a:pt x="49" y="101"/>
                    </a:lnTo>
                    <a:lnTo>
                      <a:pt x="51" y="107"/>
                    </a:lnTo>
                    <a:lnTo>
                      <a:pt x="51" y="110"/>
                    </a:lnTo>
                    <a:lnTo>
                      <a:pt x="43" y="107"/>
                    </a:lnTo>
                    <a:lnTo>
                      <a:pt x="31" y="115"/>
                    </a:lnTo>
                    <a:lnTo>
                      <a:pt x="32" y="124"/>
                    </a:lnTo>
                    <a:lnTo>
                      <a:pt x="31" y="132"/>
                    </a:lnTo>
                    <a:lnTo>
                      <a:pt x="28" y="126"/>
                    </a:lnTo>
                    <a:lnTo>
                      <a:pt x="15" y="133"/>
                    </a:lnTo>
                    <a:lnTo>
                      <a:pt x="8" y="131"/>
                    </a:lnTo>
                    <a:lnTo>
                      <a:pt x="6" y="120"/>
                    </a:lnTo>
                    <a:lnTo>
                      <a:pt x="0" y="120"/>
                    </a:lnTo>
                    <a:lnTo>
                      <a:pt x="8" y="94"/>
                    </a:lnTo>
                    <a:lnTo>
                      <a:pt x="23" y="79"/>
                    </a:lnTo>
                    <a:lnTo>
                      <a:pt x="27" y="84"/>
                    </a:lnTo>
                    <a:lnTo>
                      <a:pt x="36" y="81"/>
                    </a:lnTo>
                    <a:lnTo>
                      <a:pt x="36" y="75"/>
                    </a:lnTo>
                    <a:lnTo>
                      <a:pt x="53" y="62"/>
                    </a:lnTo>
                    <a:lnTo>
                      <a:pt x="85" y="54"/>
                    </a:lnTo>
                    <a:lnTo>
                      <a:pt x="105" y="45"/>
                    </a:lnTo>
                    <a:lnTo>
                      <a:pt x="117" y="19"/>
                    </a:lnTo>
                    <a:lnTo>
                      <a:pt x="121" y="26"/>
                    </a:lnTo>
                    <a:lnTo>
                      <a:pt x="140" y="3"/>
                    </a:lnTo>
                    <a:lnTo>
                      <a:pt x="159" y="0"/>
                    </a:lnTo>
                    <a:lnTo>
                      <a:pt x="164" y="5"/>
                    </a:lnTo>
                    <a:lnTo>
                      <a:pt x="164" y="13"/>
                    </a:lnTo>
                    <a:lnTo>
                      <a:pt x="168" y="13"/>
                    </a:lnTo>
                    <a:lnTo>
                      <a:pt x="171" y="21"/>
                    </a:lnTo>
                    <a:lnTo>
                      <a:pt x="184" y="26"/>
                    </a:lnTo>
                    <a:lnTo>
                      <a:pt x="184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35" name="Freeform 297"/>
              <p:cNvSpPr>
                <a:spLocks noChangeAspect="1"/>
              </p:cNvSpPr>
              <p:nvPr/>
            </p:nvSpPr>
            <p:spPr bwMode="gray">
              <a:xfrm>
                <a:off x="1461" y="1086"/>
                <a:ext cx="33" cy="21"/>
              </a:xfrm>
              <a:custGeom>
                <a:avLst/>
                <a:gdLst/>
                <a:ahLst/>
                <a:cxnLst>
                  <a:cxn ang="0">
                    <a:pos x="61" y="15"/>
                  </a:cxn>
                  <a:cxn ang="0">
                    <a:pos x="70" y="20"/>
                  </a:cxn>
                  <a:cxn ang="0">
                    <a:pos x="73" y="12"/>
                  </a:cxn>
                  <a:cxn ang="0">
                    <a:pos x="89" y="10"/>
                  </a:cxn>
                  <a:cxn ang="0">
                    <a:pos x="89" y="15"/>
                  </a:cxn>
                  <a:cxn ang="0">
                    <a:pos x="103" y="20"/>
                  </a:cxn>
                  <a:cxn ang="0">
                    <a:pos x="106" y="15"/>
                  </a:cxn>
                  <a:cxn ang="0">
                    <a:pos x="124" y="26"/>
                  </a:cxn>
                  <a:cxn ang="0">
                    <a:pos x="135" y="25"/>
                  </a:cxn>
                  <a:cxn ang="0">
                    <a:pos x="140" y="15"/>
                  </a:cxn>
                  <a:cxn ang="0">
                    <a:pos x="147" y="25"/>
                  </a:cxn>
                  <a:cxn ang="0">
                    <a:pos x="158" y="30"/>
                  </a:cxn>
                  <a:cxn ang="0">
                    <a:pos x="164" y="44"/>
                  </a:cxn>
                  <a:cxn ang="0">
                    <a:pos x="162" y="49"/>
                  </a:cxn>
                  <a:cxn ang="0">
                    <a:pos x="151" y="52"/>
                  </a:cxn>
                  <a:cxn ang="0">
                    <a:pos x="148" y="57"/>
                  </a:cxn>
                  <a:cxn ang="0">
                    <a:pos x="151" y="62"/>
                  </a:cxn>
                  <a:cxn ang="0">
                    <a:pos x="152" y="71"/>
                  </a:cxn>
                  <a:cxn ang="0">
                    <a:pos x="149" y="85"/>
                  </a:cxn>
                  <a:cxn ang="0">
                    <a:pos x="151" y="91"/>
                  </a:cxn>
                  <a:cxn ang="0">
                    <a:pos x="146" y="101"/>
                  </a:cxn>
                  <a:cxn ang="0">
                    <a:pos x="126" y="103"/>
                  </a:cxn>
                  <a:cxn ang="0">
                    <a:pos x="105" y="98"/>
                  </a:cxn>
                  <a:cxn ang="0">
                    <a:pos x="99" y="91"/>
                  </a:cxn>
                  <a:cxn ang="0">
                    <a:pos x="82" y="93"/>
                  </a:cxn>
                  <a:cxn ang="0">
                    <a:pos x="81" y="89"/>
                  </a:cxn>
                  <a:cxn ang="0">
                    <a:pos x="65" y="97"/>
                  </a:cxn>
                  <a:cxn ang="0">
                    <a:pos x="63" y="92"/>
                  </a:cxn>
                  <a:cxn ang="0">
                    <a:pos x="54" y="87"/>
                  </a:cxn>
                  <a:cxn ang="0">
                    <a:pos x="34" y="87"/>
                  </a:cxn>
                  <a:cxn ang="0">
                    <a:pos x="24" y="76"/>
                  </a:cxn>
                  <a:cxn ang="0">
                    <a:pos x="17" y="76"/>
                  </a:cxn>
                  <a:cxn ang="0">
                    <a:pos x="7" y="63"/>
                  </a:cxn>
                  <a:cxn ang="0">
                    <a:pos x="3" y="52"/>
                  </a:cxn>
                  <a:cxn ang="0">
                    <a:pos x="3" y="44"/>
                  </a:cxn>
                  <a:cxn ang="0">
                    <a:pos x="0" y="42"/>
                  </a:cxn>
                  <a:cxn ang="0">
                    <a:pos x="2" y="30"/>
                  </a:cxn>
                  <a:cxn ang="0">
                    <a:pos x="13" y="20"/>
                  </a:cxn>
                  <a:cxn ang="0">
                    <a:pos x="30" y="15"/>
                  </a:cxn>
                  <a:cxn ang="0">
                    <a:pos x="35" y="0"/>
                  </a:cxn>
                  <a:cxn ang="0">
                    <a:pos x="41" y="0"/>
                  </a:cxn>
                  <a:cxn ang="0">
                    <a:pos x="45" y="15"/>
                  </a:cxn>
                  <a:cxn ang="0">
                    <a:pos x="50" y="12"/>
                  </a:cxn>
                  <a:cxn ang="0">
                    <a:pos x="54" y="17"/>
                  </a:cxn>
                  <a:cxn ang="0">
                    <a:pos x="61" y="15"/>
                  </a:cxn>
                </a:cxnLst>
                <a:rect l="0" t="0" r="r" b="b"/>
                <a:pathLst>
                  <a:path w="164" h="103">
                    <a:moveTo>
                      <a:pt x="61" y="15"/>
                    </a:moveTo>
                    <a:lnTo>
                      <a:pt x="70" y="20"/>
                    </a:lnTo>
                    <a:lnTo>
                      <a:pt x="73" y="12"/>
                    </a:lnTo>
                    <a:lnTo>
                      <a:pt x="89" y="10"/>
                    </a:lnTo>
                    <a:lnTo>
                      <a:pt x="89" y="15"/>
                    </a:lnTo>
                    <a:lnTo>
                      <a:pt x="103" y="20"/>
                    </a:lnTo>
                    <a:lnTo>
                      <a:pt x="106" y="15"/>
                    </a:lnTo>
                    <a:lnTo>
                      <a:pt x="124" y="26"/>
                    </a:lnTo>
                    <a:lnTo>
                      <a:pt x="135" y="25"/>
                    </a:lnTo>
                    <a:lnTo>
                      <a:pt x="140" y="15"/>
                    </a:lnTo>
                    <a:lnTo>
                      <a:pt x="147" y="25"/>
                    </a:lnTo>
                    <a:lnTo>
                      <a:pt x="158" y="30"/>
                    </a:lnTo>
                    <a:lnTo>
                      <a:pt x="164" y="44"/>
                    </a:lnTo>
                    <a:lnTo>
                      <a:pt x="162" y="49"/>
                    </a:lnTo>
                    <a:lnTo>
                      <a:pt x="151" y="52"/>
                    </a:lnTo>
                    <a:lnTo>
                      <a:pt x="148" y="57"/>
                    </a:lnTo>
                    <a:lnTo>
                      <a:pt x="151" y="62"/>
                    </a:lnTo>
                    <a:lnTo>
                      <a:pt x="152" y="71"/>
                    </a:lnTo>
                    <a:lnTo>
                      <a:pt x="149" y="85"/>
                    </a:lnTo>
                    <a:lnTo>
                      <a:pt x="151" y="91"/>
                    </a:lnTo>
                    <a:lnTo>
                      <a:pt x="146" y="101"/>
                    </a:lnTo>
                    <a:lnTo>
                      <a:pt x="126" y="103"/>
                    </a:lnTo>
                    <a:lnTo>
                      <a:pt x="105" y="98"/>
                    </a:lnTo>
                    <a:lnTo>
                      <a:pt x="99" y="91"/>
                    </a:lnTo>
                    <a:lnTo>
                      <a:pt x="82" y="93"/>
                    </a:lnTo>
                    <a:lnTo>
                      <a:pt x="81" y="89"/>
                    </a:lnTo>
                    <a:lnTo>
                      <a:pt x="65" y="97"/>
                    </a:lnTo>
                    <a:lnTo>
                      <a:pt x="63" y="92"/>
                    </a:lnTo>
                    <a:lnTo>
                      <a:pt x="54" y="87"/>
                    </a:lnTo>
                    <a:lnTo>
                      <a:pt x="34" y="87"/>
                    </a:lnTo>
                    <a:lnTo>
                      <a:pt x="24" y="76"/>
                    </a:lnTo>
                    <a:lnTo>
                      <a:pt x="17" y="76"/>
                    </a:lnTo>
                    <a:lnTo>
                      <a:pt x="7" y="63"/>
                    </a:lnTo>
                    <a:lnTo>
                      <a:pt x="3" y="52"/>
                    </a:lnTo>
                    <a:lnTo>
                      <a:pt x="3" y="44"/>
                    </a:lnTo>
                    <a:lnTo>
                      <a:pt x="0" y="42"/>
                    </a:lnTo>
                    <a:lnTo>
                      <a:pt x="2" y="30"/>
                    </a:lnTo>
                    <a:lnTo>
                      <a:pt x="13" y="20"/>
                    </a:lnTo>
                    <a:lnTo>
                      <a:pt x="30" y="15"/>
                    </a:lnTo>
                    <a:lnTo>
                      <a:pt x="35" y="0"/>
                    </a:lnTo>
                    <a:lnTo>
                      <a:pt x="41" y="0"/>
                    </a:lnTo>
                    <a:lnTo>
                      <a:pt x="45" y="15"/>
                    </a:lnTo>
                    <a:lnTo>
                      <a:pt x="50" y="12"/>
                    </a:lnTo>
                    <a:lnTo>
                      <a:pt x="54" y="17"/>
                    </a:lnTo>
                    <a:lnTo>
                      <a:pt x="61" y="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36" name="Freeform 298"/>
              <p:cNvSpPr>
                <a:spLocks noChangeAspect="1"/>
              </p:cNvSpPr>
              <p:nvPr/>
            </p:nvSpPr>
            <p:spPr bwMode="gray">
              <a:xfrm>
                <a:off x="1452" y="1121"/>
                <a:ext cx="189" cy="119"/>
              </a:xfrm>
              <a:custGeom>
                <a:avLst/>
                <a:gdLst/>
                <a:ahLst/>
                <a:cxnLst>
                  <a:cxn ang="0">
                    <a:pos x="27" y="21"/>
                  </a:cxn>
                  <a:cxn ang="0">
                    <a:pos x="19" y="52"/>
                  </a:cxn>
                  <a:cxn ang="0">
                    <a:pos x="3" y="68"/>
                  </a:cxn>
                  <a:cxn ang="0">
                    <a:pos x="37" y="106"/>
                  </a:cxn>
                  <a:cxn ang="0">
                    <a:pos x="110" y="210"/>
                  </a:cxn>
                  <a:cxn ang="0">
                    <a:pos x="169" y="197"/>
                  </a:cxn>
                  <a:cxn ang="0">
                    <a:pos x="197" y="176"/>
                  </a:cxn>
                  <a:cxn ang="0">
                    <a:pos x="229" y="268"/>
                  </a:cxn>
                  <a:cxn ang="0">
                    <a:pos x="266" y="354"/>
                  </a:cxn>
                  <a:cxn ang="0">
                    <a:pos x="245" y="454"/>
                  </a:cxn>
                  <a:cxn ang="0">
                    <a:pos x="271" y="534"/>
                  </a:cxn>
                  <a:cxn ang="0">
                    <a:pos x="307" y="537"/>
                  </a:cxn>
                  <a:cxn ang="0">
                    <a:pos x="345" y="559"/>
                  </a:cxn>
                  <a:cxn ang="0">
                    <a:pos x="397" y="580"/>
                  </a:cxn>
                  <a:cxn ang="0">
                    <a:pos x="412" y="527"/>
                  </a:cxn>
                  <a:cxn ang="0">
                    <a:pos x="443" y="517"/>
                  </a:cxn>
                  <a:cxn ang="0">
                    <a:pos x="466" y="591"/>
                  </a:cxn>
                  <a:cxn ang="0">
                    <a:pos x="517" y="575"/>
                  </a:cxn>
                  <a:cxn ang="0">
                    <a:pos x="559" y="579"/>
                  </a:cxn>
                  <a:cxn ang="0">
                    <a:pos x="590" y="579"/>
                  </a:cxn>
                  <a:cxn ang="0">
                    <a:pos x="640" y="585"/>
                  </a:cxn>
                  <a:cxn ang="0">
                    <a:pos x="658" y="580"/>
                  </a:cxn>
                  <a:cxn ang="0">
                    <a:pos x="728" y="497"/>
                  </a:cxn>
                  <a:cxn ang="0">
                    <a:pos x="775" y="582"/>
                  </a:cxn>
                  <a:cxn ang="0">
                    <a:pos x="837" y="579"/>
                  </a:cxn>
                  <a:cxn ang="0">
                    <a:pos x="913" y="528"/>
                  </a:cxn>
                  <a:cxn ang="0">
                    <a:pos x="917" y="453"/>
                  </a:cxn>
                  <a:cxn ang="0">
                    <a:pos x="936" y="376"/>
                  </a:cxn>
                  <a:cxn ang="0">
                    <a:pos x="912" y="346"/>
                  </a:cxn>
                  <a:cxn ang="0">
                    <a:pos x="859" y="302"/>
                  </a:cxn>
                  <a:cxn ang="0">
                    <a:pos x="737" y="302"/>
                  </a:cxn>
                  <a:cxn ang="0">
                    <a:pos x="670" y="330"/>
                  </a:cxn>
                  <a:cxn ang="0">
                    <a:pos x="635" y="348"/>
                  </a:cxn>
                  <a:cxn ang="0">
                    <a:pos x="610" y="361"/>
                  </a:cxn>
                  <a:cxn ang="0">
                    <a:pos x="617" y="399"/>
                  </a:cxn>
                  <a:cxn ang="0">
                    <a:pos x="560" y="386"/>
                  </a:cxn>
                  <a:cxn ang="0">
                    <a:pos x="503" y="386"/>
                  </a:cxn>
                  <a:cxn ang="0">
                    <a:pos x="465" y="383"/>
                  </a:cxn>
                  <a:cxn ang="0">
                    <a:pos x="436" y="348"/>
                  </a:cxn>
                  <a:cxn ang="0">
                    <a:pos x="407" y="357"/>
                  </a:cxn>
                  <a:cxn ang="0">
                    <a:pos x="390" y="354"/>
                  </a:cxn>
                  <a:cxn ang="0">
                    <a:pos x="381" y="306"/>
                  </a:cxn>
                  <a:cxn ang="0">
                    <a:pos x="358" y="279"/>
                  </a:cxn>
                  <a:cxn ang="0">
                    <a:pos x="327" y="289"/>
                  </a:cxn>
                  <a:cxn ang="0">
                    <a:pos x="354" y="263"/>
                  </a:cxn>
                  <a:cxn ang="0">
                    <a:pos x="325" y="246"/>
                  </a:cxn>
                  <a:cxn ang="0">
                    <a:pos x="296" y="206"/>
                  </a:cxn>
                  <a:cxn ang="0">
                    <a:pos x="347" y="232"/>
                  </a:cxn>
                  <a:cxn ang="0">
                    <a:pos x="418" y="193"/>
                  </a:cxn>
                  <a:cxn ang="0">
                    <a:pos x="344" y="172"/>
                  </a:cxn>
                  <a:cxn ang="0">
                    <a:pos x="323" y="144"/>
                  </a:cxn>
                  <a:cxn ang="0">
                    <a:pos x="350" y="139"/>
                  </a:cxn>
                  <a:cxn ang="0">
                    <a:pos x="293" y="95"/>
                  </a:cxn>
                  <a:cxn ang="0">
                    <a:pos x="232" y="123"/>
                  </a:cxn>
                  <a:cxn ang="0">
                    <a:pos x="192" y="123"/>
                  </a:cxn>
                  <a:cxn ang="0">
                    <a:pos x="176" y="36"/>
                  </a:cxn>
                  <a:cxn ang="0">
                    <a:pos x="111" y="15"/>
                  </a:cxn>
                </a:cxnLst>
                <a:rect l="0" t="0" r="r" b="b"/>
                <a:pathLst>
                  <a:path w="946" h="593">
                    <a:moveTo>
                      <a:pt x="111" y="15"/>
                    </a:moveTo>
                    <a:lnTo>
                      <a:pt x="101" y="17"/>
                    </a:lnTo>
                    <a:lnTo>
                      <a:pt x="79" y="2"/>
                    </a:lnTo>
                    <a:lnTo>
                      <a:pt x="60" y="0"/>
                    </a:lnTo>
                    <a:lnTo>
                      <a:pt x="27" y="11"/>
                    </a:lnTo>
                    <a:lnTo>
                      <a:pt x="27" y="21"/>
                    </a:lnTo>
                    <a:lnTo>
                      <a:pt x="21" y="27"/>
                    </a:lnTo>
                    <a:lnTo>
                      <a:pt x="6" y="25"/>
                    </a:lnTo>
                    <a:lnTo>
                      <a:pt x="9" y="32"/>
                    </a:lnTo>
                    <a:lnTo>
                      <a:pt x="5" y="39"/>
                    </a:lnTo>
                    <a:lnTo>
                      <a:pt x="8" y="48"/>
                    </a:lnTo>
                    <a:lnTo>
                      <a:pt x="19" y="52"/>
                    </a:lnTo>
                    <a:lnTo>
                      <a:pt x="31" y="66"/>
                    </a:lnTo>
                    <a:lnTo>
                      <a:pt x="36" y="72"/>
                    </a:lnTo>
                    <a:lnTo>
                      <a:pt x="37" y="76"/>
                    </a:lnTo>
                    <a:lnTo>
                      <a:pt x="21" y="76"/>
                    </a:lnTo>
                    <a:lnTo>
                      <a:pt x="6" y="64"/>
                    </a:lnTo>
                    <a:lnTo>
                      <a:pt x="3" y="68"/>
                    </a:lnTo>
                    <a:lnTo>
                      <a:pt x="0" y="84"/>
                    </a:lnTo>
                    <a:lnTo>
                      <a:pt x="6" y="90"/>
                    </a:lnTo>
                    <a:lnTo>
                      <a:pt x="24" y="92"/>
                    </a:lnTo>
                    <a:lnTo>
                      <a:pt x="25" y="99"/>
                    </a:lnTo>
                    <a:lnTo>
                      <a:pt x="35" y="108"/>
                    </a:lnTo>
                    <a:lnTo>
                      <a:pt x="37" y="106"/>
                    </a:lnTo>
                    <a:lnTo>
                      <a:pt x="45" y="122"/>
                    </a:lnTo>
                    <a:lnTo>
                      <a:pt x="52" y="120"/>
                    </a:lnTo>
                    <a:lnTo>
                      <a:pt x="72" y="167"/>
                    </a:lnTo>
                    <a:lnTo>
                      <a:pt x="91" y="169"/>
                    </a:lnTo>
                    <a:lnTo>
                      <a:pt x="101" y="179"/>
                    </a:lnTo>
                    <a:lnTo>
                      <a:pt x="110" y="210"/>
                    </a:lnTo>
                    <a:lnTo>
                      <a:pt x="111" y="192"/>
                    </a:lnTo>
                    <a:lnTo>
                      <a:pt x="118" y="201"/>
                    </a:lnTo>
                    <a:lnTo>
                      <a:pt x="169" y="210"/>
                    </a:lnTo>
                    <a:lnTo>
                      <a:pt x="175" y="209"/>
                    </a:lnTo>
                    <a:lnTo>
                      <a:pt x="167" y="204"/>
                    </a:lnTo>
                    <a:lnTo>
                      <a:pt x="169" y="197"/>
                    </a:lnTo>
                    <a:lnTo>
                      <a:pt x="176" y="194"/>
                    </a:lnTo>
                    <a:lnTo>
                      <a:pt x="177" y="197"/>
                    </a:lnTo>
                    <a:lnTo>
                      <a:pt x="185" y="192"/>
                    </a:lnTo>
                    <a:lnTo>
                      <a:pt x="191" y="187"/>
                    </a:lnTo>
                    <a:lnTo>
                      <a:pt x="192" y="181"/>
                    </a:lnTo>
                    <a:lnTo>
                      <a:pt x="197" y="176"/>
                    </a:lnTo>
                    <a:lnTo>
                      <a:pt x="207" y="183"/>
                    </a:lnTo>
                    <a:lnTo>
                      <a:pt x="210" y="203"/>
                    </a:lnTo>
                    <a:lnTo>
                      <a:pt x="216" y="216"/>
                    </a:lnTo>
                    <a:lnTo>
                      <a:pt x="224" y="230"/>
                    </a:lnTo>
                    <a:lnTo>
                      <a:pt x="229" y="253"/>
                    </a:lnTo>
                    <a:lnTo>
                      <a:pt x="229" y="268"/>
                    </a:lnTo>
                    <a:lnTo>
                      <a:pt x="234" y="271"/>
                    </a:lnTo>
                    <a:lnTo>
                      <a:pt x="246" y="289"/>
                    </a:lnTo>
                    <a:lnTo>
                      <a:pt x="255" y="306"/>
                    </a:lnTo>
                    <a:lnTo>
                      <a:pt x="256" y="328"/>
                    </a:lnTo>
                    <a:lnTo>
                      <a:pt x="258" y="345"/>
                    </a:lnTo>
                    <a:lnTo>
                      <a:pt x="266" y="354"/>
                    </a:lnTo>
                    <a:lnTo>
                      <a:pt x="253" y="367"/>
                    </a:lnTo>
                    <a:lnTo>
                      <a:pt x="239" y="397"/>
                    </a:lnTo>
                    <a:lnTo>
                      <a:pt x="245" y="400"/>
                    </a:lnTo>
                    <a:lnTo>
                      <a:pt x="240" y="426"/>
                    </a:lnTo>
                    <a:lnTo>
                      <a:pt x="239" y="437"/>
                    </a:lnTo>
                    <a:lnTo>
                      <a:pt x="245" y="454"/>
                    </a:lnTo>
                    <a:lnTo>
                      <a:pt x="264" y="450"/>
                    </a:lnTo>
                    <a:lnTo>
                      <a:pt x="261" y="466"/>
                    </a:lnTo>
                    <a:lnTo>
                      <a:pt x="256" y="481"/>
                    </a:lnTo>
                    <a:lnTo>
                      <a:pt x="258" y="507"/>
                    </a:lnTo>
                    <a:lnTo>
                      <a:pt x="257" y="518"/>
                    </a:lnTo>
                    <a:lnTo>
                      <a:pt x="271" y="534"/>
                    </a:lnTo>
                    <a:lnTo>
                      <a:pt x="288" y="540"/>
                    </a:lnTo>
                    <a:lnTo>
                      <a:pt x="282" y="543"/>
                    </a:lnTo>
                    <a:lnTo>
                      <a:pt x="283" y="551"/>
                    </a:lnTo>
                    <a:lnTo>
                      <a:pt x="288" y="558"/>
                    </a:lnTo>
                    <a:lnTo>
                      <a:pt x="306" y="554"/>
                    </a:lnTo>
                    <a:lnTo>
                      <a:pt x="307" y="537"/>
                    </a:lnTo>
                    <a:lnTo>
                      <a:pt x="312" y="533"/>
                    </a:lnTo>
                    <a:lnTo>
                      <a:pt x="330" y="517"/>
                    </a:lnTo>
                    <a:lnTo>
                      <a:pt x="318" y="537"/>
                    </a:lnTo>
                    <a:lnTo>
                      <a:pt x="334" y="560"/>
                    </a:lnTo>
                    <a:lnTo>
                      <a:pt x="334" y="533"/>
                    </a:lnTo>
                    <a:lnTo>
                      <a:pt x="345" y="559"/>
                    </a:lnTo>
                    <a:lnTo>
                      <a:pt x="355" y="559"/>
                    </a:lnTo>
                    <a:lnTo>
                      <a:pt x="352" y="569"/>
                    </a:lnTo>
                    <a:lnTo>
                      <a:pt x="363" y="572"/>
                    </a:lnTo>
                    <a:lnTo>
                      <a:pt x="366" y="564"/>
                    </a:lnTo>
                    <a:lnTo>
                      <a:pt x="369" y="577"/>
                    </a:lnTo>
                    <a:lnTo>
                      <a:pt x="397" y="580"/>
                    </a:lnTo>
                    <a:lnTo>
                      <a:pt x="417" y="558"/>
                    </a:lnTo>
                    <a:lnTo>
                      <a:pt x="416" y="553"/>
                    </a:lnTo>
                    <a:lnTo>
                      <a:pt x="404" y="542"/>
                    </a:lnTo>
                    <a:lnTo>
                      <a:pt x="407" y="529"/>
                    </a:lnTo>
                    <a:lnTo>
                      <a:pt x="404" y="529"/>
                    </a:lnTo>
                    <a:lnTo>
                      <a:pt x="412" y="527"/>
                    </a:lnTo>
                    <a:lnTo>
                      <a:pt x="419" y="531"/>
                    </a:lnTo>
                    <a:lnTo>
                      <a:pt x="418" y="517"/>
                    </a:lnTo>
                    <a:lnTo>
                      <a:pt x="425" y="540"/>
                    </a:lnTo>
                    <a:lnTo>
                      <a:pt x="431" y="550"/>
                    </a:lnTo>
                    <a:lnTo>
                      <a:pt x="441" y="531"/>
                    </a:lnTo>
                    <a:lnTo>
                      <a:pt x="443" y="517"/>
                    </a:lnTo>
                    <a:lnTo>
                      <a:pt x="447" y="518"/>
                    </a:lnTo>
                    <a:lnTo>
                      <a:pt x="456" y="528"/>
                    </a:lnTo>
                    <a:lnTo>
                      <a:pt x="456" y="538"/>
                    </a:lnTo>
                    <a:lnTo>
                      <a:pt x="452" y="561"/>
                    </a:lnTo>
                    <a:lnTo>
                      <a:pt x="451" y="585"/>
                    </a:lnTo>
                    <a:lnTo>
                      <a:pt x="466" y="591"/>
                    </a:lnTo>
                    <a:lnTo>
                      <a:pt x="474" y="585"/>
                    </a:lnTo>
                    <a:lnTo>
                      <a:pt x="486" y="591"/>
                    </a:lnTo>
                    <a:lnTo>
                      <a:pt x="493" y="583"/>
                    </a:lnTo>
                    <a:lnTo>
                      <a:pt x="497" y="593"/>
                    </a:lnTo>
                    <a:lnTo>
                      <a:pt x="516" y="588"/>
                    </a:lnTo>
                    <a:lnTo>
                      <a:pt x="517" y="575"/>
                    </a:lnTo>
                    <a:lnTo>
                      <a:pt x="525" y="575"/>
                    </a:lnTo>
                    <a:lnTo>
                      <a:pt x="524" y="588"/>
                    </a:lnTo>
                    <a:lnTo>
                      <a:pt x="533" y="591"/>
                    </a:lnTo>
                    <a:lnTo>
                      <a:pt x="554" y="592"/>
                    </a:lnTo>
                    <a:lnTo>
                      <a:pt x="560" y="587"/>
                    </a:lnTo>
                    <a:lnTo>
                      <a:pt x="559" y="579"/>
                    </a:lnTo>
                    <a:lnTo>
                      <a:pt x="553" y="566"/>
                    </a:lnTo>
                    <a:lnTo>
                      <a:pt x="557" y="579"/>
                    </a:lnTo>
                    <a:lnTo>
                      <a:pt x="572" y="588"/>
                    </a:lnTo>
                    <a:lnTo>
                      <a:pt x="579" y="580"/>
                    </a:lnTo>
                    <a:lnTo>
                      <a:pt x="583" y="566"/>
                    </a:lnTo>
                    <a:lnTo>
                      <a:pt x="590" y="579"/>
                    </a:lnTo>
                    <a:lnTo>
                      <a:pt x="594" y="592"/>
                    </a:lnTo>
                    <a:lnTo>
                      <a:pt x="613" y="588"/>
                    </a:lnTo>
                    <a:lnTo>
                      <a:pt x="621" y="575"/>
                    </a:lnTo>
                    <a:lnTo>
                      <a:pt x="621" y="549"/>
                    </a:lnTo>
                    <a:lnTo>
                      <a:pt x="634" y="581"/>
                    </a:lnTo>
                    <a:lnTo>
                      <a:pt x="640" y="585"/>
                    </a:lnTo>
                    <a:lnTo>
                      <a:pt x="643" y="576"/>
                    </a:lnTo>
                    <a:lnTo>
                      <a:pt x="651" y="566"/>
                    </a:lnTo>
                    <a:lnTo>
                      <a:pt x="649" y="551"/>
                    </a:lnTo>
                    <a:lnTo>
                      <a:pt x="650" y="543"/>
                    </a:lnTo>
                    <a:lnTo>
                      <a:pt x="651" y="556"/>
                    </a:lnTo>
                    <a:lnTo>
                      <a:pt x="658" y="580"/>
                    </a:lnTo>
                    <a:lnTo>
                      <a:pt x="682" y="580"/>
                    </a:lnTo>
                    <a:lnTo>
                      <a:pt x="730" y="569"/>
                    </a:lnTo>
                    <a:lnTo>
                      <a:pt x="747" y="532"/>
                    </a:lnTo>
                    <a:lnTo>
                      <a:pt x="737" y="521"/>
                    </a:lnTo>
                    <a:lnTo>
                      <a:pt x="731" y="505"/>
                    </a:lnTo>
                    <a:lnTo>
                      <a:pt x="728" y="497"/>
                    </a:lnTo>
                    <a:lnTo>
                      <a:pt x="739" y="504"/>
                    </a:lnTo>
                    <a:lnTo>
                      <a:pt x="746" y="518"/>
                    </a:lnTo>
                    <a:lnTo>
                      <a:pt x="757" y="518"/>
                    </a:lnTo>
                    <a:lnTo>
                      <a:pt x="758" y="533"/>
                    </a:lnTo>
                    <a:lnTo>
                      <a:pt x="758" y="559"/>
                    </a:lnTo>
                    <a:lnTo>
                      <a:pt x="775" y="582"/>
                    </a:lnTo>
                    <a:lnTo>
                      <a:pt x="788" y="580"/>
                    </a:lnTo>
                    <a:lnTo>
                      <a:pt x="790" y="570"/>
                    </a:lnTo>
                    <a:lnTo>
                      <a:pt x="796" y="580"/>
                    </a:lnTo>
                    <a:lnTo>
                      <a:pt x="811" y="588"/>
                    </a:lnTo>
                    <a:lnTo>
                      <a:pt x="825" y="591"/>
                    </a:lnTo>
                    <a:lnTo>
                      <a:pt x="837" y="579"/>
                    </a:lnTo>
                    <a:lnTo>
                      <a:pt x="859" y="570"/>
                    </a:lnTo>
                    <a:lnTo>
                      <a:pt x="892" y="570"/>
                    </a:lnTo>
                    <a:lnTo>
                      <a:pt x="903" y="564"/>
                    </a:lnTo>
                    <a:lnTo>
                      <a:pt x="917" y="563"/>
                    </a:lnTo>
                    <a:lnTo>
                      <a:pt x="917" y="534"/>
                    </a:lnTo>
                    <a:lnTo>
                      <a:pt x="913" y="528"/>
                    </a:lnTo>
                    <a:lnTo>
                      <a:pt x="915" y="521"/>
                    </a:lnTo>
                    <a:lnTo>
                      <a:pt x="909" y="510"/>
                    </a:lnTo>
                    <a:lnTo>
                      <a:pt x="896" y="495"/>
                    </a:lnTo>
                    <a:lnTo>
                      <a:pt x="897" y="468"/>
                    </a:lnTo>
                    <a:lnTo>
                      <a:pt x="907" y="463"/>
                    </a:lnTo>
                    <a:lnTo>
                      <a:pt x="917" y="453"/>
                    </a:lnTo>
                    <a:lnTo>
                      <a:pt x="923" y="440"/>
                    </a:lnTo>
                    <a:lnTo>
                      <a:pt x="935" y="434"/>
                    </a:lnTo>
                    <a:lnTo>
                      <a:pt x="946" y="415"/>
                    </a:lnTo>
                    <a:lnTo>
                      <a:pt x="945" y="378"/>
                    </a:lnTo>
                    <a:lnTo>
                      <a:pt x="944" y="376"/>
                    </a:lnTo>
                    <a:lnTo>
                      <a:pt x="936" y="376"/>
                    </a:lnTo>
                    <a:lnTo>
                      <a:pt x="933" y="367"/>
                    </a:lnTo>
                    <a:lnTo>
                      <a:pt x="935" y="361"/>
                    </a:lnTo>
                    <a:lnTo>
                      <a:pt x="911" y="366"/>
                    </a:lnTo>
                    <a:lnTo>
                      <a:pt x="902" y="362"/>
                    </a:lnTo>
                    <a:lnTo>
                      <a:pt x="913" y="355"/>
                    </a:lnTo>
                    <a:lnTo>
                      <a:pt x="912" y="346"/>
                    </a:lnTo>
                    <a:lnTo>
                      <a:pt x="909" y="341"/>
                    </a:lnTo>
                    <a:lnTo>
                      <a:pt x="892" y="329"/>
                    </a:lnTo>
                    <a:lnTo>
                      <a:pt x="881" y="334"/>
                    </a:lnTo>
                    <a:lnTo>
                      <a:pt x="860" y="328"/>
                    </a:lnTo>
                    <a:lnTo>
                      <a:pt x="863" y="310"/>
                    </a:lnTo>
                    <a:lnTo>
                      <a:pt x="859" y="302"/>
                    </a:lnTo>
                    <a:lnTo>
                      <a:pt x="853" y="305"/>
                    </a:lnTo>
                    <a:lnTo>
                      <a:pt x="798" y="291"/>
                    </a:lnTo>
                    <a:lnTo>
                      <a:pt x="777" y="297"/>
                    </a:lnTo>
                    <a:lnTo>
                      <a:pt x="756" y="313"/>
                    </a:lnTo>
                    <a:lnTo>
                      <a:pt x="741" y="311"/>
                    </a:lnTo>
                    <a:lnTo>
                      <a:pt x="737" y="302"/>
                    </a:lnTo>
                    <a:lnTo>
                      <a:pt x="729" y="306"/>
                    </a:lnTo>
                    <a:lnTo>
                      <a:pt x="720" y="298"/>
                    </a:lnTo>
                    <a:lnTo>
                      <a:pt x="712" y="298"/>
                    </a:lnTo>
                    <a:lnTo>
                      <a:pt x="705" y="310"/>
                    </a:lnTo>
                    <a:lnTo>
                      <a:pt x="676" y="324"/>
                    </a:lnTo>
                    <a:lnTo>
                      <a:pt x="670" y="330"/>
                    </a:lnTo>
                    <a:lnTo>
                      <a:pt x="671" y="338"/>
                    </a:lnTo>
                    <a:lnTo>
                      <a:pt x="673" y="341"/>
                    </a:lnTo>
                    <a:lnTo>
                      <a:pt x="654" y="335"/>
                    </a:lnTo>
                    <a:lnTo>
                      <a:pt x="644" y="339"/>
                    </a:lnTo>
                    <a:lnTo>
                      <a:pt x="638" y="351"/>
                    </a:lnTo>
                    <a:lnTo>
                      <a:pt x="635" y="348"/>
                    </a:lnTo>
                    <a:lnTo>
                      <a:pt x="638" y="362"/>
                    </a:lnTo>
                    <a:lnTo>
                      <a:pt x="637" y="367"/>
                    </a:lnTo>
                    <a:lnTo>
                      <a:pt x="635" y="362"/>
                    </a:lnTo>
                    <a:lnTo>
                      <a:pt x="623" y="357"/>
                    </a:lnTo>
                    <a:lnTo>
                      <a:pt x="621" y="349"/>
                    </a:lnTo>
                    <a:lnTo>
                      <a:pt x="610" y="361"/>
                    </a:lnTo>
                    <a:lnTo>
                      <a:pt x="600" y="361"/>
                    </a:lnTo>
                    <a:lnTo>
                      <a:pt x="584" y="370"/>
                    </a:lnTo>
                    <a:lnTo>
                      <a:pt x="585" y="377"/>
                    </a:lnTo>
                    <a:lnTo>
                      <a:pt x="596" y="386"/>
                    </a:lnTo>
                    <a:lnTo>
                      <a:pt x="615" y="391"/>
                    </a:lnTo>
                    <a:lnTo>
                      <a:pt x="617" y="399"/>
                    </a:lnTo>
                    <a:lnTo>
                      <a:pt x="606" y="394"/>
                    </a:lnTo>
                    <a:lnTo>
                      <a:pt x="583" y="393"/>
                    </a:lnTo>
                    <a:lnTo>
                      <a:pt x="554" y="409"/>
                    </a:lnTo>
                    <a:lnTo>
                      <a:pt x="549" y="403"/>
                    </a:lnTo>
                    <a:lnTo>
                      <a:pt x="567" y="393"/>
                    </a:lnTo>
                    <a:lnTo>
                      <a:pt x="560" y="386"/>
                    </a:lnTo>
                    <a:lnTo>
                      <a:pt x="538" y="377"/>
                    </a:lnTo>
                    <a:lnTo>
                      <a:pt x="529" y="360"/>
                    </a:lnTo>
                    <a:lnTo>
                      <a:pt x="511" y="351"/>
                    </a:lnTo>
                    <a:lnTo>
                      <a:pt x="504" y="364"/>
                    </a:lnTo>
                    <a:lnTo>
                      <a:pt x="505" y="377"/>
                    </a:lnTo>
                    <a:lnTo>
                      <a:pt x="503" y="386"/>
                    </a:lnTo>
                    <a:lnTo>
                      <a:pt x="498" y="364"/>
                    </a:lnTo>
                    <a:lnTo>
                      <a:pt x="492" y="357"/>
                    </a:lnTo>
                    <a:lnTo>
                      <a:pt x="482" y="370"/>
                    </a:lnTo>
                    <a:lnTo>
                      <a:pt x="479" y="377"/>
                    </a:lnTo>
                    <a:lnTo>
                      <a:pt x="474" y="384"/>
                    </a:lnTo>
                    <a:lnTo>
                      <a:pt x="465" y="383"/>
                    </a:lnTo>
                    <a:lnTo>
                      <a:pt x="470" y="371"/>
                    </a:lnTo>
                    <a:lnTo>
                      <a:pt x="467" y="367"/>
                    </a:lnTo>
                    <a:lnTo>
                      <a:pt x="458" y="357"/>
                    </a:lnTo>
                    <a:lnTo>
                      <a:pt x="456" y="350"/>
                    </a:lnTo>
                    <a:lnTo>
                      <a:pt x="445" y="340"/>
                    </a:lnTo>
                    <a:lnTo>
                      <a:pt x="436" y="348"/>
                    </a:lnTo>
                    <a:lnTo>
                      <a:pt x="434" y="359"/>
                    </a:lnTo>
                    <a:lnTo>
                      <a:pt x="439" y="383"/>
                    </a:lnTo>
                    <a:lnTo>
                      <a:pt x="431" y="397"/>
                    </a:lnTo>
                    <a:lnTo>
                      <a:pt x="427" y="388"/>
                    </a:lnTo>
                    <a:lnTo>
                      <a:pt x="422" y="365"/>
                    </a:lnTo>
                    <a:lnTo>
                      <a:pt x="407" y="357"/>
                    </a:lnTo>
                    <a:lnTo>
                      <a:pt x="400" y="367"/>
                    </a:lnTo>
                    <a:lnTo>
                      <a:pt x="395" y="366"/>
                    </a:lnTo>
                    <a:lnTo>
                      <a:pt x="395" y="364"/>
                    </a:lnTo>
                    <a:lnTo>
                      <a:pt x="397" y="357"/>
                    </a:lnTo>
                    <a:lnTo>
                      <a:pt x="388" y="361"/>
                    </a:lnTo>
                    <a:lnTo>
                      <a:pt x="390" y="354"/>
                    </a:lnTo>
                    <a:lnTo>
                      <a:pt x="409" y="349"/>
                    </a:lnTo>
                    <a:lnTo>
                      <a:pt x="417" y="317"/>
                    </a:lnTo>
                    <a:lnTo>
                      <a:pt x="412" y="316"/>
                    </a:lnTo>
                    <a:lnTo>
                      <a:pt x="407" y="302"/>
                    </a:lnTo>
                    <a:lnTo>
                      <a:pt x="393" y="310"/>
                    </a:lnTo>
                    <a:lnTo>
                      <a:pt x="381" y="306"/>
                    </a:lnTo>
                    <a:lnTo>
                      <a:pt x="387" y="295"/>
                    </a:lnTo>
                    <a:lnTo>
                      <a:pt x="380" y="278"/>
                    </a:lnTo>
                    <a:lnTo>
                      <a:pt x="374" y="274"/>
                    </a:lnTo>
                    <a:lnTo>
                      <a:pt x="369" y="284"/>
                    </a:lnTo>
                    <a:lnTo>
                      <a:pt x="365" y="286"/>
                    </a:lnTo>
                    <a:lnTo>
                      <a:pt x="358" y="279"/>
                    </a:lnTo>
                    <a:lnTo>
                      <a:pt x="347" y="289"/>
                    </a:lnTo>
                    <a:lnTo>
                      <a:pt x="347" y="275"/>
                    </a:lnTo>
                    <a:lnTo>
                      <a:pt x="339" y="280"/>
                    </a:lnTo>
                    <a:lnTo>
                      <a:pt x="333" y="279"/>
                    </a:lnTo>
                    <a:lnTo>
                      <a:pt x="332" y="276"/>
                    </a:lnTo>
                    <a:lnTo>
                      <a:pt x="327" y="289"/>
                    </a:lnTo>
                    <a:lnTo>
                      <a:pt x="306" y="312"/>
                    </a:lnTo>
                    <a:lnTo>
                      <a:pt x="309" y="291"/>
                    </a:lnTo>
                    <a:lnTo>
                      <a:pt x="317" y="286"/>
                    </a:lnTo>
                    <a:lnTo>
                      <a:pt x="318" y="281"/>
                    </a:lnTo>
                    <a:lnTo>
                      <a:pt x="312" y="271"/>
                    </a:lnTo>
                    <a:lnTo>
                      <a:pt x="354" y="263"/>
                    </a:lnTo>
                    <a:lnTo>
                      <a:pt x="344" y="255"/>
                    </a:lnTo>
                    <a:lnTo>
                      <a:pt x="332" y="259"/>
                    </a:lnTo>
                    <a:lnTo>
                      <a:pt x="326" y="252"/>
                    </a:lnTo>
                    <a:lnTo>
                      <a:pt x="328" y="249"/>
                    </a:lnTo>
                    <a:lnTo>
                      <a:pt x="330" y="246"/>
                    </a:lnTo>
                    <a:lnTo>
                      <a:pt x="325" y="246"/>
                    </a:lnTo>
                    <a:lnTo>
                      <a:pt x="321" y="238"/>
                    </a:lnTo>
                    <a:lnTo>
                      <a:pt x="307" y="231"/>
                    </a:lnTo>
                    <a:lnTo>
                      <a:pt x="290" y="230"/>
                    </a:lnTo>
                    <a:lnTo>
                      <a:pt x="301" y="217"/>
                    </a:lnTo>
                    <a:lnTo>
                      <a:pt x="295" y="215"/>
                    </a:lnTo>
                    <a:lnTo>
                      <a:pt x="296" y="206"/>
                    </a:lnTo>
                    <a:lnTo>
                      <a:pt x="311" y="225"/>
                    </a:lnTo>
                    <a:lnTo>
                      <a:pt x="326" y="228"/>
                    </a:lnTo>
                    <a:lnTo>
                      <a:pt x="337" y="227"/>
                    </a:lnTo>
                    <a:lnTo>
                      <a:pt x="349" y="241"/>
                    </a:lnTo>
                    <a:lnTo>
                      <a:pt x="357" y="241"/>
                    </a:lnTo>
                    <a:lnTo>
                      <a:pt x="347" y="232"/>
                    </a:lnTo>
                    <a:lnTo>
                      <a:pt x="359" y="231"/>
                    </a:lnTo>
                    <a:lnTo>
                      <a:pt x="387" y="237"/>
                    </a:lnTo>
                    <a:lnTo>
                      <a:pt x="402" y="236"/>
                    </a:lnTo>
                    <a:lnTo>
                      <a:pt x="417" y="222"/>
                    </a:lnTo>
                    <a:lnTo>
                      <a:pt x="420" y="206"/>
                    </a:lnTo>
                    <a:lnTo>
                      <a:pt x="418" y="193"/>
                    </a:lnTo>
                    <a:lnTo>
                      <a:pt x="401" y="197"/>
                    </a:lnTo>
                    <a:lnTo>
                      <a:pt x="386" y="193"/>
                    </a:lnTo>
                    <a:lnTo>
                      <a:pt x="359" y="176"/>
                    </a:lnTo>
                    <a:lnTo>
                      <a:pt x="352" y="174"/>
                    </a:lnTo>
                    <a:lnTo>
                      <a:pt x="347" y="179"/>
                    </a:lnTo>
                    <a:lnTo>
                      <a:pt x="344" y="172"/>
                    </a:lnTo>
                    <a:lnTo>
                      <a:pt x="325" y="160"/>
                    </a:lnTo>
                    <a:lnTo>
                      <a:pt x="298" y="157"/>
                    </a:lnTo>
                    <a:lnTo>
                      <a:pt x="295" y="151"/>
                    </a:lnTo>
                    <a:lnTo>
                      <a:pt x="295" y="146"/>
                    </a:lnTo>
                    <a:lnTo>
                      <a:pt x="320" y="150"/>
                    </a:lnTo>
                    <a:lnTo>
                      <a:pt x="323" y="144"/>
                    </a:lnTo>
                    <a:lnTo>
                      <a:pt x="328" y="151"/>
                    </a:lnTo>
                    <a:lnTo>
                      <a:pt x="337" y="157"/>
                    </a:lnTo>
                    <a:lnTo>
                      <a:pt x="345" y="160"/>
                    </a:lnTo>
                    <a:lnTo>
                      <a:pt x="354" y="156"/>
                    </a:lnTo>
                    <a:lnTo>
                      <a:pt x="352" y="150"/>
                    </a:lnTo>
                    <a:lnTo>
                      <a:pt x="350" y="139"/>
                    </a:lnTo>
                    <a:lnTo>
                      <a:pt x="345" y="130"/>
                    </a:lnTo>
                    <a:lnTo>
                      <a:pt x="320" y="112"/>
                    </a:lnTo>
                    <a:lnTo>
                      <a:pt x="310" y="108"/>
                    </a:lnTo>
                    <a:lnTo>
                      <a:pt x="302" y="102"/>
                    </a:lnTo>
                    <a:lnTo>
                      <a:pt x="301" y="97"/>
                    </a:lnTo>
                    <a:lnTo>
                      <a:pt x="293" y="95"/>
                    </a:lnTo>
                    <a:lnTo>
                      <a:pt x="290" y="99"/>
                    </a:lnTo>
                    <a:lnTo>
                      <a:pt x="269" y="107"/>
                    </a:lnTo>
                    <a:lnTo>
                      <a:pt x="261" y="119"/>
                    </a:lnTo>
                    <a:lnTo>
                      <a:pt x="247" y="123"/>
                    </a:lnTo>
                    <a:lnTo>
                      <a:pt x="241" y="115"/>
                    </a:lnTo>
                    <a:lnTo>
                      <a:pt x="232" y="123"/>
                    </a:lnTo>
                    <a:lnTo>
                      <a:pt x="210" y="120"/>
                    </a:lnTo>
                    <a:lnTo>
                      <a:pt x="193" y="152"/>
                    </a:lnTo>
                    <a:lnTo>
                      <a:pt x="180" y="163"/>
                    </a:lnTo>
                    <a:lnTo>
                      <a:pt x="182" y="154"/>
                    </a:lnTo>
                    <a:lnTo>
                      <a:pt x="181" y="147"/>
                    </a:lnTo>
                    <a:lnTo>
                      <a:pt x="192" y="123"/>
                    </a:lnTo>
                    <a:lnTo>
                      <a:pt x="191" y="112"/>
                    </a:lnTo>
                    <a:lnTo>
                      <a:pt x="197" y="86"/>
                    </a:lnTo>
                    <a:lnTo>
                      <a:pt x="193" y="82"/>
                    </a:lnTo>
                    <a:lnTo>
                      <a:pt x="192" y="70"/>
                    </a:lnTo>
                    <a:lnTo>
                      <a:pt x="186" y="63"/>
                    </a:lnTo>
                    <a:lnTo>
                      <a:pt x="176" y="36"/>
                    </a:lnTo>
                    <a:lnTo>
                      <a:pt x="166" y="39"/>
                    </a:lnTo>
                    <a:lnTo>
                      <a:pt x="161" y="29"/>
                    </a:lnTo>
                    <a:lnTo>
                      <a:pt x="156" y="39"/>
                    </a:lnTo>
                    <a:lnTo>
                      <a:pt x="143" y="45"/>
                    </a:lnTo>
                    <a:lnTo>
                      <a:pt x="137" y="33"/>
                    </a:lnTo>
                    <a:lnTo>
                      <a:pt x="111" y="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37" name="Freeform 299"/>
              <p:cNvSpPr>
                <a:spLocks noChangeAspect="1"/>
              </p:cNvSpPr>
              <p:nvPr/>
            </p:nvSpPr>
            <p:spPr bwMode="gray">
              <a:xfrm>
                <a:off x="1457" y="1187"/>
                <a:ext cx="33" cy="46"/>
              </a:xfrm>
              <a:custGeom>
                <a:avLst/>
                <a:gdLst/>
                <a:ahLst/>
                <a:cxnLst>
                  <a:cxn ang="0">
                    <a:pos x="82" y="0"/>
                  </a:cxn>
                  <a:cxn ang="0">
                    <a:pos x="105" y="22"/>
                  </a:cxn>
                  <a:cxn ang="0">
                    <a:pos x="123" y="39"/>
                  </a:cxn>
                  <a:cxn ang="0">
                    <a:pos x="129" y="48"/>
                  </a:cxn>
                  <a:cxn ang="0">
                    <a:pos x="130" y="76"/>
                  </a:cxn>
                  <a:cxn ang="0">
                    <a:pos x="149" y="76"/>
                  </a:cxn>
                  <a:cxn ang="0">
                    <a:pos x="156" y="89"/>
                  </a:cxn>
                  <a:cxn ang="0">
                    <a:pos x="157" y="109"/>
                  </a:cxn>
                  <a:cxn ang="0">
                    <a:pos x="159" y="145"/>
                  </a:cxn>
                  <a:cxn ang="0">
                    <a:pos x="161" y="210"/>
                  </a:cxn>
                  <a:cxn ang="0">
                    <a:pos x="150" y="226"/>
                  </a:cxn>
                  <a:cxn ang="0">
                    <a:pos x="124" y="229"/>
                  </a:cxn>
                  <a:cxn ang="0">
                    <a:pos x="98" y="228"/>
                  </a:cxn>
                  <a:cxn ang="0">
                    <a:pos x="86" y="211"/>
                  </a:cxn>
                  <a:cxn ang="0">
                    <a:pos x="75" y="197"/>
                  </a:cxn>
                  <a:cxn ang="0">
                    <a:pos x="62" y="185"/>
                  </a:cxn>
                  <a:cxn ang="0">
                    <a:pos x="60" y="195"/>
                  </a:cxn>
                  <a:cxn ang="0">
                    <a:pos x="53" y="193"/>
                  </a:cxn>
                  <a:cxn ang="0">
                    <a:pos x="50" y="178"/>
                  </a:cxn>
                  <a:cxn ang="0">
                    <a:pos x="39" y="183"/>
                  </a:cxn>
                  <a:cxn ang="0">
                    <a:pos x="26" y="159"/>
                  </a:cxn>
                  <a:cxn ang="0">
                    <a:pos x="31" y="142"/>
                  </a:cxn>
                  <a:cxn ang="0">
                    <a:pos x="25" y="137"/>
                  </a:cxn>
                  <a:cxn ang="0">
                    <a:pos x="14" y="158"/>
                  </a:cxn>
                  <a:cxn ang="0">
                    <a:pos x="6" y="141"/>
                  </a:cxn>
                  <a:cxn ang="0">
                    <a:pos x="0" y="113"/>
                  </a:cxn>
                  <a:cxn ang="0">
                    <a:pos x="6" y="103"/>
                  </a:cxn>
                  <a:cxn ang="0">
                    <a:pos x="7" y="92"/>
                  </a:cxn>
                  <a:cxn ang="0">
                    <a:pos x="23" y="83"/>
                  </a:cxn>
                  <a:cxn ang="0">
                    <a:pos x="34" y="73"/>
                  </a:cxn>
                  <a:cxn ang="0">
                    <a:pos x="26" y="67"/>
                  </a:cxn>
                  <a:cxn ang="0">
                    <a:pos x="32" y="64"/>
                  </a:cxn>
                  <a:cxn ang="0">
                    <a:pos x="39" y="50"/>
                  </a:cxn>
                  <a:cxn ang="0">
                    <a:pos x="23" y="60"/>
                  </a:cxn>
                  <a:cxn ang="0">
                    <a:pos x="28" y="45"/>
                  </a:cxn>
                  <a:cxn ang="0">
                    <a:pos x="44" y="43"/>
                  </a:cxn>
                  <a:cxn ang="0">
                    <a:pos x="65" y="5"/>
                  </a:cxn>
                  <a:cxn ang="0">
                    <a:pos x="84" y="7"/>
                  </a:cxn>
                </a:cxnLst>
                <a:rect l="0" t="0" r="r" b="b"/>
                <a:pathLst>
                  <a:path w="163" h="229">
                    <a:moveTo>
                      <a:pt x="84" y="7"/>
                    </a:moveTo>
                    <a:lnTo>
                      <a:pt x="82" y="0"/>
                    </a:lnTo>
                    <a:lnTo>
                      <a:pt x="85" y="12"/>
                    </a:lnTo>
                    <a:lnTo>
                      <a:pt x="105" y="22"/>
                    </a:lnTo>
                    <a:lnTo>
                      <a:pt x="114" y="34"/>
                    </a:lnTo>
                    <a:lnTo>
                      <a:pt x="123" y="39"/>
                    </a:lnTo>
                    <a:lnTo>
                      <a:pt x="123" y="48"/>
                    </a:lnTo>
                    <a:lnTo>
                      <a:pt x="129" y="48"/>
                    </a:lnTo>
                    <a:lnTo>
                      <a:pt x="134" y="59"/>
                    </a:lnTo>
                    <a:lnTo>
                      <a:pt x="130" y="76"/>
                    </a:lnTo>
                    <a:lnTo>
                      <a:pt x="141" y="65"/>
                    </a:lnTo>
                    <a:lnTo>
                      <a:pt x="149" y="76"/>
                    </a:lnTo>
                    <a:lnTo>
                      <a:pt x="147" y="82"/>
                    </a:lnTo>
                    <a:lnTo>
                      <a:pt x="156" y="89"/>
                    </a:lnTo>
                    <a:lnTo>
                      <a:pt x="161" y="99"/>
                    </a:lnTo>
                    <a:lnTo>
                      <a:pt x="157" y="109"/>
                    </a:lnTo>
                    <a:lnTo>
                      <a:pt x="161" y="123"/>
                    </a:lnTo>
                    <a:lnTo>
                      <a:pt x="159" y="145"/>
                    </a:lnTo>
                    <a:lnTo>
                      <a:pt x="163" y="182"/>
                    </a:lnTo>
                    <a:lnTo>
                      <a:pt x="161" y="210"/>
                    </a:lnTo>
                    <a:lnTo>
                      <a:pt x="159" y="218"/>
                    </a:lnTo>
                    <a:lnTo>
                      <a:pt x="150" y="226"/>
                    </a:lnTo>
                    <a:lnTo>
                      <a:pt x="136" y="224"/>
                    </a:lnTo>
                    <a:lnTo>
                      <a:pt x="124" y="229"/>
                    </a:lnTo>
                    <a:lnTo>
                      <a:pt x="112" y="226"/>
                    </a:lnTo>
                    <a:lnTo>
                      <a:pt x="98" y="228"/>
                    </a:lnTo>
                    <a:lnTo>
                      <a:pt x="89" y="220"/>
                    </a:lnTo>
                    <a:lnTo>
                      <a:pt x="86" y="211"/>
                    </a:lnTo>
                    <a:lnTo>
                      <a:pt x="77" y="207"/>
                    </a:lnTo>
                    <a:lnTo>
                      <a:pt x="75" y="197"/>
                    </a:lnTo>
                    <a:lnTo>
                      <a:pt x="68" y="185"/>
                    </a:lnTo>
                    <a:lnTo>
                      <a:pt x="62" y="185"/>
                    </a:lnTo>
                    <a:lnTo>
                      <a:pt x="59" y="190"/>
                    </a:lnTo>
                    <a:lnTo>
                      <a:pt x="60" y="195"/>
                    </a:lnTo>
                    <a:lnTo>
                      <a:pt x="57" y="197"/>
                    </a:lnTo>
                    <a:lnTo>
                      <a:pt x="53" y="193"/>
                    </a:lnTo>
                    <a:lnTo>
                      <a:pt x="52" y="180"/>
                    </a:lnTo>
                    <a:lnTo>
                      <a:pt x="50" y="178"/>
                    </a:lnTo>
                    <a:lnTo>
                      <a:pt x="42" y="177"/>
                    </a:lnTo>
                    <a:lnTo>
                      <a:pt x="39" y="183"/>
                    </a:lnTo>
                    <a:lnTo>
                      <a:pt x="34" y="178"/>
                    </a:lnTo>
                    <a:lnTo>
                      <a:pt x="26" y="159"/>
                    </a:lnTo>
                    <a:lnTo>
                      <a:pt x="26" y="152"/>
                    </a:lnTo>
                    <a:lnTo>
                      <a:pt x="31" y="142"/>
                    </a:lnTo>
                    <a:lnTo>
                      <a:pt x="27" y="146"/>
                    </a:lnTo>
                    <a:lnTo>
                      <a:pt x="25" y="137"/>
                    </a:lnTo>
                    <a:lnTo>
                      <a:pt x="19" y="157"/>
                    </a:lnTo>
                    <a:lnTo>
                      <a:pt x="14" y="158"/>
                    </a:lnTo>
                    <a:lnTo>
                      <a:pt x="11" y="146"/>
                    </a:lnTo>
                    <a:lnTo>
                      <a:pt x="6" y="141"/>
                    </a:lnTo>
                    <a:lnTo>
                      <a:pt x="1" y="123"/>
                    </a:lnTo>
                    <a:lnTo>
                      <a:pt x="0" y="113"/>
                    </a:lnTo>
                    <a:lnTo>
                      <a:pt x="0" y="103"/>
                    </a:lnTo>
                    <a:lnTo>
                      <a:pt x="6" y="103"/>
                    </a:lnTo>
                    <a:lnTo>
                      <a:pt x="11" y="99"/>
                    </a:lnTo>
                    <a:lnTo>
                      <a:pt x="7" y="92"/>
                    </a:lnTo>
                    <a:lnTo>
                      <a:pt x="12" y="89"/>
                    </a:lnTo>
                    <a:lnTo>
                      <a:pt x="23" y="83"/>
                    </a:lnTo>
                    <a:lnTo>
                      <a:pt x="36" y="78"/>
                    </a:lnTo>
                    <a:lnTo>
                      <a:pt x="34" y="73"/>
                    </a:lnTo>
                    <a:lnTo>
                      <a:pt x="26" y="73"/>
                    </a:lnTo>
                    <a:lnTo>
                      <a:pt x="26" y="67"/>
                    </a:lnTo>
                    <a:lnTo>
                      <a:pt x="32" y="56"/>
                    </a:lnTo>
                    <a:lnTo>
                      <a:pt x="32" y="64"/>
                    </a:lnTo>
                    <a:lnTo>
                      <a:pt x="39" y="61"/>
                    </a:lnTo>
                    <a:lnTo>
                      <a:pt x="39" y="50"/>
                    </a:lnTo>
                    <a:lnTo>
                      <a:pt x="31" y="50"/>
                    </a:lnTo>
                    <a:lnTo>
                      <a:pt x="23" y="60"/>
                    </a:lnTo>
                    <a:lnTo>
                      <a:pt x="22" y="50"/>
                    </a:lnTo>
                    <a:lnTo>
                      <a:pt x="28" y="45"/>
                    </a:lnTo>
                    <a:lnTo>
                      <a:pt x="44" y="49"/>
                    </a:lnTo>
                    <a:lnTo>
                      <a:pt x="44" y="43"/>
                    </a:lnTo>
                    <a:lnTo>
                      <a:pt x="41" y="28"/>
                    </a:lnTo>
                    <a:lnTo>
                      <a:pt x="65" y="5"/>
                    </a:lnTo>
                    <a:lnTo>
                      <a:pt x="76" y="2"/>
                    </a:lnTo>
                    <a:lnTo>
                      <a:pt x="84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38" name="Freeform 300"/>
              <p:cNvSpPr>
                <a:spLocks noChangeAspect="1"/>
              </p:cNvSpPr>
              <p:nvPr/>
            </p:nvSpPr>
            <p:spPr bwMode="gray">
              <a:xfrm>
                <a:off x="1559" y="1520"/>
                <a:ext cx="77" cy="70"/>
              </a:xfrm>
              <a:custGeom>
                <a:avLst/>
                <a:gdLst/>
                <a:ahLst/>
                <a:cxnLst>
                  <a:cxn ang="0">
                    <a:pos x="91" y="0"/>
                  </a:cxn>
                  <a:cxn ang="0">
                    <a:pos x="110" y="27"/>
                  </a:cxn>
                  <a:cxn ang="0">
                    <a:pos x="118" y="61"/>
                  </a:cxn>
                  <a:cxn ang="0">
                    <a:pos x="134" y="70"/>
                  </a:cxn>
                  <a:cxn ang="0">
                    <a:pos x="161" y="70"/>
                  </a:cxn>
                  <a:cxn ang="0">
                    <a:pos x="179" y="96"/>
                  </a:cxn>
                  <a:cxn ang="0">
                    <a:pos x="212" y="116"/>
                  </a:cxn>
                  <a:cxn ang="0">
                    <a:pos x="243" y="143"/>
                  </a:cxn>
                  <a:cxn ang="0">
                    <a:pos x="276" y="157"/>
                  </a:cxn>
                  <a:cxn ang="0">
                    <a:pos x="296" y="183"/>
                  </a:cxn>
                  <a:cxn ang="0">
                    <a:pos x="303" y="236"/>
                  </a:cxn>
                  <a:cxn ang="0">
                    <a:pos x="327" y="237"/>
                  </a:cxn>
                  <a:cxn ang="0">
                    <a:pos x="351" y="232"/>
                  </a:cxn>
                  <a:cxn ang="0">
                    <a:pos x="364" y="256"/>
                  </a:cxn>
                  <a:cxn ang="0">
                    <a:pos x="384" y="272"/>
                  </a:cxn>
                  <a:cxn ang="0">
                    <a:pos x="351" y="296"/>
                  </a:cxn>
                  <a:cxn ang="0">
                    <a:pos x="319" y="303"/>
                  </a:cxn>
                  <a:cxn ang="0">
                    <a:pos x="307" y="298"/>
                  </a:cxn>
                  <a:cxn ang="0">
                    <a:pos x="285" y="283"/>
                  </a:cxn>
                  <a:cxn ang="0">
                    <a:pos x="263" y="282"/>
                  </a:cxn>
                  <a:cxn ang="0">
                    <a:pos x="263" y="253"/>
                  </a:cxn>
                  <a:cxn ang="0">
                    <a:pos x="233" y="247"/>
                  </a:cxn>
                  <a:cxn ang="0">
                    <a:pos x="230" y="232"/>
                  </a:cxn>
                  <a:cxn ang="0">
                    <a:pos x="212" y="227"/>
                  </a:cxn>
                  <a:cxn ang="0">
                    <a:pos x="195" y="256"/>
                  </a:cxn>
                  <a:cxn ang="0">
                    <a:pos x="189" y="274"/>
                  </a:cxn>
                  <a:cxn ang="0">
                    <a:pos x="176" y="290"/>
                  </a:cxn>
                  <a:cxn ang="0">
                    <a:pos x="155" y="307"/>
                  </a:cxn>
                  <a:cxn ang="0">
                    <a:pos x="147" y="317"/>
                  </a:cxn>
                  <a:cxn ang="0">
                    <a:pos x="108" y="349"/>
                  </a:cxn>
                  <a:cxn ang="0">
                    <a:pos x="88" y="331"/>
                  </a:cxn>
                  <a:cxn ang="0">
                    <a:pos x="85" y="283"/>
                  </a:cxn>
                  <a:cxn ang="0">
                    <a:pos x="79" y="264"/>
                  </a:cxn>
                  <a:cxn ang="0">
                    <a:pos x="63" y="286"/>
                  </a:cxn>
                  <a:cxn ang="0">
                    <a:pos x="37" y="285"/>
                  </a:cxn>
                  <a:cxn ang="0">
                    <a:pos x="4" y="293"/>
                  </a:cxn>
                  <a:cxn ang="0">
                    <a:pos x="20" y="249"/>
                  </a:cxn>
                  <a:cxn ang="0">
                    <a:pos x="51" y="211"/>
                  </a:cxn>
                  <a:cxn ang="0">
                    <a:pos x="44" y="174"/>
                  </a:cxn>
                  <a:cxn ang="0">
                    <a:pos x="55" y="125"/>
                  </a:cxn>
                  <a:cxn ang="0">
                    <a:pos x="59" y="72"/>
                  </a:cxn>
                  <a:cxn ang="0">
                    <a:pos x="66" y="29"/>
                  </a:cxn>
                </a:cxnLst>
                <a:rect l="0" t="0" r="r" b="b"/>
                <a:pathLst>
                  <a:path w="384" h="349">
                    <a:moveTo>
                      <a:pt x="77" y="14"/>
                    </a:moveTo>
                    <a:lnTo>
                      <a:pt x="86" y="1"/>
                    </a:lnTo>
                    <a:lnTo>
                      <a:pt x="91" y="0"/>
                    </a:lnTo>
                    <a:lnTo>
                      <a:pt x="93" y="11"/>
                    </a:lnTo>
                    <a:lnTo>
                      <a:pt x="106" y="10"/>
                    </a:lnTo>
                    <a:lnTo>
                      <a:pt x="110" y="27"/>
                    </a:lnTo>
                    <a:lnTo>
                      <a:pt x="119" y="38"/>
                    </a:lnTo>
                    <a:lnTo>
                      <a:pt x="114" y="48"/>
                    </a:lnTo>
                    <a:lnTo>
                      <a:pt x="118" y="61"/>
                    </a:lnTo>
                    <a:lnTo>
                      <a:pt x="120" y="81"/>
                    </a:lnTo>
                    <a:lnTo>
                      <a:pt x="129" y="85"/>
                    </a:lnTo>
                    <a:lnTo>
                      <a:pt x="134" y="70"/>
                    </a:lnTo>
                    <a:lnTo>
                      <a:pt x="142" y="57"/>
                    </a:lnTo>
                    <a:lnTo>
                      <a:pt x="150" y="59"/>
                    </a:lnTo>
                    <a:lnTo>
                      <a:pt x="161" y="70"/>
                    </a:lnTo>
                    <a:lnTo>
                      <a:pt x="169" y="72"/>
                    </a:lnTo>
                    <a:lnTo>
                      <a:pt x="168" y="89"/>
                    </a:lnTo>
                    <a:lnTo>
                      <a:pt x="179" y="96"/>
                    </a:lnTo>
                    <a:lnTo>
                      <a:pt x="207" y="100"/>
                    </a:lnTo>
                    <a:lnTo>
                      <a:pt x="209" y="108"/>
                    </a:lnTo>
                    <a:lnTo>
                      <a:pt x="212" y="116"/>
                    </a:lnTo>
                    <a:lnTo>
                      <a:pt x="222" y="127"/>
                    </a:lnTo>
                    <a:lnTo>
                      <a:pt x="233" y="132"/>
                    </a:lnTo>
                    <a:lnTo>
                      <a:pt x="243" y="143"/>
                    </a:lnTo>
                    <a:lnTo>
                      <a:pt x="255" y="151"/>
                    </a:lnTo>
                    <a:lnTo>
                      <a:pt x="265" y="148"/>
                    </a:lnTo>
                    <a:lnTo>
                      <a:pt x="276" y="157"/>
                    </a:lnTo>
                    <a:lnTo>
                      <a:pt x="286" y="161"/>
                    </a:lnTo>
                    <a:lnTo>
                      <a:pt x="290" y="172"/>
                    </a:lnTo>
                    <a:lnTo>
                      <a:pt x="296" y="183"/>
                    </a:lnTo>
                    <a:lnTo>
                      <a:pt x="301" y="213"/>
                    </a:lnTo>
                    <a:lnTo>
                      <a:pt x="307" y="222"/>
                    </a:lnTo>
                    <a:lnTo>
                      <a:pt x="303" y="236"/>
                    </a:lnTo>
                    <a:lnTo>
                      <a:pt x="308" y="239"/>
                    </a:lnTo>
                    <a:lnTo>
                      <a:pt x="319" y="236"/>
                    </a:lnTo>
                    <a:lnTo>
                      <a:pt x="327" y="237"/>
                    </a:lnTo>
                    <a:lnTo>
                      <a:pt x="329" y="240"/>
                    </a:lnTo>
                    <a:lnTo>
                      <a:pt x="343" y="227"/>
                    </a:lnTo>
                    <a:lnTo>
                      <a:pt x="351" y="232"/>
                    </a:lnTo>
                    <a:lnTo>
                      <a:pt x="356" y="240"/>
                    </a:lnTo>
                    <a:lnTo>
                      <a:pt x="362" y="245"/>
                    </a:lnTo>
                    <a:lnTo>
                      <a:pt x="364" y="256"/>
                    </a:lnTo>
                    <a:lnTo>
                      <a:pt x="362" y="260"/>
                    </a:lnTo>
                    <a:lnTo>
                      <a:pt x="383" y="266"/>
                    </a:lnTo>
                    <a:lnTo>
                      <a:pt x="384" y="272"/>
                    </a:lnTo>
                    <a:lnTo>
                      <a:pt x="376" y="274"/>
                    </a:lnTo>
                    <a:lnTo>
                      <a:pt x="360" y="291"/>
                    </a:lnTo>
                    <a:lnTo>
                      <a:pt x="351" y="296"/>
                    </a:lnTo>
                    <a:lnTo>
                      <a:pt x="343" y="307"/>
                    </a:lnTo>
                    <a:lnTo>
                      <a:pt x="335" y="309"/>
                    </a:lnTo>
                    <a:lnTo>
                      <a:pt x="319" y="303"/>
                    </a:lnTo>
                    <a:lnTo>
                      <a:pt x="314" y="298"/>
                    </a:lnTo>
                    <a:lnTo>
                      <a:pt x="313" y="295"/>
                    </a:lnTo>
                    <a:lnTo>
                      <a:pt x="307" y="298"/>
                    </a:lnTo>
                    <a:lnTo>
                      <a:pt x="302" y="288"/>
                    </a:lnTo>
                    <a:lnTo>
                      <a:pt x="293" y="285"/>
                    </a:lnTo>
                    <a:lnTo>
                      <a:pt x="285" y="283"/>
                    </a:lnTo>
                    <a:lnTo>
                      <a:pt x="280" y="280"/>
                    </a:lnTo>
                    <a:lnTo>
                      <a:pt x="275" y="283"/>
                    </a:lnTo>
                    <a:lnTo>
                      <a:pt x="263" y="282"/>
                    </a:lnTo>
                    <a:lnTo>
                      <a:pt x="260" y="275"/>
                    </a:lnTo>
                    <a:lnTo>
                      <a:pt x="265" y="264"/>
                    </a:lnTo>
                    <a:lnTo>
                      <a:pt x="263" y="253"/>
                    </a:lnTo>
                    <a:lnTo>
                      <a:pt x="255" y="249"/>
                    </a:lnTo>
                    <a:lnTo>
                      <a:pt x="236" y="244"/>
                    </a:lnTo>
                    <a:lnTo>
                      <a:pt x="233" y="247"/>
                    </a:lnTo>
                    <a:lnTo>
                      <a:pt x="233" y="249"/>
                    </a:lnTo>
                    <a:lnTo>
                      <a:pt x="225" y="245"/>
                    </a:lnTo>
                    <a:lnTo>
                      <a:pt x="230" y="232"/>
                    </a:lnTo>
                    <a:lnTo>
                      <a:pt x="236" y="226"/>
                    </a:lnTo>
                    <a:lnTo>
                      <a:pt x="233" y="222"/>
                    </a:lnTo>
                    <a:lnTo>
                      <a:pt x="212" y="227"/>
                    </a:lnTo>
                    <a:lnTo>
                      <a:pt x="198" y="233"/>
                    </a:lnTo>
                    <a:lnTo>
                      <a:pt x="198" y="239"/>
                    </a:lnTo>
                    <a:lnTo>
                      <a:pt x="195" y="256"/>
                    </a:lnTo>
                    <a:lnTo>
                      <a:pt x="198" y="263"/>
                    </a:lnTo>
                    <a:lnTo>
                      <a:pt x="196" y="274"/>
                    </a:lnTo>
                    <a:lnTo>
                      <a:pt x="189" y="274"/>
                    </a:lnTo>
                    <a:lnTo>
                      <a:pt x="185" y="281"/>
                    </a:lnTo>
                    <a:lnTo>
                      <a:pt x="178" y="283"/>
                    </a:lnTo>
                    <a:lnTo>
                      <a:pt x="176" y="290"/>
                    </a:lnTo>
                    <a:lnTo>
                      <a:pt x="171" y="296"/>
                    </a:lnTo>
                    <a:lnTo>
                      <a:pt x="162" y="296"/>
                    </a:lnTo>
                    <a:lnTo>
                      <a:pt x="155" y="307"/>
                    </a:lnTo>
                    <a:lnTo>
                      <a:pt x="151" y="315"/>
                    </a:lnTo>
                    <a:lnTo>
                      <a:pt x="147" y="314"/>
                    </a:lnTo>
                    <a:lnTo>
                      <a:pt x="147" y="317"/>
                    </a:lnTo>
                    <a:lnTo>
                      <a:pt x="145" y="325"/>
                    </a:lnTo>
                    <a:lnTo>
                      <a:pt x="137" y="335"/>
                    </a:lnTo>
                    <a:lnTo>
                      <a:pt x="108" y="349"/>
                    </a:lnTo>
                    <a:lnTo>
                      <a:pt x="104" y="345"/>
                    </a:lnTo>
                    <a:lnTo>
                      <a:pt x="97" y="349"/>
                    </a:lnTo>
                    <a:lnTo>
                      <a:pt x="88" y="331"/>
                    </a:lnTo>
                    <a:lnTo>
                      <a:pt x="86" y="309"/>
                    </a:lnTo>
                    <a:lnTo>
                      <a:pt x="87" y="290"/>
                    </a:lnTo>
                    <a:lnTo>
                      <a:pt x="85" y="283"/>
                    </a:lnTo>
                    <a:lnTo>
                      <a:pt x="83" y="269"/>
                    </a:lnTo>
                    <a:lnTo>
                      <a:pt x="82" y="259"/>
                    </a:lnTo>
                    <a:lnTo>
                      <a:pt x="79" y="264"/>
                    </a:lnTo>
                    <a:lnTo>
                      <a:pt x="76" y="281"/>
                    </a:lnTo>
                    <a:lnTo>
                      <a:pt x="69" y="281"/>
                    </a:lnTo>
                    <a:lnTo>
                      <a:pt x="63" y="286"/>
                    </a:lnTo>
                    <a:lnTo>
                      <a:pt x="47" y="286"/>
                    </a:lnTo>
                    <a:lnTo>
                      <a:pt x="43" y="283"/>
                    </a:lnTo>
                    <a:lnTo>
                      <a:pt x="37" y="285"/>
                    </a:lnTo>
                    <a:lnTo>
                      <a:pt x="23" y="295"/>
                    </a:lnTo>
                    <a:lnTo>
                      <a:pt x="8" y="299"/>
                    </a:lnTo>
                    <a:lnTo>
                      <a:pt x="4" y="293"/>
                    </a:lnTo>
                    <a:lnTo>
                      <a:pt x="0" y="283"/>
                    </a:lnTo>
                    <a:lnTo>
                      <a:pt x="12" y="256"/>
                    </a:lnTo>
                    <a:lnTo>
                      <a:pt x="20" y="249"/>
                    </a:lnTo>
                    <a:lnTo>
                      <a:pt x="32" y="245"/>
                    </a:lnTo>
                    <a:lnTo>
                      <a:pt x="51" y="223"/>
                    </a:lnTo>
                    <a:lnTo>
                      <a:pt x="51" y="211"/>
                    </a:lnTo>
                    <a:lnTo>
                      <a:pt x="48" y="206"/>
                    </a:lnTo>
                    <a:lnTo>
                      <a:pt x="47" y="182"/>
                    </a:lnTo>
                    <a:lnTo>
                      <a:pt x="44" y="174"/>
                    </a:lnTo>
                    <a:lnTo>
                      <a:pt x="47" y="158"/>
                    </a:lnTo>
                    <a:lnTo>
                      <a:pt x="53" y="141"/>
                    </a:lnTo>
                    <a:lnTo>
                      <a:pt x="55" y="125"/>
                    </a:lnTo>
                    <a:lnTo>
                      <a:pt x="55" y="121"/>
                    </a:lnTo>
                    <a:lnTo>
                      <a:pt x="58" y="110"/>
                    </a:lnTo>
                    <a:lnTo>
                      <a:pt x="59" y="72"/>
                    </a:lnTo>
                    <a:lnTo>
                      <a:pt x="59" y="60"/>
                    </a:lnTo>
                    <a:lnTo>
                      <a:pt x="63" y="49"/>
                    </a:lnTo>
                    <a:lnTo>
                      <a:pt x="66" y="29"/>
                    </a:lnTo>
                    <a:lnTo>
                      <a:pt x="72" y="19"/>
                    </a:lnTo>
                    <a:lnTo>
                      <a:pt x="77" y="1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39" name="Freeform 301"/>
              <p:cNvSpPr>
                <a:spLocks noChangeAspect="1"/>
              </p:cNvSpPr>
              <p:nvPr/>
            </p:nvSpPr>
            <p:spPr bwMode="gray">
              <a:xfrm>
                <a:off x="1668" y="1452"/>
                <a:ext cx="24" cy="32"/>
              </a:xfrm>
              <a:custGeom>
                <a:avLst/>
                <a:gdLst/>
                <a:ahLst/>
                <a:cxnLst>
                  <a:cxn ang="0">
                    <a:pos x="52" y="4"/>
                  </a:cxn>
                  <a:cxn ang="0">
                    <a:pos x="56" y="0"/>
                  </a:cxn>
                  <a:cxn ang="0">
                    <a:pos x="59" y="5"/>
                  </a:cxn>
                  <a:cxn ang="0">
                    <a:pos x="65" y="11"/>
                  </a:cxn>
                  <a:cxn ang="0">
                    <a:pos x="75" y="3"/>
                  </a:cxn>
                  <a:cxn ang="0">
                    <a:pos x="87" y="5"/>
                  </a:cxn>
                  <a:cxn ang="0">
                    <a:pos x="92" y="17"/>
                  </a:cxn>
                  <a:cxn ang="0">
                    <a:pos x="100" y="19"/>
                  </a:cxn>
                  <a:cxn ang="0">
                    <a:pos x="111" y="17"/>
                  </a:cxn>
                  <a:cxn ang="0">
                    <a:pos x="119" y="33"/>
                  </a:cxn>
                  <a:cxn ang="0">
                    <a:pos x="120" y="49"/>
                  </a:cxn>
                  <a:cxn ang="0">
                    <a:pos x="119" y="74"/>
                  </a:cxn>
                  <a:cxn ang="0">
                    <a:pos x="122" y="97"/>
                  </a:cxn>
                  <a:cxn ang="0">
                    <a:pos x="119" y="119"/>
                  </a:cxn>
                  <a:cxn ang="0">
                    <a:pos x="104" y="139"/>
                  </a:cxn>
                  <a:cxn ang="0">
                    <a:pos x="88" y="151"/>
                  </a:cxn>
                  <a:cxn ang="0">
                    <a:pos x="39" y="161"/>
                  </a:cxn>
                  <a:cxn ang="0">
                    <a:pos x="33" y="158"/>
                  </a:cxn>
                  <a:cxn ang="0">
                    <a:pos x="17" y="153"/>
                  </a:cxn>
                  <a:cxn ang="0">
                    <a:pos x="6" y="132"/>
                  </a:cxn>
                  <a:cxn ang="0">
                    <a:pos x="1" y="110"/>
                  </a:cxn>
                  <a:cxn ang="0">
                    <a:pos x="0" y="90"/>
                  </a:cxn>
                  <a:cxn ang="0">
                    <a:pos x="2" y="72"/>
                  </a:cxn>
                  <a:cxn ang="0">
                    <a:pos x="8" y="62"/>
                  </a:cxn>
                  <a:cxn ang="0">
                    <a:pos x="13" y="46"/>
                  </a:cxn>
                  <a:cxn ang="0">
                    <a:pos x="22" y="27"/>
                  </a:cxn>
                  <a:cxn ang="0">
                    <a:pos x="33" y="13"/>
                  </a:cxn>
                  <a:cxn ang="0">
                    <a:pos x="44" y="10"/>
                  </a:cxn>
                  <a:cxn ang="0">
                    <a:pos x="52" y="4"/>
                  </a:cxn>
                </a:cxnLst>
                <a:rect l="0" t="0" r="r" b="b"/>
                <a:pathLst>
                  <a:path w="122" h="161">
                    <a:moveTo>
                      <a:pt x="52" y="4"/>
                    </a:moveTo>
                    <a:lnTo>
                      <a:pt x="56" y="0"/>
                    </a:lnTo>
                    <a:lnTo>
                      <a:pt x="59" y="5"/>
                    </a:lnTo>
                    <a:lnTo>
                      <a:pt x="65" y="11"/>
                    </a:lnTo>
                    <a:lnTo>
                      <a:pt x="75" y="3"/>
                    </a:lnTo>
                    <a:lnTo>
                      <a:pt x="87" y="5"/>
                    </a:lnTo>
                    <a:lnTo>
                      <a:pt x="92" y="17"/>
                    </a:lnTo>
                    <a:lnTo>
                      <a:pt x="100" y="19"/>
                    </a:lnTo>
                    <a:lnTo>
                      <a:pt x="111" y="17"/>
                    </a:lnTo>
                    <a:lnTo>
                      <a:pt x="119" y="33"/>
                    </a:lnTo>
                    <a:lnTo>
                      <a:pt x="120" y="49"/>
                    </a:lnTo>
                    <a:lnTo>
                      <a:pt x="119" y="74"/>
                    </a:lnTo>
                    <a:lnTo>
                      <a:pt x="122" y="97"/>
                    </a:lnTo>
                    <a:lnTo>
                      <a:pt x="119" y="119"/>
                    </a:lnTo>
                    <a:lnTo>
                      <a:pt x="104" y="139"/>
                    </a:lnTo>
                    <a:lnTo>
                      <a:pt x="88" y="151"/>
                    </a:lnTo>
                    <a:lnTo>
                      <a:pt x="39" y="161"/>
                    </a:lnTo>
                    <a:lnTo>
                      <a:pt x="33" y="158"/>
                    </a:lnTo>
                    <a:lnTo>
                      <a:pt x="17" y="153"/>
                    </a:lnTo>
                    <a:lnTo>
                      <a:pt x="6" y="132"/>
                    </a:lnTo>
                    <a:lnTo>
                      <a:pt x="1" y="110"/>
                    </a:lnTo>
                    <a:lnTo>
                      <a:pt x="0" y="90"/>
                    </a:lnTo>
                    <a:lnTo>
                      <a:pt x="2" y="72"/>
                    </a:lnTo>
                    <a:lnTo>
                      <a:pt x="8" y="62"/>
                    </a:lnTo>
                    <a:lnTo>
                      <a:pt x="13" y="46"/>
                    </a:lnTo>
                    <a:lnTo>
                      <a:pt x="22" y="27"/>
                    </a:lnTo>
                    <a:lnTo>
                      <a:pt x="33" y="13"/>
                    </a:lnTo>
                    <a:lnTo>
                      <a:pt x="44" y="10"/>
                    </a:lnTo>
                    <a:lnTo>
                      <a:pt x="52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40" name="Freeform 302"/>
              <p:cNvSpPr>
                <a:spLocks noChangeAspect="1"/>
              </p:cNvSpPr>
              <p:nvPr/>
            </p:nvSpPr>
            <p:spPr bwMode="gray">
              <a:xfrm>
                <a:off x="1628" y="1270"/>
                <a:ext cx="53" cy="38"/>
              </a:xfrm>
              <a:custGeom>
                <a:avLst/>
                <a:gdLst/>
                <a:ahLst/>
                <a:cxnLst>
                  <a:cxn ang="0">
                    <a:pos x="110" y="18"/>
                  </a:cxn>
                  <a:cxn ang="0">
                    <a:pos x="129" y="14"/>
                  </a:cxn>
                  <a:cxn ang="0">
                    <a:pos x="149" y="16"/>
                  </a:cxn>
                  <a:cxn ang="0">
                    <a:pos x="200" y="45"/>
                  </a:cxn>
                  <a:cxn ang="0">
                    <a:pos x="207" y="57"/>
                  </a:cxn>
                  <a:cxn ang="0">
                    <a:pos x="208" y="68"/>
                  </a:cxn>
                  <a:cxn ang="0">
                    <a:pos x="217" y="81"/>
                  </a:cxn>
                  <a:cxn ang="0">
                    <a:pos x="227" y="87"/>
                  </a:cxn>
                  <a:cxn ang="0">
                    <a:pos x="243" y="118"/>
                  </a:cxn>
                  <a:cxn ang="0">
                    <a:pos x="254" y="129"/>
                  </a:cxn>
                  <a:cxn ang="0">
                    <a:pos x="253" y="136"/>
                  </a:cxn>
                  <a:cxn ang="0">
                    <a:pos x="255" y="147"/>
                  </a:cxn>
                  <a:cxn ang="0">
                    <a:pos x="265" y="158"/>
                  </a:cxn>
                  <a:cxn ang="0">
                    <a:pos x="256" y="172"/>
                  </a:cxn>
                  <a:cxn ang="0">
                    <a:pos x="238" y="173"/>
                  </a:cxn>
                  <a:cxn ang="0">
                    <a:pos x="213" y="170"/>
                  </a:cxn>
                  <a:cxn ang="0">
                    <a:pos x="186" y="159"/>
                  </a:cxn>
                  <a:cxn ang="0">
                    <a:pos x="148" y="158"/>
                  </a:cxn>
                  <a:cxn ang="0">
                    <a:pos x="109" y="183"/>
                  </a:cxn>
                  <a:cxn ang="0">
                    <a:pos x="86" y="190"/>
                  </a:cxn>
                  <a:cxn ang="0">
                    <a:pos x="65" y="179"/>
                  </a:cxn>
                  <a:cxn ang="0">
                    <a:pos x="49" y="165"/>
                  </a:cxn>
                  <a:cxn ang="0">
                    <a:pos x="41" y="145"/>
                  </a:cxn>
                  <a:cxn ang="0">
                    <a:pos x="39" y="100"/>
                  </a:cxn>
                  <a:cxn ang="0">
                    <a:pos x="11" y="92"/>
                  </a:cxn>
                  <a:cxn ang="0">
                    <a:pos x="0" y="72"/>
                  </a:cxn>
                  <a:cxn ang="0">
                    <a:pos x="1" y="51"/>
                  </a:cxn>
                  <a:cxn ang="0">
                    <a:pos x="6" y="44"/>
                  </a:cxn>
                  <a:cxn ang="0">
                    <a:pos x="6" y="18"/>
                  </a:cxn>
                  <a:cxn ang="0">
                    <a:pos x="14" y="1"/>
                  </a:cxn>
                  <a:cxn ang="0">
                    <a:pos x="28" y="0"/>
                  </a:cxn>
                  <a:cxn ang="0">
                    <a:pos x="40" y="8"/>
                  </a:cxn>
                  <a:cxn ang="0">
                    <a:pos x="49" y="7"/>
                  </a:cxn>
                  <a:cxn ang="0">
                    <a:pos x="73" y="17"/>
                  </a:cxn>
                  <a:cxn ang="0">
                    <a:pos x="102" y="23"/>
                  </a:cxn>
                  <a:cxn ang="0">
                    <a:pos x="110" y="18"/>
                  </a:cxn>
                </a:cxnLst>
                <a:rect l="0" t="0" r="r" b="b"/>
                <a:pathLst>
                  <a:path w="265" h="190">
                    <a:moveTo>
                      <a:pt x="110" y="18"/>
                    </a:moveTo>
                    <a:lnTo>
                      <a:pt x="129" y="14"/>
                    </a:lnTo>
                    <a:lnTo>
                      <a:pt x="149" y="16"/>
                    </a:lnTo>
                    <a:lnTo>
                      <a:pt x="200" y="45"/>
                    </a:lnTo>
                    <a:lnTo>
                      <a:pt x="207" y="57"/>
                    </a:lnTo>
                    <a:lnTo>
                      <a:pt x="208" y="68"/>
                    </a:lnTo>
                    <a:lnTo>
                      <a:pt x="217" y="81"/>
                    </a:lnTo>
                    <a:lnTo>
                      <a:pt x="227" y="87"/>
                    </a:lnTo>
                    <a:lnTo>
                      <a:pt x="243" y="118"/>
                    </a:lnTo>
                    <a:lnTo>
                      <a:pt x="254" y="129"/>
                    </a:lnTo>
                    <a:lnTo>
                      <a:pt x="253" y="136"/>
                    </a:lnTo>
                    <a:lnTo>
                      <a:pt x="255" y="147"/>
                    </a:lnTo>
                    <a:lnTo>
                      <a:pt x="265" y="158"/>
                    </a:lnTo>
                    <a:lnTo>
                      <a:pt x="256" y="172"/>
                    </a:lnTo>
                    <a:lnTo>
                      <a:pt x="238" y="173"/>
                    </a:lnTo>
                    <a:lnTo>
                      <a:pt x="213" y="170"/>
                    </a:lnTo>
                    <a:lnTo>
                      <a:pt x="186" y="159"/>
                    </a:lnTo>
                    <a:lnTo>
                      <a:pt x="148" y="158"/>
                    </a:lnTo>
                    <a:lnTo>
                      <a:pt x="109" y="183"/>
                    </a:lnTo>
                    <a:lnTo>
                      <a:pt x="86" y="190"/>
                    </a:lnTo>
                    <a:lnTo>
                      <a:pt x="65" y="179"/>
                    </a:lnTo>
                    <a:lnTo>
                      <a:pt x="49" y="165"/>
                    </a:lnTo>
                    <a:lnTo>
                      <a:pt x="41" y="145"/>
                    </a:lnTo>
                    <a:lnTo>
                      <a:pt x="39" y="100"/>
                    </a:lnTo>
                    <a:lnTo>
                      <a:pt x="11" y="92"/>
                    </a:lnTo>
                    <a:lnTo>
                      <a:pt x="0" y="72"/>
                    </a:lnTo>
                    <a:lnTo>
                      <a:pt x="1" y="51"/>
                    </a:lnTo>
                    <a:lnTo>
                      <a:pt x="6" y="44"/>
                    </a:lnTo>
                    <a:lnTo>
                      <a:pt x="6" y="18"/>
                    </a:lnTo>
                    <a:lnTo>
                      <a:pt x="14" y="1"/>
                    </a:lnTo>
                    <a:lnTo>
                      <a:pt x="28" y="0"/>
                    </a:lnTo>
                    <a:lnTo>
                      <a:pt x="40" y="8"/>
                    </a:lnTo>
                    <a:lnTo>
                      <a:pt x="49" y="7"/>
                    </a:lnTo>
                    <a:lnTo>
                      <a:pt x="73" y="17"/>
                    </a:lnTo>
                    <a:lnTo>
                      <a:pt x="102" y="23"/>
                    </a:lnTo>
                    <a:lnTo>
                      <a:pt x="110" y="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41" name="Freeform 303"/>
              <p:cNvSpPr>
                <a:spLocks noChangeAspect="1"/>
              </p:cNvSpPr>
              <p:nvPr/>
            </p:nvSpPr>
            <p:spPr bwMode="gray">
              <a:xfrm>
                <a:off x="1527" y="1265"/>
                <a:ext cx="316" cy="356"/>
              </a:xfrm>
              <a:custGeom>
                <a:avLst/>
                <a:gdLst/>
                <a:ahLst/>
                <a:cxnLst>
                  <a:cxn ang="0">
                    <a:pos x="1131" y="1671"/>
                  </a:cxn>
                  <a:cxn ang="0">
                    <a:pos x="1196" y="1735"/>
                  </a:cxn>
                  <a:cxn ang="0">
                    <a:pos x="1317" y="1753"/>
                  </a:cxn>
                  <a:cxn ang="0">
                    <a:pos x="1220" y="1622"/>
                  </a:cxn>
                  <a:cxn ang="0">
                    <a:pos x="1258" y="1612"/>
                  </a:cxn>
                  <a:cxn ang="0">
                    <a:pos x="1376" y="1663"/>
                  </a:cxn>
                  <a:cxn ang="0">
                    <a:pos x="1400" y="1662"/>
                  </a:cxn>
                  <a:cxn ang="0">
                    <a:pos x="1406" y="1612"/>
                  </a:cxn>
                  <a:cxn ang="0">
                    <a:pos x="1383" y="1464"/>
                  </a:cxn>
                  <a:cxn ang="0">
                    <a:pos x="1312" y="1405"/>
                  </a:cxn>
                  <a:cxn ang="0">
                    <a:pos x="1253" y="1334"/>
                  </a:cxn>
                  <a:cxn ang="0">
                    <a:pos x="1242" y="1240"/>
                  </a:cxn>
                  <a:cxn ang="0">
                    <a:pos x="1265" y="1192"/>
                  </a:cxn>
                  <a:cxn ang="0">
                    <a:pos x="1384" y="1340"/>
                  </a:cxn>
                  <a:cxn ang="0">
                    <a:pos x="1470" y="1359"/>
                  </a:cxn>
                  <a:cxn ang="0">
                    <a:pos x="1512" y="1254"/>
                  </a:cxn>
                  <a:cxn ang="0">
                    <a:pos x="1581" y="1182"/>
                  </a:cxn>
                  <a:cxn ang="0">
                    <a:pos x="1471" y="1095"/>
                  </a:cxn>
                  <a:cxn ang="0">
                    <a:pos x="1374" y="1010"/>
                  </a:cxn>
                  <a:cxn ang="0">
                    <a:pos x="1283" y="958"/>
                  </a:cxn>
                  <a:cxn ang="0">
                    <a:pos x="1226" y="870"/>
                  </a:cxn>
                  <a:cxn ang="0">
                    <a:pos x="1248" y="812"/>
                  </a:cxn>
                  <a:cxn ang="0">
                    <a:pos x="1178" y="743"/>
                  </a:cxn>
                  <a:cxn ang="0">
                    <a:pos x="1201" y="661"/>
                  </a:cxn>
                  <a:cxn ang="0">
                    <a:pos x="1190" y="606"/>
                  </a:cxn>
                  <a:cxn ang="0">
                    <a:pos x="1102" y="546"/>
                  </a:cxn>
                  <a:cxn ang="0">
                    <a:pos x="1018" y="500"/>
                  </a:cxn>
                  <a:cxn ang="0">
                    <a:pos x="928" y="454"/>
                  </a:cxn>
                  <a:cxn ang="0">
                    <a:pos x="867" y="385"/>
                  </a:cxn>
                  <a:cxn ang="0">
                    <a:pos x="828" y="289"/>
                  </a:cxn>
                  <a:cxn ang="0">
                    <a:pos x="618" y="285"/>
                  </a:cxn>
                  <a:cxn ang="0">
                    <a:pos x="503" y="357"/>
                  </a:cxn>
                  <a:cxn ang="0">
                    <a:pos x="510" y="176"/>
                  </a:cxn>
                  <a:cxn ang="0">
                    <a:pos x="390" y="33"/>
                  </a:cxn>
                  <a:cxn ang="0">
                    <a:pos x="291" y="94"/>
                  </a:cxn>
                  <a:cxn ang="0">
                    <a:pos x="293" y="177"/>
                  </a:cxn>
                  <a:cxn ang="0">
                    <a:pos x="279" y="274"/>
                  </a:cxn>
                  <a:cxn ang="0">
                    <a:pos x="280" y="406"/>
                  </a:cxn>
                  <a:cxn ang="0">
                    <a:pos x="277" y="485"/>
                  </a:cxn>
                  <a:cxn ang="0">
                    <a:pos x="281" y="460"/>
                  </a:cxn>
                  <a:cxn ang="0">
                    <a:pos x="222" y="102"/>
                  </a:cxn>
                  <a:cxn ang="0">
                    <a:pos x="75" y="101"/>
                  </a:cxn>
                  <a:cxn ang="0">
                    <a:pos x="7" y="274"/>
                  </a:cxn>
                  <a:cxn ang="0">
                    <a:pos x="115" y="476"/>
                  </a:cxn>
                  <a:cxn ang="0">
                    <a:pos x="83" y="602"/>
                  </a:cxn>
                  <a:cxn ang="0">
                    <a:pos x="265" y="682"/>
                  </a:cxn>
                  <a:cxn ang="0">
                    <a:pos x="448" y="709"/>
                  </a:cxn>
                  <a:cxn ang="0">
                    <a:pos x="549" y="682"/>
                  </a:cxn>
                  <a:cxn ang="0">
                    <a:pos x="658" y="638"/>
                  </a:cxn>
                  <a:cxn ang="0">
                    <a:pos x="750" y="759"/>
                  </a:cxn>
                  <a:cxn ang="0">
                    <a:pos x="849" y="829"/>
                  </a:cxn>
                  <a:cxn ang="0">
                    <a:pos x="912" y="949"/>
                  </a:cxn>
                  <a:cxn ang="0">
                    <a:pos x="951" y="1121"/>
                  </a:cxn>
                  <a:cxn ang="0">
                    <a:pos x="908" y="1313"/>
                  </a:cxn>
                  <a:cxn ang="0">
                    <a:pos x="743" y="1348"/>
                  </a:cxn>
                  <a:cxn ang="0">
                    <a:pos x="668" y="1462"/>
                  </a:cxn>
                  <a:cxn ang="0">
                    <a:pos x="780" y="1452"/>
                  </a:cxn>
                  <a:cxn ang="0">
                    <a:pos x="846" y="1419"/>
                  </a:cxn>
                  <a:cxn ang="0">
                    <a:pos x="919" y="1456"/>
                  </a:cxn>
                  <a:cxn ang="0">
                    <a:pos x="968" y="1547"/>
                  </a:cxn>
                  <a:cxn ang="0">
                    <a:pos x="1003" y="1593"/>
                  </a:cxn>
                </a:cxnLst>
                <a:rect l="0" t="0" r="r" b="b"/>
                <a:pathLst>
                  <a:path w="1581" h="1779">
                    <a:moveTo>
                      <a:pt x="1037" y="1646"/>
                    </a:moveTo>
                    <a:lnTo>
                      <a:pt x="1053" y="1650"/>
                    </a:lnTo>
                    <a:lnTo>
                      <a:pt x="1071" y="1657"/>
                    </a:lnTo>
                    <a:lnTo>
                      <a:pt x="1072" y="1665"/>
                    </a:lnTo>
                    <a:lnTo>
                      <a:pt x="1078" y="1665"/>
                    </a:lnTo>
                    <a:lnTo>
                      <a:pt x="1091" y="1673"/>
                    </a:lnTo>
                    <a:lnTo>
                      <a:pt x="1102" y="1667"/>
                    </a:lnTo>
                    <a:lnTo>
                      <a:pt x="1109" y="1654"/>
                    </a:lnTo>
                    <a:lnTo>
                      <a:pt x="1111" y="1659"/>
                    </a:lnTo>
                    <a:lnTo>
                      <a:pt x="1109" y="1672"/>
                    </a:lnTo>
                    <a:lnTo>
                      <a:pt x="1118" y="1677"/>
                    </a:lnTo>
                    <a:lnTo>
                      <a:pt x="1121" y="1668"/>
                    </a:lnTo>
                    <a:lnTo>
                      <a:pt x="1131" y="1671"/>
                    </a:lnTo>
                    <a:lnTo>
                      <a:pt x="1137" y="1667"/>
                    </a:lnTo>
                    <a:lnTo>
                      <a:pt x="1135" y="1678"/>
                    </a:lnTo>
                    <a:lnTo>
                      <a:pt x="1138" y="1688"/>
                    </a:lnTo>
                    <a:lnTo>
                      <a:pt x="1145" y="1688"/>
                    </a:lnTo>
                    <a:lnTo>
                      <a:pt x="1148" y="1693"/>
                    </a:lnTo>
                    <a:lnTo>
                      <a:pt x="1150" y="1703"/>
                    </a:lnTo>
                    <a:lnTo>
                      <a:pt x="1159" y="1716"/>
                    </a:lnTo>
                    <a:lnTo>
                      <a:pt x="1170" y="1720"/>
                    </a:lnTo>
                    <a:lnTo>
                      <a:pt x="1175" y="1708"/>
                    </a:lnTo>
                    <a:lnTo>
                      <a:pt x="1175" y="1720"/>
                    </a:lnTo>
                    <a:lnTo>
                      <a:pt x="1181" y="1722"/>
                    </a:lnTo>
                    <a:lnTo>
                      <a:pt x="1185" y="1730"/>
                    </a:lnTo>
                    <a:lnTo>
                      <a:pt x="1196" y="1735"/>
                    </a:lnTo>
                    <a:lnTo>
                      <a:pt x="1205" y="1732"/>
                    </a:lnTo>
                    <a:lnTo>
                      <a:pt x="1213" y="1740"/>
                    </a:lnTo>
                    <a:lnTo>
                      <a:pt x="1236" y="1741"/>
                    </a:lnTo>
                    <a:lnTo>
                      <a:pt x="1238" y="1748"/>
                    </a:lnTo>
                    <a:lnTo>
                      <a:pt x="1249" y="1758"/>
                    </a:lnTo>
                    <a:lnTo>
                      <a:pt x="1254" y="1759"/>
                    </a:lnTo>
                    <a:lnTo>
                      <a:pt x="1267" y="1758"/>
                    </a:lnTo>
                    <a:lnTo>
                      <a:pt x="1280" y="1751"/>
                    </a:lnTo>
                    <a:lnTo>
                      <a:pt x="1306" y="1779"/>
                    </a:lnTo>
                    <a:lnTo>
                      <a:pt x="1325" y="1776"/>
                    </a:lnTo>
                    <a:lnTo>
                      <a:pt x="1323" y="1768"/>
                    </a:lnTo>
                    <a:lnTo>
                      <a:pt x="1317" y="1759"/>
                    </a:lnTo>
                    <a:lnTo>
                      <a:pt x="1317" y="1753"/>
                    </a:lnTo>
                    <a:lnTo>
                      <a:pt x="1320" y="1747"/>
                    </a:lnTo>
                    <a:lnTo>
                      <a:pt x="1322" y="1735"/>
                    </a:lnTo>
                    <a:lnTo>
                      <a:pt x="1319" y="1726"/>
                    </a:lnTo>
                    <a:lnTo>
                      <a:pt x="1301" y="1705"/>
                    </a:lnTo>
                    <a:lnTo>
                      <a:pt x="1285" y="1692"/>
                    </a:lnTo>
                    <a:lnTo>
                      <a:pt x="1279" y="1683"/>
                    </a:lnTo>
                    <a:lnTo>
                      <a:pt x="1270" y="1679"/>
                    </a:lnTo>
                    <a:lnTo>
                      <a:pt x="1253" y="1665"/>
                    </a:lnTo>
                    <a:lnTo>
                      <a:pt x="1249" y="1652"/>
                    </a:lnTo>
                    <a:lnTo>
                      <a:pt x="1236" y="1645"/>
                    </a:lnTo>
                    <a:lnTo>
                      <a:pt x="1236" y="1633"/>
                    </a:lnTo>
                    <a:lnTo>
                      <a:pt x="1224" y="1635"/>
                    </a:lnTo>
                    <a:lnTo>
                      <a:pt x="1220" y="1622"/>
                    </a:lnTo>
                    <a:lnTo>
                      <a:pt x="1216" y="1619"/>
                    </a:lnTo>
                    <a:lnTo>
                      <a:pt x="1213" y="1622"/>
                    </a:lnTo>
                    <a:lnTo>
                      <a:pt x="1210" y="1618"/>
                    </a:lnTo>
                    <a:lnTo>
                      <a:pt x="1188" y="1587"/>
                    </a:lnTo>
                    <a:lnTo>
                      <a:pt x="1178" y="1577"/>
                    </a:lnTo>
                    <a:lnTo>
                      <a:pt x="1167" y="1557"/>
                    </a:lnTo>
                    <a:lnTo>
                      <a:pt x="1180" y="1552"/>
                    </a:lnTo>
                    <a:lnTo>
                      <a:pt x="1197" y="1565"/>
                    </a:lnTo>
                    <a:lnTo>
                      <a:pt x="1216" y="1587"/>
                    </a:lnTo>
                    <a:lnTo>
                      <a:pt x="1231" y="1590"/>
                    </a:lnTo>
                    <a:lnTo>
                      <a:pt x="1227" y="1579"/>
                    </a:lnTo>
                    <a:lnTo>
                      <a:pt x="1236" y="1576"/>
                    </a:lnTo>
                    <a:lnTo>
                      <a:pt x="1258" y="1612"/>
                    </a:lnTo>
                    <a:lnTo>
                      <a:pt x="1269" y="1618"/>
                    </a:lnTo>
                    <a:lnTo>
                      <a:pt x="1280" y="1619"/>
                    </a:lnTo>
                    <a:lnTo>
                      <a:pt x="1287" y="1641"/>
                    </a:lnTo>
                    <a:lnTo>
                      <a:pt x="1318" y="1641"/>
                    </a:lnTo>
                    <a:lnTo>
                      <a:pt x="1330" y="1657"/>
                    </a:lnTo>
                    <a:lnTo>
                      <a:pt x="1335" y="1649"/>
                    </a:lnTo>
                    <a:lnTo>
                      <a:pt x="1341" y="1654"/>
                    </a:lnTo>
                    <a:lnTo>
                      <a:pt x="1350" y="1657"/>
                    </a:lnTo>
                    <a:lnTo>
                      <a:pt x="1356" y="1649"/>
                    </a:lnTo>
                    <a:lnTo>
                      <a:pt x="1360" y="1651"/>
                    </a:lnTo>
                    <a:lnTo>
                      <a:pt x="1361" y="1657"/>
                    </a:lnTo>
                    <a:lnTo>
                      <a:pt x="1367" y="1668"/>
                    </a:lnTo>
                    <a:lnTo>
                      <a:pt x="1376" y="1663"/>
                    </a:lnTo>
                    <a:lnTo>
                      <a:pt x="1376" y="1670"/>
                    </a:lnTo>
                    <a:lnTo>
                      <a:pt x="1372" y="1679"/>
                    </a:lnTo>
                    <a:lnTo>
                      <a:pt x="1371" y="1684"/>
                    </a:lnTo>
                    <a:lnTo>
                      <a:pt x="1382" y="1690"/>
                    </a:lnTo>
                    <a:lnTo>
                      <a:pt x="1387" y="1700"/>
                    </a:lnTo>
                    <a:lnTo>
                      <a:pt x="1394" y="1698"/>
                    </a:lnTo>
                    <a:lnTo>
                      <a:pt x="1390" y="1690"/>
                    </a:lnTo>
                    <a:lnTo>
                      <a:pt x="1389" y="1683"/>
                    </a:lnTo>
                    <a:lnTo>
                      <a:pt x="1382" y="1666"/>
                    </a:lnTo>
                    <a:lnTo>
                      <a:pt x="1380" y="1659"/>
                    </a:lnTo>
                    <a:lnTo>
                      <a:pt x="1384" y="1651"/>
                    </a:lnTo>
                    <a:lnTo>
                      <a:pt x="1393" y="1654"/>
                    </a:lnTo>
                    <a:lnTo>
                      <a:pt x="1400" y="1662"/>
                    </a:lnTo>
                    <a:lnTo>
                      <a:pt x="1410" y="1665"/>
                    </a:lnTo>
                    <a:lnTo>
                      <a:pt x="1412" y="1657"/>
                    </a:lnTo>
                    <a:lnTo>
                      <a:pt x="1411" y="1651"/>
                    </a:lnTo>
                    <a:lnTo>
                      <a:pt x="1408" y="1649"/>
                    </a:lnTo>
                    <a:lnTo>
                      <a:pt x="1408" y="1645"/>
                    </a:lnTo>
                    <a:lnTo>
                      <a:pt x="1403" y="1643"/>
                    </a:lnTo>
                    <a:lnTo>
                      <a:pt x="1393" y="1644"/>
                    </a:lnTo>
                    <a:lnTo>
                      <a:pt x="1387" y="1625"/>
                    </a:lnTo>
                    <a:lnTo>
                      <a:pt x="1380" y="1613"/>
                    </a:lnTo>
                    <a:lnTo>
                      <a:pt x="1383" y="1606"/>
                    </a:lnTo>
                    <a:lnTo>
                      <a:pt x="1383" y="1589"/>
                    </a:lnTo>
                    <a:lnTo>
                      <a:pt x="1395" y="1598"/>
                    </a:lnTo>
                    <a:lnTo>
                      <a:pt x="1406" y="1612"/>
                    </a:lnTo>
                    <a:lnTo>
                      <a:pt x="1408" y="1607"/>
                    </a:lnTo>
                    <a:lnTo>
                      <a:pt x="1405" y="1593"/>
                    </a:lnTo>
                    <a:lnTo>
                      <a:pt x="1409" y="1589"/>
                    </a:lnTo>
                    <a:lnTo>
                      <a:pt x="1409" y="1570"/>
                    </a:lnTo>
                    <a:lnTo>
                      <a:pt x="1411" y="1560"/>
                    </a:lnTo>
                    <a:lnTo>
                      <a:pt x="1405" y="1547"/>
                    </a:lnTo>
                    <a:lnTo>
                      <a:pt x="1401" y="1520"/>
                    </a:lnTo>
                    <a:lnTo>
                      <a:pt x="1388" y="1518"/>
                    </a:lnTo>
                    <a:lnTo>
                      <a:pt x="1374" y="1511"/>
                    </a:lnTo>
                    <a:lnTo>
                      <a:pt x="1368" y="1505"/>
                    </a:lnTo>
                    <a:lnTo>
                      <a:pt x="1367" y="1485"/>
                    </a:lnTo>
                    <a:lnTo>
                      <a:pt x="1379" y="1482"/>
                    </a:lnTo>
                    <a:lnTo>
                      <a:pt x="1383" y="1464"/>
                    </a:lnTo>
                    <a:lnTo>
                      <a:pt x="1380" y="1450"/>
                    </a:lnTo>
                    <a:lnTo>
                      <a:pt x="1367" y="1453"/>
                    </a:lnTo>
                    <a:lnTo>
                      <a:pt x="1368" y="1445"/>
                    </a:lnTo>
                    <a:lnTo>
                      <a:pt x="1366" y="1436"/>
                    </a:lnTo>
                    <a:lnTo>
                      <a:pt x="1362" y="1434"/>
                    </a:lnTo>
                    <a:lnTo>
                      <a:pt x="1346" y="1447"/>
                    </a:lnTo>
                    <a:lnTo>
                      <a:pt x="1346" y="1425"/>
                    </a:lnTo>
                    <a:lnTo>
                      <a:pt x="1344" y="1414"/>
                    </a:lnTo>
                    <a:lnTo>
                      <a:pt x="1331" y="1413"/>
                    </a:lnTo>
                    <a:lnTo>
                      <a:pt x="1315" y="1426"/>
                    </a:lnTo>
                    <a:lnTo>
                      <a:pt x="1308" y="1420"/>
                    </a:lnTo>
                    <a:lnTo>
                      <a:pt x="1320" y="1404"/>
                    </a:lnTo>
                    <a:lnTo>
                      <a:pt x="1312" y="1405"/>
                    </a:lnTo>
                    <a:lnTo>
                      <a:pt x="1299" y="1402"/>
                    </a:lnTo>
                    <a:lnTo>
                      <a:pt x="1291" y="1404"/>
                    </a:lnTo>
                    <a:lnTo>
                      <a:pt x="1288" y="1421"/>
                    </a:lnTo>
                    <a:lnTo>
                      <a:pt x="1283" y="1402"/>
                    </a:lnTo>
                    <a:lnTo>
                      <a:pt x="1275" y="1388"/>
                    </a:lnTo>
                    <a:lnTo>
                      <a:pt x="1275" y="1382"/>
                    </a:lnTo>
                    <a:lnTo>
                      <a:pt x="1271" y="1371"/>
                    </a:lnTo>
                    <a:lnTo>
                      <a:pt x="1258" y="1367"/>
                    </a:lnTo>
                    <a:lnTo>
                      <a:pt x="1258" y="1363"/>
                    </a:lnTo>
                    <a:lnTo>
                      <a:pt x="1263" y="1354"/>
                    </a:lnTo>
                    <a:lnTo>
                      <a:pt x="1256" y="1347"/>
                    </a:lnTo>
                    <a:lnTo>
                      <a:pt x="1263" y="1344"/>
                    </a:lnTo>
                    <a:lnTo>
                      <a:pt x="1253" y="1334"/>
                    </a:lnTo>
                    <a:lnTo>
                      <a:pt x="1252" y="1326"/>
                    </a:lnTo>
                    <a:lnTo>
                      <a:pt x="1256" y="1316"/>
                    </a:lnTo>
                    <a:lnTo>
                      <a:pt x="1240" y="1311"/>
                    </a:lnTo>
                    <a:lnTo>
                      <a:pt x="1221" y="1321"/>
                    </a:lnTo>
                    <a:lnTo>
                      <a:pt x="1220" y="1316"/>
                    </a:lnTo>
                    <a:lnTo>
                      <a:pt x="1224" y="1299"/>
                    </a:lnTo>
                    <a:lnTo>
                      <a:pt x="1221" y="1280"/>
                    </a:lnTo>
                    <a:lnTo>
                      <a:pt x="1229" y="1278"/>
                    </a:lnTo>
                    <a:lnTo>
                      <a:pt x="1236" y="1280"/>
                    </a:lnTo>
                    <a:lnTo>
                      <a:pt x="1252" y="1272"/>
                    </a:lnTo>
                    <a:lnTo>
                      <a:pt x="1263" y="1272"/>
                    </a:lnTo>
                    <a:lnTo>
                      <a:pt x="1256" y="1254"/>
                    </a:lnTo>
                    <a:lnTo>
                      <a:pt x="1242" y="1240"/>
                    </a:lnTo>
                    <a:lnTo>
                      <a:pt x="1222" y="1236"/>
                    </a:lnTo>
                    <a:lnTo>
                      <a:pt x="1215" y="1230"/>
                    </a:lnTo>
                    <a:lnTo>
                      <a:pt x="1209" y="1211"/>
                    </a:lnTo>
                    <a:lnTo>
                      <a:pt x="1226" y="1213"/>
                    </a:lnTo>
                    <a:lnTo>
                      <a:pt x="1221" y="1203"/>
                    </a:lnTo>
                    <a:lnTo>
                      <a:pt x="1231" y="1202"/>
                    </a:lnTo>
                    <a:lnTo>
                      <a:pt x="1253" y="1224"/>
                    </a:lnTo>
                    <a:lnTo>
                      <a:pt x="1260" y="1224"/>
                    </a:lnTo>
                    <a:lnTo>
                      <a:pt x="1252" y="1204"/>
                    </a:lnTo>
                    <a:lnTo>
                      <a:pt x="1260" y="1205"/>
                    </a:lnTo>
                    <a:lnTo>
                      <a:pt x="1247" y="1192"/>
                    </a:lnTo>
                    <a:lnTo>
                      <a:pt x="1253" y="1183"/>
                    </a:lnTo>
                    <a:lnTo>
                      <a:pt x="1265" y="1192"/>
                    </a:lnTo>
                    <a:lnTo>
                      <a:pt x="1277" y="1194"/>
                    </a:lnTo>
                    <a:lnTo>
                      <a:pt x="1279" y="1211"/>
                    </a:lnTo>
                    <a:lnTo>
                      <a:pt x="1272" y="1220"/>
                    </a:lnTo>
                    <a:lnTo>
                      <a:pt x="1288" y="1224"/>
                    </a:lnTo>
                    <a:lnTo>
                      <a:pt x="1317" y="1245"/>
                    </a:lnTo>
                    <a:lnTo>
                      <a:pt x="1329" y="1251"/>
                    </a:lnTo>
                    <a:lnTo>
                      <a:pt x="1333" y="1272"/>
                    </a:lnTo>
                    <a:lnTo>
                      <a:pt x="1350" y="1272"/>
                    </a:lnTo>
                    <a:lnTo>
                      <a:pt x="1362" y="1265"/>
                    </a:lnTo>
                    <a:lnTo>
                      <a:pt x="1358" y="1283"/>
                    </a:lnTo>
                    <a:lnTo>
                      <a:pt x="1362" y="1306"/>
                    </a:lnTo>
                    <a:lnTo>
                      <a:pt x="1366" y="1315"/>
                    </a:lnTo>
                    <a:lnTo>
                      <a:pt x="1384" y="1340"/>
                    </a:lnTo>
                    <a:lnTo>
                      <a:pt x="1400" y="1332"/>
                    </a:lnTo>
                    <a:lnTo>
                      <a:pt x="1403" y="1343"/>
                    </a:lnTo>
                    <a:lnTo>
                      <a:pt x="1395" y="1359"/>
                    </a:lnTo>
                    <a:lnTo>
                      <a:pt x="1405" y="1375"/>
                    </a:lnTo>
                    <a:lnTo>
                      <a:pt x="1422" y="1365"/>
                    </a:lnTo>
                    <a:lnTo>
                      <a:pt x="1430" y="1388"/>
                    </a:lnTo>
                    <a:lnTo>
                      <a:pt x="1442" y="1380"/>
                    </a:lnTo>
                    <a:lnTo>
                      <a:pt x="1446" y="1392"/>
                    </a:lnTo>
                    <a:lnTo>
                      <a:pt x="1451" y="1403"/>
                    </a:lnTo>
                    <a:lnTo>
                      <a:pt x="1459" y="1409"/>
                    </a:lnTo>
                    <a:lnTo>
                      <a:pt x="1465" y="1386"/>
                    </a:lnTo>
                    <a:lnTo>
                      <a:pt x="1466" y="1374"/>
                    </a:lnTo>
                    <a:lnTo>
                      <a:pt x="1470" y="1359"/>
                    </a:lnTo>
                    <a:lnTo>
                      <a:pt x="1479" y="1358"/>
                    </a:lnTo>
                    <a:lnTo>
                      <a:pt x="1475" y="1339"/>
                    </a:lnTo>
                    <a:lnTo>
                      <a:pt x="1466" y="1311"/>
                    </a:lnTo>
                    <a:lnTo>
                      <a:pt x="1468" y="1297"/>
                    </a:lnTo>
                    <a:lnTo>
                      <a:pt x="1491" y="1320"/>
                    </a:lnTo>
                    <a:lnTo>
                      <a:pt x="1506" y="1321"/>
                    </a:lnTo>
                    <a:lnTo>
                      <a:pt x="1508" y="1310"/>
                    </a:lnTo>
                    <a:lnTo>
                      <a:pt x="1512" y="1299"/>
                    </a:lnTo>
                    <a:lnTo>
                      <a:pt x="1523" y="1294"/>
                    </a:lnTo>
                    <a:lnTo>
                      <a:pt x="1524" y="1269"/>
                    </a:lnTo>
                    <a:lnTo>
                      <a:pt x="1541" y="1263"/>
                    </a:lnTo>
                    <a:lnTo>
                      <a:pt x="1533" y="1251"/>
                    </a:lnTo>
                    <a:lnTo>
                      <a:pt x="1512" y="1254"/>
                    </a:lnTo>
                    <a:lnTo>
                      <a:pt x="1514" y="1241"/>
                    </a:lnTo>
                    <a:lnTo>
                      <a:pt x="1527" y="1242"/>
                    </a:lnTo>
                    <a:lnTo>
                      <a:pt x="1529" y="1229"/>
                    </a:lnTo>
                    <a:lnTo>
                      <a:pt x="1513" y="1224"/>
                    </a:lnTo>
                    <a:lnTo>
                      <a:pt x="1525" y="1218"/>
                    </a:lnTo>
                    <a:lnTo>
                      <a:pt x="1549" y="1232"/>
                    </a:lnTo>
                    <a:lnTo>
                      <a:pt x="1562" y="1232"/>
                    </a:lnTo>
                    <a:lnTo>
                      <a:pt x="1567" y="1224"/>
                    </a:lnTo>
                    <a:lnTo>
                      <a:pt x="1557" y="1211"/>
                    </a:lnTo>
                    <a:lnTo>
                      <a:pt x="1560" y="1207"/>
                    </a:lnTo>
                    <a:lnTo>
                      <a:pt x="1564" y="1197"/>
                    </a:lnTo>
                    <a:lnTo>
                      <a:pt x="1573" y="1193"/>
                    </a:lnTo>
                    <a:lnTo>
                      <a:pt x="1581" y="1182"/>
                    </a:lnTo>
                    <a:lnTo>
                      <a:pt x="1573" y="1165"/>
                    </a:lnTo>
                    <a:lnTo>
                      <a:pt x="1555" y="1144"/>
                    </a:lnTo>
                    <a:lnTo>
                      <a:pt x="1544" y="1139"/>
                    </a:lnTo>
                    <a:lnTo>
                      <a:pt x="1535" y="1132"/>
                    </a:lnTo>
                    <a:lnTo>
                      <a:pt x="1523" y="1134"/>
                    </a:lnTo>
                    <a:lnTo>
                      <a:pt x="1513" y="1130"/>
                    </a:lnTo>
                    <a:lnTo>
                      <a:pt x="1496" y="1132"/>
                    </a:lnTo>
                    <a:lnTo>
                      <a:pt x="1474" y="1144"/>
                    </a:lnTo>
                    <a:lnTo>
                      <a:pt x="1480" y="1112"/>
                    </a:lnTo>
                    <a:lnTo>
                      <a:pt x="1490" y="1100"/>
                    </a:lnTo>
                    <a:lnTo>
                      <a:pt x="1489" y="1089"/>
                    </a:lnTo>
                    <a:lnTo>
                      <a:pt x="1478" y="1087"/>
                    </a:lnTo>
                    <a:lnTo>
                      <a:pt x="1471" y="1095"/>
                    </a:lnTo>
                    <a:lnTo>
                      <a:pt x="1439" y="1100"/>
                    </a:lnTo>
                    <a:lnTo>
                      <a:pt x="1426" y="1098"/>
                    </a:lnTo>
                    <a:lnTo>
                      <a:pt x="1435" y="1091"/>
                    </a:lnTo>
                    <a:lnTo>
                      <a:pt x="1422" y="1087"/>
                    </a:lnTo>
                    <a:lnTo>
                      <a:pt x="1427" y="1081"/>
                    </a:lnTo>
                    <a:lnTo>
                      <a:pt x="1441" y="1080"/>
                    </a:lnTo>
                    <a:lnTo>
                      <a:pt x="1441" y="1070"/>
                    </a:lnTo>
                    <a:lnTo>
                      <a:pt x="1423" y="1035"/>
                    </a:lnTo>
                    <a:lnTo>
                      <a:pt x="1416" y="1022"/>
                    </a:lnTo>
                    <a:lnTo>
                      <a:pt x="1410" y="1017"/>
                    </a:lnTo>
                    <a:lnTo>
                      <a:pt x="1401" y="1011"/>
                    </a:lnTo>
                    <a:lnTo>
                      <a:pt x="1379" y="1016"/>
                    </a:lnTo>
                    <a:lnTo>
                      <a:pt x="1374" y="1010"/>
                    </a:lnTo>
                    <a:lnTo>
                      <a:pt x="1377" y="999"/>
                    </a:lnTo>
                    <a:lnTo>
                      <a:pt x="1382" y="993"/>
                    </a:lnTo>
                    <a:lnTo>
                      <a:pt x="1383" y="979"/>
                    </a:lnTo>
                    <a:lnTo>
                      <a:pt x="1363" y="984"/>
                    </a:lnTo>
                    <a:lnTo>
                      <a:pt x="1342" y="985"/>
                    </a:lnTo>
                    <a:lnTo>
                      <a:pt x="1329" y="1000"/>
                    </a:lnTo>
                    <a:lnTo>
                      <a:pt x="1323" y="989"/>
                    </a:lnTo>
                    <a:lnTo>
                      <a:pt x="1312" y="985"/>
                    </a:lnTo>
                    <a:lnTo>
                      <a:pt x="1314" y="976"/>
                    </a:lnTo>
                    <a:lnTo>
                      <a:pt x="1324" y="968"/>
                    </a:lnTo>
                    <a:lnTo>
                      <a:pt x="1315" y="952"/>
                    </a:lnTo>
                    <a:lnTo>
                      <a:pt x="1297" y="957"/>
                    </a:lnTo>
                    <a:lnTo>
                      <a:pt x="1283" y="958"/>
                    </a:lnTo>
                    <a:lnTo>
                      <a:pt x="1279" y="952"/>
                    </a:lnTo>
                    <a:lnTo>
                      <a:pt x="1285" y="940"/>
                    </a:lnTo>
                    <a:lnTo>
                      <a:pt x="1288" y="929"/>
                    </a:lnTo>
                    <a:lnTo>
                      <a:pt x="1279" y="923"/>
                    </a:lnTo>
                    <a:lnTo>
                      <a:pt x="1252" y="918"/>
                    </a:lnTo>
                    <a:lnTo>
                      <a:pt x="1216" y="908"/>
                    </a:lnTo>
                    <a:lnTo>
                      <a:pt x="1204" y="902"/>
                    </a:lnTo>
                    <a:lnTo>
                      <a:pt x="1199" y="893"/>
                    </a:lnTo>
                    <a:lnTo>
                      <a:pt x="1215" y="893"/>
                    </a:lnTo>
                    <a:lnTo>
                      <a:pt x="1216" y="885"/>
                    </a:lnTo>
                    <a:lnTo>
                      <a:pt x="1233" y="882"/>
                    </a:lnTo>
                    <a:lnTo>
                      <a:pt x="1224" y="875"/>
                    </a:lnTo>
                    <a:lnTo>
                      <a:pt x="1226" y="870"/>
                    </a:lnTo>
                    <a:lnTo>
                      <a:pt x="1209" y="852"/>
                    </a:lnTo>
                    <a:lnTo>
                      <a:pt x="1210" y="842"/>
                    </a:lnTo>
                    <a:lnTo>
                      <a:pt x="1228" y="843"/>
                    </a:lnTo>
                    <a:lnTo>
                      <a:pt x="1231" y="836"/>
                    </a:lnTo>
                    <a:lnTo>
                      <a:pt x="1220" y="826"/>
                    </a:lnTo>
                    <a:lnTo>
                      <a:pt x="1202" y="815"/>
                    </a:lnTo>
                    <a:lnTo>
                      <a:pt x="1188" y="816"/>
                    </a:lnTo>
                    <a:lnTo>
                      <a:pt x="1186" y="807"/>
                    </a:lnTo>
                    <a:lnTo>
                      <a:pt x="1202" y="804"/>
                    </a:lnTo>
                    <a:lnTo>
                      <a:pt x="1207" y="807"/>
                    </a:lnTo>
                    <a:lnTo>
                      <a:pt x="1215" y="804"/>
                    </a:lnTo>
                    <a:lnTo>
                      <a:pt x="1215" y="791"/>
                    </a:lnTo>
                    <a:lnTo>
                      <a:pt x="1248" y="812"/>
                    </a:lnTo>
                    <a:lnTo>
                      <a:pt x="1263" y="812"/>
                    </a:lnTo>
                    <a:lnTo>
                      <a:pt x="1280" y="805"/>
                    </a:lnTo>
                    <a:lnTo>
                      <a:pt x="1295" y="811"/>
                    </a:lnTo>
                    <a:lnTo>
                      <a:pt x="1299" y="802"/>
                    </a:lnTo>
                    <a:lnTo>
                      <a:pt x="1299" y="793"/>
                    </a:lnTo>
                    <a:lnTo>
                      <a:pt x="1286" y="779"/>
                    </a:lnTo>
                    <a:lnTo>
                      <a:pt x="1269" y="768"/>
                    </a:lnTo>
                    <a:lnTo>
                      <a:pt x="1249" y="766"/>
                    </a:lnTo>
                    <a:lnTo>
                      <a:pt x="1228" y="767"/>
                    </a:lnTo>
                    <a:lnTo>
                      <a:pt x="1211" y="757"/>
                    </a:lnTo>
                    <a:lnTo>
                      <a:pt x="1206" y="769"/>
                    </a:lnTo>
                    <a:lnTo>
                      <a:pt x="1191" y="752"/>
                    </a:lnTo>
                    <a:lnTo>
                      <a:pt x="1178" y="743"/>
                    </a:lnTo>
                    <a:lnTo>
                      <a:pt x="1169" y="751"/>
                    </a:lnTo>
                    <a:lnTo>
                      <a:pt x="1180" y="735"/>
                    </a:lnTo>
                    <a:lnTo>
                      <a:pt x="1201" y="736"/>
                    </a:lnTo>
                    <a:lnTo>
                      <a:pt x="1215" y="729"/>
                    </a:lnTo>
                    <a:lnTo>
                      <a:pt x="1222" y="716"/>
                    </a:lnTo>
                    <a:lnTo>
                      <a:pt x="1238" y="713"/>
                    </a:lnTo>
                    <a:lnTo>
                      <a:pt x="1258" y="723"/>
                    </a:lnTo>
                    <a:lnTo>
                      <a:pt x="1267" y="705"/>
                    </a:lnTo>
                    <a:lnTo>
                      <a:pt x="1261" y="691"/>
                    </a:lnTo>
                    <a:lnTo>
                      <a:pt x="1226" y="641"/>
                    </a:lnTo>
                    <a:lnTo>
                      <a:pt x="1207" y="632"/>
                    </a:lnTo>
                    <a:lnTo>
                      <a:pt x="1200" y="646"/>
                    </a:lnTo>
                    <a:lnTo>
                      <a:pt x="1201" y="661"/>
                    </a:lnTo>
                    <a:lnTo>
                      <a:pt x="1185" y="673"/>
                    </a:lnTo>
                    <a:lnTo>
                      <a:pt x="1178" y="688"/>
                    </a:lnTo>
                    <a:lnTo>
                      <a:pt x="1161" y="687"/>
                    </a:lnTo>
                    <a:lnTo>
                      <a:pt x="1178" y="661"/>
                    </a:lnTo>
                    <a:lnTo>
                      <a:pt x="1178" y="649"/>
                    </a:lnTo>
                    <a:lnTo>
                      <a:pt x="1142" y="651"/>
                    </a:lnTo>
                    <a:lnTo>
                      <a:pt x="1130" y="660"/>
                    </a:lnTo>
                    <a:lnTo>
                      <a:pt x="1125" y="653"/>
                    </a:lnTo>
                    <a:lnTo>
                      <a:pt x="1140" y="640"/>
                    </a:lnTo>
                    <a:lnTo>
                      <a:pt x="1169" y="628"/>
                    </a:lnTo>
                    <a:lnTo>
                      <a:pt x="1178" y="606"/>
                    </a:lnTo>
                    <a:lnTo>
                      <a:pt x="1188" y="619"/>
                    </a:lnTo>
                    <a:lnTo>
                      <a:pt x="1190" y="606"/>
                    </a:lnTo>
                    <a:lnTo>
                      <a:pt x="1190" y="585"/>
                    </a:lnTo>
                    <a:lnTo>
                      <a:pt x="1154" y="570"/>
                    </a:lnTo>
                    <a:lnTo>
                      <a:pt x="1143" y="560"/>
                    </a:lnTo>
                    <a:lnTo>
                      <a:pt x="1131" y="557"/>
                    </a:lnTo>
                    <a:lnTo>
                      <a:pt x="1111" y="563"/>
                    </a:lnTo>
                    <a:lnTo>
                      <a:pt x="1099" y="580"/>
                    </a:lnTo>
                    <a:lnTo>
                      <a:pt x="1093" y="585"/>
                    </a:lnTo>
                    <a:lnTo>
                      <a:pt x="1083" y="597"/>
                    </a:lnTo>
                    <a:lnTo>
                      <a:pt x="1083" y="591"/>
                    </a:lnTo>
                    <a:lnTo>
                      <a:pt x="1089" y="575"/>
                    </a:lnTo>
                    <a:lnTo>
                      <a:pt x="1102" y="563"/>
                    </a:lnTo>
                    <a:lnTo>
                      <a:pt x="1110" y="542"/>
                    </a:lnTo>
                    <a:lnTo>
                      <a:pt x="1102" y="546"/>
                    </a:lnTo>
                    <a:lnTo>
                      <a:pt x="1091" y="556"/>
                    </a:lnTo>
                    <a:lnTo>
                      <a:pt x="1076" y="560"/>
                    </a:lnTo>
                    <a:lnTo>
                      <a:pt x="1057" y="575"/>
                    </a:lnTo>
                    <a:lnTo>
                      <a:pt x="1059" y="564"/>
                    </a:lnTo>
                    <a:lnTo>
                      <a:pt x="1066" y="552"/>
                    </a:lnTo>
                    <a:lnTo>
                      <a:pt x="1075" y="528"/>
                    </a:lnTo>
                    <a:lnTo>
                      <a:pt x="1071" y="509"/>
                    </a:lnTo>
                    <a:lnTo>
                      <a:pt x="1060" y="506"/>
                    </a:lnTo>
                    <a:lnTo>
                      <a:pt x="1044" y="520"/>
                    </a:lnTo>
                    <a:lnTo>
                      <a:pt x="1028" y="525"/>
                    </a:lnTo>
                    <a:lnTo>
                      <a:pt x="1021" y="513"/>
                    </a:lnTo>
                    <a:lnTo>
                      <a:pt x="990" y="506"/>
                    </a:lnTo>
                    <a:lnTo>
                      <a:pt x="1018" y="500"/>
                    </a:lnTo>
                    <a:lnTo>
                      <a:pt x="1034" y="501"/>
                    </a:lnTo>
                    <a:lnTo>
                      <a:pt x="1041" y="489"/>
                    </a:lnTo>
                    <a:lnTo>
                      <a:pt x="1048" y="477"/>
                    </a:lnTo>
                    <a:lnTo>
                      <a:pt x="1041" y="455"/>
                    </a:lnTo>
                    <a:lnTo>
                      <a:pt x="1028" y="431"/>
                    </a:lnTo>
                    <a:lnTo>
                      <a:pt x="986" y="412"/>
                    </a:lnTo>
                    <a:lnTo>
                      <a:pt x="968" y="393"/>
                    </a:lnTo>
                    <a:lnTo>
                      <a:pt x="965" y="395"/>
                    </a:lnTo>
                    <a:lnTo>
                      <a:pt x="962" y="412"/>
                    </a:lnTo>
                    <a:lnTo>
                      <a:pt x="949" y="425"/>
                    </a:lnTo>
                    <a:lnTo>
                      <a:pt x="935" y="419"/>
                    </a:lnTo>
                    <a:lnTo>
                      <a:pt x="922" y="423"/>
                    </a:lnTo>
                    <a:lnTo>
                      <a:pt x="928" y="454"/>
                    </a:lnTo>
                    <a:lnTo>
                      <a:pt x="927" y="463"/>
                    </a:lnTo>
                    <a:lnTo>
                      <a:pt x="926" y="455"/>
                    </a:lnTo>
                    <a:lnTo>
                      <a:pt x="914" y="457"/>
                    </a:lnTo>
                    <a:lnTo>
                      <a:pt x="912" y="452"/>
                    </a:lnTo>
                    <a:lnTo>
                      <a:pt x="904" y="443"/>
                    </a:lnTo>
                    <a:lnTo>
                      <a:pt x="906" y="419"/>
                    </a:lnTo>
                    <a:lnTo>
                      <a:pt x="896" y="418"/>
                    </a:lnTo>
                    <a:lnTo>
                      <a:pt x="882" y="438"/>
                    </a:lnTo>
                    <a:lnTo>
                      <a:pt x="895" y="408"/>
                    </a:lnTo>
                    <a:lnTo>
                      <a:pt x="912" y="385"/>
                    </a:lnTo>
                    <a:lnTo>
                      <a:pt x="910" y="379"/>
                    </a:lnTo>
                    <a:lnTo>
                      <a:pt x="883" y="385"/>
                    </a:lnTo>
                    <a:lnTo>
                      <a:pt x="867" y="385"/>
                    </a:lnTo>
                    <a:lnTo>
                      <a:pt x="851" y="406"/>
                    </a:lnTo>
                    <a:lnTo>
                      <a:pt x="844" y="411"/>
                    </a:lnTo>
                    <a:lnTo>
                      <a:pt x="845" y="391"/>
                    </a:lnTo>
                    <a:lnTo>
                      <a:pt x="829" y="401"/>
                    </a:lnTo>
                    <a:lnTo>
                      <a:pt x="846" y="381"/>
                    </a:lnTo>
                    <a:lnTo>
                      <a:pt x="863" y="370"/>
                    </a:lnTo>
                    <a:lnTo>
                      <a:pt x="871" y="357"/>
                    </a:lnTo>
                    <a:lnTo>
                      <a:pt x="867" y="334"/>
                    </a:lnTo>
                    <a:lnTo>
                      <a:pt x="846" y="328"/>
                    </a:lnTo>
                    <a:lnTo>
                      <a:pt x="825" y="328"/>
                    </a:lnTo>
                    <a:lnTo>
                      <a:pt x="819" y="322"/>
                    </a:lnTo>
                    <a:lnTo>
                      <a:pt x="831" y="305"/>
                    </a:lnTo>
                    <a:lnTo>
                      <a:pt x="828" y="289"/>
                    </a:lnTo>
                    <a:lnTo>
                      <a:pt x="818" y="266"/>
                    </a:lnTo>
                    <a:lnTo>
                      <a:pt x="808" y="259"/>
                    </a:lnTo>
                    <a:lnTo>
                      <a:pt x="812" y="250"/>
                    </a:lnTo>
                    <a:lnTo>
                      <a:pt x="791" y="240"/>
                    </a:lnTo>
                    <a:lnTo>
                      <a:pt x="771" y="239"/>
                    </a:lnTo>
                    <a:lnTo>
                      <a:pt x="712" y="209"/>
                    </a:lnTo>
                    <a:lnTo>
                      <a:pt x="685" y="208"/>
                    </a:lnTo>
                    <a:lnTo>
                      <a:pt x="656" y="221"/>
                    </a:lnTo>
                    <a:lnTo>
                      <a:pt x="631" y="245"/>
                    </a:lnTo>
                    <a:lnTo>
                      <a:pt x="630" y="266"/>
                    </a:lnTo>
                    <a:lnTo>
                      <a:pt x="646" y="280"/>
                    </a:lnTo>
                    <a:lnTo>
                      <a:pt x="634" y="285"/>
                    </a:lnTo>
                    <a:lnTo>
                      <a:pt x="618" y="285"/>
                    </a:lnTo>
                    <a:lnTo>
                      <a:pt x="607" y="300"/>
                    </a:lnTo>
                    <a:lnTo>
                      <a:pt x="588" y="274"/>
                    </a:lnTo>
                    <a:lnTo>
                      <a:pt x="575" y="289"/>
                    </a:lnTo>
                    <a:lnTo>
                      <a:pt x="565" y="283"/>
                    </a:lnTo>
                    <a:lnTo>
                      <a:pt x="566" y="267"/>
                    </a:lnTo>
                    <a:lnTo>
                      <a:pt x="562" y="251"/>
                    </a:lnTo>
                    <a:lnTo>
                      <a:pt x="550" y="275"/>
                    </a:lnTo>
                    <a:lnTo>
                      <a:pt x="550" y="283"/>
                    </a:lnTo>
                    <a:lnTo>
                      <a:pt x="545" y="306"/>
                    </a:lnTo>
                    <a:lnTo>
                      <a:pt x="537" y="304"/>
                    </a:lnTo>
                    <a:lnTo>
                      <a:pt x="533" y="322"/>
                    </a:lnTo>
                    <a:lnTo>
                      <a:pt x="519" y="344"/>
                    </a:lnTo>
                    <a:lnTo>
                      <a:pt x="503" y="357"/>
                    </a:lnTo>
                    <a:lnTo>
                      <a:pt x="506" y="347"/>
                    </a:lnTo>
                    <a:lnTo>
                      <a:pt x="498" y="336"/>
                    </a:lnTo>
                    <a:lnTo>
                      <a:pt x="503" y="325"/>
                    </a:lnTo>
                    <a:lnTo>
                      <a:pt x="517" y="328"/>
                    </a:lnTo>
                    <a:lnTo>
                      <a:pt x="519" y="323"/>
                    </a:lnTo>
                    <a:lnTo>
                      <a:pt x="511" y="312"/>
                    </a:lnTo>
                    <a:lnTo>
                      <a:pt x="506" y="312"/>
                    </a:lnTo>
                    <a:lnTo>
                      <a:pt x="512" y="289"/>
                    </a:lnTo>
                    <a:lnTo>
                      <a:pt x="518" y="274"/>
                    </a:lnTo>
                    <a:lnTo>
                      <a:pt x="528" y="230"/>
                    </a:lnTo>
                    <a:lnTo>
                      <a:pt x="534" y="212"/>
                    </a:lnTo>
                    <a:lnTo>
                      <a:pt x="518" y="196"/>
                    </a:lnTo>
                    <a:lnTo>
                      <a:pt x="510" y="176"/>
                    </a:lnTo>
                    <a:lnTo>
                      <a:pt x="508" y="167"/>
                    </a:lnTo>
                    <a:lnTo>
                      <a:pt x="518" y="159"/>
                    </a:lnTo>
                    <a:lnTo>
                      <a:pt x="519" y="148"/>
                    </a:lnTo>
                    <a:lnTo>
                      <a:pt x="512" y="134"/>
                    </a:lnTo>
                    <a:lnTo>
                      <a:pt x="496" y="122"/>
                    </a:lnTo>
                    <a:lnTo>
                      <a:pt x="475" y="115"/>
                    </a:lnTo>
                    <a:lnTo>
                      <a:pt x="489" y="99"/>
                    </a:lnTo>
                    <a:lnTo>
                      <a:pt x="484" y="47"/>
                    </a:lnTo>
                    <a:lnTo>
                      <a:pt x="475" y="33"/>
                    </a:lnTo>
                    <a:lnTo>
                      <a:pt x="470" y="22"/>
                    </a:lnTo>
                    <a:lnTo>
                      <a:pt x="417" y="26"/>
                    </a:lnTo>
                    <a:lnTo>
                      <a:pt x="401" y="25"/>
                    </a:lnTo>
                    <a:lnTo>
                      <a:pt x="390" y="33"/>
                    </a:lnTo>
                    <a:lnTo>
                      <a:pt x="378" y="37"/>
                    </a:lnTo>
                    <a:lnTo>
                      <a:pt x="358" y="49"/>
                    </a:lnTo>
                    <a:lnTo>
                      <a:pt x="339" y="68"/>
                    </a:lnTo>
                    <a:lnTo>
                      <a:pt x="355" y="84"/>
                    </a:lnTo>
                    <a:lnTo>
                      <a:pt x="351" y="103"/>
                    </a:lnTo>
                    <a:lnTo>
                      <a:pt x="347" y="92"/>
                    </a:lnTo>
                    <a:lnTo>
                      <a:pt x="340" y="80"/>
                    </a:lnTo>
                    <a:lnTo>
                      <a:pt x="325" y="73"/>
                    </a:lnTo>
                    <a:lnTo>
                      <a:pt x="307" y="81"/>
                    </a:lnTo>
                    <a:lnTo>
                      <a:pt x="304" y="94"/>
                    </a:lnTo>
                    <a:lnTo>
                      <a:pt x="313" y="118"/>
                    </a:lnTo>
                    <a:lnTo>
                      <a:pt x="303" y="112"/>
                    </a:lnTo>
                    <a:lnTo>
                      <a:pt x="291" y="94"/>
                    </a:lnTo>
                    <a:lnTo>
                      <a:pt x="277" y="97"/>
                    </a:lnTo>
                    <a:lnTo>
                      <a:pt x="272" y="115"/>
                    </a:lnTo>
                    <a:lnTo>
                      <a:pt x="285" y="131"/>
                    </a:lnTo>
                    <a:lnTo>
                      <a:pt x="344" y="153"/>
                    </a:lnTo>
                    <a:lnTo>
                      <a:pt x="341" y="160"/>
                    </a:lnTo>
                    <a:lnTo>
                      <a:pt x="324" y="156"/>
                    </a:lnTo>
                    <a:lnTo>
                      <a:pt x="266" y="138"/>
                    </a:lnTo>
                    <a:lnTo>
                      <a:pt x="264" y="148"/>
                    </a:lnTo>
                    <a:lnTo>
                      <a:pt x="258" y="144"/>
                    </a:lnTo>
                    <a:lnTo>
                      <a:pt x="250" y="148"/>
                    </a:lnTo>
                    <a:lnTo>
                      <a:pt x="261" y="156"/>
                    </a:lnTo>
                    <a:lnTo>
                      <a:pt x="276" y="160"/>
                    </a:lnTo>
                    <a:lnTo>
                      <a:pt x="293" y="177"/>
                    </a:lnTo>
                    <a:lnTo>
                      <a:pt x="312" y="186"/>
                    </a:lnTo>
                    <a:lnTo>
                      <a:pt x="331" y="204"/>
                    </a:lnTo>
                    <a:lnTo>
                      <a:pt x="319" y="207"/>
                    </a:lnTo>
                    <a:lnTo>
                      <a:pt x="280" y="176"/>
                    </a:lnTo>
                    <a:lnTo>
                      <a:pt x="255" y="170"/>
                    </a:lnTo>
                    <a:lnTo>
                      <a:pt x="243" y="171"/>
                    </a:lnTo>
                    <a:lnTo>
                      <a:pt x="238" y="181"/>
                    </a:lnTo>
                    <a:lnTo>
                      <a:pt x="239" y="210"/>
                    </a:lnTo>
                    <a:lnTo>
                      <a:pt x="248" y="237"/>
                    </a:lnTo>
                    <a:lnTo>
                      <a:pt x="243" y="246"/>
                    </a:lnTo>
                    <a:lnTo>
                      <a:pt x="250" y="263"/>
                    </a:lnTo>
                    <a:lnTo>
                      <a:pt x="269" y="274"/>
                    </a:lnTo>
                    <a:lnTo>
                      <a:pt x="279" y="274"/>
                    </a:lnTo>
                    <a:lnTo>
                      <a:pt x="285" y="268"/>
                    </a:lnTo>
                    <a:lnTo>
                      <a:pt x="288" y="273"/>
                    </a:lnTo>
                    <a:lnTo>
                      <a:pt x="282" y="291"/>
                    </a:lnTo>
                    <a:lnTo>
                      <a:pt x="272" y="302"/>
                    </a:lnTo>
                    <a:lnTo>
                      <a:pt x="254" y="299"/>
                    </a:lnTo>
                    <a:lnTo>
                      <a:pt x="249" y="314"/>
                    </a:lnTo>
                    <a:lnTo>
                      <a:pt x="248" y="325"/>
                    </a:lnTo>
                    <a:lnTo>
                      <a:pt x="226" y="343"/>
                    </a:lnTo>
                    <a:lnTo>
                      <a:pt x="229" y="354"/>
                    </a:lnTo>
                    <a:lnTo>
                      <a:pt x="245" y="364"/>
                    </a:lnTo>
                    <a:lnTo>
                      <a:pt x="245" y="381"/>
                    </a:lnTo>
                    <a:lnTo>
                      <a:pt x="259" y="398"/>
                    </a:lnTo>
                    <a:lnTo>
                      <a:pt x="280" y="406"/>
                    </a:lnTo>
                    <a:lnTo>
                      <a:pt x="295" y="406"/>
                    </a:lnTo>
                    <a:lnTo>
                      <a:pt x="298" y="419"/>
                    </a:lnTo>
                    <a:lnTo>
                      <a:pt x="295" y="441"/>
                    </a:lnTo>
                    <a:lnTo>
                      <a:pt x="295" y="447"/>
                    </a:lnTo>
                    <a:lnTo>
                      <a:pt x="290" y="455"/>
                    </a:lnTo>
                    <a:lnTo>
                      <a:pt x="291" y="471"/>
                    </a:lnTo>
                    <a:lnTo>
                      <a:pt x="290" y="485"/>
                    </a:lnTo>
                    <a:lnTo>
                      <a:pt x="288" y="504"/>
                    </a:lnTo>
                    <a:lnTo>
                      <a:pt x="281" y="525"/>
                    </a:lnTo>
                    <a:lnTo>
                      <a:pt x="275" y="519"/>
                    </a:lnTo>
                    <a:lnTo>
                      <a:pt x="277" y="500"/>
                    </a:lnTo>
                    <a:lnTo>
                      <a:pt x="281" y="490"/>
                    </a:lnTo>
                    <a:lnTo>
                      <a:pt x="277" y="485"/>
                    </a:lnTo>
                    <a:lnTo>
                      <a:pt x="271" y="489"/>
                    </a:lnTo>
                    <a:lnTo>
                      <a:pt x="254" y="487"/>
                    </a:lnTo>
                    <a:lnTo>
                      <a:pt x="242" y="490"/>
                    </a:lnTo>
                    <a:lnTo>
                      <a:pt x="227" y="498"/>
                    </a:lnTo>
                    <a:lnTo>
                      <a:pt x="207" y="515"/>
                    </a:lnTo>
                    <a:lnTo>
                      <a:pt x="190" y="513"/>
                    </a:lnTo>
                    <a:lnTo>
                      <a:pt x="215" y="495"/>
                    </a:lnTo>
                    <a:lnTo>
                      <a:pt x="227" y="481"/>
                    </a:lnTo>
                    <a:lnTo>
                      <a:pt x="252" y="476"/>
                    </a:lnTo>
                    <a:lnTo>
                      <a:pt x="256" y="470"/>
                    </a:lnTo>
                    <a:lnTo>
                      <a:pt x="268" y="465"/>
                    </a:lnTo>
                    <a:lnTo>
                      <a:pt x="281" y="467"/>
                    </a:lnTo>
                    <a:lnTo>
                      <a:pt x="281" y="460"/>
                    </a:lnTo>
                    <a:lnTo>
                      <a:pt x="277" y="446"/>
                    </a:lnTo>
                    <a:lnTo>
                      <a:pt x="274" y="438"/>
                    </a:lnTo>
                    <a:lnTo>
                      <a:pt x="255" y="433"/>
                    </a:lnTo>
                    <a:lnTo>
                      <a:pt x="205" y="361"/>
                    </a:lnTo>
                    <a:lnTo>
                      <a:pt x="196" y="334"/>
                    </a:lnTo>
                    <a:lnTo>
                      <a:pt x="198" y="306"/>
                    </a:lnTo>
                    <a:lnTo>
                      <a:pt x="206" y="274"/>
                    </a:lnTo>
                    <a:lnTo>
                      <a:pt x="198" y="252"/>
                    </a:lnTo>
                    <a:lnTo>
                      <a:pt x="185" y="229"/>
                    </a:lnTo>
                    <a:lnTo>
                      <a:pt x="186" y="198"/>
                    </a:lnTo>
                    <a:lnTo>
                      <a:pt x="207" y="155"/>
                    </a:lnTo>
                    <a:lnTo>
                      <a:pt x="211" y="124"/>
                    </a:lnTo>
                    <a:lnTo>
                      <a:pt x="222" y="102"/>
                    </a:lnTo>
                    <a:lnTo>
                      <a:pt x="236" y="88"/>
                    </a:lnTo>
                    <a:lnTo>
                      <a:pt x="247" y="67"/>
                    </a:lnTo>
                    <a:lnTo>
                      <a:pt x="275" y="38"/>
                    </a:lnTo>
                    <a:lnTo>
                      <a:pt x="285" y="25"/>
                    </a:lnTo>
                    <a:lnTo>
                      <a:pt x="285" y="21"/>
                    </a:lnTo>
                    <a:lnTo>
                      <a:pt x="279" y="16"/>
                    </a:lnTo>
                    <a:lnTo>
                      <a:pt x="270" y="8"/>
                    </a:lnTo>
                    <a:lnTo>
                      <a:pt x="206" y="0"/>
                    </a:lnTo>
                    <a:lnTo>
                      <a:pt x="190" y="3"/>
                    </a:lnTo>
                    <a:lnTo>
                      <a:pt x="146" y="20"/>
                    </a:lnTo>
                    <a:lnTo>
                      <a:pt x="114" y="42"/>
                    </a:lnTo>
                    <a:lnTo>
                      <a:pt x="81" y="76"/>
                    </a:lnTo>
                    <a:lnTo>
                      <a:pt x="75" y="101"/>
                    </a:lnTo>
                    <a:lnTo>
                      <a:pt x="61" y="118"/>
                    </a:lnTo>
                    <a:lnTo>
                      <a:pt x="55" y="123"/>
                    </a:lnTo>
                    <a:lnTo>
                      <a:pt x="49" y="134"/>
                    </a:lnTo>
                    <a:lnTo>
                      <a:pt x="44" y="149"/>
                    </a:lnTo>
                    <a:lnTo>
                      <a:pt x="51" y="164"/>
                    </a:lnTo>
                    <a:lnTo>
                      <a:pt x="39" y="172"/>
                    </a:lnTo>
                    <a:lnTo>
                      <a:pt x="38" y="199"/>
                    </a:lnTo>
                    <a:lnTo>
                      <a:pt x="48" y="204"/>
                    </a:lnTo>
                    <a:lnTo>
                      <a:pt x="29" y="204"/>
                    </a:lnTo>
                    <a:lnTo>
                      <a:pt x="24" y="230"/>
                    </a:lnTo>
                    <a:lnTo>
                      <a:pt x="16" y="236"/>
                    </a:lnTo>
                    <a:lnTo>
                      <a:pt x="14" y="261"/>
                    </a:lnTo>
                    <a:lnTo>
                      <a:pt x="7" y="274"/>
                    </a:lnTo>
                    <a:lnTo>
                      <a:pt x="12" y="310"/>
                    </a:lnTo>
                    <a:lnTo>
                      <a:pt x="27" y="310"/>
                    </a:lnTo>
                    <a:lnTo>
                      <a:pt x="17" y="316"/>
                    </a:lnTo>
                    <a:lnTo>
                      <a:pt x="7" y="330"/>
                    </a:lnTo>
                    <a:lnTo>
                      <a:pt x="0" y="347"/>
                    </a:lnTo>
                    <a:lnTo>
                      <a:pt x="7" y="369"/>
                    </a:lnTo>
                    <a:lnTo>
                      <a:pt x="13" y="381"/>
                    </a:lnTo>
                    <a:lnTo>
                      <a:pt x="3" y="401"/>
                    </a:lnTo>
                    <a:lnTo>
                      <a:pt x="3" y="441"/>
                    </a:lnTo>
                    <a:lnTo>
                      <a:pt x="8" y="454"/>
                    </a:lnTo>
                    <a:lnTo>
                      <a:pt x="12" y="460"/>
                    </a:lnTo>
                    <a:lnTo>
                      <a:pt x="62" y="471"/>
                    </a:lnTo>
                    <a:lnTo>
                      <a:pt x="115" y="476"/>
                    </a:lnTo>
                    <a:lnTo>
                      <a:pt x="126" y="490"/>
                    </a:lnTo>
                    <a:lnTo>
                      <a:pt x="145" y="506"/>
                    </a:lnTo>
                    <a:lnTo>
                      <a:pt x="162" y="516"/>
                    </a:lnTo>
                    <a:lnTo>
                      <a:pt x="131" y="528"/>
                    </a:lnTo>
                    <a:lnTo>
                      <a:pt x="107" y="530"/>
                    </a:lnTo>
                    <a:lnTo>
                      <a:pt x="73" y="510"/>
                    </a:lnTo>
                    <a:lnTo>
                      <a:pt x="53" y="509"/>
                    </a:lnTo>
                    <a:lnTo>
                      <a:pt x="37" y="504"/>
                    </a:lnTo>
                    <a:lnTo>
                      <a:pt x="45" y="515"/>
                    </a:lnTo>
                    <a:lnTo>
                      <a:pt x="38" y="532"/>
                    </a:lnTo>
                    <a:lnTo>
                      <a:pt x="48" y="548"/>
                    </a:lnTo>
                    <a:lnTo>
                      <a:pt x="61" y="575"/>
                    </a:lnTo>
                    <a:lnTo>
                      <a:pt x="83" y="602"/>
                    </a:lnTo>
                    <a:lnTo>
                      <a:pt x="118" y="624"/>
                    </a:lnTo>
                    <a:lnTo>
                      <a:pt x="105" y="627"/>
                    </a:lnTo>
                    <a:lnTo>
                      <a:pt x="124" y="634"/>
                    </a:lnTo>
                    <a:lnTo>
                      <a:pt x="126" y="628"/>
                    </a:lnTo>
                    <a:lnTo>
                      <a:pt x="141" y="627"/>
                    </a:lnTo>
                    <a:lnTo>
                      <a:pt x="167" y="632"/>
                    </a:lnTo>
                    <a:lnTo>
                      <a:pt x="186" y="627"/>
                    </a:lnTo>
                    <a:lnTo>
                      <a:pt x="194" y="606"/>
                    </a:lnTo>
                    <a:lnTo>
                      <a:pt x="196" y="635"/>
                    </a:lnTo>
                    <a:lnTo>
                      <a:pt x="209" y="656"/>
                    </a:lnTo>
                    <a:lnTo>
                      <a:pt x="226" y="673"/>
                    </a:lnTo>
                    <a:lnTo>
                      <a:pt x="253" y="682"/>
                    </a:lnTo>
                    <a:lnTo>
                      <a:pt x="265" y="682"/>
                    </a:lnTo>
                    <a:lnTo>
                      <a:pt x="250" y="672"/>
                    </a:lnTo>
                    <a:lnTo>
                      <a:pt x="265" y="670"/>
                    </a:lnTo>
                    <a:lnTo>
                      <a:pt x="292" y="680"/>
                    </a:lnTo>
                    <a:lnTo>
                      <a:pt x="344" y="688"/>
                    </a:lnTo>
                    <a:lnTo>
                      <a:pt x="358" y="696"/>
                    </a:lnTo>
                    <a:lnTo>
                      <a:pt x="360" y="689"/>
                    </a:lnTo>
                    <a:lnTo>
                      <a:pt x="384" y="678"/>
                    </a:lnTo>
                    <a:lnTo>
                      <a:pt x="419" y="702"/>
                    </a:lnTo>
                    <a:lnTo>
                      <a:pt x="435" y="703"/>
                    </a:lnTo>
                    <a:lnTo>
                      <a:pt x="437" y="708"/>
                    </a:lnTo>
                    <a:lnTo>
                      <a:pt x="442" y="700"/>
                    </a:lnTo>
                    <a:lnTo>
                      <a:pt x="441" y="702"/>
                    </a:lnTo>
                    <a:lnTo>
                      <a:pt x="448" y="709"/>
                    </a:lnTo>
                    <a:lnTo>
                      <a:pt x="455" y="693"/>
                    </a:lnTo>
                    <a:lnTo>
                      <a:pt x="469" y="687"/>
                    </a:lnTo>
                    <a:lnTo>
                      <a:pt x="483" y="696"/>
                    </a:lnTo>
                    <a:lnTo>
                      <a:pt x="496" y="718"/>
                    </a:lnTo>
                    <a:lnTo>
                      <a:pt x="506" y="718"/>
                    </a:lnTo>
                    <a:lnTo>
                      <a:pt x="501" y="704"/>
                    </a:lnTo>
                    <a:lnTo>
                      <a:pt x="481" y="680"/>
                    </a:lnTo>
                    <a:lnTo>
                      <a:pt x="462" y="672"/>
                    </a:lnTo>
                    <a:lnTo>
                      <a:pt x="464" y="659"/>
                    </a:lnTo>
                    <a:lnTo>
                      <a:pt x="517" y="676"/>
                    </a:lnTo>
                    <a:lnTo>
                      <a:pt x="530" y="682"/>
                    </a:lnTo>
                    <a:lnTo>
                      <a:pt x="543" y="676"/>
                    </a:lnTo>
                    <a:lnTo>
                      <a:pt x="549" y="682"/>
                    </a:lnTo>
                    <a:lnTo>
                      <a:pt x="556" y="682"/>
                    </a:lnTo>
                    <a:lnTo>
                      <a:pt x="569" y="707"/>
                    </a:lnTo>
                    <a:lnTo>
                      <a:pt x="596" y="698"/>
                    </a:lnTo>
                    <a:lnTo>
                      <a:pt x="618" y="696"/>
                    </a:lnTo>
                    <a:lnTo>
                      <a:pt x="625" y="684"/>
                    </a:lnTo>
                    <a:lnTo>
                      <a:pt x="620" y="659"/>
                    </a:lnTo>
                    <a:lnTo>
                      <a:pt x="605" y="624"/>
                    </a:lnTo>
                    <a:lnTo>
                      <a:pt x="591" y="626"/>
                    </a:lnTo>
                    <a:lnTo>
                      <a:pt x="581" y="618"/>
                    </a:lnTo>
                    <a:lnTo>
                      <a:pt x="593" y="607"/>
                    </a:lnTo>
                    <a:lnTo>
                      <a:pt x="620" y="614"/>
                    </a:lnTo>
                    <a:lnTo>
                      <a:pt x="653" y="649"/>
                    </a:lnTo>
                    <a:lnTo>
                      <a:pt x="658" y="638"/>
                    </a:lnTo>
                    <a:lnTo>
                      <a:pt x="670" y="646"/>
                    </a:lnTo>
                    <a:lnTo>
                      <a:pt x="684" y="643"/>
                    </a:lnTo>
                    <a:lnTo>
                      <a:pt x="685" y="707"/>
                    </a:lnTo>
                    <a:lnTo>
                      <a:pt x="694" y="716"/>
                    </a:lnTo>
                    <a:lnTo>
                      <a:pt x="701" y="700"/>
                    </a:lnTo>
                    <a:lnTo>
                      <a:pt x="711" y="708"/>
                    </a:lnTo>
                    <a:lnTo>
                      <a:pt x="723" y="707"/>
                    </a:lnTo>
                    <a:lnTo>
                      <a:pt x="728" y="714"/>
                    </a:lnTo>
                    <a:lnTo>
                      <a:pt x="727" y="726"/>
                    </a:lnTo>
                    <a:lnTo>
                      <a:pt x="715" y="736"/>
                    </a:lnTo>
                    <a:lnTo>
                      <a:pt x="727" y="737"/>
                    </a:lnTo>
                    <a:lnTo>
                      <a:pt x="738" y="745"/>
                    </a:lnTo>
                    <a:lnTo>
                      <a:pt x="750" y="759"/>
                    </a:lnTo>
                    <a:lnTo>
                      <a:pt x="787" y="793"/>
                    </a:lnTo>
                    <a:lnTo>
                      <a:pt x="792" y="816"/>
                    </a:lnTo>
                    <a:lnTo>
                      <a:pt x="772" y="833"/>
                    </a:lnTo>
                    <a:lnTo>
                      <a:pt x="752" y="828"/>
                    </a:lnTo>
                    <a:lnTo>
                      <a:pt x="737" y="828"/>
                    </a:lnTo>
                    <a:lnTo>
                      <a:pt x="743" y="854"/>
                    </a:lnTo>
                    <a:lnTo>
                      <a:pt x="740" y="887"/>
                    </a:lnTo>
                    <a:lnTo>
                      <a:pt x="761" y="880"/>
                    </a:lnTo>
                    <a:lnTo>
                      <a:pt x="791" y="859"/>
                    </a:lnTo>
                    <a:lnTo>
                      <a:pt x="798" y="843"/>
                    </a:lnTo>
                    <a:lnTo>
                      <a:pt x="812" y="849"/>
                    </a:lnTo>
                    <a:lnTo>
                      <a:pt x="829" y="834"/>
                    </a:lnTo>
                    <a:lnTo>
                      <a:pt x="849" y="829"/>
                    </a:lnTo>
                    <a:lnTo>
                      <a:pt x="868" y="833"/>
                    </a:lnTo>
                    <a:lnTo>
                      <a:pt x="836" y="843"/>
                    </a:lnTo>
                    <a:lnTo>
                      <a:pt x="842" y="848"/>
                    </a:lnTo>
                    <a:lnTo>
                      <a:pt x="835" y="863"/>
                    </a:lnTo>
                    <a:lnTo>
                      <a:pt x="858" y="892"/>
                    </a:lnTo>
                    <a:lnTo>
                      <a:pt x="872" y="906"/>
                    </a:lnTo>
                    <a:lnTo>
                      <a:pt x="878" y="901"/>
                    </a:lnTo>
                    <a:lnTo>
                      <a:pt x="871" y="887"/>
                    </a:lnTo>
                    <a:lnTo>
                      <a:pt x="872" y="877"/>
                    </a:lnTo>
                    <a:lnTo>
                      <a:pt x="892" y="883"/>
                    </a:lnTo>
                    <a:lnTo>
                      <a:pt x="890" y="920"/>
                    </a:lnTo>
                    <a:lnTo>
                      <a:pt x="895" y="936"/>
                    </a:lnTo>
                    <a:lnTo>
                      <a:pt x="912" y="949"/>
                    </a:lnTo>
                    <a:lnTo>
                      <a:pt x="925" y="941"/>
                    </a:lnTo>
                    <a:lnTo>
                      <a:pt x="939" y="963"/>
                    </a:lnTo>
                    <a:lnTo>
                      <a:pt x="942" y="988"/>
                    </a:lnTo>
                    <a:lnTo>
                      <a:pt x="948" y="1004"/>
                    </a:lnTo>
                    <a:lnTo>
                      <a:pt x="955" y="1014"/>
                    </a:lnTo>
                    <a:lnTo>
                      <a:pt x="958" y="1037"/>
                    </a:lnTo>
                    <a:lnTo>
                      <a:pt x="965" y="1049"/>
                    </a:lnTo>
                    <a:lnTo>
                      <a:pt x="967" y="1069"/>
                    </a:lnTo>
                    <a:lnTo>
                      <a:pt x="970" y="1085"/>
                    </a:lnTo>
                    <a:lnTo>
                      <a:pt x="976" y="1089"/>
                    </a:lnTo>
                    <a:lnTo>
                      <a:pt x="971" y="1103"/>
                    </a:lnTo>
                    <a:lnTo>
                      <a:pt x="964" y="1114"/>
                    </a:lnTo>
                    <a:lnTo>
                      <a:pt x="951" y="1121"/>
                    </a:lnTo>
                    <a:lnTo>
                      <a:pt x="942" y="1130"/>
                    </a:lnTo>
                    <a:lnTo>
                      <a:pt x="941" y="1166"/>
                    </a:lnTo>
                    <a:lnTo>
                      <a:pt x="937" y="1170"/>
                    </a:lnTo>
                    <a:lnTo>
                      <a:pt x="924" y="1173"/>
                    </a:lnTo>
                    <a:lnTo>
                      <a:pt x="911" y="1191"/>
                    </a:lnTo>
                    <a:lnTo>
                      <a:pt x="895" y="1204"/>
                    </a:lnTo>
                    <a:lnTo>
                      <a:pt x="882" y="1224"/>
                    </a:lnTo>
                    <a:lnTo>
                      <a:pt x="861" y="1242"/>
                    </a:lnTo>
                    <a:lnTo>
                      <a:pt x="863" y="1254"/>
                    </a:lnTo>
                    <a:lnTo>
                      <a:pt x="877" y="1275"/>
                    </a:lnTo>
                    <a:lnTo>
                      <a:pt x="894" y="1292"/>
                    </a:lnTo>
                    <a:lnTo>
                      <a:pt x="898" y="1310"/>
                    </a:lnTo>
                    <a:lnTo>
                      <a:pt x="908" y="1313"/>
                    </a:lnTo>
                    <a:lnTo>
                      <a:pt x="908" y="1338"/>
                    </a:lnTo>
                    <a:lnTo>
                      <a:pt x="889" y="1328"/>
                    </a:lnTo>
                    <a:lnTo>
                      <a:pt x="888" y="1333"/>
                    </a:lnTo>
                    <a:lnTo>
                      <a:pt x="874" y="1327"/>
                    </a:lnTo>
                    <a:lnTo>
                      <a:pt x="871" y="1334"/>
                    </a:lnTo>
                    <a:lnTo>
                      <a:pt x="862" y="1337"/>
                    </a:lnTo>
                    <a:lnTo>
                      <a:pt x="846" y="1347"/>
                    </a:lnTo>
                    <a:lnTo>
                      <a:pt x="822" y="1347"/>
                    </a:lnTo>
                    <a:lnTo>
                      <a:pt x="820" y="1360"/>
                    </a:lnTo>
                    <a:lnTo>
                      <a:pt x="811" y="1364"/>
                    </a:lnTo>
                    <a:lnTo>
                      <a:pt x="793" y="1354"/>
                    </a:lnTo>
                    <a:lnTo>
                      <a:pt x="765" y="1358"/>
                    </a:lnTo>
                    <a:lnTo>
                      <a:pt x="743" y="1348"/>
                    </a:lnTo>
                    <a:lnTo>
                      <a:pt x="731" y="1348"/>
                    </a:lnTo>
                    <a:lnTo>
                      <a:pt x="718" y="1344"/>
                    </a:lnTo>
                    <a:lnTo>
                      <a:pt x="711" y="1338"/>
                    </a:lnTo>
                    <a:lnTo>
                      <a:pt x="700" y="1339"/>
                    </a:lnTo>
                    <a:lnTo>
                      <a:pt x="707" y="1350"/>
                    </a:lnTo>
                    <a:lnTo>
                      <a:pt x="697" y="1350"/>
                    </a:lnTo>
                    <a:lnTo>
                      <a:pt x="700" y="1374"/>
                    </a:lnTo>
                    <a:lnTo>
                      <a:pt x="688" y="1378"/>
                    </a:lnTo>
                    <a:lnTo>
                      <a:pt x="668" y="1393"/>
                    </a:lnTo>
                    <a:lnTo>
                      <a:pt x="661" y="1408"/>
                    </a:lnTo>
                    <a:lnTo>
                      <a:pt x="658" y="1425"/>
                    </a:lnTo>
                    <a:lnTo>
                      <a:pt x="659" y="1441"/>
                    </a:lnTo>
                    <a:lnTo>
                      <a:pt x="668" y="1462"/>
                    </a:lnTo>
                    <a:lnTo>
                      <a:pt x="680" y="1473"/>
                    </a:lnTo>
                    <a:lnTo>
                      <a:pt x="690" y="1473"/>
                    </a:lnTo>
                    <a:lnTo>
                      <a:pt x="702" y="1488"/>
                    </a:lnTo>
                    <a:lnTo>
                      <a:pt x="710" y="1485"/>
                    </a:lnTo>
                    <a:lnTo>
                      <a:pt x="731" y="1491"/>
                    </a:lnTo>
                    <a:lnTo>
                      <a:pt x="737" y="1496"/>
                    </a:lnTo>
                    <a:lnTo>
                      <a:pt x="739" y="1493"/>
                    </a:lnTo>
                    <a:lnTo>
                      <a:pt x="761" y="1487"/>
                    </a:lnTo>
                    <a:lnTo>
                      <a:pt x="759" y="1478"/>
                    </a:lnTo>
                    <a:lnTo>
                      <a:pt x="776" y="1477"/>
                    </a:lnTo>
                    <a:lnTo>
                      <a:pt x="783" y="1473"/>
                    </a:lnTo>
                    <a:lnTo>
                      <a:pt x="785" y="1463"/>
                    </a:lnTo>
                    <a:lnTo>
                      <a:pt x="780" y="1452"/>
                    </a:lnTo>
                    <a:lnTo>
                      <a:pt x="792" y="1447"/>
                    </a:lnTo>
                    <a:lnTo>
                      <a:pt x="807" y="1447"/>
                    </a:lnTo>
                    <a:lnTo>
                      <a:pt x="812" y="1457"/>
                    </a:lnTo>
                    <a:lnTo>
                      <a:pt x="814" y="1467"/>
                    </a:lnTo>
                    <a:lnTo>
                      <a:pt x="840" y="1468"/>
                    </a:lnTo>
                    <a:lnTo>
                      <a:pt x="849" y="1472"/>
                    </a:lnTo>
                    <a:lnTo>
                      <a:pt x="847" y="1461"/>
                    </a:lnTo>
                    <a:lnTo>
                      <a:pt x="855" y="1453"/>
                    </a:lnTo>
                    <a:lnTo>
                      <a:pt x="857" y="1460"/>
                    </a:lnTo>
                    <a:lnTo>
                      <a:pt x="847" y="1441"/>
                    </a:lnTo>
                    <a:lnTo>
                      <a:pt x="835" y="1436"/>
                    </a:lnTo>
                    <a:lnTo>
                      <a:pt x="834" y="1423"/>
                    </a:lnTo>
                    <a:lnTo>
                      <a:pt x="846" y="1419"/>
                    </a:lnTo>
                    <a:lnTo>
                      <a:pt x="851" y="1413"/>
                    </a:lnTo>
                    <a:lnTo>
                      <a:pt x="851" y="1425"/>
                    </a:lnTo>
                    <a:lnTo>
                      <a:pt x="852" y="1435"/>
                    </a:lnTo>
                    <a:lnTo>
                      <a:pt x="860" y="1426"/>
                    </a:lnTo>
                    <a:lnTo>
                      <a:pt x="862" y="1435"/>
                    </a:lnTo>
                    <a:lnTo>
                      <a:pt x="871" y="1444"/>
                    </a:lnTo>
                    <a:lnTo>
                      <a:pt x="876" y="1439"/>
                    </a:lnTo>
                    <a:lnTo>
                      <a:pt x="885" y="1435"/>
                    </a:lnTo>
                    <a:lnTo>
                      <a:pt x="889" y="1436"/>
                    </a:lnTo>
                    <a:lnTo>
                      <a:pt x="898" y="1450"/>
                    </a:lnTo>
                    <a:lnTo>
                      <a:pt x="906" y="1444"/>
                    </a:lnTo>
                    <a:lnTo>
                      <a:pt x="914" y="1446"/>
                    </a:lnTo>
                    <a:lnTo>
                      <a:pt x="919" y="1456"/>
                    </a:lnTo>
                    <a:lnTo>
                      <a:pt x="916" y="1462"/>
                    </a:lnTo>
                    <a:lnTo>
                      <a:pt x="917" y="1473"/>
                    </a:lnTo>
                    <a:lnTo>
                      <a:pt x="921" y="1485"/>
                    </a:lnTo>
                    <a:lnTo>
                      <a:pt x="927" y="1482"/>
                    </a:lnTo>
                    <a:lnTo>
                      <a:pt x="938" y="1498"/>
                    </a:lnTo>
                    <a:lnTo>
                      <a:pt x="941" y="1507"/>
                    </a:lnTo>
                    <a:lnTo>
                      <a:pt x="939" y="1515"/>
                    </a:lnTo>
                    <a:lnTo>
                      <a:pt x="942" y="1518"/>
                    </a:lnTo>
                    <a:lnTo>
                      <a:pt x="943" y="1528"/>
                    </a:lnTo>
                    <a:lnTo>
                      <a:pt x="951" y="1526"/>
                    </a:lnTo>
                    <a:lnTo>
                      <a:pt x="955" y="1528"/>
                    </a:lnTo>
                    <a:lnTo>
                      <a:pt x="963" y="1544"/>
                    </a:lnTo>
                    <a:lnTo>
                      <a:pt x="968" y="1547"/>
                    </a:lnTo>
                    <a:lnTo>
                      <a:pt x="975" y="1541"/>
                    </a:lnTo>
                    <a:lnTo>
                      <a:pt x="980" y="1543"/>
                    </a:lnTo>
                    <a:lnTo>
                      <a:pt x="980" y="1550"/>
                    </a:lnTo>
                    <a:lnTo>
                      <a:pt x="986" y="1560"/>
                    </a:lnTo>
                    <a:lnTo>
                      <a:pt x="994" y="1563"/>
                    </a:lnTo>
                    <a:lnTo>
                      <a:pt x="995" y="1554"/>
                    </a:lnTo>
                    <a:lnTo>
                      <a:pt x="1001" y="1542"/>
                    </a:lnTo>
                    <a:lnTo>
                      <a:pt x="1012" y="1559"/>
                    </a:lnTo>
                    <a:lnTo>
                      <a:pt x="1018" y="1563"/>
                    </a:lnTo>
                    <a:lnTo>
                      <a:pt x="1022" y="1571"/>
                    </a:lnTo>
                    <a:lnTo>
                      <a:pt x="1033" y="1571"/>
                    </a:lnTo>
                    <a:lnTo>
                      <a:pt x="1019" y="1587"/>
                    </a:lnTo>
                    <a:lnTo>
                      <a:pt x="1003" y="1593"/>
                    </a:lnTo>
                    <a:lnTo>
                      <a:pt x="992" y="1579"/>
                    </a:lnTo>
                    <a:lnTo>
                      <a:pt x="998" y="1595"/>
                    </a:lnTo>
                    <a:lnTo>
                      <a:pt x="1014" y="1628"/>
                    </a:lnTo>
                    <a:lnTo>
                      <a:pt x="1024" y="1630"/>
                    </a:lnTo>
                    <a:lnTo>
                      <a:pt x="1035" y="1643"/>
                    </a:lnTo>
                    <a:lnTo>
                      <a:pt x="1037" y="164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42" name="Freeform 304"/>
              <p:cNvSpPr>
                <a:spLocks noChangeAspect="1"/>
              </p:cNvSpPr>
              <p:nvPr/>
            </p:nvSpPr>
            <p:spPr bwMode="gray">
              <a:xfrm>
                <a:off x="969" y="1334"/>
                <a:ext cx="937" cy="648"/>
              </a:xfrm>
              <a:custGeom>
                <a:avLst/>
                <a:gdLst/>
                <a:ahLst/>
                <a:cxnLst>
                  <a:cxn ang="0">
                    <a:pos x="4121" y="2577"/>
                  </a:cxn>
                  <a:cxn ang="0">
                    <a:pos x="3985" y="2718"/>
                  </a:cxn>
                  <a:cxn ang="0">
                    <a:pos x="4193" y="2896"/>
                  </a:cxn>
                  <a:cxn ang="0">
                    <a:pos x="4252" y="3041"/>
                  </a:cxn>
                  <a:cxn ang="0">
                    <a:pos x="4261" y="2980"/>
                  </a:cxn>
                  <a:cxn ang="0">
                    <a:pos x="3928" y="2815"/>
                  </a:cxn>
                  <a:cxn ang="0">
                    <a:pos x="3510" y="3092"/>
                  </a:cxn>
                  <a:cxn ang="0">
                    <a:pos x="3186" y="3206"/>
                  </a:cxn>
                  <a:cxn ang="0">
                    <a:pos x="3305" y="3028"/>
                  </a:cxn>
                  <a:cxn ang="0">
                    <a:pos x="3138" y="2904"/>
                  </a:cxn>
                  <a:cxn ang="0">
                    <a:pos x="2884" y="2730"/>
                  </a:cxn>
                  <a:cxn ang="0">
                    <a:pos x="2558" y="2711"/>
                  </a:cxn>
                  <a:cxn ang="0">
                    <a:pos x="999" y="2670"/>
                  </a:cxn>
                  <a:cxn ang="0">
                    <a:pos x="900" y="2578"/>
                  </a:cxn>
                  <a:cxn ang="0">
                    <a:pos x="745" y="2484"/>
                  </a:cxn>
                  <a:cxn ang="0">
                    <a:pos x="658" y="2308"/>
                  </a:cxn>
                  <a:cxn ang="0">
                    <a:pos x="605" y="2062"/>
                  </a:cxn>
                  <a:cxn ang="0">
                    <a:pos x="257" y="1689"/>
                  </a:cxn>
                  <a:cxn ang="0">
                    <a:pos x="0" y="1022"/>
                  </a:cxn>
                  <a:cxn ang="0">
                    <a:pos x="300" y="501"/>
                  </a:cxn>
                  <a:cxn ang="0">
                    <a:pos x="554" y="316"/>
                  </a:cxn>
                  <a:cxn ang="0">
                    <a:pos x="516" y="434"/>
                  </a:cxn>
                  <a:cxn ang="0">
                    <a:pos x="780" y="376"/>
                  </a:cxn>
                  <a:cxn ang="0">
                    <a:pos x="908" y="308"/>
                  </a:cxn>
                  <a:cxn ang="0">
                    <a:pos x="1229" y="461"/>
                  </a:cxn>
                  <a:cxn ang="0">
                    <a:pos x="1409" y="630"/>
                  </a:cxn>
                  <a:cxn ang="0">
                    <a:pos x="1713" y="655"/>
                  </a:cxn>
                  <a:cxn ang="0">
                    <a:pos x="1850" y="758"/>
                  </a:cxn>
                  <a:cxn ang="0">
                    <a:pos x="1884" y="566"/>
                  </a:cxn>
                  <a:cxn ang="0">
                    <a:pos x="1897" y="496"/>
                  </a:cxn>
                  <a:cxn ang="0">
                    <a:pos x="2137" y="669"/>
                  </a:cxn>
                  <a:cxn ang="0">
                    <a:pos x="2360" y="650"/>
                  </a:cxn>
                  <a:cxn ang="0">
                    <a:pos x="2467" y="619"/>
                  </a:cxn>
                  <a:cxn ang="0">
                    <a:pos x="2592" y="506"/>
                  </a:cxn>
                  <a:cxn ang="0">
                    <a:pos x="2465" y="360"/>
                  </a:cxn>
                  <a:cxn ang="0">
                    <a:pos x="2513" y="2"/>
                  </a:cxn>
                  <a:cxn ang="0">
                    <a:pos x="2671" y="301"/>
                  </a:cxn>
                  <a:cxn ang="0">
                    <a:pos x="2773" y="515"/>
                  </a:cxn>
                  <a:cxn ang="0">
                    <a:pos x="2955" y="732"/>
                  </a:cxn>
                  <a:cxn ang="0">
                    <a:pos x="3048" y="400"/>
                  </a:cxn>
                  <a:cxn ang="0">
                    <a:pos x="3223" y="566"/>
                  </a:cxn>
                  <a:cxn ang="0">
                    <a:pos x="3139" y="886"/>
                  </a:cxn>
                  <a:cxn ang="0">
                    <a:pos x="2869" y="956"/>
                  </a:cxn>
                  <a:cxn ang="0">
                    <a:pos x="2806" y="1170"/>
                  </a:cxn>
                  <a:cxn ang="0">
                    <a:pos x="2662" y="1202"/>
                  </a:cxn>
                  <a:cxn ang="0">
                    <a:pos x="2634" y="1400"/>
                  </a:cxn>
                  <a:cxn ang="0">
                    <a:pos x="2596" y="1772"/>
                  </a:cxn>
                  <a:cxn ang="0">
                    <a:pos x="2978" y="2076"/>
                  </a:cxn>
                  <a:cxn ang="0">
                    <a:pos x="3253" y="2406"/>
                  </a:cxn>
                  <a:cxn ang="0">
                    <a:pos x="3435" y="2410"/>
                  </a:cxn>
                  <a:cxn ang="0">
                    <a:pos x="3543" y="2007"/>
                  </a:cxn>
                  <a:cxn ang="0">
                    <a:pos x="3489" y="1658"/>
                  </a:cxn>
                  <a:cxn ang="0">
                    <a:pos x="3454" y="1379"/>
                  </a:cxn>
                  <a:cxn ang="0">
                    <a:pos x="3782" y="1465"/>
                  </a:cxn>
                  <a:cxn ang="0">
                    <a:pos x="3908" y="1642"/>
                  </a:cxn>
                  <a:cxn ang="0">
                    <a:pos x="3931" y="1765"/>
                  </a:cxn>
                  <a:cxn ang="0">
                    <a:pos x="4124" y="1745"/>
                  </a:cxn>
                  <a:cxn ang="0">
                    <a:pos x="4254" y="1721"/>
                  </a:cxn>
                  <a:cxn ang="0">
                    <a:pos x="4305" y="1837"/>
                  </a:cxn>
                  <a:cxn ang="0">
                    <a:pos x="4379" y="2060"/>
                  </a:cxn>
                  <a:cxn ang="0">
                    <a:pos x="4580" y="2206"/>
                  </a:cxn>
                  <a:cxn ang="0">
                    <a:pos x="4538" y="2229"/>
                  </a:cxn>
                  <a:cxn ang="0">
                    <a:pos x="4668" y="2398"/>
                  </a:cxn>
                </a:cxnLst>
                <a:rect l="0" t="0" r="r" b="b"/>
                <a:pathLst>
                  <a:path w="4686" h="3236">
                    <a:moveTo>
                      <a:pt x="4668" y="2398"/>
                    </a:moveTo>
                    <a:lnTo>
                      <a:pt x="4678" y="2405"/>
                    </a:lnTo>
                    <a:lnTo>
                      <a:pt x="4684" y="2412"/>
                    </a:lnTo>
                    <a:lnTo>
                      <a:pt x="4675" y="2423"/>
                    </a:lnTo>
                    <a:lnTo>
                      <a:pt x="4664" y="2437"/>
                    </a:lnTo>
                    <a:lnTo>
                      <a:pt x="4646" y="2449"/>
                    </a:lnTo>
                    <a:lnTo>
                      <a:pt x="4630" y="2469"/>
                    </a:lnTo>
                    <a:lnTo>
                      <a:pt x="4619" y="2470"/>
                    </a:lnTo>
                    <a:lnTo>
                      <a:pt x="4616" y="2475"/>
                    </a:lnTo>
                    <a:lnTo>
                      <a:pt x="4601" y="2475"/>
                    </a:lnTo>
                    <a:lnTo>
                      <a:pt x="4578" y="2474"/>
                    </a:lnTo>
                    <a:lnTo>
                      <a:pt x="4564" y="2481"/>
                    </a:lnTo>
                    <a:lnTo>
                      <a:pt x="4533" y="2487"/>
                    </a:lnTo>
                    <a:lnTo>
                      <a:pt x="4521" y="2496"/>
                    </a:lnTo>
                    <a:lnTo>
                      <a:pt x="4510" y="2512"/>
                    </a:lnTo>
                    <a:lnTo>
                      <a:pt x="4505" y="2511"/>
                    </a:lnTo>
                    <a:lnTo>
                      <a:pt x="4493" y="2531"/>
                    </a:lnTo>
                    <a:lnTo>
                      <a:pt x="4476" y="2554"/>
                    </a:lnTo>
                    <a:lnTo>
                      <a:pt x="4465" y="2560"/>
                    </a:lnTo>
                    <a:lnTo>
                      <a:pt x="4453" y="2574"/>
                    </a:lnTo>
                    <a:lnTo>
                      <a:pt x="4444" y="2579"/>
                    </a:lnTo>
                    <a:lnTo>
                      <a:pt x="4438" y="2579"/>
                    </a:lnTo>
                    <a:lnTo>
                      <a:pt x="4433" y="2574"/>
                    </a:lnTo>
                    <a:lnTo>
                      <a:pt x="4438" y="2563"/>
                    </a:lnTo>
                    <a:lnTo>
                      <a:pt x="4431" y="2566"/>
                    </a:lnTo>
                    <a:lnTo>
                      <a:pt x="4425" y="2577"/>
                    </a:lnTo>
                    <a:lnTo>
                      <a:pt x="4385" y="2583"/>
                    </a:lnTo>
                    <a:lnTo>
                      <a:pt x="4359" y="2593"/>
                    </a:lnTo>
                    <a:lnTo>
                      <a:pt x="4353" y="2590"/>
                    </a:lnTo>
                    <a:lnTo>
                      <a:pt x="4352" y="2584"/>
                    </a:lnTo>
                    <a:lnTo>
                      <a:pt x="4343" y="2579"/>
                    </a:lnTo>
                    <a:lnTo>
                      <a:pt x="4325" y="2577"/>
                    </a:lnTo>
                    <a:lnTo>
                      <a:pt x="4280" y="2577"/>
                    </a:lnTo>
                    <a:lnTo>
                      <a:pt x="4264" y="2581"/>
                    </a:lnTo>
                    <a:lnTo>
                      <a:pt x="4232" y="2574"/>
                    </a:lnTo>
                    <a:lnTo>
                      <a:pt x="4225" y="2574"/>
                    </a:lnTo>
                    <a:lnTo>
                      <a:pt x="4200" y="2572"/>
                    </a:lnTo>
                    <a:lnTo>
                      <a:pt x="4173" y="2579"/>
                    </a:lnTo>
                    <a:lnTo>
                      <a:pt x="4164" y="2577"/>
                    </a:lnTo>
                    <a:lnTo>
                      <a:pt x="4151" y="2577"/>
                    </a:lnTo>
                    <a:lnTo>
                      <a:pt x="4134" y="2579"/>
                    </a:lnTo>
                    <a:lnTo>
                      <a:pt x="4121" y="2577"/>
                    </a:lnTo>
                    <a:lnTo>
                      <a:pt x="4113" y="2581"/>
                    </a:lnTo>
                    <a:lnTo>
                      <a:pt x="4100" y="2581"/>
                    </a:lnTo>
                    <a:lnTo>
                      <a:pt x="4095" y="2583"/>
                    </a:lnTo>
                    <a:lnTo>
                      <a:pt x="4094" y="2590"/>
                    </a:lnTo>
                    <a:lnTo>
                      <a:pt x="4084" y="2589"/>
                    </a:lnTo>
                    <a:lnTo>
                      <a:pt x="4080" y="2593"/>
                    </a:lnTo>
                    <a:lnTo>
                      <a:pt x="4074" y="2597"/>
                    </a:lnTo>
                    <a:lnTo>
                      <a:pt x="4068" y="2604"/>
                    </a:lnTo>
                    <a:lnTo>
                      <a:pt x="4058" y="2617"/>
                    </a:lnTo>
                    <a:lnTo>
                      <a:pt x="4053" y="2635"/>
                    </a:lnTo>
                    <a:lnTo>
                      <a:pt x="4044" y="2654"/>
                    </a:lnTo>
                    <a:lnTo>
                      <a:pt x="4042" y="2657"/>
                    </a:lnTo>
                    <a:lnTo>
                      <a:pt x="4004" y="2659"/>
                    </a:lnTo>
                    <a:lnTo>
                      <a:pt x="3993" y="2670"/>
                    </a:lnTo>
                    <a:lnTo>
                      <a:pt x="3987" y="2670"/>
                    </a:lnTo>
                    <a:lnTo>
                      <a:pt x="3987" y="2675"/>
                    </a:lnTo>
                    <a:lnTo>
                      <a:pt x="3968" y="2694"/>
                    </a:lnTo>
                    <a:lnTo>
                      <a:pt x="3958" y="2699"/>
                    </a:lnTo>
                    <a:lnTo>
                      <a:pt x="3930" y="2743"/>
                    </a:lnTo>
                    <a:lnTo>
                      <a:pt x="3919" y="2751"/>
                    </a:lnTo>
                    <a:lnTo>
                      <a:pt x="3908" y="2753"/>
                    </a:lnTo>
                    <a:lnTo>
                      <a:pt x="3909" y="2769"/>
                    </a:lnTo>
                    <a:lnTo>
                      <a:pt x="3887" y="2810"/>
                    </a:lnTo>
                    <a:lnTo>
                      <a:pt x="3882" y="2810"/>
                    </a:lnTo>
                    <a:lnTo>
                      <a:pt x="3860" y="2832"/>
                    </a:lnTo>
                    <a:lnTo>
                      <a:pt x="3834" y="2858"/>
                    </a:lnTo>
                    <a:lnTo>
                      <a:pt x="3834" y="2861"/>
                    </a:lnTo>
                    <a:lnTo>
                      <a:pt x="3848" y="2858"/>
                    </a:lnTo>
                    <a:lnTo>
                      <a:pt x="3859" y="2851"/>
                    </a:lnTo>
                    <a:lnTo>
                      <a:pt x="3859" y="2847"/>
                    </a:lnTo>
                    <a:lnTo>
                      <a:pt x="3864" y="2845"/>
                    </a:lnTo>
                    <a:lnTo>
                      <a:pt x="3879" y="2827"/>
                    </a:lnTo>
                    <a:lnTo>
                      <a:pt x="3888" y="2814"/>
                    </a:lnTo>
                    <a:lnTo>
                      <a:pt x="3898" y="2805"/>
                    </a:lnTo>
                    <a:lnTo>
                      <a:pt x="3908" y="2794"/>
                    </a:lnTo>
                    <a:lnTo>
                      <a:pt x="3920" y="2770"/>
                    </a:lnTo>
                    <a:lnTo>
                      <a:pt x="3930" y="2761"/>
                    </a:lnTo>
                    <a:lnTo>
                      <a:pt x="3952" y="2739"/>
                    </a:lnTo>
                    <a:lnTo>
                      <a:pt x="3958" y="2735"/>
                    </a:lnTo>
                    <a:lnTo>
                      <a:pt x="3968" y="2733"/>
                    </a:lnTo>
                    <a:lnTo>
                      <a:pt x="3974" y="2726"/>
                    </a:lnTo>
                    <a:lnTo>
                      <a:pt x="3985" y="2718"/>
                    </a:lnTo>
                    <a:lnTo>
                      <a:pt x="3998" y="2713"/>
                    </a:lnTo>
                    <a:lnTo>
                      <a:pt x="4030" y="2694"/>
                    </a:lnTo>
                    <a:lnTo>
                      <a:pt x="4084" y="2670"/>
                    </a:lnTo>
                    <a:lnTo>
                      <a:pt x="4114" y="2663"/>
                    </a:lnTo>
                    <a:lnTo>
                      <a:pt x="4128" y="2664"/>
                    </a:lnTo>
                    <a:lnTo>
                      <a:pt x="4139" y="2662"/>
                    </a:lnTo>
                    <a:lnTo>
                      <a:pt x="4167" y="2664"/>
                    </a:lnTo>
                    <a:lnTo>
                      <a:pt x="4194" y="2676"/>
                    </a:lnTo>
                    <a:lnTo>
                      <a:pt x="4207" y="2685"/>
                    </a:lnTo>
                    <a:lnTo>
                      <a:pt x="4214" y="2701"/>
                    </a:lnTo>
                    <a:lnTo>
                      <a:pt x="4207" y="2697"/>
                    </a:lnTo>
                    <a:lnTo>
                      <a:pt x="4205" y="2700"/>
                    </a:lnTo>
                    <a:lnTo>
                      <a:pt x="4211" y="2707"/>
                    </a:lnTo>
                    <a:lnTo>
                      <a:pt x="4211" y="2723"/>
                    </a:lnTo>
                    <a:lnTo>
                      <a:pt x="4200" y="2733"/>
                    </a:lnTo>
                    <a:lnTo>
                      <a:pt x="4176" y="2753"/>
                    </a:lnTo>
                    <a:lnTo>
                      <a:pt x="4160" y="2761"/>
                    </a:lnTo>
                    <a:lnTo>
                      <a:pt x="4141" y="2760"/>
                    </a:lnTo>
                    <a:lnTo>
                      <a:pt x="4126" y="2753"/>
                    </a:lnTo>
                    <a:lnTo>
                      <a:pt x="4105" y="2756"/>
                    </a:lnTo>
                    <a:lnTo>
                      <a:pt x="4089" y="2762"/>
                    </a:lnTo>
                    <a:lnTo>
                      <a:pt x="4085" y="2765"/>
                    </a:lnTo>
                    <a:lnTo>
                      <a:pt x="4100" y="2765"/>
                    </a:lnTo>
                    <a:lnTo>
                      <a:pt x="4127" y="2773"/>
                    </a:lnTo>
                    <a:lnTo>
                      <a:pt x="4132" y="2787"/>
                    </a:lnTo>
                    <a:lnTo>
                      <a:pt x="4137" y="2791"/>
                    </a:lnTo>
                    <a:lnTo>
                      <a:pt x="4166" y="2776"/>
                    </a:lnTo>
                    <a:lnTo>
                      <a:pt x="4170" y="2777"/>
                    </a:lnTo>
                    <a:lnTo>
                      <a:pt x="4168" y="2782"/>
                    </a:lnTo>
                    <a:lnTo>
                      <a:pt x="4177" y="2783"/>
                    </a:lnTo>
                    <a:lnTo>
                      <a:pt x="4183" y="2788"/>
                    </a:lnTo>
                    <a:lnTo>
                      <a:pt x="4182" y="2798"/>
                    </a:lnTo>
                    <a:lnTo>
                      <a:pt x="4173" y="2823"/>
                    </a:lnTo>
                    <a:lnTo>
                      <a:pt x="4157" y="2839"/>
                    </a:lnTo>
                    <a:lnTo>
                      <a:pt x="4157" y="2841"/>
                    </a:lnTo>
                    <a:lnTo>
                      <a:pt x="4165" y="2840"/>
                    </a:lnTo>
                    <a:lnTo>
                      <a:pt x="4180" y="2842"/>
                    </a:lnTo>
                    <a:lnTo>
                      <a:pt x="4178" y="2862"/>
                    </a:lnTo>
                    <a:lnTo>
                      <a:pt x="4180" y="2870"/>
                    </a:lnTo>
                    <a:lnTo>
                      <a:pt x="4184" y="2879"/>
                    </a:lnTo>
                    <a:lnTo>
                      <a:pt x="4188" y="2889"/>
                    </a:lnTo>
                    <a:lnTo>
                      <a:pt x="4193" y="2896"/>
                    </a:lnTo>
                    <a:lnTo>
                      <a:pt x="4199" y="2902"/>
                    </a:lnTo>
                    <a:lnTo>
                      <a:pt x="4198" y="2906"/>
                    </a:lnTo>
                    <a:lnTo>
                      <a:pt x="4215" y="2907"/>
                    </a:lnTo>
                    <a:lnTo>
                      <a:pt x="4236" y="2917"/>
                    </a:lnTo>
                    <a:lnTo>
                      <a:pt x="4240" y="2921"/>
                    </a:lnTo>
                    <a:lnTo>
                      <a:pt x="4231" y="2926"/>
                    </a:lnTo>
                    <a:lnTo>
                      <a:pt x="4230" y="2932"/>
                    </a:lnTo>
                    <a:lnTo>
                      <a:pt x="4239" y="2936"/>
                    </a:lnTo>
                    <a:lnTo>
                      <a:pt x="4250" y="2937"/>
                    </a:lnTo>
                    <a:lnTo>
                      <a:pt x="4266" y="2943"/>
                    </a:lnTo>
                    <a:lnTo>
                      <a:pt x="4294" y="2947"/>
                    </a:lnTo>
                    <a:lnTo>
                      <a:pt x="4297" y="2953"/>
                    </a:lnTo>
                    <a:lnTo>
                      <a:pt x="4320" y="2950"/>
                    </a:lnTo>
                    <a:lnTo>
                      <a:pt x="4339" y="2937"/>
                    </a:lnTo>
                    <a:lnTo>
                      <a:pt x="4344" y="2947"/>
                    </a:lnTo>
                    <a:lnTo>
                      <a:pt x="4342" y="2955"/>
                    </a:lnTo>
                    <a:lnTo>
                      <a:pt x="4348" y="2954"/>
                    </a:lnTo>
                    <a:lnTo>
                      <a:pt x="4358" y="2955"/>
                    </a:lnTo>
                    <a:lnTo>
                      <a:pt x="4368" y="2954"/>
                    </a:lnTo>
                    <a:lnTo>
                      <a:pt x="4375" y="2963"/>
                    </a:lnTo>
                    <a:lnTo>
                      <a:pt x="4379" y="2968"/>
                    </a:lnTo>
                    <a:lnTo>
                      <a:pt x="4372" y="2971"/>
                    </a:lnTo>
                    <a:lnTo>
                      <a:pt x="4371" y="2977"/>
                    </a:lnTo>
                    <a:lnTo>
                      <a:pt x="4387" y="2979"/>
                    </a:lnTo>
                    <a:lnTo>
                      <a:pt x="4391" y="2981"/>
                    </a:lnTo>
                    <a:lnTo>
                      <a:pt x="4385" y="2986"/>
                    </a:lnTo>
                    <a:lnTo>
                      <a:pt x="4375" y="2985"/>
                    </a:lnTo>
                    <a:lnTo>
                      <a:pt x="4366" y="2991"/>
                    </a:lnTo>
                    <a:lnTo>
                      <a:pt x="4359" y="2988"/>
                    </a:lnTo>
                    <a:lnTo>
                      <a:pt x="4345" y="2997"/>
                    </a:lnTo>
                    <a:lnTo>
                      <a:pt x="4325" y="3006"/>
                    </a:lnTo>
                    <a:lnTo>
                      <a:pt x="4316" y="3012"/>
                    </a:lnTo>
                    <a:lnTo>
                      <a:pt x="4311" y="3013"/>
                    </a:lnTo>
                    <a:lnTo>
                      <a:pt x="4309" y="3018"/>
                    </a:lnTo>
                    <a:lnTo>
                      <a:pt x="4300" y="3017"/>
                    </a:lnTo>
                    <a:lnTo>
                      <a:pt x="4289" y="3025"/>
                    </a:lnTo>
                    <a:lnTo>
                      <a:pt x="4279" y="3026"/>
                    </a:lnTo>
                    <a:lnTo>
                      <a:pt x="4277" y="3024"/>
                    </a:lnTo>
                    <a:lnTo>
                      <a:pt x="4269" y="3028"/>
                    </a:lnTo>
                    <a:lnTo>
                      <a:pt x="4262" y="3033"/>
                    </a:lnTo>
                    <a:lnTo>
                      <a:pt x="4250" y="3028"/>
                    </a:lnTo>
                    <a:lnTo>
                      <a:pt x="4252" y="3041"/>
                    </a:lnTo>
                    <a:lnTo>
                      <a:pt x="4251" y="3046"/>
                    </a:lnTo>
                    <a:lnTo>
                      <a:pt x="4239" y="3046"/>
                    </a:lnTo>
                    <a:lnTo>
                      <a:pt x="4232" y="3038"/>
                    </a:lnTo>
                    <a:lnTo>
                      <a:pt x="4232" y="3033"/>
                    </a:lnTo>
                    <a:lnTo>
                      <a:pt x="4224" y="3046"/>
                    </a:lnTo>
                    <a:lnTo>
                      <a:pt x="4220" y="3038"/>
                    </a:lnTo>
                    <a:lnTo>
                      <a:pt x="4215" y="3047"/>
                    </a:lnTo>
                    <a:lnTo>
                      <a:pt x="4213" y="3061"/>
                    </a:lnTo>
                    <a:lnTo>
                      <a:pt x="4203" y="3068"/>
                    </a:lnTo>
                    <a:lnTo>
                      <a:pt x="4189" y="3085"/>
                    </a:lnTo>
                    <a:lnTo>
                      <a:pt x="4187" y="3090"/>
                    </a:lnTo>
                    <a:lnTo>
                      <a:pt x="4176" y="3095"/>
                    </a:lnTo>
                    <a:lnTo>
                      <a:pt x="4170" y="3108"/>
                    </a:lnTo>
                    <a:lnTo>
                      <a:pt x="4162" y="3104"/>
                    </a:lnTo>
                    <a:lnTo>
                      <a:pt x="4156" y="3106"/>
                    </a:lnTo>
                    <a:lnTo>
                      <a:pt x="4155" y="3117"/>
                    </a:lnTo>
                    <a:lnTo>
                      <a:pt x="4149" y="3121"/>
                    </a:lnTo>
                    <a:lnTo>
                      <a:pt x="4145" y="3121"/>
                    </a:lnTo>
                    <a:lnTo>
                      <a:pt x="4134" y="3119"/>
                    </a:lnTo>
                    <a:lnTo>
                      <a:pt x="4129" y="3105"/>
                    </a:lnTo>
                    <a:lnTo>
                      <a:pt x="4124" y="3098"/>
                    </a:lnTo>
                    <a:lnTo>
                      <a:pt x="4116" y="3098"/>
                    </a:lnTo>
                    <a:lnTo>
                      <a:pt x="4111" y="3083"/>
                    </a:lnTo>
                    <a:lnTo>
                      <a:pt x="4110" y="3068"/>
                    </a:lnTo>
                    <a:lnTo>
                      <a:pt x="4112" y="3056"/>
                    </a:lnTo>
                    <a:lnTo>
                      <a:pt x="4124" y="3038"/>
                    </a:lnTo>
                    <a:lnTo>
                      <a:pt x="4119" y="3044"/>
                    </a:lnTo>
                    <a:lnTo>
                      <a:pt x="4108" y="3050"/>
                    </a:lnTo>
                    <a:lnTo>
                      <a:pt x="4111" y="3042"/>
                    </a:lnTo>
                    <a:lnTo>
                      <a:pt x="4127" y="3030"/>
                    </a:lnTo>
                    <a:lnTo>
                      <a:pt x="4133" y="3031"/>
                    </a:lnTo>
                    <a:lnTo>
                      <a:pt x="4143" y="3026"/>
                    </a:lnTo>
                    <a:lnTo>
                      <a:pt x="4143" y="3020"/>
                    </a:lnTo>
                    <a:lnTo>
                      <a:pt x="4166" y="3004"/>
                    </a:lnTo>
                    <a:lnTo>
                      <a:pt x="4189" y="2990"/>
                    </a:lnTo>
                    <a:lnTo>
                      <a:pt x="4203" y="2982"/>
                    </a:lnTo>
                    <a:lnTo>
                      <a:pt x="4207" y="2987"/>
                    </a:lnTo>
                    <a:lnTo>
                      <a:pt x="4209" y="2995"/>
                    </a:lnTo>
                    <a:lnTo>
                      <a:pt x="4218" y="2999"/>
                    </a:lnTo>
                    <a:lnTo>
                      <a:pt x="4227" y="2988"/>
                    </a:lnTo>
                    <a:lnTo>
                      <a:pt x="4237" y="2983"/>
                    </a:lnTo>
                    <a:lnTo>
                      <a:pt x="4261" y="2980"/>
                    </a:lnTo>
                    <a:lnTo>
                      <a:pt x="4262" y="2975"/>
                    </a:lnTo>
                    <a:lnTo>
                      <a:pt x="4247" y="2974"/>
                    </a:lnTo>
                    <a:lnTo>
                      <a:pt x="4232" y="2977"/>
                    </a:lnTo>
                    <a:lnTo>
                      <a:pt x="4207" y="2972"/>
                    </a:lnTo>
                    <a:lnTo>
                      <a:pt x="4194" y="2979"/>
                    </a:lnTo>
                    <a:lnTo>
                      <a:pt x="4183" y="2980"/>
                    </a:lnTo>
                    <a:lnTo>
                      <a:pt x="4182" y="2968"/>
                    </a:lnTo>
                    <a:lnTo>
                      <a:pt x="4196" y="2958"/>
                    </a:lnTo>
                    <a:lnTo>
                      <a:pt x="4207" y="2943"/>
                    </a:lnTo>
                    <a:lnTo>
                      <a:pt x="4199" y="2943"/>
                    </a:lnTo>
                    <a:lnTo>
                      <a:pt x="4197" y="2936"/>
                    </a:lnTo>
                    <a:lnTo>
                      <a:pt x="4187" y="2953"/>
                    </a:lnTo>
                    <a:lnTo>
                      <a:pt x="4176" y="2955"/>
                    </a:lnTo>
                    <a:lnTo>
                      <a:pt x="4144" y="2980"/>
                    </a:lnTo>
                    <a:lnTo>
                      <a:pt x="4134" y="2985"/>
                    </a:lnTo>
                    <a:lnTo>
                      <a:pt x="4124" y="2986"/>
                    </a:lnTo>
                    <a:lnTo>
                      <a:pt x="4116" y="2985"/>
                    </a:lnTo>
                    <a:lnTo>
                      <a:pt x="4110" y="2991"/>
                    </a:lnTo>
                    <a:lnTo>
                      <a:pt x="4101" y="2996"/>
                    </a:lnTo>
                    <a:lnTo>
                      <a:pt x="4079" y="2999"/>
                    </a:lnTo>
                    <a:lnTo>
                      <a:pt x="4074" y="2998"/>
                    </a:lnTo>
                    <a:lnTo>
                      <a:pt x="4068" y="2995"/>
                    </a:lnTo>
                    <a:lnTo>
                      <a:pt x="4058" y="2992"/>
                    </a:lnTo>
                    <a:lnTo>
                      <a:pt x="4057" y="2996"/>
                    </a:lnTo>
                    <a:lnTo>
                      <a:pt x="4052" y="2996"/>
                    </a:lnTo>
                    <a:lnTo>
                      <a:pt x="4043" y="2995"/>
                    </a:lnTo>
                    <a:lnTo>
                      <a:pt x="4035" y="2988"/>
                    </a:lnTo>
                    <a:lnTo>
                      <a:pt x="4032" y="2983"/>
                    </a:lnTo>
                    <a:lnTo>
                      <a:pt x="4031" y="2979"/>
                    </a:lnTo>
                    <a:lnTo>
                      <a:pt x="4031" y="2963"/>
                    </a:lnTo>
                    <a:lnTo>
                      <a:pt x="4016" y="2955"/>
                    </a:lnTo>
                    <a:lnTo>
                      <a:pt x="4016" y="2899"/>
                    </a:lnTo>
                    <a:lnTo>
                      <a:pt x="4016" y="2848"/>
                    </a:lnTo>
                    <a:lnTo>
                      <a:pt x="3990" y="2823"/>
                    </a:lnTo>
                    <a:lnTo>
                      <a:pt x="3983" y="2823"/>
                    </a:lnTo>
                    <a:lnTo>
                      <a:pt x="3976" y="2834"/>
                    </a:lnTo>
                    <a:lnTo>
                      <a:pt x="3958" y="2837"/>
                    </a:lnTo>
                    <a:lnTo>
                      <a:pt x="3946" y="2832"/>
                    </a:lnTo>
                    <a:lnTo>
                      <a:pt x="3944" y="2829"/>
                    </a:lnTo>
                    <a:lnTo>
                      <a:pt x="3941" y="2823"/>
                    </a:lnTo>
                    <a:lnTo>
                      <a:pt x="3934" y="2816"/>
                    </a:lnTo>
                    <a:lnTo>
                      <a:pt x="3928" y="2815"/>
                    </a:lnTo>
                    <a:lnTo>
                      <a:pt x="3922" y="2819"/>
                    </a:lnTo>
                    <a:lnTo>
                      <a:pt x="3895" y="2864"/>
                    </a:lnTo>
                    <a:lnTo>
                      <a:pt x="3891" y="2888"/>
                    </a:lnTo>
                    <a:lnTo>
                      <a:pt x="3885" y="2900"/>
                    </a:lnTo>
                    <a:lnTo>
                      <a:pt x="3884" y="2906"/>
                    </a:lnTo>
                    <a:lnTo>
                      <a:pt x="3879" y="2915"/>
                    </a:lnTo>
                    <a:lnTo>
                      <a:pt x="3876" y="2922"/>
                    </a:lnTo>
                    <a:lnTo>
                      <a:pt x="3872" y="2958"/>
                    </a:lnTo>
                    <a:lnTo>
                      <a:pt x="3871" y="2960"/>
                    </a:lnTo>
                    <a:lnTo>
                      <a:pt x="3864" y="2965"/>
                    </a:lnTo>
                    <a:lnTo>
                      <a:pt x="3861" y="2970"/>
                    </a:lnTo>
                    <a:lnTo>
                      <a:pt x="3860" y="2975"/>
                    </a:lnTo>
                    <a:lnTo>
                      <a:pt x="3861" y="2981"/>
                    </a:lnTo>
                    <a:lnTo>
                      <a:pt x="3861" y="2983"/>
                    </a:lnTo>
                    <a:lnTo>
                      <a:pt x="3854" y="2980"/>
                    </a:lnTo>
                    <a:lnTo>
                      <a:pt x="3853" y="2981"/>
                    </a:lnTo>
                    <a:lnTo>
                      <a:pt x="3853" y="2987"/>
                    </a:lnTo>
                    <a:lnTo>
                      <a:pt x="3842" y="2983"/>
                    </a:lnTo>
                    <a:lnTo>
                      <a:pt x="3833" y="2986"/>
                    </a:lnTo>
                    <a:lnTo>
                      <a:pt x="3831" y="2988"/>
                    </a:lnTo>
                    <a:lnTo>
                      <a:pt x="3818" y="2990"/>
                    </a:lnTo>
                    <a:lnTo>
                      <a:pt x="3815" y="2993"/>
                    </a:lnTo>
                    <a:lnTo>
                      <a:pt x="3809" y="3009"/>
                    </a:lnTo>
                    <a:lnTo>
                      <a:pt x="3807" y="3009"/>
                    </a:lnTo>
                    <a:lnTo>
                      <a:pt x="3709" y="3009"/>
                    </a:lnTo>
                    <a:lnTo>
                      <a:pt x="3634" y="3009"/>
                    </a:lnTo>
                    <a:lnTo>
                      <a:pt x="3619" y="3009"/>
                    </a:lnTo>
                    <a:lnTo>
                      <a:pt x="3603" y="3024"/>
                    </a:lnTo>
                    <a:lnTo>
                      <a:pt x="3584" y="3035"/>
                    </a:lnTo>
                    <a:lnTo>
                      <a:pt x="3581" y="3040"/>
                    </a:lnTo>
                    <a:lnTo>
                      <a:pt x="3580" y="3041"/>
                    </a:lnTo>
                    <a:lnTo>
                      <a:pt x="3567" y="3056"/>
                    </a:lnTo>
                    <a:lnTo>
                      <a:pt x="3554" y="3058"/>
                    </a:lnTo>
                    <a:lnTo>
                      <a:pt x="3524" y="3072"/>
                    </a:lnTo>
                    <a:lnTo>
                      <a:pt x="3514" y="3078"/>
                    </a:lnTo>
                    <a:lnTo>
                      <a:pt x="3511" y="3071"/>
                    </a:lnTo>
                    <a:lnTo>
                      <a:pt x="3508" y="3071"/>
                    </a:lnTo>
                    <a:lnTo>
                      <a:pt x="3499" y="3072"/>
                    </a:lnTo>
                    <a:lnTo>
                      <a:pt x="3498" y="3076"/>
                    </a:lnTo>
                    <a:lnTo>
                      <a:pt x="3503" y="3076"/>
                    </a:lnTo>
                    <a:lnTo>
                      <a:pt x="3509" y="3087"/>
                    </a:lnTo>
                    <a:lnTo>
                      <a:pt x="3510" y="3092"/>
                    </a:lnTo>
                    <a:lnTo>
                      <a:pt x="3501" y="3093"/>
                    </a:lnTo>
                    <a:lnTo>
                      <a:pt x="3497" y="3089"/>
                    </a:lnTo>
                    <a:lnTo>
                      <a:pt x="3485" y="3088"/>
                    </a:lnTo>
                    <a:lnTo>
                      <a:pt x="3479" y="3085"/>
                    </a:lnTo>
                    <a:lnTo>
                      <a:pt x="3466" y="3084"/>
                    </a:lnTo>
                    <a:lnTo>
                      <a:pt x="3449" y="3085"/>
                    </a:lnTo>
                    <a:lnTo>
                      <a:pt x="3392" y="3103"/>
                    </a:lnTo>
                    <a:lnTo>
                      <a:pt x="3377" y="3114"/>
                    </a:lnTo>
                    <a:lnTo>
                      <a:pt x="3371" y="3119"/>
                    </a:lnTo>
                    <a:lnTo>
                      <a:pt x="3369" y="3125"/>
                    </a:lnTo>
                    <a:lnTo>
                      <a:pt x="3358" y="3138"/>
                    </a:lnTo>
                    <a:lnTo>
                      <a:pt x="3380" y="3146"/>
                    </a:lnTo>
                    <a:lnTo>
                      <a:pt x="3388" y="3143"/>
                    </a:lnTo>
                    <a:lnTo>
                      <a:pt x="3398" y="3142"/>
                    </a:lnTo>
                    <a:lnTo>
                      <a:pt x="3401" y="3152"/>
                    </a:lnTo>
                    <a:lnTo>
                      <a:pt x="3406" y="3159"/>
                    </a:lnTo>
                    <a:lnTo>
                      <a:pt x="3408" y="3171"/>
                    </a:lnTo>
                    <a:lnTo>
                      <a:pt x="3386" y="3168"/>
                    </a:lnTo>
                    <a:lnTo>
                      <a:pt x="3379" y="3168"/>
                    </a:lnTo>
                    <a:lnTo>
                      <a:pt x="3368" y="3169"/>
                    </a:lnTo>
                    <a:lnTo>
                      <a:pt x="3363" y="3169"/>
                    </a:lnTo>
                    <a:lnTo>
                      <a:pt x="3344" y="3173"/>
                    </a:lnTo>
                    <a:lnTo>
                      <a:pt x="3332" y="3178"/>
                    </a:lnTo>
                    <a:lnTo>
                      <a:pt x="3317" y="3191"/>
                    </a:lnTo>
                    <a:lnTo>
                      <a:pt x="3305" y="3187"/>
                    </a:lnTo>
                    <a:lnTo>
                      <a:pt x="3285" y="3184"/>
                    </a:lnTo>
                    <a:lnTo>
                      <a:pt x="3266" y="3190"/>
                    </a:lnTo>
                    <a:lnTo>
                      <a:pt x="3261" y="3194"/>
                    </a:lnTo>
                    <a:lnTo>
                      <a:pt x="3256" y="3196"/>
                    </a:lnTo>
                    <a:lnTo>
                      <a:pt x="3248" y="3211"/>
                    </a:lnTo>
                    <a:lnTo>
                      <a:pt x="3246" y="3209"/>
                    </a:lnTo>
                    <a:lnTo>
                      <a:pt x="3234" y="3214"/>
                    </a:lnTo>
                    <a:lnTo>
                      <a:pt x="3228" y="3219"/>
                    </a:lnTo>
                    <a:lnTo>
                      <a:pt x="3218" y="3227"/>
                    </a:lnTo>
                    <a:lnTo>
                      <a:pt x="3213" y="3232"/>
                    </a:lnTo>
                    <a:lnTo>
                      <a:pt x="3212" y="3236"/>
                    </a:lnTo>
                    <a:lnTo>
                      <a:pt x="3197" y="3233"/>
                    </a:lnTo>
                    <a:lnTo>
                      <a:pt x="3191" y="3235"/>
                    </a:lnTo>
                    <a:lnTo>
                      <a:pt x="3175" y="3234"/>
                    </a:lnTo>
                    <a:lnTo>
                      <a:pt x="3175" y="3223"/>
                    </a:lnTo>
                    <a:lnTo>
                      <a:pt x="3180" y="3211"/>
                    </a:lnTo>
                    <a:lnTo>
                      <a:pt x="3186" y="3206"/>
                    </a:lnTo>
                    <a:lnTo>
                      <a:pt x="3187" y="3209"/>
                    </a:lnTo>
                    <a:lnTo>
                      <a:pt x="3198" y="3212"/>
                    </a:lnTo>
                    <a:lnTo>
                      <a:pt x="3207" y="3211"/>
                    </a:lnTo>
                    <a:lnTo>
                      <a:pt x="3210" y="3208"/>
                    </a:lnTo>
                    <a:lnTo>
                      <a:pt x="3212" y="3205"/>
                    </a:lnTo>
                    <a:lnTo>
                      <a:pt x="3213" y="3201"/>
                    </a:lnTo>
                    <a:lnTo>
                      <a:pt x="3212" y="3197"/>
                    </a:lnTo>
                    <a:lnTo>
                      <a:pt x="3207" y="3195"/>
                    </a:lnTo>
                    <a:lnTo>
                      <a:pt x="3205" y="3187"/>
                    </a:lnTo>
                    <a:lnTo>
                      <a:pt x="3205" y="3187"/>
                    </a:lnTo>
                    <a:lnTo>
                      <a:pt x="3213" y="3160"/>
                    </a:lnTo>
                    <a:lnTo>
                      <a:pt x="3213" y="3153"/>
                    </a:lnTo>
                    <a:lnTo>
                      <a:pt x="3223" y="3153"/>
                    </a:lnTo>
                    <a:lnTo>
                      <a:pt x="3228" y="3148"/>
                    </a:lnTo>
                    <a:lnTo>
                      <a:pt x="3230" y="3143"/>
                    </a:lnTo>
                    <a:lnTo>
                      <a:pt x="3239" y="3142"/>
                    </a:lnTo>
                    <a:lnTo>
                      <a:pt x="3247" y="3132"/>
                    </a:lnTo>
                    <a:lnTo>
                      <a:pt x="3251" y="3116"/>
                    </a:lnTo>
                    <a:lnTo>
                      <a:pt x="3250" y="3100"/>
                    </a:lnTo>
                    <a:lnTo>
                      <a:pt x="3248" y="3084"/>
                    </a:lnTo>
                    <a:lnTo>
                      <a:pt x="3248" y="3072"/>
                    </a:lnTo>
                    <a:lnTo>
                      <a:pt x="3266" y="3044"/>
                    </a:lnTo>
                    <a:lnTo>
                      <a:pt x="3269" y="3035"/>
                    </a:lnTo>
                    <a:lnTo>
                      <a:pt x="3271" y="3028"/>
                    </a:lnTo>
                    <a:lnTo>
                      <a:pt x="3271" y="3020"/>
                    </a:lnTo>
                    <a:lnTo>
                      <a:pt x="3267" y="3008"/>
                    </a:lnTo>
                    <a:lnTo>
                      <a:pt x="3261" y="2995"/>
                    </a:lnTo>
                    <a:lnTo>
                      <a:pt x="3257" y="2993"/>
                    </a:lnTo>
                    <a:lnTo>
                      <a:pt x="3255" y="2987"/>
                    </a:lnTo>
                    <a:lnTo>
                      <a:pt x="3257" y="2986"/>
                    </a:lnTo>
                    <a:lnTo>
                      <a:pt x="3273" y="2988"/>
                    </a:lnTo>
                    <a:lnTo>
                      <a:pt x="3275" y="3002"/>
                    </a:lnTo>
                    <a:lnTo>
                      <a:pt x="3282" y="3014"/>
                    </a:lnTo>
                    <a:lnTo>
                      <a:pt x="3284" y="3015"/>
                    </a:lnTo>
                    <a:lnTo>
                      <a:pt x="3286" y="3012"/>
                    </a:lnTo>
                    <a:lnTo>
                      <a:pt x="3290" y="3009"/>
                    </a:lnTo>
                    <a:lnTo>
                      <a:pt x="3288" y="3023"/>
                    </a:lnTo>
                    <a:lnTo>
                      <a:pt x="3293" y="3023"/>
                    </a:lnTo>
                    <a:lnTo>
                      <a:pt x="3294" y="3031"/>
                    </a:lnTo>
                    <a:lnTo>
                      <a:pt x="3294" y="3038"/>
                    </a:lnTo>
                    <a:lnTo>
                      <a:pt x="3302" y="3029"/>
                    </a:lnTo>
                    <a:lnTo>
                      <a:pt x="3305" y="3028"/>
                    </a:lnTo>
                    <a:lnTo>
                      <a:pt x="3310" y="3036"/>
                    </a:lnTo>
                    <a:lnTo>
                      <a:pt x="3315" y="3039"/>
                    </a:lnTo>
                    <a:lnTo>
                      <a:pt x="3327" y="3044"/>
                    </a:lnTo>
                    <a:lnTo>
                      <a:pt x="3342" y="3044"/>
                    </a:lnTo>
                    <a:lnTo>
                      <a:pt x="3345" y="3038"/>
                    </a:lnTo>
                    <a:lnTo>
                      <a:pt x="3345" y="3033"/>
                    </a:lnTo>
                    <a:lnTo>
                      <a:pt x="3341" y="3023"/>
                    </a:lnTo>
                    <a:lnTo>
                      <a:pt x="3342" y="3018"/>
                    </a:lnTo>
                    <a:lnTo>
                      <a:pt x="3344" y="3017"/>
                    </a:lnTo>
                    <a:lnTo>
                      <a:pt x="3350" y="3023"/>
                    </a:lnTo>
                    <a:lnTo>
                      <a:pt x="3359" y="3023"/>
                    </a:lnTo>
                    <a:lnTo>
                      <a:pt x="3363" y="3020"/>
                    </a:lnTo>
                    <a:lnTo>
                      <a:pt x="3363" y="3019"/>
                    </a:lnTo>
                    <a:lnTo>
                      <a:pt x="3361" y="3015"/>
                    </a:lnTo>
                    <a:lnTo>
                      <a:pt x="3360" y="3013"/>
                    </a:lnTo>
                    <a:lnTo>
                      <a:pt x="3350" y="3009"/>
                    </a:lnTo>
                    <a:lnTo>
                      <a:pt x="3343" y="2997"/>
                    </a:lnTo>
                    <a:lnTo>
                      <a:pt x="3345" y="2995"/>
                    </a:lnTo>
                    <a:lnTo>
                      <a:pt x="3343" y="2986"/>
                    </a:lnTo>
                    <a:lnTo>
                      <a:pt x="3343" y="2979"/>
                    </a:lnTo>
                    <a:lnTo>
                      <a:pt x="3337" y="2979"/>
                    </a:lnTo>
                    <a:lnTo>
                      <a:pt x="3331" y="2975"/>
                    </a:lnTo>
                    <a:lnTo>
                      <a:pt x="3326" y="2968"/>
                    </a:lnTo>
                    <a:lnTo>
                      <a:pt x="3316" y="2960"/>
                    </a:lnTo>
                    <a:lnTo>
                      <a:pt x="3311" y="2942"/>
                    </a:lnTo>
                    <a:lnTo>
                      <a:pt x="3301" y="2936"/>
                    </a:lnTo>
                    <a:lnTo>
                      <a:pt x="3291" y="2933"/>
                    </a:lnTo>
                    <a:lnTo>
                      <a:pt x="3272" y="2931"/>
                    </a:lnTo>
                    <a:lnTo>
                      <a:pt x="3259" y="2933"/>
                    </a:lnTo>
                    <a:lnTo>
                      <a:pt x="3258" y="2928"/>
                    </a:lnTo>
                    <a:lnTo>
                      <a:pt x="3258" y="2923"/>
                    </a:lnTo>
                    <a:lnTo>
                      <a:pt x="3246" y="2925"/>
                    </a:lnTo>
                    <a:lnTo>
                      <a:pt x="3231" y="2923"/>
                    </a:lnTo>
                    <a:lnTo>
                      <a:pt x="3214" y="2920"/>
                    </a:lnTo>
                    <a:lnTo>
                      <a:pt x="3209" y="2917"/>
                    </a:lnTo>
                    <a:lnTo>
                      <a:pt x="3205" y="2918"/>
                    </a:lnTo>
                    <a:lnTo>
                      <a:pt x="3198" y="2917"/>
                    </a:lnTo>
                    <a:lnTo>
                      <a:pt x="3193" y="2912"/>
                    </a:lnTo>
                    <a:lnTo>
                      <a:pt x="3181" y="2915"/>
                    </a:lnTo>
                    <a:lnTo>
                      <a:pt x="3177" y="2917"/>
                    </a:lnTo>
                    <a:lnTo>
                      <a:pt x="3171" y="2916"/>
                    </a:lnTo>
                    <a:lnTo>
                      <a:pt x="3138" y="2904"/>
                    </a:lnTo>
                    <a:lnTo>
                      <a:pt x="3126" y="2905"/>
                    </a:lnTo>
                    <a:lnTo>
                      <a:pt x="3119" y="2906"/>
                    </a:lnTo>
                    <a:lnTo>
                      <a:pt x="3119" y="2899"/>
                    </a:lnTo>
                    <a:lnTo>
                      <a:pt x="3111" y="2884"/>
                    </a:lnTo>
                    <a:lnTo>
                      <a:pt x="3108" y="2882"/>
                    </a:lnTo>
                    <a:lnTo>
                      <a:pt x="3107" y="2883"/>
                    </a:lnTo>
                    <a:lnTo>
                      <a:pt x="3106" y="2886"/>
                    </a:lnTo>
                    <a:lnTo>
                      <a:pt x="3106" y="2891"/>
                    </a:lnTo>
                    <a:lnTo>
                      <a:pt x="3099" y="2891"/>
                    </a:lnTo>
                    <a:lnTo>
                      <a:pt x="3101" y="2890"/>
                    </a:lnTo>
                    <a:lnTo>
                      <a:pt x="3101" y="2889"/>
                    </a:lnTo>
                    <a:lnTo>
                      <a:pt x="3099" y="2888"/>
                    </a:lnTo>
                    <a:lnTo>
                      <a:pt x="3096" y="2880"/>
                    </a:lnTo>
                    <a:lnTo>
                      <a:pt x="3100" y="2873"/>
                    </a:lnTo>
                    <a:lnTo>
                      <a:pt x="3097" y="2873"/>
                    </a:lnTo>
                    <a:lnTo>
                      <a:pt x="3096" y="2868"/>
                    </a:lnTo>
                    <a:lnTo>
                      <a:pt x="3102" y="2861"/>
                    </a:lnTo>
                    <a:lnTo>
                      <a:pt x="3089" y="2853"/>
                    </a:lnTo>
                    <a:lnTo>
                      <a:pt x="3085" y="2840"/>
                    </a:lnTo>
                    <a:lnTo>
                      <a:pt x="3090" y="2824"/>
                    </a:lnTo>
                    <a:lnTo>
                      <a:pt x="3075" y="2805"/>
                    </a:lnTo>
                    <a:lnTo>
                      <a:pt x="3072" y="2798"/>
                    </a:lnTo>
                    <a:lnTo>
                      <a:pt x="3074" y="2781"/>
                    </a:lnTo>
                    <a:lnTo>
                      <a:pt x="3076" y="2770"/>
                    </a:lnTo>
                    <a:lnTo>
                      <a:pt x="3053" y="2773"/>
                    </a:lnTo>
                    <a:lnTo>
                      <a:pt x="3031" y="2775"/>
                    </a:lnTo>
                    <a:lnTo>
                      <a:pt x="3020" y="2766"/>
                    </a:lnTo>
                    <a:lnTo>
                      <a:pt x="3005" y="2733"/>
                    </a:lnTo>
                    <a:lnTo>
                      <a:pt x="2999" y="2717"/>
                    </a:lnTo>
                    <a:lnTo>
                      <a:pt x="2994" y="2710"/>
                    </a:lnTo>
                    <a:lnTo>
                      <a:pt x="2986" y="2710"/>
                    </a:lnTo>
                    <a:lnTo>
                      <a:pt x="2972" y="2705"/>
                    </a:lnTo>
                    <a:lnTo>
                      <a:pt x="2957" y="2705"/>
                    </a:lnTo>
                    <a:lnTo>
                      <a:pt x="2957" y="2744"/>
                    </a:lnTo>
                    <a:lnTo>
                      <a:pt x="2938" y="2699"/>
                    </a:lnTo>
                    <a:lnTo>
                      <a:pt x="2903" y="2686"/>
                    </a:lnTo>
                    <a:lnTo>
                      <a:pt x="2898" y="2690"/>
                    </a:lnTo>
                    <a:lnTo>
                      <a:pt x="2897" y="2692"/>
                    </a:lnTo>
                    <a:lnTo>
                      <a:pt x="2898" y="2712"/>
                    </a:lnTo>
                    <a:lnTo>
                      <a:pt x="2897" y="2716"/>
                    </a:lnTo>
                    <a:lnTo>
                      <a:pt x="2888" y="2722"/>
                    </a:lnTo>
                    <a:lnTo>
                      <a:pt x="2884" y="2730"/>
                    </a:lnTo>
                    <a:lnTo>
                      <a:pt x="2880" y="2733"/>
                    </a:lnTo>
                    <a:lnTo>
                      <a:pt x="2877" y="2726"/>
                    </a:lnTo>
                    <a:lnTo>
                      <a:pt x="2882" y="2716"/>
                    </a:lnTo>
                    <a:lnTo>
                      <a:pt x="2885" y="2707"/>
                    </a:lnTo>
                    <a:lnTo>
                      <a:pt x="2884" y="2702"/>
                    </a:lnTo>
                    <a:lnTo>
                      <a:pt x="2879" y="2711"/>
                    </a:lnTo>
                    <a:lnTo>
                      <a:pt x="2869" y="2734"/>
                    </a:lnTo>
                    <a:lnTo>
                      <a:pt x="2866" y="2738"/>
                    </a:lnTo>
                    <a:lnTo>
                      <a:pt x="2860" y="2740"/>
                    </a:lnTo>
                    <a:lnTo>
                      <a:pt x="2858" y="2732"/>
                    </a:lnTo>
                    <a:lnTo>
                      <a:pt x="2859" y="2721"/>
                    </a:lnTo>
                    <a:lnTo>
                      <a:pt x="2845" y="2738"/>
                    </a:lnTo>
                    <a:lnTo>
                      <a:pt x="2839" y="2753"/>
                    </a:lnTo>
                    <a:lnTo>
                      <a:pt x="2834" y="2756"/>
                    </a:lnTo>
                    <a:lnTo>
                      <a:pt x="2833" y="2761"/>
                    </a:lnTo>
                    <a:lnTo>
                      <a:pt x="2812" y="2771"/>
                    </a:lnTo>
                    <a:lnTo>
                      <a:pt x="2807" y="2771"/>
                    </a:lnTo>
                    <a:lnTo>
                      <a:pt x="2793" y="2764"/>
                    </a:lnTo>
                    <a:lnTo>
                      <a:pt x="2767" y="2764"/>
                    </a:lnTo>
                    <a:lnTo>
                      <a:pt x="2750" y="2756"/>
                    </a:lnTo>
                    <a:lnTo>
                      <a:pt x="2741" y="2757"/>
                    </a:lnTo>
                    <a:lnTo>
                      <a:pt x="2728" y="2764"/>
                    </a:lnTo>
                    <a:lnTo>
                      <a:pt x="2721" y="2765"/>
                    </a:lnTo>
                    <a:lnTo>
                      <a:pt x="2709" y="2759"/>
                    </a:lnTo>
                    <a:lnTo>
                      <a:pt x="2702" y="2749"/>
                    </a:lnTo>
                    <a:lnTo>
                      <a:pt x="2689" y="2745"/>
                    </a:lnTo>
                    <a:lnTo>
                      <a:pt x="2682" y="2739"/>
                    </a:lnTo>
                    <a:lnTo>
                      <a:pt x="2673" y="2737"/>
                    </a:lnTo>
                    <a:lnTo>
                      <a:pt x="2669" y="2734"/>
                    </a:lnTo>
                    <a:lnTo>
                      <a:pt x="2662" y="2727"/>
                    </a:lnTo>
                    <a:lnTo>
                      <a:pt x="2654" y="2721"/>
                    </a:lnTo>
                    <a:lnTo>
                      <a:pt x="2644" y="2717"/>
                    </a:lnTo>
                    <a:lnTo>
                      <a:pt x="2618" y="2716"/>
                    </a:lnTo>
                    <a:lnTo>
                      <a:pt x="2610" y="2721"/>
                    </a:lnTo>
                    <a:lnTo>
                      <a:pt x="2599" y="2721"/>
                    </a:lnTo>
                    <a:lnTo>
                      <a:pt x="2592" y="2719"/>
                    </a:lnTo>
                    <a:lnTo>
                      <a:pt x="2592" y="2717"/>
                    </a:lnTo>
                    <a:lnTo>
                      <a:pt x="2590" y="2716"/>
                    </a:lnTo>
                    <a:lnTo>
                      <a:pt x="2576" y="2712"/>
                    </a:lnTo>
                    <a:lnTo>
                      <a:pt x="2572" y="2708"/>
                    </a:lnTo>
                    <a:lnTo>
                      <a:pt x="2562" y="2711"/>
                    </a:lnTo>
                    <a:lnTo>
                      <a:pt x="2558" y="2711"/>
                    </a:lnTo>
                    <a:lnTo>
                      <a:pt x="2557" y="2708"/>
                    </a:lnTo>
                    <a:lnTo>
                      <a:pt x="2548" y="2710"/>
                    </a:lnTo>
                    <a:lnTo>
                      <a:pt x="2540" y="2687"/>
                    </a:lnTo>
                    <a:lnTo>
                      <a:pt x="2537" y="2686"/>
                    </a:lnTo>
                    <a:lnTo>
                      <a:pt x="2526" y="2654"/>
                    </a:lnTo>
                    <a:lnTo>
                      <a:pt x="2519" y="2653"/>
                    </a:lnTo>
                    <a:lnTo>
                      <a:pt x="2514" y="2653"/>
                    </a:lnTo>
                    <a:lnTo>
                      <a:pt x="2514" y="2689"/>
                    </a:lnTo>
                    <a:lnTo>
                      <a:pt x="2455" y="2689"/>
                    </a:lnTo>
                    <a:lnTo>
                      <a:pt x="2400" y="2689"/>
                    </a:lnTo>
                    <a:lnTo>
                      <a:pt x="2388" y="2689"/>
                    </a:lnTo>
                    <a:lnTo>
                      <a:pt x="2342" y="2689"/>
                    </a:lnTo>
                    <a:lnTo>
                      <a:pt x="2294" y="2689"/>
                    </a:lnTo>
                    <a:lnTo>
                      <a:pt x="2241" y="2689"/>
                    </a:lnTo>
                    <a:lnTo>
                      <a:pt x="2191" y="2689"/>
                    </a:lnTo>
                    <a:lnTo>
                      <a:pt x="2174" y="2689"/>
                    </a:lnTo>
                    <a:lnTo>
                      <a:pt x="2027" y="2689"/>
                    </a:lnTo>
                    <a:lnTo>
                      <a:pt x="1983" y="2689"/>
                    </a:lnTo>
                    <a:lnTo>
                      <a:pt x="1929" y="2689"/>
                    </a:lnTo>
                    <a:lnTo>
                      <a:pt x="1880" y="2689"/>
                    </a:lnTo>
                    <a:lnTo>
                      <a:pt x="1833" y="2689"/>
                    </a:lnTo>
                    <a:lnTo>
                      <a:pt x="1785" y="2689"/>
                    </a:lnTo>
                    <a:lnTo>
                      <a:pt x="1731" y="2689"/>
                    </a:lnTo>
                    <a:lnTo>
                      <a:pt x="1699" y="2689"/>
                    </a:lnTo>
                    <a:lnTo>
                      <a:pt x="1650" y="2687"/>
                    </a:lnTo>
                    <a:lnTo>
                      <a:pt x="1596" y="2687"/>
                    </a:lnTo>
                    <a:lnTo>
                      <a:pt x="1546" y="2687"/>
                    </a:lnTo>
                    <a:lnTo>
                      <a:pt x="1477" y="2687"/>
                    </a:lnTo>
                    <a:lnTo>
                      <a:pt x="1368" y="2687"/>
                    </a:lnTo>
                    <a:lnTo>
                      <a:pt x="1315" y="2687"/>
                    </a:lnTo>
                    <a:lnTo>
                      <a:pt x="1262" y="2687"/>
                    </a:lnTo>
                    <a:lnTo>
                      <a:pt x="1217" y="2687"/>
                    </a:lnTo>
                    <a:lnTo>
                      <a:pt x="1167" y="2687"/>
                    </a:lnTo>
                    <a:lnTo>
                      <a:pt x="1115" y="2687"/>
                    </a:lnTo>
                    <a:lnTo>
                      <a:pt x="1064" y="2687"/>
                    </a:lnTo>
                    <a:lnTo>
                      <a:pt x="1002" y="2687"/>
                    </a:lnTo>
                    <a:lnTo>
                      <a:pt x="1000" y="2683"/>
                    </a:lnTo>
                    <a:lnTo>
                      <a:pt x="994" y="2679"/>
                    </a:lnTo>
                    <a:lnTo>
                      <a:pt x="989" y="2680"/>
                    </a:lnTo>
                    <a:lnTo>
                      <a:pt x="988" y="2678"/>
                    </a:lnTo>
                    <a:lnTo>
                      <a:pt x="989" y="2674"/>
                    </a:lnTo>
                    <a:lnTo>
                      <a:pt x="999" y="2670"/>
                    </a:lnTo>
                    <a:lnTo>
                      <a:pt x="1011" y="2671"/>
                    </a:lnTo>
                    <a:lnTo>
                      <a:pt x="1010" y="2665"/>
                    </a:lnTo>
                    <a:lnTo>
                      <a:pt x="1008" y="2665"/>
                    </a:lnTo>
                    <a:lnTo>
                      <a:pt x="1006" y="2663"/>
                    </a:lnTo>
                    <a:lnTo>
                      <a:pt x="1004" y="2662"/>
                    </a:lnTo>
                    <a:lnTo>
                      <a:pt x="992" y="2665"/>
                    </a:lnTo>
                    <a:lnTo>
                      <a:pt x="981" y="2664"/>
                    </a:lnTo>
                    <a:lnTo>
                      <a:pt x="979" y="2660"/>
                    </a:lnTo>
                    <a:lnTo>
                      <a:pt x="979" y="2659"/>
                    </a:lnTo>
                    <a:lnTo>
                      <a:pt x="977" y="2656"/>
                    </a:lnTo>
                    <a:lnTo>
                      <a:pt x="977" y="2652"/>
                    </a:lnTo>
                    <a:lnTo>
                      <a:pt x="979" y="2651"/>
                    </a:lnTo>
                    <a:lnTo>
                      <a:pt x="981" y="2626"/>
                    </a:lnTo>
                    <a:lnTo>
                      <a:pt x="976" y="2625"/>
                    </a:lnTo>
                    <a:lnTo>
                      <a:pt x="975" y="2630"/>
                    </a:lnTo>
                    <a:lnTo>
                      <a:pt x="966" y="2638"/>
                    </a:lnTo>
                    <a:lnTo>
                      <a:pt x="960" y="2649"/>
                    </a:lnTo>
                    <a:lnTo>
                      <a:pt x="955" y="2648"/>
                    </a:lnTo>
                    <a:lnTo>
                      <a:pt x="952" y="2641"/>
                    </a:lnTo>
                    <a:lnTo>
                      <a:pt x="952" y="2637"/>
                    </a:lnTo>
                    <a:lnTo>
                      <a:pt x="955" y="2626"/>
                    </a:lnTo>
                    <a:lnTo>
                      <a:pt x="949" y="2626"/>
                    </a:lnTo>
                    <a:lnTo>
                      <a:pt x="949" y="2621"/>
                    </a:lnTo>
                    <a:lnTo>
                      <a:pt x="946" y="2621"/>
                    </a:lnTo>
                    <a:lnTo>
                      <a:pt x="944" y="2616"/>
                    </a:lnTo>
                    <a:lnTo>
                      <a:pt x="944" y="2611"/>
                    </a:lnTo>
                    <a:lnTo>
                      <a:pt x="939" y="2606"/>
                    </a:lnTo>
                    <a:lnTo>
                      <a:pt x="936" y="2598"/>
                    </a:lnTo>
                    <a:lnTo>
                      <a:pt x="935" y="2600"/>
                    </a:lnTo>
                    <a:lnTo>
                      <a:pt x="938" y="2609"/>
                    </a:lnTo>
                    <a:lnTo>
                      <a:pt x="936" y="2614"/>
                    </a:lnTo>
                    <a:lnTo>
                      <a:pt x="930" y="2605"/>
                    </a:lnTo>
                    <a:lnTo>
                      <a:pt x="927" y="2615"/>
                    </a:lnTo>
                    <a:lnTo>
                      <a:pt x="923" y="2617"/>
                    </a:lnTo>
                    <a:lnTo>
                      <a:pt x="911" y="2617"/>
                    </a:lnTo>
                    <a:lnTo>
                      <a:pt x="902" y="2610"/>
                    </a:lnTo>
                    <a:lnTo>
                      <a:pt x="898" y="2605"/>
                    </a:lnTo>
                    <a:lnTo>
                      <a:pt x="892" y="2599"/>
                    </a:lnTo>
                    <a:lnTo>
                      <a:pt x="891" y="2594"/>
                    </a:lnTo>
                    <a:lnTo>
                      <a:pt x="898" y="2588"/>
                    </a:lnTo>
                    <a:lnTo>
                      <a:pt x="900" y="2584"/>
                    </a:lnTo>
                    <a:lnTo>
                      <a:pt x="900" y="2578"/>
                    </a:lnTo>
                    <a:lnTo>
                      <a:pt x="897" y="2573"/>
                    </a:lnTo>
                    <a:lnTo>
                      <a:pt x="900" y="2565"/>
                    </a:lnTo>
                    <a:lnTo>
                      <a:pt x="896" y="2563"/>
                    </a:lnTo>
                    <a:lnTo>
                      <a:pt x="890" y="2568"/>
                    </a:lnTo>
                    <a:lnTo>
                      <a:pt x="884" y="2570"/>
                    </a:lnTo>
                    <a:lnTo>
                      <a:pt x="880" y="2565"/>
                    </a:lnTo>
                    <a:lnTo>
                      <a:pt x="878" y="2555"/>
                    </a:lnTo>
                    <a:lnTo>
                      <a:pt x="875" y="2555"/>
                    </a:lnTo>
                    <a:lnTo>
                      <a:pt x="864" y="2561"/>
                    </a:lnTo>
                    <a:lnTo>
                      <a:pt x="853" y="2557"/>
                    </a:lnTo>
                    <a:lnTo>
                      <a:pt x="849" y="2560"/>
                    </a:lnTo>
                    <a:lnTo>
                      <a:pt x="842" y="2554"/>
                    </a:lnTo>
                    <a:lnTo>
                      <a:pt x="841" y="2558"/>
                    </a:lnTo>
                    <a:lnTo>
                      <a:pt x="837" y="2561"/>
                    </a:lnTo>
                    <a:lnTo>
                      <a:pt x="833" y="2557"/>
                    </a:lnTo>
                    <a:lnTo>
                      <a:pt x="803" y="2556"/>
                    </a:lnTo>
                    <a:lnTo>
                      <a:pt x="800" y="2552"/>
                    </a:lnTo>
                    <a:lnTo>
                      <a:pt x="826" y="2545"/>
                    </a:lnTo>
                    <a:lnTo>
                      <a:pt x="828" y="2541"/>
                    </a:lnTo>
                    <a:lnTo>
                      <a:pt x="816" y="2541"/>
                    </a:lnTo>
                    <a:lnTo>
                      <a:pt x="819" y="2531"/>
                    </a:lnTo>
                    <a:lnTo>
                      <a:pt x="809" y="2528"/>
                    </a:lnTo>
                    <a:lnTo>
                      <a:pt x="803" y="2527"/>
                    </a:lnTo>
                    <a:lnTo>
                      <a:pt x="803" y="2525"/>
                    </a:lnTo>
                    <a:lnTo>
                      <a:pt x="810" y="2525"/>
                    </a:lnTo>
                    <a:lnTo>
                      <a:pt x="815" y="2523"/>
                    </a:lnTo>
                    <a:lnTo>
                      <a:pt x="810" y="2517"/>
                    </a:lnTo>
                    <a:lnTo>
                      <a:pt x="794" y="2514"/>
                    </a:lnTo>
                    <a:lnTo>
                      <a:pt x="787" y="2522"/>
                    </a:lnTo>
                    <a:lnTo>
                      <a:pt x="783" y="2518"/>
                    </a:lnTo>
                    <a:lnTo>
                      <a:pt x="766" y="2517"/>
                    </a:lnTo>
                    <a:lnTo>
                      <a:pt x="764" y="2520"/>
                    </a:lnTo>
                    <a:lnTo>
                      <a:pt x="767" y="2524"/>
                    </a:lnTo>
                    <a:lnTo>
                      <a:pt x="762" y="2525"/>
                    </a:lnTo>
                    <a:lnTo>
                      <a:pt x="740" y="2514"/>
                    </a:lnTo>
                    <a:lnTo>
                      <a:pt x="731" y="2504"/>
                    </a:lnTo>
                    <a:lnTo>
                      <a:pt x="729" y="2498"/>
                    </a:lnTo>
                    <a:lnTo>
                      <a:pt x="729" y="2492"/>
                    </a:lnTo>
                    <a:lnTo>
                      <a:pt x="735" y="2490"/>
                    </a:lnTo>
                    <a:lnTo>
                      <a:pt x="741" y="2490"/>
                    </a:lnTo>
                    <a:lnTo>
                      <a:pt x="747" y="2487"/>
                    </a:lnTo>
                    <a:lnTo>
                      <a:pt x="745" y="2484"/>
                    </a:lnTo>
                    <a:lnTo>
                      <a:pt x="740" y="2481"/>
                    </a:lnTo>
                    <a:lnTo>
                      <a:pt x="729" y="2484"/>
                    </a:lnTo>
                    <a:lnTo>
                      <a:pt x="730" y="2479"/>
                    </a:lnTo>
                    <a:lnTo>
                      <a:pt x="741" y="2474"/>
                    </a:lnTo>
                    <a:lnTo>
                      <a:pt x="752" y="2475"/>
                    </a:lnTo>
                    <a:lnTo>
                      <a:pt x="756" y="2472"/>
                    </a:lnTo>
                    <a:lnTo>
                      <a:pt x="745" y="2469"/>
                    </a:lnTo>
                    <a:lnTo>
                      <a:pt x="742" y="2465"/>
                    </a:lnTo>
                    <a:lnTo>
                      <a:pt x="750" y="2457"/>
                    </a:lnTo>
                    <a:lnTo>
                      <a:pt x="742" y="2448"/>
                    </a:lnTo>
                    <a:lnTo>
                      <a:pt x="734" y="2461"/>
                    </a:lnTo>
                    <a:lnTo>
                      <a:pt x="728" y="2463"/>
                    </a:lnTo>
                    <a:lnTo>
                      <a:pt x="725" y="2461"/>
                    </a:lnTo>
                    <a:lnTo>
                      <a:pt x="723" y="2454"/>
                    </a:lnTo>
                    <a:lnTo>
                      <a:pt x="723" y="2443"/>
                    </a:lnTo>
                    <a:lnTo>
                      <a:pt x="725" y="2430"/>
                    </a:lnTo>
                    <a:lnTo>
                      <a:pt x="723" y="2428"/>
                    </a:lnTo>
                    <a:lnTo>
                      <a:pt x="722" y="2425"/>
                    </a:lnTo>
                    <a:lnTo>
                      <a:pt x="722" y="2420"/>
                    </a:lnTo>
                    <a:lnTo>
                      <a:pt x="724" y="2409"/>
                    </a:lnTo>
                    <a:lnTo>
                      <a:pt x="723" y="2402"/>
                    </a:lnTo>
                    <a:lnTo>
                      <a:pt x="719" y="2400"/>
                    </a:lnTo>
                    <a:lnTo>
                      <a:pt x="719" y="2393"/>
                    </a:lnTo>
                    <a:lnTo>
                      <a:pt x="718" y="2388"/>
                    </a:lnTo>
                    <a:lnTo>
                      <a:pt x="707" y="2394"/>
                    </a:lnTo>
                    <a:lnTo>
                      <a:pt x="698" y="2395"/>
                    </a:lnTo>
                    <a:lnTo>
                      <a:pt x="699" y="2390"/>
                    </a:lnTo>
                    <a:lnTo>
                      <a:pt x="702" y="2388"/>
                    </a:lnTo>
                    <a:lnTo>
                      <a:pt x="702" y="2383"/>
                    </a:lnTo>
                    <a:lnTo>
                      <a:pt x="699" y="2378"/>
                    </a:lnTo>
                    <a:lnTo>
                      <a:pt x="693" y="2378"/>
                    </a:lnTo>
                    <a:lnTo>
                      <a:pt x="683" y="2382"/>
                    </a:lnTo>
                    <a:lnTo>
                      <a:pt x="674" y="2380"/>
                    </a:lnTo>
                    <a:lnTo>
                      <a:pt x="671" y="2377"/>
                    </a:lnTo>
                    <a:lnTo>
                      <a:pt x="669" y="2363"/>
                    </a:lnTo>
                    <a:lnTo>
                      <a:pt x="663" y="2361"/>
                    </a:lnTo>
                    <a:lnTo>
                      <a:pt x="656" y="2350"/>
                    </a:lnTo>
                    <a:lnTo>
                      <a:pt x="655" y="2345"/>
                    </a:lnTo>
                    <a:lnTo>
                      <a:pt x="651" y="2337"/>
                    </a:lnTo>
                    <a:lnTo>
                      <a:pt x="654" y="2326"/>
                    </a:lnTo>
                    <a:lnTo>
                      <a:pt x="658" y="2321"/>
                    </a:lnTo>
                    <a:lnTo>
                      <a:pt x="658" y="2308"/>
                    </a:lnTo>
                    <a:lnTo>
                      <a:pt x="658" y="2298"/>
                    </a:lnTo>
                    <a:lnTo>
                      <a:pt x="656" y="2296"/>
                    </a:lnTo>
                    <a:lnTo>
                      <a:pt x="653" y="2292"/>
                    </a:lnTo>
                    <a:lnTo>
                      <a:pt x="647" y="2297"/>
                    </a:lnTo>
                    <a:lnTo>
                      <a:pt x="645" y="2299"/>
                    </a:lnTo>
                    <a:lnTo>
                      <a:pt x="643" y="2298"/>
                    </a:lnTo>
                    <a:lnTo>
                      <a:pt x="642" y="2296"/>
                    </a:lnTo>
                    <a:lnTo>
                      <a:pt x="640" y="2296"/>
                    </a:lnTo>
                    <a:lnTo>
                      <a:pt x="624" y="2278"/>
                    </a:lnTo>
                    <a:lnTo>
                      <a:pt x="621" y="2270"/>
                    </a:lnTo>
                    <a:lnTo>
                      <a:pt x="616" y="2264"/>
                    </a:lnTo>
                    <a:lnTo>
                      <a:pt x="600" y="2250"/>
                    </a:lnTo>
                    <a:lnTo>
                      <a:pt x="599" y="2246"/>
                    </a:lnTo>
                    <a:lnTo>
                      <a:pt x="600" y="2238"/>
                    </a:lnTo>
                    <a:lnTo>
                      <a:pt x="605" y="2233"/>
                    </a:lnTo>
                    <a:lnTo>
                      <a:pt x="610" y="2231"/>
                    </a:lnTo>
                    <a:lnTo>
                      <a:pt x="608" y="2226"/>
                    </a:lnTo>
                    <a:lnTo>
                      <a:pt x="595" y="2227"/>
                    </a:lnTo>
                    <a:lnTo>
                      <a:pt x="590" y="2224"/>
                    </a:lnTo>
                    <a:lnTo>
                      <a:pt x="583" y="2211"/>
                    </a:lnTo>
                    <a:lnTo>
                      <a:pt x="580" y="2208"/>
                    </a:lnTo>
                    <a:lnTo>
                      <a:pt x="580" y="2195"/>
                    </a:lnTo>
                    <a:lnTo>
                      <a:pt x="584" y="2189"/>
                    </a:lnTo>
                    <a:lnTo>
                      <a:pt x="586" y="2181"/>
                    </a:lnTo>
                    <a:lnTo>
                      <a:pt x="591" y="2179"/>
                    </a:lnTo>
                    <a:lnTo>
                      <a:pt x="599" y="2185"/>
                    </a:lnTo>
                    <a:lnTo>
                      <a:pt x="600" y="2181"/>
                    </a:lnTo>
                    <a:lnTo>
                      <a:pt x="596" y="2175"/>
                    </a:lnTo>
                    <a:lnTo>
                      <a:pt x="596" y="2170"/>
                    </a:lnTo>
                    <a:lnTo>
                      <a:pt x="599" y="2161"/>
                    </a:lnTo>
                    <a:lnTo>
                      <a:pt x="604" y="2157"/>
                    </a:lnTo>
                    <a:lnTo>
                      <a:pt x="604" y="2153"/>
                    </a:lnTo>
                    <a:lnTo>
                      <a:pt x="601" y="2147"/>
                    </a:lnTo>
                    <a:lnTo>
                      <a:pt x="599" y="2147"/>
                    </a:lnTo>
                    <a:lnTo>
                      <a:pt x="600" y="2140"/>
                    </a:lnTo>
                    <a:lnTo>
                      <a:pt x="602" y="2136"/>
                    </a:lnTo>
                    <a:lnTo>
                      <a:pt x="605" y="2130"/>
                    </a:lnTo>
                    <a:lnTo>
                      <a:pt x="605" y="2125"/>
                    </a:lnTo>
                    <a:lnTo>
                      <a:pt x="600" y="2109"/>
                    </a:lnTo>
                    <a:lnTo>
                      <a:pt x="600" y="2082"/>
                    </a:lnTo>
                    <a:lnTo>
                      <a:pt x="602" y="2067"/>
                    </a:lnTo>
                    <a:lnTo>
                      <a:pt x="605" y="2062"/>
                    </a:lnTo>
                    <a:lnTo>
                      <a:pt x="605" y="2060"/>
                    </a:lnTo>
                    <a:lnTo>
                      <a:pt x="601" y="2054"/>
                    </a:lnTo>
                    <a:lnTo>
                      <a:pt x="599" y="2050"/>
                    </a:lnTo>
                    <a:lnTo>
                      <a:pt x="580" y="2045"/>
                    </a:lnTo>
                    <a:lnTo>
                      <a:pt x="575" y="2039"/>
                    </a:lnTo>
                    <a:lnTo>
                      <a:pt x="550" y="2018"/>
                    </a:lnTo>
                    <a:lnTo>
                      <a:pt x="514" y="2008"/>
                    </a:lnTo>
                    <a:lnTo>
                      <a:pt x="502" y="2001"/>
                    </a:lnTo>
                    <a:lnTo>
                      <a:pt x="497" y="1995"/>
                    </a:lnTo>
                    <a:lnTo>
                      <a:pt x="492" y="1986"/>
                    </a:lnTo>
                    <a:lnTo>
                      <a:pt x="487" y="1969"/>
                    </a:lnTo>
                    <a:lnTo>
                      <a:pt x="487" y="1965"/>
                    </a:lnTo>
                    <a:lnTo>
                      <a:pt x="483" y="1958"/>
                    </a:lnTo>
                    <a:lnTo>
                      <a:pt x="473" y="1949"/>
                    </a:lnTo>
                    <a:lnTo>
                      <a:pt x="472" y="1944"/>
                    </a:lnTo>
                    <a:lnTo>
                      <a:pt x="475" y="1939"/>
                    </a:lnTo>
                    <a:lnTo>
                      <a:pt x="475" y="1936"/>
                    </a:lnTo>
                    <a:lnTo>
                      <a:pt x="471" y="1928"/>
                    </a:lnTo>
                    <a:lnTo>
                      <a:pt x="457" y="1911"/>
                    </a:lnTo>
                    <a:lnTo>
                      <a:pt x="452" y="1893"/>
                    </a:lnTo>
                    <a:lnTo>
                      <a:pt x="449" y="1893"/>
                    </a:lnTo>
                    <a:lnTo>
                      <a:pt x="448" y="1890"/>
                    </a:lnTo>
                    <a:lnTo>
                      <a:pt x="441" y="1872"/>
                    </a:lnTo>
                    <a:lnTo>
                      <a:pt x="413" y="1826"/>
                    </a:lnTo>
                    <a:lnTo>
                      <a:pt x="402" y="1807"/>
                    </a:lnTo>
                    <a:lnTo>
                      <a:pt x="395" y="1786"/>
                    </a:lnTo>
                    <a:lnTo>
                      <a:pt x="384" y="1775"/>
                    </a:lnTo>
                    <a:lnTo>
                      <a:pt x="363" y="1766"/>
                    </a:lnTo>
                    <a:lnTo>
                      <a:pt x="359" y="1759"/>
                    </a:lnTo>
                    <a:lnTo>
                      <a:pt x="359" y="1756"/>
                    </a:lnTo>
                    <a:lnTo>
                      <a:pt x="355" y="1740"/>
                    </a:lnTo>
                    <a:lnTo>
                      <a:pt x="343" y="1729"/>
                    </a:lnTo>
                    <a:lnTo>
                      <a:pt x="341" y="1721"/>
                    </a:lnTo>
                    <a:lnTo>
                      <a:pt x="332" y="1707"/>
                    </a:lnTo>
                    <a:lnTo>
                      <a:pt x="328" y="1695"/>
                    </a:lnTo>
                    <a:lnTo>
                      <a:pt x="323" y="1695"/>
                    </a:lnTo>
                    <a:lnTo>
                      <a:pt x="320" y="1691"/>
                    </a:lnTo>
                    <a:lnTo>
                      <a:pt x="311" y="1673"/>
                    </a:lnTo>
                    <a:lnTo>
                      <a:pt x="305" y="1667"/>
                    </a:lnTo>
                    <a:lnTo>
                      <a:pt x="300" y="1666"/>
                    </a:lnTo>
                    <a:lnTo>
                      <a:pt x="278" y="1683"/>
                    </a:lnTo>
                    <a:lnTo>
                      <a:pt x="257" y="1689"/>
                    </a:lnTo>
                    <a:lnTo>
                      <a:pt x="252" y="1695"/>
                    </a:lnTo>
                    <a:lnTo>
                      <a:pt x="251" y="1707"/>
                    </a:lnTo>
                    <a:lnTo>
                      <a:pt x="249" y="1710"/>
                    </a:lnTo>
                    <a:lnTo>
                      <a:pt x="242" y="1713"/>
                    </a:lnTo>
                    <a:lnTo>
                      <a:pt x="240" y="1717"/>
                    </a:lnTo>
                    <a:lnTo>
                      <a:pt x="240" y="1726"/>
                    </a:lnTo>
                    <a:lnTo>
                      <a:pt x="236" y="1734"/>
                    </a:lnTo>
                    <a:lnTo>
                      <a:pt x="220" y="1739"/>
                    </a:lnTo>
                    <a:lnTo>
                      <a:pt x="204" y="1753"/>
                    </a:lnTo>
                    <a:lnTo>
                      <a:pt x="191" y="1758"/>
                    </a:lnTo>
                    <a:lnTo>
                      <a:pt x="188" y="1756"/>
                    </a:lnTo>
                    <a:lnTo>
                      <a:pt x="188" y="1753"/>
                    </a:lnTo>
                    <a:lnTo>
                      <a:pt x="185" y="1747"/>
                    </a:lnTo>
                    <a:lnTo>
                      <a:pt x="175" y="1723"/>
                    </a:lnTo>
                    <a:lnTo>
                      <a:pt x="159" y="1710"/>
                    </a:lnTo>
                    <a:lnTo>
                      <a:pt x="176" y="1695"/>
                    </a:lnTo>
                    <a:lnTo>
                      <a:pt x="174" y="1691"/>
                    </a:lnTo>
                    <a:lnTo>
                      <a:pt x="158" y="1681"/>
                    </a:lnTo>
                    <a:lnTo>
                      <a:pt x="169" y="1693"/>
                    </a:lnTo>
                    <a:lnTo>
                      <a:pt x="166" y="1697"/>
                    </a:lnTo>
                    <a:lnTo>
                      <a:pt x="155" y="1695"/>
                    </a:lnTo>
                    <a:lnTo>
                      <a:pt x="152" y="1702"/>
                    </a:lnTo>
                    <a:lnTo>
                      <a:pt x="149" y="1699"/>
                    </a:lnTo>
                    <a:lnTo>
                      <a:pt x="122" y="1664"/>
                    </a:lnTo>
                    <a:lnTo>
                      <a:pt x="117" y="1653"/>
                    </a:lnTo>
                    <a:lnTo>
                      <a:pt x="104" y="1642"/>
                    </a:lnTo>
                    <a:lnTo>
                      <a:pt x="97" y="1636"/>
                    </a:lnTo>
                    <a:lnTo>
                      <a:pt x="101" y="1636"/>
                    </a:lnTo>
                    <a:lnTo>
                      <a:pt x="101" y="1630"/>
                    </a:lnTo>
                    <a:lnTo>
                      <a:pt x="101" y="1608"/>
                    </a:lnTo>
                    <a:lnTo>
                      <a:pt x="68" y="1609"/>
                    </a:lnTo>
                    <a:lnTo>
                      <a:pt x="56" y="1624"/>
                    </a:lnTo>
                    <a:lnTo>
                      <a:pt x="50" y="1621"/>
                    </a:lnTo>
                    <a:lnTo>
                      <a:pt x="35" y="1610"/>
                    </a:lnTo>
                    <a:lnTo>
                      <a:pt x="20" y="1621"/>
                    </a:lnTo>
                    <a:lnTo>
                      <a:pt x="0" y="1609"/>
                    </a:lnTo>
                    <a:lnTo>
                      <a:pt x="0" y="1573"/>
                    </a:lnTo>
                    <a:lnTo>
                      <a:pt x="0" y="1463"/>
                    </a:lnTo>
                    <a:lnTo>
                      <a:pt x="0" y="1356"/>
                    </a:lnTo>
                    <a:lnTo>
                      <a:pt x="0" y="1255"/>
                    </a:lnTo>
                    <a:lnTo>
                      <a:pt x="0" y="1146"/>
                    </a:lnTo>
                    <a:lnTo>
                      <a:pt x="0" y="1022"/>
                    </a:lnTo>
                    <a:lnTo>
                      <a:pt x="0" y="900"/>
                    </a:lnTo>
                    <a:lnTo>
                      <a:pt x="0" y="785"/>
                    </a:lnTo>
                    <a:lnTo>
                      <a:pt x="0" y="660"/>
                    </a:lnTo>
                    <a:lnTo>
                      <a:pt x="0" y="516"/>
                    </a:lnTo>
                    <a:lnTo>
                      <a:pt x="0" y="373"/>
                    </a:lnTo>
                    <a:lnTo>
                      <a:pt x="2" y="376"/>
                    </a:lnTo>
                    <a:lnTo>
                      <a:pt x="11" y="381"/>
                    </a:lnTo>
                    <a:lnTo>
                      <a:pt x="21" y="384"/>
                    </a:lnTo>
                    <a:lnTo>
                      <a:pt x="62" y="383"/>
                    </a:lnTo>
                    <a:lnTo>
                      <a:pt x="70" y="386"/>
                    </a:lnTo>
                    <a:lnTo>
                      <a:pt x="74" y="393"/>
                    </a:lnTo>
                    <a:lnTo>
                      <a:pt x="91" y="394"/>
                    </a:lnTo>
                    <a:lnTo>
                      <a:pt x="110" y="413"/>
                    </a:lnTo>
                    <a:lnTo>
                      <a:pt x="132" y="447"/>
                    </a:lnTo>
                    <a:lnTo>
                      <a:pt x="139" y="447"/>
                    </a:lnTo>
                    <a:lnTo>
                      <a:pt x="143" y="451"/>
                    </a:lnTo>
                    <a:lnTo>
                      <a:pt x="145" y="445"/>
                    </a:lnTo>
                    <a:lnTo>
                      <a:pt x="149" y="454"/>
                    </a:lnTo>
                    <a:lnTo>
                      <a:pt x="159" y="465"/>
                    </a:lnTo>
                    <a:lnTo>
                      <a:pt x="170" y="475"/>
                    </a:lnTo>
                    <a:lnTo>
                      <a:pt x="179" y="480"/>
                    </a:lnTo>
                    <a:lnTo>
                      <a:pt x="191" y="492"/>
                    </a:lnTo>
                    <a:lnTo>
                      <a:pt x="198" y="491"/>
                    </a:lnTo>
                    <a:lnTo>
                      <a:pt x="214" y="495"/>
                    </a:lnTo>
                    <a:lnTo>
                      <a:pt x="228" y="502"/>
                    </a:lnTo>
                    <a:lnTo>
                      <a:pt x="235" y="504"/>
                    </a:lnTo>
                    <a:lnTo>
                      <a:pt x="241" y="501"/>
                    </a:lnTo>
                    <a:lnTo>
                      <a:pt x="246" y="505"/>
                    </a:lnTo>
                    <a:lnTo>
                      <a:pt x="246" y="500"/>
                    </a:lnTo>
                    <a:lnTo>
                      <a:pt x="244" y="492"/>
                    </a:lnTo>
                    <a:lnTo>
                      <a:pt x="255" y="497"/>
                    </a:lnTo>
                    <a:lnTo>
                      <a:pt x="265" y="501"/>
                    </a:lnTo>
                    <a:lnTo>
                      <a:pt x="269" y="506"/>
                    </a:lnTo>
                    <a:lnTo>
                      <a:pt x="277" y="507"/>
                    </a:lnTo>
                    <a:lnTo>
                      <a:pt x="288" y="516"/>
                    </a:lnTo>
                    <a:lnTo>
                      <a:pt x="309" y="537"/>
                    </a:lnTo>
                    <a:lnTo>
                      <a:pt x="316" y="535"/>
                    </a:lnTo>
                    <a:lnTo>
                      <a:pt x="321" y="537"/>
                    </a:lnTo>
                    <a:lnTo>
                      <a:pt x="319" y="529"/>
                    </a:lnTo>
                    <a:lnTo>
                      <a:pt x="308" y="517"/>
                    </a:lnTo>
                    <a:lnTo>
                      <a:pt x="304" y="506"/>
                    </a:lnTo>
                    <a:lnTo>
                      <a:pt x="300" y="501"/>
                    </a:lnTo>
                    <a:lnTo>
                      <a:pt x="306" y="499"/>
                    </a:lnTo>
                    <a:lnTo>
                      <a:pt x="322" y="505"/>
                    </a:lnTo>
                    <a:lnTo>
                      <a:pt x="331" y="502"/>
                    </a:lnTo>
                    <a:lnTo>
                      <a:pt x="341" y="505"/>
                    </a:lnTo>
                    <a:lnTo>
                      <a:pt x="347" y="510"/>
                    </a:lnTo>
                    <a:lnTo>
                      <a:pt x="349" y="524"/>
                    </a:lnTo>
                    <a:lnTo>
                      <a:pt x="354" y="532"/>
                    </a:lnTo>
                    <a:lnTo>
                      <a:pt x="370" y="545"/>
                    </a:lnTo>
                    <a:lnTo>
                      <a:pt x="373" y="553"/>
                    </a:lnTo>
                    <a:lnTo>
                      <a:pt x="376" y="542"/>
                    </a:lnTo>
                    <a:lnTo>
                      <a:pt x="375" y="527"/>
                    </a:lnTo>
                    <a:lnTo>
                      <a:pt x="370" y="522"/>
                    </a:lnTo>
                    <a:lnTo>
                      <a:pt x="353" y="490"/>
                    </a:lnTo>
                    <a:lnTo>
                      <a:pt x="349" y="480"/>
                    </a:lnTo>
                    <a:lnTo>
                      <a:pt x="349" y="475"/>
                    </a:lnTo>
                    <a:lnTo>
                      <a:pt x="360" y="468"/>
                    </a:lnTo>
                    <a:lnTo>
                      <a:pt x="369" y="456"/>
                    </a:lnTo>
                    <a:lnTo>
                      <a:pt x="385" y="445"/>
                    </a:lnTo>
                    <a:lnTo>
                      <a:pt x="391" y="435"/>
                    </a:lnTo>
                    <a:lnTo>
                      <a:pt x="396" y="435"/>
                    </a:lnTo>
                    <a:lnTo>
                      <a:pt x="400" y="429"/>
                    </a:lnTo>
                    <a:lnTo>
                      <a:pt x="423" y="425"/>
                    </a:lnTo>
                    <a:lnTo>
                      <a:pt x="430" y="420"/>
                    </a:lnTo>
                    <a:lnTo>
                      <a:pt x="439" y="411"/>
                    </a:lnTo>
                    <a:lnTo>
                      <a:pt x="440" y="391"/>
                    </a:lnTo>
                    <a:lnTo>
                      <a:pt x="448" y="384"/>
                    </a:lnTo>
                    <a:lnTo>
                      <a:pt x="450" y="387"/>
                    </a:lnTo>
                    <a:lnTo>
                      <a:pt x="455" y="387"/>
                    </a:lnTo>
                    <a:lnTo>
                      <a:pt x="457" y="378"/>
                    </a:lnTo>
                    <a:lnTo>
                      <a:pt x="464" y="371"/>
                    </a:lnTo>
                    <a:lnTo>
                      <a:pt x="468" y="371"/>
                    </a:lnTo>
                    <a:lnTo>
                      <a:pt x="470" y="376"/>
                    </a:lnTo>
                    <a:lnTo>
                      <a:pt x="484" y="376"/>
                    </a:lnTo>
                    <a:lnTo>
                      <a:pt x="491" y="370"/>
                    </a:lnTo>
                    <a:lnTo>
                      <a:pt x="492" y="365"/>
                    </a:lnTo>
                    <a:lnTo>
                      <a:pt x="500" y="362"/>
                    </a:lnTo>
                    <a:lnTo>
                      <a:pt x="521" y="348"/>
                    </a:lnTo>
                    <a:lnTo>
                      <a:pt x="524" y="336"/>
                    </a:lnTo>
                    <a:lnTo>
                      <a:pt x="542" y="344"/>
                    </a:lnTo>
                    <a:lnTo>
                      <a:pt x="550" y="334"/>
                    </a:lnTo>
                    <a:lnTo>
                      <a:pt x="551" y="324"/>
                    </a:lnTo>
                    <a:lnTo>
                      <a:pt x="554" y="316"/>
                    </a:lnTo>
                    <a:lnTo>
                      <a:pt x="568" y="309"/>
                    </a:lnTo>
                    <a:lnTo>
                      <a:pt x="574" y="303"/>
                    </a:lnTo>
                    <a:lnTo>
                      <a:pt x="585" y="312"/>
                    </a:lnTo>
                    <a:lnTo>
                      <a:pt x="593" y="312"/>
                    </a:lnTo>
                    <a:lnTo>
                      <a:pt x="597" y="317"/>
                    </a:lnTo>
                    <a:lnTo>
                      <a:pt x="606" y="313"/>
                    </a:lnTo>
                    <a:lnTo>
                      <a:pt x="612" y="302"/>
                    </a:lnTo>
                    <a:lnTo>
                      <a:pt x="613" y="295"/>
                    </a:lnTo>
                    <a:lnTo>
                      <a:pt x="621" y="290"/>
                    </a:lnTo>
                    <a:lnTo>
                      <a:pt x="623" y="297"/>
                    </a:lnTo>
                    <a:lnTo>
                      <a:pt x="629" y="305"/>
                    </a:lnTo>
                    <a:lnTo>
                      <a:pt x="633" y="318"/>
                    </a:lnTo>
                    <a:lnTo>
                      <a:pt x="629" y="321"/>
                    </a:lnTo>
                    <a:lnTo>
                      <a:pt x="622" y="332"/>
                    </a:lnTo>
                    <a:lnTo>
                      <a:pt x="583" y="360"/>
                    </a:lnTo>
                    <a:lnTo>
                      <a:pt x="574" y="372"/>
                    </a:lnTo>
                    <a:lnTo>
                      <a:pt x="564" y="378"/>
                    </a:lnTo>
                    <a:lnTo>
                      <a:pt x="548" y="398"/>
                    </a:lnTo>
                    <a:lnTo>
                      <a:pt x="534" y="392"/>
                    </a:lnTo>
                    <a:lnTo>
                      <a:pt x="499" y="404"/>
                    </a:lnTo>
                    <a:lnTo>
                      <a:pt x="488" y="414"/>
                    </a:lnTo>
                    <a:lnTo>
                      <a:pt x="484" y="424"/>
                    </a:lnTo>
                    <a:lnTo>
                      <a:pt x="492" y="421"/>
                    </a:lnTo>
                    <a:lnTo>
                      <a:pt x="476" y="435"/>
                    </a:lnTo>
                    <a:lnTo>
                      <a:pt x="473" y="443"/>
                    </a:lnTo>
                    <a:lnTo>
                      <a:pt x="468" y="441"/>
                    </a:lnTo>
                    <a:lnTo>
                      <a:pt x="464" y="451"/>
                    </a:lnTo>
                    <a:lnTo>
                      <a:pt x="460" y="461"/>
                    </a:lnTo>
                    <a:lnTo>
                      <a:pt x="459" y="452"/>
                    </a:lnTo>
                    <a:lnTo>
                      <a:pt x="454" y="449"/>
                    </a:lnTo>
                    <a:lnTo>
                      <a:pt x="441" y="469"/>
                    </a:lnTo>
                    <a:lnTo>
                      <a:pt x="441" y="478"/>
                    </a:lnTo>
                    <a:lnTo>
                      <a:pt x="449" y="477"/>
                    </a:lnTo>
                    <a:lnTo>
                      <a:pt x="459" y="467"/>
                    </a:lnTo>
                    <a:lnTo>
                      <a:pt x="483" y="458"/>
                    </a:lnTo>
                    <a:lnTo>
                      <a:pt x="504" y="435"/>
                    </a:lnTo>
                    <a:lnTo>
                      <a:pt x="505" y="431"/>
                    </a:lnTo>
                    <a:lnTo>
                      <a:pt x="502" y="426"/>
                    </a:lnTo>
                    <a:lnTo>
                      <a:pt x="504" y="424"/>
                    </a:lnTo>
                    <a:lnTo>
                      <a:pt x="513" y="418"/>
                    </a:lnTo>
                    <a:lnTo>
                      <a:pt x="518" y="420"/>
                    </a:lnTo>
                    <a:lnTo>
                      <a:pt x="516" y="434"/>
                    </a:lnTo>
                    <a:lnTo>
                      <a:pt x="524" y="421"/>
                    </a:lnTo>
                    <a:lnTo>
                      <a:pt x="526" y="432"/>
                    </a:lnTo>
                    <a:lnTo>
                      <a:pt x="535" y="415"/>
                    </a:lnTo>
                    <a:lnTo>
                      <a:pt x="543" y="411"/>
                    </a:lnTo>
                    <a:lnTo>
                      <a:pt x="550" y="418"/>
                    </a:lnTo>
                    <a:lnTo>
                      <a:pt x="548" y="432"/>
                    </a:lnTo>
                    <a:lnTo>
                      <a:pt x="546" y="454"/>
                    </a:lnTo>
                    <a:lnTo>
                      <a:pt x="564" y="418"/>
                    </a:lnTo>
                    <a:lnTo>
                      <a:pt x="581" y="389"/>
                    </a:lnTo>
                    <a:lnTo>
                      <a:pt x="583" y="378"/>
                    </a:lnTo>
                    <a:lnTo>
                      <a:pt x="596" y="376"/>
                    </a:lnTo>
                    <a:lnTo>
                      <a:pt x="607" y="371"/>
                    </a:lnTo>
                    <a:lnTo>
                      <a:pt x="617" y="360"/>
                    </a:lnTo>
                    <a:lnTo>
                      <a:pt x="645" y="351"/>
                    </a:lnTo>
                    <a:lnTo>
                      <a:pt x="663" y="334"/>
                    </a:lnTo>
                    <a:lnTo>
                      <a:pt x="660" y="354"/>
                    </a:lnTo>
                    <a:lnTo>
                      <a:pt x="656" y="352"/>
                    </a:lnTo>
                    <a:lnTo>
                      <a:pt x="650" y="366"/>
                    </a:lnTo>
                    <a:lnTo>
                      <a:pt x="649" y="376"/>
                    </a:lnTo>
                    <a:lnTo>
                      <a:pt x="672" y="361"/>
                    </a:lnTo>
                    <a:lnTo>
                      <a:pt x="681" y="348"/>
                    </a:lnTo>
                    <a:lnTo>
                      <a:pt x="692" y="336"/>
                    </a:lnTo>
                    <a:lnTo>
                      <a:pt x="697" y="324"/>
                    </a:lnTo>
                    <a:lnTo>
                      <a:pt x="693" y="316"/>
                    </a:lnTo>
                    <a:lnTo>
                      <a:pt x="698" y="309"/>
                    </a:lnTo>
                    <a:lnTo>
                      <a:pt x="725" y="298"/>
                    </a:lnTo>
                    <a:lnTo>
                      <a:pt x="731" y="292"/>
                    </a:lnTo>
                    <a:lnTo>
                      <a:pt x="715" y="287"/>
                    </a:lnTo>
                    <a:lnTo>
                      <a:pt x="709" y="281"/>
                    </a:lnTo>
                    <a:lnTo>
                      <a:pt x="710" y="276"/>
                    </a:lnTo>
                    <a:lnTo>
                      <a:pt x="712" y="266"/>
                    </a:lnTo>
                    <a:lnTo>
                      <a:pt x="709" y="262"/>
                    </a:lnTo>
                    <a:lnTo>
                      <a:pt x="699" y="265"/>
                    </a:lnTo>
                    <a:lnTo>
                      <a:pt x="701" y="255"/>
                    </a:lnTo>
                    <a:lnTo>
                      <a:pt x="706" y="247"/>
                    </a:lnTo>
                    <a:lnTo>
                      <a:pt x="709" y="242"/>
                    </a:lnTo>
                    <a:lnTo>
                      <a:pt x="722" y="247"/>
                    </a:lnTo>
                    <a:lnTo>
                      <a:pt x="751" y="281"/>
                    </a:lnTo>
                    <a:lnTo>
                      <a:pt x="757" y="295"/>
                    </a:lnTo>
                    <a:lnTo>
                      <a:pt x="761" y="323"/>
                    </a:lnTo>
                    <a:lnTo>
                      <a:pt x="768" y="335"/>
                    </a:lnTo>
                    <a:lnTo>
                      <a:pt x="780" y="376"/>
                    </a:lnTo>
                    <a:lnTo>
                      <a:pt x="787" y="389"/>
                    </a:lnTo>
                    <a:lnTo>
                      <a:pt x="796" y="394"/>
                    </a:lnTo>
                    <a:lnTo>
                      <a:pt x="803" y="410"/>
                    </a:lnTo>
                    <a:lnTo>
                      <a:pt x="805" y="409"/>
                    </a:lnTo>
                    <a:lnTo>
                      <a:pt x="821" y="425"/>
                    </a:lnTo>
                    <a:lnTo>
                      <a:pt x="831" y="429"/>
                    </a:lnTo>
                    <a:lnTo>
                      <a:pt x="853" y="430"/>
                    </a:lnTo>
                    <a:lnTo>
                      <a:pt x="853" y="426"/>
                    </a:lnTo>
                    <a:lnTo>
                      <a:pt x="855" y="424"/>
                    </a:lnTo>
                    <a:lnTo>
                      <a:pt x="866" y="424"/>
                    </a:lnTo>
                    <a:lnTo>
                      <a:pt x="866" y="418"/>
                    </a:lnTo>
                    <a:lnTo>
                      <a:pt x="858" y="414"/>
                    </a:lnTo>
                    <a:lnTo>
                      <a:pt x="841" y="420"/>
                    </a:lnTo>
                    <a:lnTo>
                      <a:pt x="844" y="409"/>
                    </a:lnTo>
                    <a:lnTo>
                      <a:pt x="859" y="408"/>
                    </a:lnTo>
                    <a:lnTo>
                      <a:pt x="868" y="403"/>
                    </a:lnTo>
                    <a:lnTo>
                      <a:pt x="863" y="403"/>
                    </a:lnTo>
                    <a:lnTo>
                      <a:pt x="852" y="387"/>
                    </a:lnTo>
                    <a:lnTo>
                      <a:pt x="858" y="381"/>
                    </a:lnTo>
                    <a:lnTo>
                      <a:pt x="871" y="376"/>
                    </a:lnTo>
                    <a:lnTo>
                      <a:pt x="871" y="368"/>
                    </a:lnTo>
                    <a:lnTo>
                      <a:pt x="863" y="366"/>
                    </a:lnTo>
                    <a:lnTo>
                      <a:pt x="863" y="354"/>
                    </a:lnTo>
                    <a:lnTo>
                      <a:pt x="866" y="362"/>
                    </a:lnTo>
                    <a:lnTo>
                      <a:pt x="884" y="341"/>
                    </a:lnTo>
                    <a:lnTo>
                      <a:pt x="887" y="330"/>
                    </a:lnTo>
                    <a:lnTo>
                      <a:pt x="884" y="328"/>
                    </a:lnTo>
                    <a:lnTo>
                      <a:pt x="876" y="333"/>
                    </a:lnTo>
                    <a:lnTo>
                      <a:pt x="873" y="341"/>
                    </a:lnTo>
                    <a:lnTo>
                      <a:pt x="869" y="338"/>
                    </a:lnTo>
                    <a:lnTo>
                      <a:pt x="868" y="328"/>
                    </a:lnTo>
                    <a:lnTo>
                      <a:pt x="871" y="321"/>
                    </a:lnTo>
                    <a:lnTo>
                      <a:pt x="878" y="324"/>
                    </a:lnTo>
                    <a:lnTo>
                      <a:pt x="887" y="322"/>
                    </a:lnTo>
                    <a:lnTo>
                      <a:pt x="892" y="324"/>
                    </a:lnTo>
                    <a:lnTo>
                      <a:pt x="895" y="335"/>
                    </a:lnTo>
                    <a:lnTo>
                      <a:pt x="900" y="325"/>
                    </a:lnTo>
                    <a:lnTo>
                      <a:pt x="907" y="324"/>
                    </a:lnTo>
                    <a:lnTo>
                      <a:pt x="906" y="318"/>
                    </a:lnTo>
                    <a:lnTo>
                      <a:pt x="898" y="316"/>
                    </a:lnTo>
                    <a:lnTo>
                      <a:pt x="893" y="311"/>
                    </a:lnTo>
                    <a:lnTo>
                      <a:pt x="908" y="308"/>
                    </a:lnTo>
                    <a:lnTo>
                      <a:pt x="908" y="313"/>
                    </a:lnTo>
                    <a:lnTo>
                      <a:pt x="912" y="321"/>
                    </a:lnTo>
                    <a:lnTo>
                      <a:pt x="909" y="335"/>
                    </a:lnTo>
                    <a:lnTo>
                      <a:pt x="908" y="359"/>
                    </a:lnTo>
                    <a:lnTo>
                      <a:pt x="906" y="366"/>
                    </a:lnTo>
                    <a:lnTo>
                      <a:pt x="907" y="373"/>
                    </a:lnTo>
                    <a:lnTo>
                      <a:pt x="912" y="378"/>
                    </a:lnTo>
                    <a:lnTo>
                      <a:pt x="919" y="372"/>
                    </a:lnTo>
                    <a:lnTo>
                      <a:pt x="930" y="376"/>
                    </a:lnTo>
                    <a:lnTo>
                      <a:pt x="912" y="409"/>
                    </a:lnTo>
                    <a:lnTo>
                      <a:pt x="907" y="424"/>
                    </a:lnTo>
                    <a:lnTo>
                      <a:pt x="906" y="413"/>
                    </a:lnTo>
                    <a:lnTo>
                      <a:pt x="903" y="424"/>
                    </a:lnTo>
                    <a:lnTo>
                      <a:pt x="903" y="430"/>
                    </a:lnTo>
                    <a:lnTo>
                      <a:pt x="925" y="432"/>
                    </a:lnTo>
                    <a:lnTo>
                      <a:pt x="933" y="425"/>
                    </a:lnTo>
                    <a:lnTo>
                      <a:pt x="938" y="429"/>
                    </a:lnTo>
                    <a:lnTo>
                      <a:pt x="954" y="430"/>
                    </a:lnTo>
                    <a:lnTo>
                      <a:pt x="962" y="424"/>
                    </a:lnTo>
                    <a:lnTo>
                      <a:pt x="965" y="414"/>
                    </a:lnTo>
                    <a:lnTo>
                      <a:pt x="975" y="405"/>
                    </a:lnTo>
                    <a:lnTo>
                      <a:pt x="976" y="394"/>
                    </a:lnTo>
                    <a:lnTo>
                      <a:pt x="981" y="378"/>
                    </a:lnTo>
                    <a:lnTo>
                      <a:pt x="982" y="360"/>
                    </a:lnTo>
                    <a:lnTo>
                      <a:pt x="991" y="360"/>
                    </a:lnTo>
                    <a:lnTo>
                      <a:pt x="1005" y="354"/>
                    </a:lnTo>
                    <a:lnTo>
                      <a:pt x="1016" y="360"/>
                    </a:lnTo>
                    <a:lnTo>
                      <a:pt x="1025" y="359"/>
                    </a:lnTo>
                    <a:lnTo>
                      <a:pt x="1032" y="360"/>
                    </a:lnTo>
                    <a:lnTo>
                      <a:pt x="1032" y="362"/>
                    </a:lnTo>
                    <a:lnTo>
                      <a:pt x="1054" y="360"/>
                    </a:lnTo>
                    <a:lnTo>
                      <a:pt x="1077" y="367"/>
                    </a:lnTo>
                    <a:lnTo>
                      <a:pt x="1107" y="392"/>
                    </a:lnTo>
                    <a:lnTo>
                      <a:pt x="1127" y="418"/>
                    </a:lnTo>
                    <a:lnTo>
                      <a:pt x="1145" y="429"/>
                    </a:lnTo>
                    <a:lnTo>
                      <a:pt x="1166" y="431"/>
                    </a:lnTo>
                    <a:lnTo>
                      <a:pt x="1175" y="438"/>
                    </a:lnTo>
                    <a:lnTo>
                      <a:pt x="1187" y="438"/>
                    </a:lnTo>
                    <a:lnTo>
                      <a:pt x="1207" y="447"/>
                    </a:lnTo>
                    <a:lnTo>
                      <a:pt x="1214" y="446"/>
                    </a:lnTo>
                    <a:lnTo>
                      <a:pt x="1224" y="449"/>
                    </a:lnTo>
                    <a:lnTo>
                      <a:pt x="1229" y="461"/>
                    </a:lnTo>
                    <a:lnTo>
                      <a:pt x="1244" y="470"/>
                    </a:lnTo>
                    <a:lnTo>
                      <a:pt x="1256" y="475"/>
                    </a:lnTo>
                    <a:lnTo>
                      <a:pt x="1282" y="491"/>
                    </a:lnTo>
                    <a:lnTo>
                      <a:pt x="1300" y="492"/>
                    </a:lnTo>
                    <a:lnTo>
                      <a:pt x="1307" y="497"/>
                    </a:lnTo>
                    <a:lnTo>
                      <a:pt x="1319" y="500"/>
                    </a:lnTo>
                    <a:lnTo>
                      <a:pt x="1317" y="496"/>
                    </a:lnTo>
                    <a:lnTo>
                      <a:pt x="1348" y="501"/>
                    </a:lnTo>
                    <a:lnTo>
                      <a:pt x="1360" y="500"/>
                    </a:lnTo>
                    <a:lnTo>
                      <a:pt x="1371" y="513"/>
                    </a:lnTo>
                    <a:lnTo>
                      <a:pt x="1374" y="504"/>
                    </a:lnTo>
                    <a:lnTo>
                      <a:pt x="1357" y="488"/>
                    </a:lnTo>
                    <a:lnTo>
                      <a:pt x="1369" y="485"/>
                    </a:lnTo>
                    <a:lnTo>
                      <a:pt x="1375" y="490"/>
                    </a:lnTo>
                    <a:lnTo>
                      <a:pt x="1386" y="491"/>
                    </a:lnTo>
                    <a:lnTo>
                      <a:pt x="1386" y="485"/>
                    </a:lnTo>
                    <a:lnTo>
                      <a:pt x="1413" y="491"/>
                    </a:lnTo>
                    <a:lnTo>
                      <a:pt x="1407" y="496"/>
                    </a:lnTo>
                    <a:lnTo>
                      <a:pt x="1423" y="505"/>
                    </a:lnTo>
                    <a:lnTo>
                      <a:pt x="1424" y="513"/>
                    </a:lnTo>
                    <a:lnTo>
                      <a:pt x="1434" y="508"/>
                    </a:lnTo>
                    <a:lnTo>
                      <a:pt x="1434" y="517"/>
                    </a:lnTo>
                    <a:lnTo>
                      <a:pt x="1451" y="528"/>
                    </a:lnTo>
                    <a:lnTo>
                      <a:pt x="1463" y="547"/>
                    </a:lnTo>
                    <a:lnTo>
                      <a:pt x="1470" y="553"/>
                    </a:lnTo>
                    <a:lnTo>
                      <a:pt x="1470" y="575"/>
                    </a:lnTo>
                    <a:lnTo>
                      <a:pt x="1478" y="564"/>
                    </a:lnTo>
                    <a:lnTo>
                      <a:pt x="1478" y="576"/>
                    </a:lnTo>
                    <a:lnTo>
                      <a:pt x="1475" y="585"/>
                    </a:lnTo>
                    <a:lnTo>
                      <a:pt x="1479" y="591"/>
                    </a:lnTo>
                    <a:lnTo>
                      <a:pt x="1470" y="590"/>
                    </a:lnTo>
                    <a:lnTo>
                      <a:pt x="1467" y="597"/>
                    </a:lnTo>
                    <a:lnTo>
                      <a:pt x="1461" y="599"/>
                    </a:lnTo>
                    <a:lnTo>
                      <a:pt x="1456" y="590"/>
                    </a:lnTo>
                    <a:lnTo>
                      <a:pt x="1443" y="594"/>
                    </a:lnTo>
                    <a:lnTo>
                      <a:pt x="1424" y="591"/>
                    </a:lnTo>
                    <a:lnTo>
                      <a:pt x="1436" y="597"/>
                    </a:lnTo>
                    <a:lnTo>
                      <a:pt x="1429" y="607"/>
                    </a:lnTo>
                    <a:lnTo>
                      <a:pt x="1409" y="603"/>
                    </a:lnTo>
                    <a:lnTo>
                      <a:pt x="1413" y="609"/>
                    </a:lnTo>
                    <a:lnTo>
                      <a:pt x="1409" y="615"/>
                    </a:lnTo>
                    <a:lnTo>
                      <a:pt x="1409" y="630"/>
                    </a:lnTo>
                    <a:lnTo>
                      <a:pt x="1393" y="639"/>
                    </a:lnTo>
                    <a:lnTo>
                      <a:pt x="1400" y="645"/>
                    </a:lnTo>
                    <a:lnTo>
                      <a:pt x="1405" y="646"/>
                    </a:lnTo>
                    <a:lnTo>
                      <a:pt x="1412" y="644"/>
                    </a:lnTo>
                    <a:lnTo>
                      <a:pt x="1406" y="650"/>
                    </a:lnTo>
                    <a:lnTo>
                      <a:pt x="1420" y="655"/>
                    </a:lnTo>
                    <a:lnTo>
                      <a:pt x="1441" y="667"/>
                    </a:lnTo>
                    <a:lnTo>
                      <a:pt x="1445" y="658"/>
                    </a:lnTo>
                    <a:lnTo>
                      <a:pt x="1454" y="662"/>
                    </a:lnTo>
                    <a:lnTo>
                      <a:pt x="1459" y="668"/>
                    </a:lnTo>
                    <a:lnTo>
                      <a:pt x="1470" y="667"/>
                    </a:lnTo>
                    <a:lnTo>
                      <a:pt x="1482" y="671"/>
                    </a:lnTo>
                    <a:lnTo>
                      <a:pt x="1503" y="669"/>
                    </a:lnTo>
                    <a:lnTo>
                      <a:pt x="1516" y="674"/>
                    </a:lnTo>
                    <a:lnTo>
                      <a:pt x="1535" y="669"/>
                    </a:lnTo>
                    <a:lnTo>
                      <a:pt x="1533" y="673"/>
                    </a:lnTo>
                    <a:lnTo>
                      <a:pt x="1546" y="675"/>
                    </a:lnTo>
                    <a:lnTo>
                      <a:pt x="1570" y="674"/>
                    </a:lnTo>
                    <a:lnTo>
                      <a:pt x="1573" y="667"/>
                    </a:lnTo>
                    <a:lnTo>
                      <a:pt x="1591" y="667"/>
                    </a:lnTo>
                    <a:lnTo>
                      <a:pt x="1588" y="674"/>
                    </a:lnTo>
                    <a:lnTo>
                      <a:pt x="1599" y="674"/>
                    </a:lnTo>
                    <a:lnTo>
                      <a:pt x="1592" y="669"/>
                    </a:lnTo>
                    <a:lnTo>
                      <a:pt x="1601" y="662"/>
                    </a:lnTo>
                    <a:lnTo>
                      <a:pt x="1604" y="669"/>
                    </a:lnTo>
                    <a:lnTo>
                      <a:pt x="1615" y="671"/>
                    </a:lnTo>
                    <a:lnTo>
                      <a:pt x="1616" y="667"/>
                    </a:lnTo>
                    <a:lnTo>
                      <a:pt x="1623" y="668"/>
                    </a:lnTo>
                    <a:lnTo>
                      <a:pt x="1628" y="651"/>
                    </a:lnTo>
                    <a:lnTo>
                      <a:pt x="1639" y="648"/>
                    </a:lnTo>
                    <a:lnTo>
                      <a:pt x="1637" y="667"/>
                    </a:lnTo>
                    <a:lnTo>
                      <a:pt x="1648" y="667"/>
                    </a:lnTo>
                    <a:lnTo>
                      <a:pt x="1655" y="662"/>
                    </a:lnTo>
                    <a:lnTo>
                      <a:pt x="1667" y="644"/>
                    </a:lnTo>
                    <a:lnTo>
                      <a:pt x="1678" y="636"/>
                    </a:lnTo>
                    <a:lnTo>
                      <a:pt x="1691" y="636"/>
                    </a:lnTo>
                    <a:lnTo>
                      <a:pt x="1696" y="626"/>
                    </a:lnTo>
                    <a:lnTo>
                      <a:pt x="1703" y="639"/>
                    </a:lnTo>
                    <a:lnTo>
                      <a:pt x="1701" y="646"/>
                    </a:lnTo>
                    <a:lnTo>
                      <a:pt x="1707" y="650"/>
                    </a:lnTo>
                    <a:lnTo>
                      <a:pt x="1709" y="645"/>
                    </a:lnTo>
                    <a:lnTo>
                      <a:pt x="1713" y="655"/>
                    </a:lnTo>
                    <a:lnTo>
                      <a:pt x="1715" y="658"/>
                    </a:lnTo>
                    <a:lnTo>
                      <a:pt x="1715" y="667"/>
                    </a:lnTo>
                    <a:lnTo>
                      <a:pt x="1713" y="667"/>
                    </a:lnTo>
                    <a:lnTo>
                      <a:pt x="1730" y="673"/>
                    </a:lnTo>
                    <a:lnTo>
                      <a:pt x="1729" y="667"/>
                    </a:lnTo>
                    <a:lnTo>
                      <a:pt x="1757" y="667"/>
                    </a:lnTo>
                    <a:lnTo>
                      <a:pt x="1755" y="675"/>
                    </a:lnTo>
                    <a:lnTo>
                      <a:pt x="1757" y="682"/>
                    </a:lnTo>
                    <a:lnTo>
                      <a:pt x="1755" y="687"/>
                    </a:lnTo>
                    <a:lnTo>
                      <a:pt x="1760" y="695"/>
                    </a:lnTo>
                    <a:lnTo>
                      <a:pt x="1757" y="707"/>
                    </a:lnTo>
                    <a:lnTo>
                      <a:pt x="1763" y="715"/>
                    </a:lnTo>
                    <a:lnTo>
                      <a:pt x="1763" y="709"/>
                    </a:lnTo>
                    <a:lnTo>
                      <a:pt x="1764" y="714"/>
                    </a:lnTo>
                    <a:lnTo>
                      <a:pt x="1769" y="701"/>
                    </a:lnTo>
                    <a:lnTo>
                      <a:pt x="1771" y="683"/>
                    </a:lnTo>
                    <a:lnTo>
                      <a:pt x="1776" y="685"/>
                    </a:lnTo>
                    <a:lnTo>
                      <a:pt x="1776" y="695"/>
                    </a:lnTo>
                    <a:lnTo>
                      <a:pt x="1779" y="695"/>
                    </a:lnTo>
                    <a:lnTo>
                      <a:pt x="1777" y="705"/>
                    </a:lnTo>
                    <a:lnTo>
                      <a:pt x="1777" y="715"/>
                    </a:lnTo>
                    <a:lnTo>
                      <a:pt x="1784" y="718"/>
                    </a:lnTo>
                    <a:lnTo>
                      <a:pt x="1789" y="711"/>
                    </a:lnTo>
                    <a:lnTo>
                      <a:pt x="1796" y="727"/>
                    </a:lnTo>
                    <a:lnTo>
                      <a:pt x="1806" y="727"/>
                    </a:lnTo>
                    <a:lnTo>
                      <a:pt x="1810" y="737"/>
                    </a:lnTo>
                    <a:lnTo>
                      <a:pt x="1817" y="755"/>
                    </a:lnTo>
                    <a:lnTo>
                      <a:pt x="1809" y="764"/>
                    </a:lnTo>
                    <a:lnTo>
                      <a:pt x="1801" y="761"/>
                    </a:lnTo>
                    <a:lnTo>
                      <a:pt x="1791" y="768"/>
                    </a:lnTo>
                    <a:lnTo>
                      <a:pt x="1788" y="764"/>
                    </a:lnTo>
                    <a:lnTo>
                      <a:pt x="1790" y="774"/>
                    </a:lnTo>
                    <a:lnTo>
                      <a:pt x="1801" y="790"/>
                    </a:lnTo>
                    <a:lnTo>
                      <a:pt x="1812" y="804"/>
                    </a:lnTo>
                    <a:lnTo>
                      <a:pt x="1820" y="808"/>
                    </a:lnTo>
                    <a:lnTo>
                      <a:pt x="1821" y="788"/>
                    </a:lnTo>
                    <a:lnTo>
                      <a:pt x="1826" y="787"/>
                    </a:lnTo>
                    <a:lnTo>
                      <a:pt x="1834" y="793"/>
                    </a:lnTo>
                    <a:lnTo>
                      <a:pt x="1843" y="782"/>
                    </a:lnTo>
                    <a:lnTo>
                      <a:pt x="1852" y="785"/>
                    </a:lnTo>
                    <a:lnTo>
                      <a:pt x="1841" y="765"/>
                    </a:lnTo>
                    <a:lnTo>
                      <a:pt x="1850" y="758"/>
                    </a:lnTo>
                    <a:lnTo>
                      <a:pt x="1849" y="755"/>
                    </a:lnTo>
                    <a:lnTo>
                      <a:pt x="1841" y="755"/>
                    </a:lnTo>
                    <a:lnTo>
                      <a:pt x="1834" y="743"/>
                    </a:lnTo>
                    <a:lnTo>
                      <a:pt x="1831" y="727"/>
                    </a:lnTo>
                    <a:lnTo>
                      <a:pt x="1822" y="716"/>
                    </a:lnTo>
                    <a:lnTo>
                      <a:pt x="1827" y="712"/>
                    </a:lnTo>
                    <a:lnTo>
                      <a:pt x="1827" y="695"/>
                    </a:lnTo>
                    <a:lnTo>
                      <a:pt x="1822" y="690"/>
                    </a:lnTo>
                    <a:lnTo>
                      <a:pt x="1822" y="683"/>
                    </a:lnTo>
                    <a:lnTo>
                      <a:pt x="1809" y="675"/>
                    </a:lnTo>
                    <a:lnTo>
                      <a:pt x="1804" y="667"/>
                    </a:lnTo>
                    <a:lnTo>
                      <a:pt x="1812" y="650"/>
                    </a:lnTo>
                    <a:lnTo>
                      <a:pt x="1818" y="651"/>
                    </a:lnTo>
                    <a:lnTo>
                      <a:pt x="1821" y="644"/>
                    </a:lnTo>
                    <a:lnTo>
                      <a:pt x="1827" y="640"/>
                    </a:lnTo>
                    <a:lnTo>
                      <a:pt x="1820" y="637"/>
                    </a:lnTo>
                    <a:lnTo>
                      <a:pt x="1826" y="623"/>
                    </a:lnTo>
                    <a:lnTo>
                      <a:pt x="1839" y="623"/>
                    </a:lnTo>
                    <a:lnTo>
                      <a:pt x="1852" y="614"/>
                    </a:lnTo>
                    <a:lnTo>
                      <a:pt x="1853" y="609"/>
                    </a:lnTo>
                    <a:lnTo>
                      <a:pt x="1853" y="615"/>
                    </a:lnTo>
                    <a:lnTo>
                      <a:pt x="1876" y="613"/>
                    </a:lnTo>
                    <a:lnTo>
                      <a:pt x="1875" y="601"/>
                    </a:lnTo>
                    <a:lnTo>
                      <a:pt x="1884" y="597"/>
                    </a:lnTo>
                    <a:lnTo>
                      <a:pt x="1895" y="599"/>
                    </a:lnTo>
                    <a:lnTo>
                      <a:pt x="1893" y="582"/>
                    </a:lnTo>
                    <a:lnTo>
                      <a:pt x="1897" y="578"/>
                    </a:lnTo>
                    <a:lnTo>
                      <a:pt x="1901" y="591"/>
                    </a:lnTo>
                    <a:lnTo>
                      <a:pt x="1907" y="575"/>
                    </a:lnTo>
                    <a:lnTo>
                      <a:pt x="1912" y="569"/>
                    </a:lnTo>
                    <a:lnTo>
                      <a:pt x="1909" y="559"/>
                    </a:lnTo>
                    <a:lnTo>
                      <a:pt x="1924" y="553"/>
                    </a:lnTo>
                    <a:lnTo>
                      <a:pt x="1918" y="550"/>
                    </a:lnTo>
                    <a:lnTo>
                      <a:pt x="1925" y="542"/>
                    </a:lnTo>
                    <a:lnTo>
                      <a:pt x="1925" y="533"/>
                    </a:lnTo>
                    <a:lnTo>
                      <a:pt x="1918" y="537"/>
                    </a:lnTo>
                    <a:lnTo>
                      <a:pt x="1916" y="533"/>
                    </a:lnTo>
                    <a:lnTo>
                      <a:pt x="1884" y="545"/>
                    </a:lnTo>
                    <a:lnTo>
                      <a:pt x="1891" y="555"/>
                    </a:lnTo>
                    <a:lnTo>
                      <a:pt x="1875" y="558"/>
                    </a:lnTo>
                    <a:lnTo>
                      <a:pt x="1882" y="575"/>
                    </a:lnTo>
                    <a:lnTo>
                      <a:pt x="1884" y="566"/>
                    </a:lnTo>
                    <a:lnTo>
                      <a:pt x="1884" y="585"/>
                    </a:lnTo>
                    <a:lnTo>
                      <a:pt x="1881" y="590"/>
                    </a:lnTo>
                    <a:lnTo>
                      <a:pt x="1877" y="583"/>
                    </a:lnTo>
                    <a:lnTo>
                      <a:pt x="1880" y="578"/>
                    </a:lnTo>
                    <a:lnTo>
                      <a:pt x="1875" y="581"/>
                    </a:lnTo>
                    <a:lnTo>
                      <a:pt x="1874" y="575"/>
                    </a:lnTo>
                    <a:lnTo>
                      <a:pt x="1863" y="575"/>
                    </a:lnTo>
                    <a:lnTo>
                      <a:pt x="1858" y="577"/>
                    </a:lnTo>
                    <a:lnTo>
                      <a:pt x="1852" y="588"/>
                    </a:lnTo>
                    <a:lnTo>
                      <a:pt x="1849" y="582"/>
                    </a:lnTo>
                    <a:lnTo>
                      <a:pt x="1834" y="581"/>
                    </a:lnTo>
                    <a:lnTo>
                      <a:pt x="1832" y="576"/>
                    </a:lnTo>
                    <a:lnTo>
                      <a:pt x="1818" y="581"/>
                    </a:lnTo>
                    <a:lnTo>
                      <a:pt x="1812" y="587"/>
                    </a:lnTo>
                    <a:lnTo>
                      <a:pt x="1815" y="594"/>
                    </a:lnTo>
                    <a:lnTo>
                      <a:pt x="1822" y="596"/>
                    </a:lnTo>
                    <a:lnTo>
                      <a:pt x="1822" y="601"/>
                    </a:lnTo>
                    <a:lnTo>
                      <a:pt x="1827" y="603"/>
                    </a:lnTo>
                    <a:lnTo>
                      <a:pt x="1817" y="605"/>
                    </a:lnTo>
                    <a:lnTo>
                      <a:pt x="1809" y="612"/>
                    </a:lnTo>
                    <a:lnTo>
                      <a:pt x="1804" y="609"/>
                    </a:lnTo>
                    <a:lnTo>
                      <a:pt x="1810" y="605"/>
                    </a:lnTo>
                    <a:lnTo>
                      <a:pt x="1791" y="608"/>
                    </a:lnTo>
                    <a:lnTo>
                      <a:pt x="1791" y="602"/>
                    </a:lnTo>
                    <a:lnTo>
                      <a:pt x="1783" y="605"/>
                    </a:lnTo>
                    <a:lnTo>
                      <a:pt x="1785" y="597"/>
                    </a:lnTo>
                    <a:lnTo>
                      <a:pt x="1777" y="597"/>
                    </a:lnTo>
                    <a:lnTo>
                      <a:pt x="1779" y="590"/>
                    </a:lnTo>
                    <a:lnTo>
                      <a:pt x="1766" y="594"/>
                    </a:lnTo>
                    <a:lnTo>
                      <a:pt x="1763" y="590"/>
                    </a:lnTo>
                    <a:lnTo>
                      <a:pt x="1764" y="578"/>
                    </a:lnTo>
                    <a:lnTo>
                      <a:pt x="1776" y="564"/>
                    </a:lnTo>
                    <a:lnTo>
                      <a:pt x="1776" y="558"/>
                    </a:lnTo>
                    <a:lnTo>
                      <a:pt x="1783" y="542"/>
                    </a:lnTo>
                    <a:lnTo>
                      <a:pt x="1790" y="537"/>
                    </a:lnTo>
                    <a:lnTo>
                      <a:pt x="1822" y="533"/>
                    </a:lnTo>
                    <a:lnTo>
                      <a:pt x="1846" y="521"/>
                    </a:lnTo>
                    <a:lnTo>
                      <a:pt x="1861" y="516"/>
                    </a:lnTo>
                    <a:lnTo>
                      <a:pt x="1868" y="506"/>
                    </a:lnTo>
                    <a:lnTo>
                      <a:pt x="1882" y="501"/>
                    </a:lnTo>
                    <a:lnTo>
                      <a:pt x="1884" y="492"/>
                    </a:lnTo>
                    <a:lnTo>
                      <a:pt x="1897" y="496"/>
                    </a:lnTo>
                    <a:lnTo>
                      <a:pt x="1907" y="486"/>
                    </a:lnTo>
                    <a:lnTo>
                      <a:pt x="1916" y="492"/>
                    </a:lnTo>
                    <a:lnTo>
                      <a:pt x="1919" y="497"/>
                    </a:lnTo>
                    <a:lnTo>
                      <a:pt x="1927" y="499"/>
                    </a:lnTo>
                    <a:lnTo>
                      <a:pt x="1929" y="513"/>
                    </a:lnTo>
                    <a:lnTo>
                      <a:pt x="1944" y="522"/>
                    </a:lnTo>
                    <a:lnTo>
                      <a:pt x="1936" y="528"/>
                    </a:lnTo>
                    <a:lnTo>
                      <a:pt x="1944" y="537"/>
                    </a:lnTo>
                    <a:lnTo>
                      <a:pt x="1945" y="547"/>
                    </a:lnTo>
                    <a:lnTo>
                      <a:pt x="1954" y="551"/>
                    </a:lnTo>
                    <a:lnTo>
                      <a:pt x="1954" y="558"/>
                    </a:lnTo>
                    <a:lnTo>
                      <a:pt x="1945" y="558"/>
                    </a:lnTo>
                    <a:lnTo>
                      <a:pt x="1939" y="560"/>
                    </a:lnTo>
                    <a:lnTo>
                      <a:pt x="1939" y="565"/>
                    </a:lnTo>
                    <a:lnTo>
                      <a:pt x="1945" y="564"/>
                    </a:lnTo>
                    <a:lnTo>
                      <a:pt x="1954" y="575"/>
                    </a:lnTo>
                    <a:lnTo>
                      <a:pt x="1960" y="577"/>
                    </a:lnTo>
                    <a:lnTo>
                      <a:pt x="1962" y="582"/>
                    </a:lnTo>
                    <a:lnTo>
                      <a:pt x="1971" y="593"/>
                    </a:lnTo>
                    <a:lnTo>
                      <a:pt x="1989" y="597"/>
                    </a:lnTo>
                    <a:lnTo>
                      <a:pt x="1988" y="599"/>
                    </a:lnTo>
                    <a:lnTo>
                      <a:pt x="1989" y="608"/>
                    </a:lnTo>
                    <a:lnTo>
                      <a:pt x="1989" y="618"/>
                    </a:lnTo>
                    <a:lnTo>
                      <a:pt x="1999" y="625"/>
                    </a:lnTo>
                    <a:lnTo>
                      <a:pt x="2006" y="624"/>
                    </a:lnTo>
                    <a:lnTo>
                      <a:pt x="2020" y="630"/>
                    </a:lnTo>
                    <a:lnTo>
                      <a:pt x="2030" y="624"/>
                    </a:lnTo>
                    <a:lnTo>
                      <a:pt x="2038" y="628"/>
                    </a:lnTo>
                    <a:lnTo>
                      <a:pt x="2038" y="619"/>
                    </a:lnTo>
                    <a:lnTo>
                      <a:pt x="2046" y="624"/>
                    </a:lnTo>
                    <a:lnTo>
                      <a:pt x="2051" y="615"/>
                    </a:lnTo>
                    <a:lnTo>
                      <a:pt x="2051" y="605"/>
                    </a:lnTo>
                    <a:lnTo>
                      <a:pt x="2068" y="613"/>
                    </a:lnTo>
                    <a:lnTo>
                      <a:pt x="2068" y="630"/>
                    </a:lnTo>
                    <a:lnTo>
                      <a:pt x="2083" y="645"/>
                    </a:lnTo>
                    <a:lnTo>
                      <a:pt x="2090" y="650"/>
                    </a:lnTo>
                    <a:lnTo>
                      <a:pt x="2099" y="667"/>
                    </a:lnTo>
                    <a:lnTo>
                      <a:pt x="2106" y="667"/>
                    </a:lnTo>
                    <a:lnTo>
                      <a:pt x="2121" y="678"/>
                    </a:lnTo>
                    <a:lnTo>
                      <a:pt x="2129" y="677"/>
                    </a:lnTo>
                    <a:lnTo>
                      <a:pt x="2129" y="668"/>
                    </a:lnTo>
                    <a:lnTo>
                      <a:pt x="2137" y="669"/>
                    </a:lnTo>
                    <a:lnTo>
                      <a:pt x="2139" y="667"/>
                    </a:lnTo>
                    <a:lnTo>
                      <a:pt x="2148" y="673"/>
                    </a:lnTo>
                    <a:lnTo>
                      <a:pt x="2150" y="669"/>
                    </a:lnTo>
                    <a:lnTo>
                      <a:pt x="2164" y="677"/>
                    </a:lnTo>
                    <a:lnTo>
                      <a:pt x="2182" y="667"/>
                    </a:lnTo>
                    <a:lnTo>
                      <a:pt x="2204" y="673"/>
                    </a:lnTo>
                    <a:lnTo>
                      <a:pt x="2221" y="667"/>
                    </a:lnTo>
                    <a:lnTo>
                      <a:pt x="2230" y="655"/>
                    </a:lnTo>
                    <a:lnTo>
                      <a:pt x="2267" y="660"/>
                    </a:lnTo>
                    <a:lnTo>
                      <a:pt x="2275" y="657"/>
                    </a:lnTo>
                    <a:lnTo>
                      <a:pt x="2290" y="671"/>
                    </a:lnTo>
                    <a:lnTo>
                      <a:pt x="2293" y="668"/>
                    </a:lnTo>
                    <a:lnTo>
                      <a:pt x="2300" y="667"/>
                    </a:lnTo>
                    <a:lnTo>
                      <a:pt x="2300" y="673"/>
                    </a:lnTo>
                    <a:lnTo>
                      <a:pt x="2322" y="667"/>
                    </a:lnTo>
                    <a:lnTo>
                      <a:pt x="2337" y="667"/>
                    </a:lnTo>
                    <a:lnTo>
                      <a:pt x="2328" y="655"/>
                    </a:lnTo>
                    <a:lnTo>
                      <a:pt x="2328" y="650"/>
                    </a:lnTo>
                    <a:lnTo>
                      <a:pt x="2321" y="640"/>
                    </a:lnTo>
                    <a:lnTo>
                      <a:pt x="2317" y="630"/>
                    </a:lnTo>
                    <a:lnTo>
                      <a:pt x="2322" y="623"/>
                    </a:lnTo>
                    <a:lnTo>
                      <a:pt x="2328" y="623"/>
                    </a:lnTo>
                    <a:lnTo>
                      <a:pt x="2331" y="625"/>
                    </a:lnTo>
                    <a:lnTo>
                      <a:pt x="2336" y="636"/>
                    </a:lnTo>
                    <a:lnTo>
                      <a:pt x="2342" y="641"/>
                    </a:lnTo>
                    <a:lnTo>
                      <a:pt x="2342" y="655"/>
                    </a:lnTo>
                    <a:lnTo>
                      <a:pt x="2349" y="667"/>
                    </a:lnTo>
                    <a:lnTo>
                      <a:pt x="2359" y="669"/>
                    </a:lnTo>
                    <a:lnTo>
                      <a:pt x="2364" y="678"/>
                    </a:lnTo>
                    <a:lnTo>
                      <a:pt x="2377" y="683"/>
                    </a:lnTo>
                    <a:lnTo>
                      <a:pt x="2384" y="689"/>
                    </a:lnTo>
                    <a:lnTo>
                      <a:pt x="2396" y="688"/>
                    </a:lnTo>
                    <a:lnTo>
                      <a:pt x="2404" y="677"/>
                    </a:lnTo>
                    <a:lnTo>
                      <a:pt x="2403" y="641"/>
                    </a:lnTo>
                    <a:lnTo>
                      <a:pt x="2398" y="641"/>
                    </a:lnTo>
                    <a:lnTo>
                      <a:pt x="2397" y="650"/>
                    </a:lnTo>
                    <a:lnTo>
                      <a:pt x="2390" y="650"/>
                    </a:lnTo>
                    <a:lnTo>
                      <a:pt x="2390" y="641"/>
                    </a:lnTo>
                    <a:lnTo>
                      <a:pt x="2385" y="636"/>
                    </a:lnTo>
                    <a:lnTo>
                      <a:pt x="2364" y="637"/>
                    </a:lnTo>
                    <a:lnTo>
                      <a:pt x="2359" y="646"/>
                    </a:lnTo>
                    <a:lnTo>
                      <a:pt x="2360" y="650"/>
                    </a:lnTo>
                    <a:lnTo>
                      <a:pt x="2361" y="658"/>
                    </a:lnTo>
                    <a:lnTo>
                      <a:pt x="2354" y="656"/>
                    </a:lnTo>
                    <a:lnTo>
                      <a:pt x="2348" y="636"/>
                    </a:lnTo>
                    <a:lnTo>
                      <a:pt x="2339" y="624"/>
                    </a:lnTo>
                    <a:lnTo>
                      <a:pt x="2334" y="614"/>
                    </a:lnTo>
                    <a:lnTo>
                      <a:pt x="2342" y="619"/>
                    </a:lnTo>
                    <a:lnTo>
                      <a:pt x="2342" y="605"/>
                    </a:lnTo>
                    <a:lnTo>
                      <a:pt x="2331" y="596"/>
                    </a:lnTo>
                    <a:lnTo>
                      <a:pt x="2331" y="590"/>
                    </a:lnTo>
                    <a:lnTo>
                      <a:pt x="2321" y="575"/>
                    </a:lnTo>
                    <a:lnTo>
                      <a:pt x="2328" y="575"/>
                    </a:lnTo>
                    <a:lnTo>
                      <a:pt x="2334" y="583"/>
                    </a:lnTo>
                    <a:lnTo>
                      <a:pt x="2339" y="578"/>
                    </a:lnTo>
                    <a:lnTo>
                      <a:pt x="2339" y="575"/>
                    </a:lnTo>
                    <a:lnTo>
                      <a:pt x="2349" y="575"/>
                    </a:lnTo>
                    <a:lnTo>
                      <a:pt x="2353" y="581"/>
                    </a:lnTo>
                    <a:lnTo>
                      <a:pt x="2374" y="577"/>
                    </a:lnTo>
                    <a:lnTo>
                      <a:pt x="2374" y="575"/>
                    </a:lnTo>
                    <a:lnTo>
                      <a:pt x="2358" y="554"/>
                    </a:lnTo>
                    <a:lnTo>
                      <a:pt x="2365" y="551"/>
                    </a:lnTo>
                    <a:lnTo>
                      <a:pt x="2377" y="554"/>
                    </a:lnTo>
                    <a:lnTo>
                      <a:pt x="2379" y="562"/>
                    </a:lnTo>
                    <a:lnTo>
                      <a:pt x="2390" y="575"/>
                    </a:lnTo>
                    <a:lnTo>
                      <a:pt x="2385" y="559"/>
                    </a:lnTo>
                    <a:lnTo>
                      <a:pt x="2398" y="560"/>
                    </a:lnTo>
                    <a:lnTo>
                      <a:pt x="2404" y="575"/>
                    </a:lnTo>
                    <a:lnTo>
                      <a:pt x="2420" y="582"/>
                    </a:lnTo>
                    <a:lnTo>
                      <a:pt x="2414" y="590"/>
                    </a:lnTo>
                    <a:lnTo>
                      <a:pt x="2422" y="594"/>
                    </a:lnTo>
                    <a:lnTo>
                      <a:pt x="2439" y="587"/>
                    </a:lnTo>
                    <a:lnTo>
                      <a:pt x="2439" y="594"/>
                    </a:lnTo>
                    <a:lnTo>
                      <a:pt x="2434" y="605"/>
                    </a:lnTo>
                    <a:lnTo>
                      <a:pt x="2433" y="615"/>
                    </a:lnTo>
                    <a:lnTo>
                      <a:pt x="2427" y="623"/>
                    </a:lnTo>
                    <a:lnTo>
                      <a:pt x="2431" y="628"/>
                    </a:lnTo>
                    <a:lnTo>
                      <a:pt x="2439" y="624"/>
                    </a:lnTo>
                    <a:lnTo>
                      <a:pt x="2443" y="631"/>
                    </a:lnTo>
                    <a:lnTo>
                      <a:pt x="2443" y="612"/>
                    </a:lnTo>
                    <a:lnTo>
                      <a:pt x="2466" y="596"/>
                    </a:lnTo>
                    <a:lnTo>
                      <a:pt x="2467" y="597"/>
                    </a:lnTo>
                    <a:lnTo>
                      <a:pt x="2466" y="607"/>
                    </a:lnTo>
                    <a:lnTo>
                      <a:pt x="2467" y="619"/>
                    </a:lnTo>
                    <a:lnTo>
                      <a:pt x="2466" y="636"/>
                    </a:lnTo>
                    <a:lnTo>
                      <a:pt x="2460" y="650"/>
                    </a:lnTo>
                    <a:lnTo>
                      <a:pt x="2459" y="668"/>
                    </a:lnTo>
                    <a:lnTo>
                      <a:pt x="2466" y="683"/>
                    </a:lnTo>
                    <a:lnTo>
                      <a:pt x="2446" y="695"/>
                    </a:lnTo>
                    <a:lnTo>
                      <a:pt x="2451" y="712"/>
                    </a:lnTo>
                    <a:lnTo>
                      <a:pt x="2466" y="711"/>
                    </a:lnTo>
                    <a:lnTo>
                      <a:pt x="2466" y="736"/>
                    </a:lnTo>
                    <a:lnTo>
                      <a:pt x="2482" y="720"/>
                    </a:lnTo>
                    <a:lnTo>
                      <a:pt x="2486" y="727"/>
                    </a:lnTo>
                    <a:lnTo>
                      <a:pt x="2495" y="718"/>
                    </a:lnTo>
                    <a:lnTo>
                      <a:pt x="2495" y="727"/>
                    </a:lnTo>
                    <a:lnTo>
                      <a:pt x="2489" y="733"/>
                    </a:lnTo>
                    <a:lnTo>
                      <a:pt x="2494" y="743"/>
                    </a:lnTo>
                    <a:lnTo>
                      <a:pt x="2504" y="744"/>
                    </a:lnTo>
                    <a:lnTo>
                      <a:pt x="2509" y="727"/>
                    </a:lnTo>
                    <a:lnTo>
                      <a:pt x="2504" y="711"/>
                    </a:lnTo>
                    <a:lnTo>
                      <a:pt x="2506" y="695"/>
                    </a:lnTo>
                    <a:lnTo>
                      <a:pt x="2502" y="682"/>
                    </a:lnTo>
                    <a:lnTo>
                      <a:pt x="2488" y="673"/>
                    </a:lnTo>
                    <a:lnTo>
                      <a:pt x="2488" y="667"/>
                    </a:lnTo>
                    <a:lnTo>
                      <a:pt x="2495" y="636"/>
                    </a:lnTo>
                    <a:lnTo>
                      <a:pt x="2492" y="631"/>
                    </a:lnTo>
                    <a:lnTo>
                      <a:pt x="2489" y="620"/>
                    </a:lnTo>
                    <a:lnTo>
                      <a:pt x="2495" y="620"/>
                    </a:lnTo>
                    <a:lnTo>
                      <a:pt x="2500" y="618"/>
                    </a:lnTo>
                    <a:lnTo>
                      <a:pt x="2504" y="620"/>
                    </a:lnTo>
                    <a:lnTo>
                      <a:pt x="2506" y="625"/>
                    </a:lnTo>
                    <a:lnTo>
                      <a:pt x="2510" y="623"/>
                    </a:lnTo>
                    <a:lnTo>
                      <a:pt x="2521" y="621"/>
                    </a:lnTo>
                    <a:lnTo>
                      <a:pt x="2533" y="628"/>
                    </a:lnTo>
                    <a:lnTo>
                      <a:pt x="2540" y="625"/>
                    </a:lnTo>
                    <a:lnTo>
                      <a:pt x="2545" y="613"/>
                    </a:lnTo>
                    <a:lnTo>
                      <a:pt x="2549" y="607"/>
                    </a:lnTo>
                    <a:lnTo>
                      <a:pt x="2563" y="599"/>
                    </a:lnTo>
                    <a:lnTo>
                      <a:pt x="2563" y="590"/>
                    </a:lnTo>
                    <a:lnTo>
                      <a:pt x="2569" y="574"/>
                    </a:lnTo>
                    <a:lnTo>
                      <a:pt x="2595" y="555"/>
                    </a:lnTo>
                    <a:lnTo>
                      <a:pt x="2602" y="544"/>
                    </a:lnTo>
                    <a:lnTo>
                      <a:pt x="2591" y="542"/>
                    </a:lnTo>
                    <a:lnTo>
                      <a:pt x="2594" y="520"/>
                    </a:lnTo>
                    <a:lnTo>
                      <a:pt x="2592" y="506"/>
                    </a:lnTo>
                    <a:lnTo>
                      <a:pt x="2589" y="491"/>
                    </a:lnTo>
                    <a:lnTo>
                      <a:pt x="2576" y="483"/>
                    </a:lnTo>
                    <a:lnTo>
                      <a:pt x="2575" y="491"/>
                    </a:lnTo>
                    <a:lnTo>
                      <a:pt x="2573" y="499"/>
                    </a:lnTo>
                    <a:lnTo>
                      <a:pt x="2572" y="508"/>
                    </a:lnTo>
                    <a:lnTo>
                      <a:pt x="2579" y="505"/>
                    </a:lnTo>
                    <a:lnTo>
                      <a:pt x="2583" y="497"/>
                    </a:lnTo>
                    <a:lnTo>
                      <a:pt x="2570" y="522"/>
                    </a:lnTo>
                    <a:lnTo>
                      <a:pt x="2551" y="528"/>
                    </a:lnTo>
                    <a:lnTo>
                      <a:pt x="2538" y="526"/>
                    </a:lnTo>
                    <a:lnTo>
                      <a:pt x="2542" y="516"/>
                    </a:lnTo>
                    <a:lnTo>
                      <a:pt x="2543" y="494"/>
                    </a:lnTo>
                    <a:lnTo>
                      <a:pt x="2547" y="491"/>
                    </a:lnTo>
                    <a:lnTo>
                      <a:pt x="2554" y="492"/>
                    </a:lnTo>
                    <a:lnTo>
                      <a:pt x="2563" y="472"/>
                    </a:lnTo>
                    <a:lnTo>
                      <a:pt x="2563" y="462"/>
                    </a:lnTo>
                    <a:lnTo>
                      <a:pt x="2557" y="465"/>
                    </a:lnTo>
                    <a:lnTo>
                      <a:pt x="2557" y="463"/>
                    </a:lnTo>
                    <a:lnTo>
                      <a:pt x="2558" y="449"/>
                    </a:lnTo>
                    <a:lnTo>
                      <a:pt x="2567" y="432"/>
                    </a:lnTo>
                    <a:lnTo>
                      <a:pt x="2586" y="425"/>
                    </a:lnTo>
                    <a:lnTo>
                      <a:pt x="2589" y="421"/>
                    </a:lnTo>
                    <a:lnTo>
                      <a:pt x="2581" y="436"/>
                    </a:lnTo>
                    <a:lnTo>
                      <a:pt x="2581" y="451"/>
                    </a:lnTo>
                    <a:lnTo>
                      <a:pt x="2585" y="458"/>
                    </a:lnTo>
                    <a:lnTo>
                      <a:pt x="2595" y="445"/>
                    </a:lnTo>
                    <a:lnTo>
                      <a:pt x="2599" y="427"/>
                    </a:lnTo>
                    <a:lnTo>
                      <a:pt x="2594" y="408"/>
                    </a:lnTo>
                    <a:lnTo>
                      <a:pt x="2583" y="408"/>
                    </a:lnTo>
                    <a:lnTo>
                      <a:pt x="2569" y="420"/>
                    </a:lnTo>
                    <a:lnTo>
                      <a:pt x="2556" y="418"/>
                    </a:lnTo>
                    <a:lnTo>
                      <a:pt x="2542" y="391"/>
                    </a:lnTo>
                    <a:lnTo>
                      <a:pt x="2536" y="386"/>
                    </a:lnTo>
                    <a:lnTo>
                      <a:pt x="2537" y="394"/>
                    </a:lnTo>
                    <a:lnTo>
                      <a:pt x="2532" y="399"/>
                    </a:lnTo>
                    <a:lnTo>
                      <a:pt x="2524" y="392"/>
                    </a:lnTo>
                    <a:lnTo>
                      <a:pt x="2524" y="387"/>
                    </a:lnTo>
                    <a:lnTo>
                      <a:pt x="2508" y="379"/>
                    </a:lnTo>
                    <a:lnTo>
                      <a:pt x="2505" y="372"/>
                    </a:lnTo>
                    <a:lnTo>
                      <a:pt x="2505" y="367"/>
                    </a:lnTo>
                    <a:lnTo>
                      <a:pt x="2479" y="370"/>
                    </a:lnTo>
                    <a:lnTo>
                      <a:pt x="2465" y="360"/>
                    </a:lnTo>
                    <a:lnTo>
                      <a:pt x="2461" y="352"/>
                    </a:lnTo>
                    <a:lnTo>
                      <a:pt x="2465" y="345"/>
                    </a:lnTo>
                    <a:lnTo>
                      <a:pt x="2447" y="336"/>
                    </a:lnTo>
                    <a:lnTo>
                      <a:pt x="2445" y="328"/>
                    </a:lnTo>
                    <a:lnTo>
                      <a:pt x="2436" y="318"/>
                    </a:lnTo>
                    <a:lnTo>
                      <a:pt x="2434" y="290"/>
                    </a:lnTo>
                    <a:lnTo>
                      <a:pt x="2434" y="275"/>
                    </a:lnTo>
                    <a:lnTo>
                      <a:pt x="2435" y="266"/>
                    </a:lnTo>
                    <a:lnTo>
                      <a:pt x="2441" y="262"/>
                    </a:lnTo>
                    <a:lnTo>
                      <a:pt x="2445" y="262"/>
                    </a:lnTo>
                    <a:lnTo>
                      <a:pt x="2456" y="236"/>
                    </a:lnTo>
                    <a:lnTo>
                      <a:pt x="2459" y="236"/>
                    </a:lnTo>
                    <a:lnTo>
                      <a:pt x="2461" y="242"/>
                    </a:lnTo>
                    <a:lnTo>
                      <a:pt x="2465" y="237"/>
                    </a:lnTo>
                    <a:lnTo>
                      <a:pt x="2466" y="222"/>
                    </a:lnTo>
                    <a:lnTo>
                      <a:pt x="2461" y="227"/>
                    </a:lnTo>
                    <a:lnTo>
                      <a:pt x="2452" y="204"/>
                    </a:lnTo>
                    <a:lnTo>
                      <a:pt x="2444" y="194"/>
                    </a:lnTo>
                    <a:lnTo>
                      <a:pt x="2444" y="184"/>
                    </a:lnTo>
                    <a:lnTo>
                      <a:pt x="2445" y="171"/>
                    </a:lnTo>
                    <a:lnTo>
                      <a:pt x="2452" y="156"/>
                    </a:lnTo>
                    <a:lnTo>
                      <a:pt x="2449" y="156"/>
                    </a:lnTo>
                    <a:lnTo>
                      <a:pt x="2450" y="145"/>
                    </a:lnTo>
                    <a:lnTo>
                      <a:pt x="2451" y="137"/>
                    </a:lnTo>
                    <a:lnTo>
                      <a:pt x="2451" y="122"/>
                    </a:lnTo>
                    <a:lnTo>
                      <a:pt x="2455" y="117"/>
                    </a:lnTo>
                    <a:lnTo>
                      <a:pt x="2460" y="118"/>
                    </a:lnTo>
                    <a:lnTo>
                      <a:pt x="2461" y="114"/>
                    </a:lnTo>
                    <a:lnTo>
                      <a:pt x="2462" y="106"/>
                    </a:lnTo>
                    <a:lnTo>
                      <a:pt x="2470" y="101"/>
                    </a:lnTo>
                    <a:lnTo>
                      <a:pt x="2488" y="124"/>
                    </a:lnTo>
                    <a:lnTo>
                      <a:pt x="2492" y="123"/>
                    </a:lnTo>
                    <a:lnTo>
                      <a:pt x="2495" y="107"/>
                    </a:lnTo>
                    <a:lnTo>
                      <a:pt x="2493" y="86"/>
                    </a:lnTo>
                    <a:lnTo>
                      <a:pt x="2487" y="85"/>
                    </a:lnTo>
                    <a:lnTo>
                      <a:pt x="2481" y="79"/>
                    </a:lnTo>
                    <a:lnTo>
                      <a:pt x="2479" y="67"/>
                    </a:lnTo>
                    <a:lnTo>
                      <a:pt x="2488" y="52"/>
                    </a:lnTo>
                    <a:lnTo>
                      <a:pt x="2502" y="36"/>
                    </a:lnTo>
                    <a:lnTo>
                      <a:pt x="2505" y="26"/>
                    </a:lnTo>
                    <a:lnTo>
                      <a:pt x="2506" y="16"/>
                    </a:lnTo>
                    <a:lnTo>
                      <a:pt x="2513" y="2"/>
                    </a:lnTo>
                    <a:lnTo>
                      <a:pt x="2522" y="0"/>
                    </a:lnTo>
                    <a:lnTo>
                      <a:pt x="2531" y="2"/>
                    </a:lnTo>
                    <a:lnTo>
                      <a:pt x="2541" y="0"/>
                    </a:lnTo>
                    <a:lnTo>
                      <a:pt x="2551" y="10"/>
                    </a:lnTo>
                    <a:lnTo>
                      <a:pt x="2549" y="18"/>
                    </a:lnTo>
                    <a:lnTo>
                      <a:pt x="2546" y="22"/>
                    </a:lnTo>
                    <a:lnTo>
                      <a:pt x="2545" y="32"/>
                    </a:lnTo>
                    <a:lnTo>
                      <a:pt x="2546" y="38"/>
                    </a:lnTo>
                    <a:lnTo>
                      <a:pt x="2554" y="32"/>
                    </a:lnTo>
                    <a:lnTo>
                      <a:pt x="2554" y="49"/>
                    </a:lnTo>
                    <a:lnTo>
                      <a:pt x="2564" y="40"/>
                    </a:lnTo>
                    <a:lnTo>
                      <a:pt x="2567" y="32"/>
                    </a:lnTo>
                    <a:lnTo>
                      <a:pt x="2576" y="44"/>
                    </a:lnTo>
                    <a:lnTo>
                      <a:pt x="2594" y="37"/>
                    </a:lnTo>
                    <a:lnTo>
                      <a:pt x="2594" y="47"/>
                    </a:lnTo>
                    <a:lnTo>
                      <a:pt x="2590" y="63"/>
                    </a:lnTo>
                    <a:lnTo>
                      <a:pt x="2595" y="75"/>
                    </a:lnTo>
                    <a:lnTo>
                      <a:pt x="2605" y="76"/>
                    </a:lnTo>
                    <a:lnTo>
                      <a:pt x="2632" y="115"/>
                    </a:lnTo>
                    <a:lnTo>
                      <a:pt x="2637" y="147"/>
                    </a:lnTo>
                    <a:lnTo>
                      <a:pt x="2638" y="167"/>
                    </a:lnTo>
                    <a:lnTo>
                      <a:pt x="2637" y="190"/>
                    </a:lnTo>
                    <a:lnTo>
                      <a:pt x="2633" y="189"/>
                    </a:lnTo>
                    <a:lnTo>
                      <a:pt x="2634" y="198"/>
                    </a:lnTo>
                    <a:lnTo>
                      <a:pt x="2645" y="201"/>
                    </a:lnTo>
                    <a:lnTo>
                      <a:pt x="2648" y="221"/>
                    </a:lnTo>
                    <a:lnTo>
                      <a:pt x="2662" y="220"/>
                    </a:lnTo>
                    <a:lnTo>
                      <a:pt x="2671" y="230"/>
                    </a:lnTo>
                    <a:lnTo>
                      <a:pt x="2671" y="244"/>
                    </a:lnTo>
                    <a:lnTo>
                      <a:pt x="2672" y="251"/>
                    </a:lnTo>
                    <a:lnTo>
                      <a:pt x="2681" y="264"/>
                    </a:lnTo>
                    <a:lnTo>
                      <a:pt x="2683" y="274"/>
                    </a:lnTo>
                    <a:lnTo>
                      <a:pt x="2685" y="284"/>
                    </a:lnTo>
                    <a:lnTo>
                      <a:pt x="2688" y="284"/>
                    </a:lnTo>
                    <a:lnTo>
                      <a:pt x="2692" y="279"/>
                    </a:lnTo>
                    <a:lnTo>
                      <a:pt x="2693" y="274"/>
                    </a:lnTo>
                    <a:lnTo>
                      <a:pt x="2701" y="280"/>
                    </a:lnTo>
                    <a:lnTo>
                      <a:pt x="2703" y="297"/>
                    </a:lnTo>
                    <a:lnTo>
                      <a:pt x="2709" y="301"/>
                    </a:lnTo>
                    <a:lnTo>
                      <a:pt x="2713" y="308"/>
                    </a:lnTo>
                    <a:lnTo>
                      <a:pt x="2694" y="312"/>
                    </a:lnTo>
                    <a:lnTo>
                      <a:pt x="2671" y="301"/>
                    </a:lnTo>
                    <a:lnTo>
                      <a:pt x="2664" y="302"/>
                    </a:lnTo>
                    <a:lnTo>
                      <a:pt x="2665" y="306"/>
                    </a:lnTo>
                    <a:lnTo>
                      <a:pt x="2665" y="312"/>
                    </a:lnTo>
                    <a:lnTo>
                      <a:pt x="2661" y="316"/>
                    </a:lnTo>
                    <a:lnTo>
                      <a:pt x="2661" y="318"/>
                    </a:lnTo>
                    <a:lnTo>
                      <a:pt x="2680" y="321"/>
                    </a:lnTo>
                    <a:lnTo>
                      <a:pt x="2688" y="334"/>
                    </a:lnTo>
                    <a:lnTo>
                      <a:pt x="2683" y="343"/>
                    </a:lnTo>
                    <a:lnTo>
                      <a:pt x="2676" y="352"/>
                    </a:lnTo>
                    <a:lnTo>
                      <a:pt x="2670" y="352"/>
                    </a:lnTo>
                    <a:lnTo>
                      <a:pt x="2664" y="357"/>
                    </a:lnTo>
                    <a:lnTo>
                      <a:pt x="2658" y="357"/>
                    </a:lnTo>
                    <a:lnTo>
                      <a:pt x="2656" y="364"/>
                    </a:lnTo>
                    <a:lnTo>
                      <a:pt x="2648" y="371"/>
                    </a:lnTo>
                    <a:lnTo>
                      <a:pt x="2650" y="378"/>
                    </a:lnTo>
                    <a:lnTo>
                      <a:pt x="2649" y="381"/>
                    </a:lnTo>
                    <a:lnTo>
                      <a:pt x="2669" y="381"/>
                    </a:lnTo>
                    <a:lnTo>
                      <a:pt x="2673" y="388"/>
                    </a:lnTo>
                    <a:lnTo>
                      <a:pt x="2678" y="402"/>
                    </a:lnTo>
                    <a:lnTo>
                      <a:pt x="2692" y="408"/>
                    </a:lnTo>
                    <a:lnTo>
                      <a:pt x="2705" y="405"/>
                    </a:lnTo>
                    <a:lnTo>
                      <a:pt x="2715" y="391"/>
                    </a:lnTo>
                    <a:lnTo>
                      <a:pt x="2723" y="389"/>
                    </a:lnTo>
                    <a:lnTo>
                      <a:pt x="2724" y="395"/>
                    </a:lnTo>
                    <a:lnTo>
                      <a:pt x="2718" y="404"/>
                    </a:lnTo>
                    <a:lnTo>
                      <a:pt x="2725" y="402"/>
                    </a:lnTo>
                    <a:lnTo>
                      <a:pt x="2731" y="413"/>
                    </a:lnTo>
                    <a:lnTo>
                      <a:pt x="2735" y="409"/>
                    </a:lnTo>
                    <a:lnTo>
                      <a:pt x="2745" y="415"/>
                    </a:lnTo>
                    <a:lnTo>
                      <a:pt x="2748" y="406"/>
                    </a:lnTo>
                    <a:lnTo>
                      <a:pt x="2751" y="421"/>
                    </a:lnTo>
                    <a:lnTo>
                      <a:pt x="2748" y="432"/>
                    </a:lnTo>
                    <a:lnTo>
                      <a:pt x="2744" y="440"/>
                    </a:lnTo>
                    <a:lnTo>
                      <a:pt x="2735" y="430"/>
                    </a:lnTo>
                    <a:lnTo>
                      <a:pt x="2729" y="434"/>
                    </a:lnTo>
                    <a:lnTo>
                      <a:pt x="2720" y="431"/>
                    </a:lnTo>
                    <a:lnTo>
                      <a:pt x="2745" y="465"/>
                    </a:lnTo>
                    <a:lnTo>
                      <a:pt x="2755" y="469"/>
                    </a:lnTo>
                    <a:lnTo>
                      <a:pt x="2756" y="479"/>
                    </a:lnTo>
                    <a:lnTo>
                      <a:pt x="2764" y="494"/>
                    </a:lnTo>
                    <a:lnTo>
                      <a:pt x="2763" y="499"/>
                    </a:lnTo>
                    <a:lnTo>
                      <a:pt x="2773" y="515"/>
                    </a:lnTo>
                    <a:lnTo>
                      <a:pt x="2768" y="531"/>
                    </a:lnTo>
                    <a:lnTo>
                      <a:pt x="2768" y="549"/>
                    </a:lnTo>
                    <a:lnTo>
                      <a:pt x="2766" y="558"/>
                    </a:lnTo>
                    <a:lnTo>
                      <a:pt x="2771" y="574"/>
                    </a:lnTo>
                    <a:lnTo>
                      <a:pt x="2775" y="581"/>
                    </a:lnTo>
                    <a:lnTo>
                      <a:pt x="2779" y="591"/>
                    </a:lnTo>
                    <a:lnTo>
                      <a:pt x="2787" y="581"/>
                    </a:lnTo>
                    <a:lnTo>
                      <a:pt x="2798" y="559"/>
                    </a:lnTo>
                    <a:lnTo>
                      <a:pt x="2798" y="540"/>
                    </a:lnTo>
                    <a:lnTo>
                      <a:pt x="2799" y="535"/>
                    </a:lnTo>
                    <a:lnTo>
                      <a:pt x="2800" y="532"/>
                    </a:lnTo>
                    <a:lnTo>
                      <a:pt x="2806" y="532"/>
                    </a:lnTo>
                    <a:lnTo>
                      <a:pt x="2807" y="513"/>
                    </a:lnTo>
                    <a:lnTo>
                      <a:pt x="2806" y="495"/>
                    </a:lnTo>
                    <a:lnTo>
                      <a:pt x="2806" y="480"/>
                    </a:lnTo>
                    <a:lnTo>
                      <a:pt x="2818" y="465"/>
                    </a:lnTo>
                    <a:lnTo>
                      <a:pt x="2826" y="447"/>
                    </a:lnTo>
                    <a:lnTo>
                      <a:pt x="2837" y="442"/>
                    </a:lnTo>
                    <a:lnTo>
                      <a:pt x="2850" y="443"/>
                    </a:lnTo>
                    <a:lnTo>
                      <a:pt x="2855" y="462"/>
                    </a:lnTo>
                    <a:lnTo>
                      <a:pt x="2866" y="480"/>
                    </a:lnTo>
                    <a:lnTo>
                      <a:pt x="2896" y="505"/>
                    </a:lnTo>
                    <a:lnTo>
                      <a:pt x="2901" y="517"/>
                    </a:lnTo>
                    <a:lnTo>
                      <a:pt x="2907" y="554"/>
                    </a:lnTo>
                    <a:lnTo>
                      <a:pt x="2913" y="575"/>
                    </a:lnTo>
                    <a:lnTo>
                      <a:pt x="2914" y="592"/>
                    </a:lnTo>
                    <a:lnTo>
                      <a:pt x="2906" y="599"/>
                    </a:lnTo>
                    <a:lnTo>
                      <a:pt x="2897" y="597"/>
                    </a:lnTo>
                    <a:lnTo>
                      <a:pt x="2893" y="592"/>
                    </a:lnTo>
                    <a:lnTo>
                      <a:pt x="2893" y="575"/>
                    </a:lnTo>
                    <a:lnTo>
                      <a:pt x="2884" y="598"/>
                    </a:lnTo>
                    <a:lnTo>
                      <a:pt x="2887" y="615"/>
                    </a:lnTo>
                    <a:lnTo>
                      <a:pt x="2884" y="631"/>
                    </a:lnTo>
                    <a:lnTo>
                      <a:pt x="2884" y="641"/>
                    </a:lnTo>
                    <a:lnTo>
                      <a:pt x="2895" y="663"/>
                    </a:lnTo>
                    <a:lnTo>
                      <a:pt x="2900" y="677"/>
                    </a:lnTo>
                    <a:lnTo>
                      <a:pt x="2908" y="689"/>
                    </a:lnTo>
                    <a:lnTo>
                      <a:pt x="2930" y="732"/>
                    </a:lnTo>
                    <a:lnTo>
                      <a:pt x="2936" y="737"/>
                    </a:lnTo>
                    <a:lnTo>
                      <a:pt x="2944" y="746"/>
                    </a:lnTo>
                    <a:lnTo>
                      <a:pt x="2954" y="741"/>
                    </a:lnTo>
                    <a:lnTo>
                      <a:pt x="2955" y="732"/>
                    </a:lnTo>
                    <a:lnTo>
                      <a:pt x="2957" y="721"/>
                    </a:lnTo>
                    <a:lnTo>
                      <a:pt x="2966" y="716"/>
                    </a:lnTo>
                    <a:lnTo>
                      <a:pt x="2971" y="721"/>
                    </a:lnTo>
                    <a:lnTo>
                      <a:pt x="2974" y="715"/>
                    </a:lnTo>
                    <a:lnTo>
                      <a:pt x="2977" y="720"/>
                    </a:lnTo>
                    <a:lnTo>
                      <a:pt x="2983" y="721"/>
                    </a:lnTo>
                    <a:lnTo>
                      <a:pt x="2987" y="699"/>
                    </a:lnTo>
                    <a:lnTo>
                      <a:pt x="2987" y="679"/>
                    </a:lnTo>
                    <a:lnTo>
                      <a:pt x="2988" y="673"/>
                    </a:lnTo>
                    <a:lnTo>
                      <a:pt x="2997" y="653"/>
                    </a:lnTo>
                    <a:lnTo>
                      <a:pt x="3009" y="640"/>
                    </a:lnTo>
                    <a:lnTo>
                      <a:pt x="3020" y="607"/>
                    </a:lnTo>
                    <a:lnTo>
                      <a:pt x="3021" y="592"/>
                    </a:lnTo>
                    <a:lnTo>
                      <a:pt x="3027" y="586"/>
                    </a:lnTo>
                    <a:lnTo>
                      <a:pt x="3030" y="545"/>
                    </a:lnTo>
                    <a:lnTo>
                      <a:pt x="3029" y="538"/>
                    </a:lnTo>
                    <a:lnTo>
                      <a:pt x="3035" y="531"/>
                    </a:lnTo>
                    <a:lnTo>
                      <a:pt x="3047" y="529"/>
                    </a:lnTo>
                    <a:lnTo>
                      <a:pt x="3049" y="523"/>
                    </a:lnTo>
                    <a:lnTo>
                      <a:pt x="3054" y="524"/>
                    </a:lnTo>
                    <a:lnTo>
                      <a:pt x="3064" y="520"/>
                    </a:lnTo>
                    <a:lnTo>
                      <a:pt x="3076" y="524"/>
                    </a:lnTo>
                    <a:lnTo>
                      <a:pt x="3087" y="522"/>
                    </a:lnTo>
                    <a:lnTo>
                      <a:pt x="3083" y="517"/>
                    </a:lnTo>
                    <a:lnTo>
                      <a:pt x="3069" y="515"/>
                    </a:lnTo>
                    <a:lnTo>
                      <a:pt x="3064" y="507"/>
                    </a:lnTo>
                    <a:lnTo>
                      <a:pt x="3068" y="501"/>
                    </a:lnTo>
                    <a:lnTo>
                      <a:pt x="3065" y="496"/>
                    </a:lnTo>
                    <a:lnTo>
                      <a:pt x="3075" y="496"/>
                    </a:lnTo>
                    <a:lnTo>
                      <a:pt x="3074" y="488"/>
                    </a:lnTo>
                    <a:lnTo>
                      <a:pt x="3079" y="485"/>
                    </a:lnTo>
                    <a:lnTo>
                      <a:pt x="3090" y="489"/>
                    </a:lnTo>
                    <a:lnTo>
                      <a:pt x="3087" y="479"/>
                    </a:lnTo>
                    <a:lnTo>
                      <a:pt x="3080" y="479"/>
                    </a:lnTo>
                    <a:lnTo>
                      <a:pt x="3073" y="469"/>
                    </a:lnTo>
                    <a:lnTo>
                      <a:pt x="3059" y="465"/>
                    </a:lnTo>
                    <a:lnTo>
                      <a:pt x="3052" y="456"/>
                    </a:lnTo>
                    <a:lnTo>
                      <a:pt x="3047" y="442"/>
                    </a:lnTo>
                    <a:lnTo>
                      <a:pt x="3048" y="431"/>
                    </a:lnTo>
                    <a:lnTo>
                      <a:pt x="3049" y="426"/>
                    </a:lnTo>
                    <a:lnTo>
                      <a:pt x="3046" y="410"/>
                    </a:lnTo>
                    <a:lnTo>
                      <a:pt x="3048" y="400"/>
                    </a:lnTo>
                    <a:lnTo>
                      <a:pt x="3044" y="386"/>
                    </a:lnTo>
                    <a:lnTo>
                      <a:pt x="3046" y="381"/>
                    </a:lnTo>
                    <a:lnTo>
                      <a:pt x="3048" y="371"/>
                    </a:lnTo>
                    <a:lnTo>
                      <a:pt x="3048" y="360"/>
                    </a:lnTo>
                    <a:lnTo>
                      <a:pt x="3067" y="365"/>
                    </a:lnTo>
                    <a:lnTo>
                      <a:pt x="3075" y="356"/>
                    </a:lnTo>
                    <a:lnTo>
                      <a:pt x="3097" y="355"/>
                    </a:lnTo>
                    <a:lnTo>
                      <a:pt x="3116" y="360"/>
                    </a:lnTo>
                    <a:lnTo>
                      <a:pt x="3126" y="371"/>
                    </a:lnTo>
                    <a:lnTo>
                      <a:pt x="3150" y="384"/>
                    </a:lnTo>
                    <a:lnTo>
                      <a:pt x="3173" y="381"/>
                    </a:lnTo>
                    <a:lnTo>
                      <a:pt x="3181" y="386"/>
                    </a:lnTo>
                    <a:lnTo>
                      <a:pt x="3192" y="383"/>
                    </a:lnTo>
                    <a:lnTo>
                      <a:pt x="3200" y="378"/>
                    </a:lnTo>
                    <a:lnTo>
                      <a:pt x="3205" y="386"/>
                    </a:lnTo>
                    <a:lnTo>
                      <a:pt x="3205" y="403"/>
                    </a:lnTo>
                    <a:lnTo>
                      <a:pt x="3207" y="411"/>
                    </a:lnTo>
                    <a:lnTo>
                      <a:pt x="3198" y="415"/>
                    </a:lnTo>
                    <a:lnTo>
                      <a:pt x="3205" y="415"/>
                    </a:lnTo>
                    <a:lnTo>
                      <a:pt x="3216" y="431"/>
                    </a:lnTo>
                    <a:lnTo>
                      <a:pt x="3224" y="445"/>
                    </a:lnTo>
                    <a:lnTo>
                      <a:pt x="3220" y="451"/>
                    </a:lnTo>
                    <a:lnTo>
                      <a:pt x="3223" y="453"/>
                    </a:lnTo>
                    <a:lnTo>
                      <a:pt x="3251" y="451"/>
                    </a:lnTo>
                    <a:lnTo>
                      <a:pt x="3259" y="458"/>
                    </a:lnTo>
                    <a:lnTo>
                      <a:pt x="3269" y="461"/>
                    </a:lnTo>
                    <a:lnTo>
                      <a:pt x="3272" y="470"/>
                    </a:lnTo>
                    <a:lnTo>
                      <a:pt x="3262" y="484"/>
                    </a:lnTo>
                    <a:lnTo>
                      <a:pt x="3246" y="496"/>
                    </a:lnTo>
                    <a:lnTo>
                      <a:pt x="3240" y="508"/>
                    </a:lnTo>
                    <a:lnTo>
                      <a:pt x="3272" y="513"/>
                    </a:lnTo>
                    <a:lnTo>
                      <a:pt x="3277" y="526"/>
                    </a:lnTo>
                    <a:lnTo>
                      <a:pt x="3275" y="542"/>
                    </a:lnTo>
                    <a:lnTo>
                      <a:pt x="3271" y="549"/>
                    </a:lnTo>
                    <a:lnTo>
                      <a:pt x="3258" y="558"/>
                    </a:lnTo>
                    <a:lnTo>
                      <a:pt x="3252" y="559"/>
                    </a:lnTo>
                    <a:lnTo>
                      <a:pt x="3246" y="570"/>
                    </a:lnTo>
                    <a:lnTo>
                      <a:pt x="3242" y="577"/>
                    </a:lnTo>
                    <a:lnTo>
                      <a:pt x="3236" y="571"/>
                    </a:lnTo>
                    <a:lnTo>
                      <a:pt x="3232" y="556"/>
                    </a:lnTo>
                    <a:lnTo>
                      <a:pt x="3225" y="559"/>
                    </a:lnTo>
                    <a:lnTo>
                      <a:pt x="3223" y="566"/>
                    </a:lnTo>
                    <a:lnTo>
                      <a:pt x="3208" y="559"/>
                    </a:lnTo>
                    <a:lnTo>
                      <a:pt x="3207" y="569"/>
                    </a:lnTo>
                    <a:lnTo>
                      <a:pt x="3220" y="588"/>
                    </a:lnTo>
                    <a:lnTo>
                      <a:pt x="3215" y="592"/>
                    </a:lnTo>
                    <a:lnTo>
                      <a:pt x="3215" y="596"/>
                    </a:lnTo>
                    <a:lnTo>
                      <a:pt x="3221" y="597"/>
                    </a:lnTo>
                    <a:lnTo>
                      <a:pt x="3221" y="605"/>
                    </a:lnTo>
                    <a:lnTo>
                      <a:pt x="3220" y="613"/>
                    </a:lnTo>
                    <a:lnTo>
                      <a:pt x="3239" y="604"/>
                    </a:lnTo>
                    <a:lnTo>
                      <a:pt x="3232" y="620"/>
                    </a:lnTo>
                    <a:lnTo>
                      <a:pt x="3230" y="637"/>
                    </a:lnTo>
                    <a:lnTo>
                      <a:pt x="3231" y="651"/>
                    </a:lnTo>
                    <a:lnTo>
                      <a:pt x="3257" y="688"/>
                    </a:lnTo>
                    <a:lnTo>
                      <a:pt x="3268" y="699"/>
                    </a:lnTo>
                    <a:lnTo>
                      <a:pt x="3275" y="711"/>
                    </a:lnTo>
                    <a:lnTo>
                      <a:pt x="3275" y="717"/>
                    </a:lnTo>
                    <a:lnTo>
                      <a:pt x="3271" y="723"/>
                    </a:lnTo>
                    <a:lnTo>
                      <a:pt x="3271" y="738"/>
                    </a:lnTo>
                    <a:lnTo>
                      <a:pt x="3274" y="748"/>
                    </a:lnTo>
                    <a:lnTo>
                      <a:pt x="3268" y="755"/>
                    </a:lnTo>
                    <a:lnTo>
                      <a:pt x="3268" y="764"/>
                    </a:lnTo>
                    <a:lnTo>
                      <a:pt x="3255" y="770"/>
                    </a:lnTo>
                    <a:lnTo>
                      <a:pt x="3248" y="776"/>
                    </a:lnTo>
                    <a:lnTo>
                      <a:pt x="3236" y="790"/>
                    </a:lnTo>
                    <a:lnTo>
                      <a:pt x="3235" y="798"/>
                    </a:lnTo>
                    <a:lnTo>
                      <a:pt x="3230" y="807"/>
                    </a:lnTo>
                    <a:lnTo>
                      <a:pt x="3202" y="835"/>
                    </a:lnTo>
                    <a:lnTo>
                      <a:pt x="3183" y="840"/>
                    </a:lnTo>
                    <a:lnTo>
                      <a:pt x="3180" y="851"/>
                    </a:lnTo>
                    <a:lnTo>
                      <a:pt x="3170" y="863"/>
                    </a:lnTo>
                    <a:lnTo>
                      <a:pt x="3162" y="863"/>
                    </a:lnTo>
                    <a:lnTo>
                      <a:pt x="3157" y="859"/>
                    </a:lnTo>
                    <a:lnTo>
                      <a:pt x="3155" y="851"/>
                    </a:lnTo>
                    <a:lnTo>
                      <a:pt x="3134" y="831"/>
                    </a:lnTo>
                    <a:lnTo>
                      <a:pt x="3126" y="819"/>
                    </a:lnTo>
                    <a:lnTo>
                      <a:pt x="3119" y="827"/>
                    </a:lnTo>
                    <a:lnTo>
                      <a:pt x="3121" y="836"/>
                    </a:lnTo>
                    <a:lnTo>
                      <a:pt x="3133" y="855"/>
                    </a:lnTo>
                    <a:lnTo>
                      <a:pt x="3134" y="868"/>
                    </a:lnTo>
                    <a:lnTo>
                      <a:pt x="3140" y="886"/>
                    </a:lnTo>
                    <a:lnTo>
                      <a:pt x="3140" y="892"/>
                    </a:lnTo>
                    <a:lnTo>
                      <a:pt x="3139" y="886"/>
                    </a:lnTo>
                    <a:lnTo>
                      <a:pt x="3128" y="884"/>
                    </a:lnTo>
                    <a:lnTo>
                      <a:pt x="3114" y="870"/>
                    </a:lnTo>
                    <a:lnTo>
                      <a:pt x="3106" y="866"/>
                    </a:lnTo>
                    <a:lnTo>
                      <a:pt x="3103" y="863"/>
                    </a:lnTo>
                    <a:lnTo>
                      <a:pt x="3100" y="863"/>
                    </a:lnTo>
                    <a:lnTo>
                      <a:pt x="3100" y="887"/>
                    </a:lnTo>
                    <a:lnTo>
                      <a:pt x="3084" y="881"/>
                    </a:lnTo>
                    <a:lnTo>
                      <a:pt x="3076" y="882"/>
                    </a:lnTo>
                    <a:lnTo>
                      <a:pt x="3065" y="874"/>
                    </a:lnTo>
                    <a:lnTo>
                      <a:pt x="3063" y="879"/>
                    </a:lnTo>
                    <a:lnTo>
                      <a:pt x="3053" y="836"/>
                    </a:lnTo>
                    <a:lnTo>
                      <a:pt x="3044" y="835"/>
                    </a:lnTo>
                    <a:lnTo>
                      <a:pt x="3026" y="849"/>
                    </a:lnTo>
                    <a:lnTo>
                      <a:pt x="3025" y="846"/>
                    </a:lnTo>
                    <a:lnTo>
                      <a:pt x="3017" y="847"/>
                    </a:lnTo>
                    <a:lnTo>
                      <a:pt x="2990" y="838"/>
                    </a:lnTo>
                    <a:lnTo>
                      <a:pt x="2979" y="847"/>
                    </a:lnTo>
                    <a:lnTo>
                      <a:pt x="2981" y="854"/>
                    </a:lnTo>
                    <a:lnTo>
                      <a:pt x="2977" y="856"/>
                    </a:lnTo>
                    <a:lnTo>
                      <a:pt x="2979" y="865"/>
                    </a:lnTo>
                    <a:lnTo>
                      <a:pt x="3003" y="877"/>
                    </a:lnTo>
                    <a:lnTo>
                      <a:pt x="3011" y="878"/>
                    </a:lnTo>
                    <a:lnTo>
                      <a:pt x="3017" y="887"/>
                    </a:lnTo>
                    <a:lnTo>
                      <a:pt x="3015" y="895"/>
                    </a:lnTo>
                    <a:lnTo>
                      <a:pt x="3015" y="905"/>
                    </a:lnTo>
                    <a:lnTo>
                      <a:pt x="3011" y="909"/>
                    </a:lnTo>
                    <a:lnTo>
                      <a:pt x="3011" y="915"/>
                    </a:lnTo>
                    <a:lnTo>
                      <a:pt x="3009" y="921"/>
                    </a:lnTo>
                    <a:lnTo>
                      <a:pt x="3001" y="927"/>
                    </a:lnTo>
                    <a:lnTo>
                      <a:pt x="2994" y="944"/>
                    </a:lnTo>
                    <a:lnTo>
                      <a:pt x="2988" y="953"/>
                    </a:lnTo>
                    <a:lnTo>
                      <a:pt x="2981" y="960"/>
                    </a:lnTo>
                    <a:lnTo>
                      <a:pt x="2978" y="968"/>
                    </a:lnTo>
                    <a:lnTo>
                      <a:pt x="2967" y="973"/>
                    </a:lnTo>
                    <a:lnTo>
                      <a:pt x="2960" y="991"/>
                    </a:lnTo>
                    <a:lnTo>
                      <a:pt x="2956" y="996"/>
                    </a:lnTo>
                    <a:lnTo>
                      <a:pt x="2946" y="999"/>
                    </a:lnTo>
                    <a:lnTo>
                      <a:pt x="2909" y="1002"/>
                    </a:lnTo>
                    <a:lnTo>
                      <a:pt x="2906" y="994"/>
                    </a:lnTo>
                    <a:lnTo>
                      <a:pt x="2900" y="984"/>
                    </a:lnTo>
                    <a:lnTo>
                      <a:pt x="2869" y="958"/>
                    </a:lnTo>
                    <a:lnTo>
                      <a:pt x="2869" y="956"/>
                    </a:lnTo>
                    <a:lnTo>
                      <a:pt x="2847" y="947"/>
                    </a:lnTo>
                    <a:lnTo>
                      <a:pt x="2826" y="930"/>
                    </a:lnTo>
                    <a:lnTo>
                      <a:pt x="2818" y="929"/>
                    </a:lnTo>
                    <a:lnTo>
                      <a:pt x="2810" y="932"/>
                    </a:lnTo>
                    <a:lnTo>
                      <a:pt x="2794" y="927"/>
                    </a:lnTo>
                    <a:lnTo>
                      <a:pt x="2789" y="940"/>
                    </a:lnTo>
                    <a:lnTo>
                      <a:pt x="2807" y="951"/>
                    </a:lnTo>
                    <a:lnTo>
                      <a:pt x="2822" y="967"/>
                    </a:lnTo>
                    <a:lnTo>
                      <a:pt x="2833" y="986"/>
                    </a:lnTo>
                    <a:lnTo>
                      <a:pt x="2850" y="1002"/>
                    </a:lnTo>
                    <a:lnTo>
                      <a:pt x="2879" y="1006"/>
                    </a:lnTo>
                    <a:lnTo>
                      <a:pt x="2903" y="1016"/>
                    </a:lnTo>
                    <a:lnTo>
                      <a:pt x="2912" y="1011"/>
                    </a:lnTo>
                    <a:lnTo>
                      <a:pt x="2936" y="1012"/>
                    </a:lnTo>
                    <a:lnTo>
                      <a:pt x="2961" y="1016"/>
                    </a:lnTo>
                    <a:lnTo>
                      <a:pt x="2962" y="1021"/>
                    </a:lnTo>
                    <a:lnTo>
                      <a:pt x="2968" y="1019"/>
                    </a:lnTo>
                    <a:lnTo>
                      <a:pt x="2965" y="1032"/>
                    </a:lnTo>
                    <a:lnTo>
                      <a:pt x="2960" y="1040"/>
                    </a:lnTo>
                    <a:lnTo>
                      <a:pt x="2960" y="1050"/>
                    </a:lnTo>
                    <a:lnTo>
                      <a:pt x="2950" y="1062"/>
                    </a:lnTo>
                    <a:lnTo>
                      <a:pt x="2946" y="1081"/>
                    </a:lnTo>
                    <a:lnTo>
                      <a:pt x="2939" y="1085"/>
                    </a:lnTo>
                    <a:lnTo>
                      <a:pt x="2931" y="1104"/>
                    </a:lnTo>
                    <a:lnTo>
                      <a:pt x="2918" y="1110"/>
                    </a:lnTo>
                    <a:lnTo>
                      <a:pt x="2918" y="1125"/>
                    </a:lnTo>
                    <a:lnTo>
                      <a:pt x="2913" y="1131"/>
                    </a:lnTo>
                    <a:lnTo>
                      <a:pt x="2903" y="1153"/>
                    </a:lnTo>
                    <a:lnTo>
                      <a:pt x="2900" y="1151"/>
                    </a:lnTo>
                    <a:lnTo>
                      <a:pt x="2888" y="1164"/>
                    </a:lnTo>
                    <a:lnTo>
                      <a:pt x="2871" y="1174"/>
                    </a:lnTo>
                    <a:lnTo>
                      <a:pt x="2850" y="1169"/>
                    </a:lnTo>
                    <a:lnTo>
                      <a:pt x="2847" y="1177"/>
                    </a:lnTo>
                    <a:lnTo>
                      <a:pt x="2827" y="1162"/>
                    </a:lnTo>
                    <a:lnTo>
                      <a:pt x="2826" y="1166"/>
                    </a:lnTo>
                    <a:lnTo>
                      <a:pt x="2826" y="1170"/>
                    </a:lnTo>
                    <a:lnTo>
                      <a:pt x="2820" y="1159"/>
                    </a:lnTo>
                    <a:lnTo>
                      <a:pt x="2816" y="1162"/>
                    </a:lnTo>
                    <a:lnTo>
                      <a:pt x="2809" y="1156"/>
                    </a:lnTo>
                    <a:lnTo>
                      <a:pt x="2804" y="1155"/>
                    </a:lnTo>
                    <a:lnTo>
                      <a:pt x="2806" y="1162"/>
                    </a:lnTo>
                    <a:lnTo>
                      <a:pt x="2806" y="1170"/>
                    </a:lnTo>
                    <a:lnTo>
                      <a:pt x="2809" y="1180"/>
                    </a:lnTo>
                    <a:lnTo>
                      <a:pt x="2809" y="1182"/>
                    </a:lnTo>
                    <a:lnTo>
                      <a:pt x="2804" y="1182"/>
                    </a:lnTo>
                    <a:lnTo>
                      <a:pt x="2796" y="1178"/>
                    </a:lnTo>
                    <a:lnTo>
                      <a:pt x="2795" y="1189"/>
                    </a:lnTo>
                    <a:lnTo>
                      <a:pt x="2800" y="1196"/>
                    </a:lnTo>
                    <a:lnTo>
                      <a:pt x="2796" y="1201"/>
                    </a:lnTo>
                    <a:lnTo>
                      <a:pt x="2793" y="1215"/>
                    </a:lnTo>
                    <a:lnTo>
                      <a:pt x="2788" y="1222"/>
                    </a:lnTo>
                    <a:lnTo>
                      <a:pt x="2780" y="1222"/>
                    </a:lnTo>
                    <a:lnTo>
                      <a:pt x="2778" y="1229"/>
                    </a:lnTo>
                    <a:lnTo>
                      <a:pt x="2773" y="1231"/>
                    </a:lnTo>
                    <a:lnTo>
                      <a:pt x="2767" y="1228"/>
                    </a:lnTo>
                    <a:lnTo>
                      <a:pt x="2763" y="1237"/>
                    </a:lnTo>
                    <a:lnTo>
                      <a:pt x="2758" y="1229"/>
                    </a:lnTo>
                    <a:lnTo>
                      <a:pt x="2752" y="1227"/>
                    </a:lnTo>
                    <a:lnTo>
                      <a:pt x="2746" y="1221"/>
                    </a:lnTo>
                    <a:lnTo>
                      <a:pt x="2734" y="1216"/>
                    </a:lnTo>
                    <a:lnTo>
                      <a:pt x="2721" y="1205"/>
                    </a:lnTo>
                    <a:lnTo>
                      <a:pt x="2716" y="1209"/>
                    </a:lnTo>
                    <a:lnTo>
                      <a:pt x="2714" y="1195"/>
                    </a:lnTo>
                    <a:lnTo>
                      <a:pt x="2707" y="1204"/>
                    </a:lnTo>
                    <a:lnTo>
                      <a:pt x="2697" y="1205"/>
                    </a:lnTo>
                    <a:lnTo>
                      <a:pt x="2692" y="1200"/>
                    </a:lnTo>
                    <a:lnTo>
                      <a:pt x="2688" y="1204"/>
                    </a:lnTo>
                    <a:lnTo>
                      <a:pt x="2678" y="1204"/>
                    </a:lnTo>
                    <a:lnTo>
                      <a:pt x="2658" y="1195"/>
                    </a:lnTo>
                    <a:lnTo>
                      <a:pt x="2654" y="1189"/>
                    </a:lnTo>
                    <a:lnTo>
                      <a:pt x="2608" y="1167"/>
                    </a:lnTo>
                    <a:lnTo>
                      <a:pt x="2606" y="1170"/>
                    </a:lnTo>
                    <a:lnTo>
                      <a:pt x="2600" y="1182"/>
                    </a:lnTo>
                    <a:lnTo>
                      <a:pt x="2602" y="1189"/>
                    </a:lnTo>
                    <a:lnTo>
                      <a:pt x="2611" y="1195"/>
                    </a:lnTo>
                    <a:lnTo>
                      <a:pt x="2618" y="1191"/>
                    </a:lnTo>
                    <a:lnTo>
                      <a:pt x="2617" y="1186"/>
                    </a:lnTo>
                    <a:lnTo>
                      <a:pt x="2617" y="1180"/>
                    </a:lnTo>
                    <a:lnTo>
                      <a:pt x="2626" y="1189"/>
                    </a:lnTo>
                    <a:lnTo>
                      <a:pt x="2642" y="1194"/>
                    </a:lnTo>
                    <a:lnTo>
                      <a:pt x="2654" y="1200"/>
                    </a:lnTo>
                    <a:lnTo>
                      <a:pt x="2656" y="1205"/>
                    </a:lnTo>
                    <a:lnTo>
                      <a:pt x="2656" y="1211"/>
                    </a:lnTo>
                    <a:lnTo>
                      <a:pt x="2662" y="1202"/>
                    </a:lnTo>
                    <a:lnTo>
                      <a:pt x="2682" y="1209"/>
                    </a:lnTo>
                    <a:lnTo>
                      <a:pt x="2683" y="1215"/>
                    </a:lnTo>
                    <a:lnTo>
                      <a:pt x="2676" y="1220"/>
                    </a:lnTo>
                    <a:lnTo>
                      <a:pt x="2672" y="1227"/>
                    </a:lnTo>
                    <a:lnTo>
                      <a:pt x="2678" y="1228"/>
                    </a:lnTo>
                    <a:lnTo>
                      <a:pt x="2682" y="1220"/>
                    </a:lnTo>
                    <a:lnTo>
                      <a:pt x="2689" y="1213"/>
                    </a:lnTo>
                    <a:lnTo>
                      <a:pt x="2701" y="1211"/>
                    </a:lnTo>
                    <a:lnTo>
                      <a:pt x="2709" y="1215"/>
                    </a:lnTo>
                    <a:lnTo>
                      <a:pt x="2712" y="1222"/>
                    </a:lnTo>
                    <a:lnTo>
                      <a:pt x="2724" y="1233"/>
                    </a:lnTo>
                    <a:lnTo>
                      <a:pt x="2737" y="1237"/>
                    </a:lnTo>
                    <a:lnTo>
                      <a:pt x="2740" y="1242"/>
                    </a:lnTo>
                    <a:lnTo>
                      <a:pt x="2748" y="1238"/>
                    </a:lnTo>
                    <a:lnTo>
                      <a:pt x="2751" y="1243"/>
                    </a:lnTo>
                    <a:lnTo>
                      <a:pt x="2750" y="1248"/>
                    </a:lnTo>
                    <a:lnTo>
                      <a:pt x="2758" y="1258"/>
                    </a:lnTo>
                    <a:lnTo>
                      <a:pt x="2759" y="1264"/>
                    </a:lnTo>
                    <a:lnTo>
                      <a:pt x="2764" y="1287"/>
                    </a:lnTo>
                    <a:lnTo>
                      <a:pt x="2763" y="1298"/>
                    </a:lnTo>
                    <a:lnTo>
                      <a:pt x="2761" y="1304"/>
                    </a:lnTo>
                    <a:lnTo>
                      <a:pt x="2756" y="1311"/>
                    </a:lnTo>
                    <a:lnTo>
                      <a:pt x="2734" y="1311"/>
                    </a:lnTo>
                    <a:lnTo>
                      <a:pt x="2726" y="1318"/>
                    </a:lnTo>
                    <a:lnTo>
                      <a:pt x="2719" y="1322"/>
                    </a:lnTo>
                    <a:lnTo>
                      <a:pt x="2708" y="1323"/>
                    </a:lnTo>
                    <a:lnTo>
                      <a:pt x="2685" y="1320"/>
                    </a:lnTo>
                    <a:lnTo>
                      <a:pt x="2676" y="1323"/>
                    </a:lnTo>
                    <a:lnTo>
                      <a:pt x="2665" y="1319"/>
                    </a:lnTo>
                    <a:lnTo>
                      <a:pt x="2661" y="1326"/>
                    </a:lnTo>
                    <a:lnTo>
                      <a:pt x="2670" y="1341"/>
                    </a:lnTo>
                    <a:lnTo>
                      <a:pt x="2686" y="1340"/>
                    </a:lnTo>
                    <a:lnTo>
                      <a:pt x="2688" y="1347"/>
                    </a:lnTo>
                    <a:lnTo>
                      <a:pt x="2676" y="1351"/>
                    </a:lnTo>
                    <a:lnTo>
                      <a:pt x="2667" y="1347"/>
                    </a:lnTo>
                    <a:lnTo>
                      <a:pt x="2655" y="1349"/>
                    </a:lnTo>
                    <a:lnTo>
                      <a:pt x="2651" y="1368"/>
                    </a:lnTo>
                    <a:lnTo>
                      <a:pt x="2651" y="1379"/>
                    </a:lnTo>
                    <a:lnTo>
                      <a:pt x="2656" y="1410"/>
                    </a:lnTo>
                    <a:lnTo>
                      <a:pt x="2639" y="1390"/>
                    </a:lnTo>
                    <a:lnTo>
                      <a:pt x="2633" y="1393"/>
                    </a:lnTo>
                    <a:lnTo>
                      <a:pt x="2634" y="1400"/>
                    </a:lnTo>
                    <a:lnTo>
                      <a:pt x="2626" y="1406"/>
                    </a:lnTo>
                    <a:lnTo>
                      <a:pt x="2626" y="1414"/>
                    </a:lnTo>
                    <a:lnTo>
                      <a:pt x="2622" y="1421"/>
                    </a:lnTo>
                    <a:lnTo>
                      <a:pt x="2621" y="1426"/>
                    </a:lnTo>
                    <a:lnTo>
                      <a:pt x="2605" y="1426"/>
                    </a:lnTo>
                    <a:lnTo>
                      <a:pt x="2608" y="1437"/>
                    </a:lnTo>
                    <a:lnTo>
                      <a:pt x="2613" y="1441"/>
                    </a:lnTo>
                    <a:lnTo>
                      <a:pt x="2603" y="1459"/>
                    </a:lnTo>
                    <a:lnTo>
                      <a:pt x="2581" y="1475"/>
                    </a:lnTo>
                    <a:lnTo>
                      <a:pt x="2575" y="1482"/>
                    </a:lnTo>
                    <a:lnTo>
                      <a:pt x="2551" y="1484"/>
                    </a:lnTo>
                    <a:lnTo>
                      <a:pt x="2546" y="1489"/>
                    </a:lnTo>
                    <a:lnTo>
                      <a:pt x="2568" y="1506"/>
                    </a:lnTo>
                    <a:lnTo>
                      <a:pt x="2568" y="1512"/>
                    </a:lnTo>
                    <a:lnTo>
                      <a:pt x="2565" y="1524"/>
                    </a:lnTo>
                    <a:lnTo>
                      <a:pt x="2563" y="1538"/>
                    </a:lnTo>
                    <a:lnTo>
                      <a:pt x="2560" y="1544"/>
                    </a:lnTo>
                    <a:lnTo>
                      <a:pt x="2549" y="1548"/>
                    </a:lnTo>
                    <a:lnTo>
                      <a:pt x="2551" y="1573"/>
                    </a:lnTo>
                    <a:lnTo>
                      <a:pt x="2547" y="1583"/>
                    </a:lnTo>
                    <a:lnTo>
                      <a:pt x="2540" y="1584"/>
                    </a:lnTo>
                    <a:lnTo>
                      <a:pt x="2537" y="1589"/>
                    </a:lnTo>
                    <a:lnTo>
                      <a:pt x="2541" y="1605"/>
                    </a:lnTo>
                    <a:lnTo>
                      <a:pt x="2538" y="1632"/>
                    </a:lnTo>
                    <a:lnTo>
                      <a:pt x="2537" y="1642"/>
                    </a:lnTo>
                    <a:lnTo>
                      <a:pt x="2533" y="1675"/>
                    </a:lnTo>
                    <a:lnTo>
                      <a:pt x="2533" y="1702"/>
                    </a:lnTo>
                    <a:lnTo>
                      <a:pt x="2535" y="1718"/>
                    </a:lnTo>
                    <a:lnTo>
                      <a:pt x="2535" y="1729"/>
                    </a:lnTo>
                    <a:lnTo>
                      <a:pt x="2525" y="1747"/>
                    </a:lnTo>
                    <a:lnTo>
                      <a:pt x="2533" y="1749"/>
                    </a:lnTo>
                    <a:lnTo>
                      <a:pt x="2537" y="1758"/>
                    </a:lnTo>
                    <a:lnTo>
                      <a:pt x="2545" y="1770"/>
                    </a:lnTo>
                    <a:lnTo>
                      <a:pt x="2551" y="1776"/>
                    </a:lnTo>
                    <a:lnTo>
                      <a:pt x="2552" y="1776"/>
                    </a:lnTo>
                    <a:lnTo>
                      <a:pt x="2558" y="1772"/>
                    </a:lnTo>
                    <a:lnTo>
                      <a:pt x="2559" y="1779"/>
                    </a:lnTo>
                    <a:lnTo>
                      <a:pt x="2560" y="1802"/>
                    </a:lnTo>
                    <a:lnTo>
                      <a:pt x="2564" y="1797"/>
                    </a:lnTo>
                    <a:lnTo>
                      <a:pt x="2564" y="1775"/>
                    </a:lnTo>
                    <a:lnTo>
                      <a:pt x="2568" y="1772"/>
                    </a:lnTo>
                    <a:lnTo>
                      <a:pt x="2596" y="1772"/>
                    </a:lnTo>
                    <a:lnTo>
                      <a:pt x="2601" y="1776"/>
                    </a:lnTo>
                    <a:lnTo>
                      <a:pt x="2608" y="1776"/>
                    </a:lnTo>
                    <a:lnTo>
                      <a:pt x="2613" y="1774"/>
                    </a:lnTo>
                    <a:lnTo>
                      <a:pt x="2622" y="1779"/>
                    </a:lnTo>
                    <a:lnTo>
                      <a:pt x="2624" y="1785"/>
                    </a:lnTo>
                    <a:lnTo>
                      <a:pt x="2628" y="1812"/>
                    </a:lnTo>
                    <a:lnTo>
                      <a:pt x="2646" y="1856"/>
                    </a:lnTo>
                    <a:lnTo>
                      <a:pt x="2646" y="1876"/>
                    </a:lnTo>
                    <a:lnTo>
                      <a:pt x="2648" y="1890"/>
                    </a:lnTo>
                    <a:lnTo>
                      <a:pt x="2660" y="1909"/>
                    </a:lnTo>
                    <a:lnTo>
                      <a:pt x="2662" y="1936"/>
                    </a:lnTo>
                    <a:lnTo>
                      <a:pt x="2661" y="1944"/>
                    </a:lnTo>
                    <a:lnTo>
                      <a:pt x="2658" y="1953"/>
                    </a:lnTo>
                    <a:lnTo>
                      <a:pt x="2650" y="1959"/>
                    </a:lnTo>
                    <a:lnTo>
                      <a:pt x="2644" y="1964"/>
                    </a:lnTo>
                    <a:lnTo>
                      <a:pt x="2645" y="1966"/>
                    </a:lnTo>
                    <a:lnTo>
                      <a:pt x="2666" y="1955"/>
                    </a:lnTo>
                    <a:lnTo>
                      <a:pt x="2666" y="1964"/>
                    </a:lnTo>
                    <a:lnTo>
                      <a:pt x="2670" y="1964"/>
                    </a:lnTo>
                    <a:lnTo>
                      <a:pt x="2686" y="1952"/>
                    </a:lnTo>
                    <a:lnTo>
                      <a:pt x="2734" y="1930"/>
                    </a:lnTo>
                    <a:lnTo>
                      <a:pt x="2756" y="1936"/>
                    </a:lnTo>
                    <a:lnTo>
                      <a:pt x="2762" y="1942"/>
                    </a:lnTo>
                    <a:lnTo>
                      <a:pt x="2774" y="1948"/>
                    </a:lnTo>
                    <a:lnTo>
                      <a:pt x="2779" y="1957"/>
                    </a:lnTo>
                    <a:lnTo>
                      <a:pt x="2796" y="1964"/>
                    </a:lnTo>
                    <a:lnTo>
                      <a:pt x="2821" y="1976"/>
                    </a:lnTo>
                    <a:lnTo>
                      <a:pt x="2842" y="1977"/>
                    </a:lnTo>
                    <a:lnTo>
                      <a:pt x="2847" y="1980"/>
                    </a:lnTo>
                    <a:lnTo>
                      <a:pt x="2885" y="2006"/>
                    </a:lnTo>
                    <a:lnTo>
                      <a:pt x="2900" y="2012"/>
                    </a:lnTo>
                    <a:lnTo>
                      <a:pt x="2920" y="2043"/>
                    </a:lnTo>
                    <a:lnTo>
                      <a:pt x="2924" y="2049"/>
                    </a:lnTo>
                    <a:lnTo>
                      <a:pt x="2923" y="2056"/>
                    </a:lnTo>
                    <a:lnTo>
                      <a:pt x="2929" y="2061"/>
                    </a:lnTo>
                    <a:lnTo>
                      <a:pt x="2934" y="2057"/>
                    </a:lnTo>
                    <a:lnTo>
                      <a:pt x="2939" y="2060"/>
                    </a:lnTo>
                    <a:lnTo>
                      <a:pt x="2943" y="2065"/>
                    </a:lnTo>
                    <a:lnTo>
                      <a:pt x="2950" y="2066"/>
                    </a:lnTo>
                    <a:lnTo>
                      <a:pt x="2958" y="2065"/>
                    </a:lnTo>
                    <a:lnTo>
                      <a:pt x="2966" y="2066"/>
                    </a:lnTo>
                    <a:lnTo>
                      <a:pt x="2978" y="2076"/>
                    </a:lnTo>
                    <a:lnTo>
                      <a:pt x="3020" y="2089"/>
                    </a:lnTo>
                    <a:lnTo>
                      <a:pt x="3032" y="2099"/>
                    </a:lnTo>
                    <a:lnTo>
                      <a:pt x="3035" y="2106"/>
                    </a:lnTo>
                    <a:lnTo>
                      <a:pt x="3051" y="2116"/>
                    </a:lnTo>
                    <a:lnTo>
                      <a:pt x="3052" y="2122"/>
                    </a:lnTo>
                    <a:lnTo>
                      <a:pt x="3046" y="2137"/>
                    </a:lnTo>
                    <a:lnTo>
                      <a:pt x="3042" y="2149"/>
                    </a:lnTo>
                    <a:lnTo>
                      <a:pt x="3033" y="2169"/>
                    </a:lnTo>
                    <a:lnTo>
                      <a:pt x="3046" y="2148"/>
                    </a:lnTo>
                    <a:lnTo>
                      <a:pt x="3051" y="2136"/>
                    </a:lnTo>
                    <a:lnTo>
                      <a:pt x="3056" y="2127"/>
                    </a:lnTo>
                    <a:lnTo>
                      <a:pt x="3112" y="2126"/>
                    </a:lnTo>
                    <a:lnTo>
                      <a:pt x="3139" y="2132"/>
                    </a:lnTo>
                    <a:lnTo>
                      <a:pt x="3160" y="2130"/>
                    </a:lnTo>
                    <a:lnTo>
                      <a:pt x="3166" y="2131"/>
                    </a:lnTo>
                    <a:lnTo>
                      <a:pt x="3171" y="2127"/>
                    </a:lnTo>
                    <a:lnTo>
                      <a:pt x="3182" y="2130"/>
                    </a:lnTo>
                    <a:lnTo>
                      <a:pt x="3185" y="2137"/>
                    </a:lnTo>
                    <a:lnTo>
                      <a:pt x="3193" y="2136"/>
                    </a:lnTo>
                    <a:lnTo>
                      <a:pt x="3203" y="2140"/>
                    </a:lnTo>
                    <a:lnTo>
                      <a:pt x="3210" y="2145"/>
                    </a:lnTo>
                    <a:lnTo>
                      <a:pt x="3216" y="2141"/>
                    </a:lnTo>
                    <a:lnTo>
                      <a:pt x="3221" y="2165"/>
                    </a:lnTo>
                    <a:lnTo>
                      <a:pt x="3219" y="2199"/>
                    </a:lnTo>
                    <a:lnTo>
                      <a:pt x="3214" y="2217"/>
                    </a:lnTo>
                    <a:lnTo>
                      <a:pt x="3213" y="2235"/>
                    </a:lnTo>
                    <a:lnTo>
                      <a:pt x="3219" y="2246"/>
                    </a:lnTo>
                    <a:lnTo>
                      <a:pt x="3221" y="2258"/>
                    </a:lnTo>
                    <a:lnTo>
                      <a:pt x="3221" y="2281"/>
                    </a:lnTo>
                    <a:lnTo>
                      <a:pt x="3225" y="2314"/>
                    </a:lnTo>
                    <a:lnTo>
                      <a:pt x="3219" y="2321"/>
                    </a:lnTo>
                    <a:lnTo>
                      <a:pt x="3219" y="2341"/>
                    </a:lnTo>
                    <a:lnTo>
                      <a:pt x="3223" y="2348"/>
                    </a:lnTo>
                    <a:lnTo>
                      <a:pt x="3228" y="2352"/>
                    </a:lnTo>
                    <a:lnTo>
                      <a:pt x="3230" y="2358"/>
                    </a:lnTo>
                    <a:lnTo>
                      <a:pt x="3239" y="2369"/>
                    </a:lnTo>
                    <a:lnTo>
                      <a:pt x="3247" y="2373"/>
                    </a:lnTo>
                    <a:lnTo>
                      <a:pt x="3255" y="2382"/>
                    </a:lnTo>
                    <a:lnTo>
                      <a:pt x="3259" y="2393"/>
                    </a:lnTo>
                    <a:lnTo>
                      <a:pt x="3267" y="2402"/>
                    </a:lnTo>
                    <a:lnTo>
                      <a:pt x="3267" y="2405"/>
                    </a:lnTo>
                    <a:lnTo>
                      <a:pt x="3253" y="2406"/>
                    </a:lnTo>
                    <a:lnTo>
                      <a:pt x="3234" y="2418"/>
                    </a:lnTo>
                    <a:lnTo>
                      <a:pt x="3229" y="2423"/>
                    </a:lnTo>
                    <a:lnTo>
                      <a:pt x="3229" y="2425"/>
                    </a:lnTo>
                    <a:lnTo>
                      <a:pt x="3262" y="2416"/>
                    </a:lnTo>
                    <a:lnTo>
                      <a:pt x="3272" y="2417"/>
                    </a:lnTo>
                    <a:lnTo>
                      <a:pt x="3279" y="2421"/>
                    </a:lnTo>
                    <a:lnTo>
                      <a:pt x="3307" y="2450"/>
                    </a:lnTo>
                    <a:lnTo>
                      <a:pt x="3312" y="2459"/>
                    </a:lnTo>
                    <a:lnTo>
                      <a:pt x="3317" y="2477"/>
                    </a:lnTo>
                    <a:lnTo>
                      <a:pt x="3314" y="2486"/>
                    </a:lnTo>
                    <a:lnTo>
                      <a:pt x="3289" y="2514"/>
                    </a:lnTo>
                    <a:lnTo>
                      <a:pt x="3314" y="2495"/>
                    </a:lnTo>
                    <a:lnTo>
                      <a:pt x="3318" y="2488"/>
                    </a:lnTo>
                    <a:lnTo>
                      <a:pt x="3323" y="2488"/>
                    </a:lnTo>
                    <a:lnTo>
                      <a:pt x="3337" y="2500"/>
                    </a:lnTo>
                    <a:lnTo>
                      <a:pt x="3344" y="2501"/>
                    </a:lnTo>
                    <a:lnTo>
                      <a:pt x="3359" y="2512"/>
                    </a:lnTo>
                    <a:lnTo>
                      <a:pt x="3363" y="2509"/>
                    </a:lnTo>
                    <a:lnTo>
                      <a:pt x="3360" y="2482"/>
                    </a:lnTo>
                    <a:lnTo>
                      <a:pt x="3363" y="2476"/>
                    </a:lnTo>
                    <a:lnTo>
                      <a:pt x="3370" y="2476"/>
                    </a:lnTo>
                    <a:lnTo>
                      <a:pt x="3370" y="2470"/>
                    </a:lnTo>
                    <a:lnTo>
                      <a:pt x="3371" y="2464"/>
                    </a:lnTo>
                    <a:lnTo>
                      <a:pt x="3379" y="2461"/>
                    </a:lnTo>
                    <a:lnTo>
                      <a:pt x="3386" y="2461"/>
                    </a:lnTo>
                    <a:lnTo>
                      <a:pt x="3386" y="2466"/>
                    </a:lnTo>
                    <a:lnTo>
                      <a:pt x="3399" y="2475"/>
                    </a:lnTo>
                    <a:lnTo>
                      <a:pt x="3402" y="2495"/>
                    </a:lnTo>
                    <a:lnTo>
                      <a:pt x="3408" y="2493"/>
                    </a:lnTo>
                    <a:lnTo>
                      <a:pt x="3415" y="2487"/>
                    </a:lnTo>
                    <a:lnTo>
                      <a:pt x="3415" y="2481"/>
                    </a:lnTo>
                    <a:lnTo>
                      <a:pt x="3419" y="2477"/>
                    </a:lnTo>
                    <a:lnTo>
                      <a:pt x="3420" y="2470"/>
                    </a:lnTo>
                    <a:lnTo>
                      <a:pt x="3412" y="2468"/>
                    </a:lnTo>
                    <a:lnTo>
                      <a:pt x="3401" y="2450"/>
                    </a:lnTo>
                    <a:lnTo>
                      <a:pt x="3399" y="2443"/>
                    </a:lnTo>
                    <a:lnTo>
                      <a:pt x="3412" y="2442"/>
                    </a:lnTo>
                    <a:lnTo>
                      <a:pt x="3412" y="2437"/>
                    </a:lnTo>
                    <a:lnTo>
                      <a:pt x="3420" y="2432"/>
                    </a:lnTo>
                    <a:lnTo>
                      <a:pt x="3424" y="2421"/>
                    </a:lnTo>
                    <a:lnTo>
                      <a:pt x="3429" y="2415"/>
                    </a:lnTo>
                    <a:lnTo>
                      <a:pt x="3435" y="2410"/>
                    </a:lnTo>
                    <a:lnTo>
                      <a:pt x="3454" y="2411"/>
                    </a:lnTo>
                    <a:lnTo>
                      <a:pt x="3460" y="2407"/>
                    </a:lnTo>
                    <a:lnTo>
                      <a:pt x="3460" y="2405"/>
                    </a:lnTo>
                    <a:lnTo>
                      <a:pt x="3444" y="2407"/>
                    </a:lnTo>
                    <a:lnTo>
                      <a:pt x="3436" y="2406"/>
                    </a:lnTo>
                    <a:lnTo>
                      <a:pt x="3429" y="2400"/>
                    </a:lnTo>
                    <a:lnTo>
                      <a:pt x="3427" y="2391"/>
                    </a:lnTo>
                    <a:lnTo>
                      <a:pt x="3424" y="2387"/>
                    </a:lnTo>
                    <a:lnTo>
                      <a:pt x="3417" y="2383"/>
                    </a:lnTo>
                    <a:lnTo>
                      <a:pt x="3411" y="2364"/>
                    </a:lnTo>
                    <a:lnTo>
                      <a:pt x="3414" y="2361"/>
                    </a:lnTo>
                    <a:lnTo>
                      <a:pt x="3415" y="2356"/>
                    </a:lnTo>
                    <a:lnTo>
                      <a:pt x="3411" y="2353"/>
                    </a:lnTo>
                    <a:lnTo>
                      <a:pt x="3407" y="2309"/>
                    </a:lnTo>
                    <a:lnTo>
                      <a:pt x="3404" y="2299"/>
                    </a:lnTo>
                    <a:lnTo>
                      <a:pt x="3403" y="2274"/>
                    </a:lnTo>
                    <a:lnTo>
                      <a:pt x="3404" y="2264"/>
                    </a:lnTo>
                    <a:lnTo>
                      <a:pt x="3402" y="2251"/>
                    </a:lnTo>
                    <a:lnTo>
                      <a:pt x="3399" y="2242"/>
                    </a:lnTo>
                    <a:lnTo>
                      <a:pt x="3391" y="2232"/>
                    </a:lnTo>
                    <a:lnTo>
                      <a:pt x="3379" y="2206"/>
                    </a:lnTo>
                    <a:lnTo>
                      <a:pt x="3374" y="2200"/>
                    </a:lnTo>
                    <a:lnTo>
                      <a:pt x="3366" y="2197"/>
                    </a:lnTo>
                    <a:lnTo>
                      <a:pt x="3361" y="2195"/>
                    </a:lnTo>
                    <a:lnTo>
                      <a:pt x="3380" y="2186"/>
                    </a:lnTo>
                    <a:lnTo>
                      <a:pt x="3407" y="2169"/>
                    </a:lnTo>
                    <a:lnTo>
                      <a:pt x="3422" y="2162"/>
                    </a:lnTo>
                    <a:lnTo>
                      <a:pt x="3449" y="2140"/>
                    </a:lnTo>
                    <a:lnTo>
                      <a:pt x="3461" y="2132"/>
                    </a:lnTo>
                    <a:lnTo>
                      <a:pt x="3476" y="2119"/>
                    </a:lnTo>
                    <a:lnTo>
                      <a:pt x="3489" y="2104"/>
                    </a:lnTo>
                    <a:lnTo>
                      <a:pt x="3476" y="2114"/>
                    </a:lnTo>
                    <a:lnTo>
                      <a:pt x="3492" y="2092"/>
                    </a:lnTo>
                    <a:lnTo>
                      <a:pt x="3513" y="2055"/>
                    </a:lnTo>
                    <a:lnTo>
                      <a:pt x="3519" y="2041"/>
                    </a:lnTo>
                    <a:lnTo>
                      <a:pt x="3524" y="2036"/>
                    </a:lnTo>
                    <a:lnTo>
                      <a:pt x="3532" y="2038"/>
                    </a:lnTo>
                    <a:lnTo>
                      <a:pt x="3541" y="2045"/>
                    </a:lnTo>
                    <a:lnTo>
                      <a:pt x="3551" y="2040"/>
                    </a:lnTo>
                    <a:lnTo>
                      <a:pt x="3554" y="2032"/>
                    </a:lnTo>
                    <a:lnTo>
                      <a:pt x="3548" y="2030"/>
                    </a:lnTo>
                    <a:lnTo>
                      <a:pt x="3543" y="2007"/>
                    </a:lnTo>
                    <a:lnTo>
                      <a:pt x="3540" y="2001"/>
                    </a:lnTo>
                    <a:lnTo>
                      <a:pt x="3531" y="2022"/>
                    </a:lnTo>
                    <a:lnTo>
                      <a:pt x="3527" y="2030"/>
                    </a:lnTo>
                    <a:lnTo>
                      <a:pt x="3525" y="2027"/>
                    </a:lnTo>
                    <a:lnTo>
                      <a:pt x="3524" y="2005"/>
                    </a:lnTo>
                    <a:lnTo>
                      <a:pt x="3521" y="1980"/>
                    </a:lnTo>
                    <a:lnTo>
                      <a:pt x="3517" y="1959"/>
                    </a:lnTo>
                    <a:lnTo>
                      <a:pt x="3514" y="1953"/>
                    </a:lnTo>
                    <a:lnTo>
                      <a:pt x="3511" y="1947"/>
                    </a:lnTo>
                    <a:lnTo>
                      <a:pt x="3510" y="1927"/>
                    </a:lnTo>
                    <a:lnTo>
                      <a:pt x="3500" y="1892"/>
                    </a:lnTo>
                    <a:lnTo>
                      <a:pt x="3492" y="1861"/>
                    </a:lnTo>
                    <a:lnTo>
                      <a:pt x="3490" y="1849"/>
                    </a:lnTo>
                    <a:lnTo>
                      <a:pt x="3483" y="1835"/>
                    </a:lnTo>
                    <a:lnTo>
                      <a:pt x="3483" y="1829"/>
                    </a:lnTo>
                    <a:lnTo>
                      <a:pt x="3482" y="1825"/>
                    </a:lnTo>
                    <a:lnTo>
                      <a:pt x="3472" y="1826"/>
                    </a:lnTo>
                    <a:lnTo>
                      <a:pt x="3454" y="1815"/>
                    </a:lnTo>
                    <a:lnTo>
                      <a:pt x="3449" y="1809"/>
                    </a:lnTo>
                    <a:lnTo>
                      <a:pt x="3428" y="1793"/>
                    </a:lnTo>
                    <a:lnTo>
                      <a:pt x="3413" y="1777"/>
                    </a:lnTo>
                    <a:lnTo>
                      <a:pt x="3411" y="1771"/>
                    </a:lnTo>
                    <a:lnTo>
                      <a:pt x="3414" y="1767"/>
                    </a:lnTo>
                    <a:lnTo>
                      <a:pt x="3412" y="1760"/>
                    </a:lnTo>
                    <a:lnTo>
                      <a:pt x="3411" y="1749"/>
                    </a:lnTo>
                    <a:lnTo>
                      <a:pt x="3413" y="1740"/>
                    </a:lnTo>
                    <a:lnTo>
                      <a:pt x="3419" y="1739"/>
                    </a:lnTo>
                    <a:lnTo>
                      <a:pt x="3433" y="1729"/>
                    </a:lnTo>
                    <a:lnTo>
                      <a:pt x="3451" y="1729"/>
                    </a:lnTo>
                    <a:lnTo>
                      <a:pt x="3455" y="1723"/>
                    </a:lnTo>
                    <a:lnTo>
                      <a:pt x="3471" y="1722"/>
                    </a:lnTo>
                    <a:lnTo>
                      <a:pt x="3471" y="1708"/>
                    </a:lnTo>
                    <a:lnTo>
                      <a:pt x="3465" y="1705"/>
                    </a:lnTo>
                    <a:lnTo>
                      <a:pt x="3465" y="1695"/>
                    </a:lnTo>
                    <a:lnTo>
                      <a:pt x="3470" y="1683"/>
                    </a:lnTo>
                    <a:lnTo>
                      <a:pt x="3483" y="1688"/>
                    </a:lnTo>
                    <a:lnTo>
                      <a:pt x="3487" y="1691"/>
                    </a:lnTo>
                    <a:lnTo>
                      <a:pt x="3508" y="1686"/>
                    </a:lnTo>
                    <a:lnTo>
                      <a:pt x="3492" y="1681"/>
                    </a:lnTo>
                    <a:lnTo>
                      <a:pt x="3487" y="1675"/>
                    </a:lnTo>
                    <a:lnTo>
                      <a:pt x="3487" y="1664"/>
                    </a:lnTo>
                    <a:lnTo>
                      <a:pt x="3489" y="1658"/>
                    </a:lnTo>
                    <a:lnTo>
                      <a:pt x="3493" y="1658"/>
                    </a:lnTo>
                    <a:lnTo>
                      <a:pt x="3500" y="1643"/>
                    </a:lnTo>
                    <a:lnTo>
                      <a:pt x="3493" y="1648"/>
                    </a:lnTo>
                    <a:lnTo>
                      <a:pt x="3471" y="1645"/>
                    </a:lnTo>
                    <a:lnTo>
                      <a:pt x="3471" y="1635"/>
                    </a:lnTo>
                    <a:lnTo>
                      <a:pt x="3476" y="1637"/>
                    </a:lnTo>
                    <a:lnTo>
                      <a:pt x="3482" y="1634"/>
                    </a:lnTo>
                    <a:lnTo>
                      <a:pt x="3483" y="1625"/>
                    </a:lnTo>
                    <a:lnTo>
                      <a:pt x="3477" y="1616"/>
                    </a:lnTo>
                    <a:lnTo>
                      <a:pt x="3476" y="1615"/>
                    </a:lnTo>
                    <a:lnTo>
                      <a:pt x="3467" y="1597"/>
                    </a:lnTo>
                    <a:lnTo>
                      <a:pt x="3472" y="1578"/>
                    </a:lnTo>
                    <a:lnTo>
                      <a:pt x="3466" y="1576"/>
                    </a:lnTo>
                    <a:lnTo>
                      <a:pt x="3465" y="1568"/>
                    </a:lnTo>
                    <a:lnTo>
                      <a:pt x="3483" y="1562"/>
                    </a:lnTo>
                    <a:lnTo>
                      <a:pt x="3483" y="1561"/>
                    </a:lnTo>
                    <a:lnTo>
                      <a:pt x="3473" y="1561"/>
                    </a:lnTo>
                    <a:lnTo>
                      <a:pt x="3468" y="1556"/>
                    </a:lnTo>
                    <a:lnTo>
                      <a:pt x="3460" y="1561"/>
                    </a:lnTo>
                    <a:lnTo>
                      <a:pt x="3452" y="1559"/>
                    </a:lnTo>
                    <a:lnTo>
                      <a:pt x="3445" y="1550"/>
                    </a:lnTo>
                    <a:lnTo>
                      <a:pt x="3445" y="1539"/>
                    </a:lnTo>
                    <a:lnTo>
                      <a:pt x="3456" y="1523"/>
                    </a:lnTo>
                    <a:lnTo>
                      <a:pt x="3461" y="1505"/>
                    </a:lnTo>
                    <a:lnTo>
                      <a:pt x="3467" y="1500"/>
                    </a:lnTo>
                    <a:lnTo>
                      <a:pt x="3467" y="1486"/>
                    </a:lnTo>
                    <a:lnTo>
                      <a:pt x="3471" y="1485"/>
                    </a:lnTo>
                    <a:lnTo>
                      <a:pt x="3476" y="1478"/>
                    </a:lnTo>
                    <a:lnTo>
                      <a:pt x="3476" y="1468"/>
                    </a:lnTo>
                    <a:lnTo>
                      <a:pt x="3483" y="1465"/>
                    </a:lnTo>
                    <a:lnTo>
                      <a:pt x="3485" y="1447"/>
                    </a:lnTo>
                    <a:lnTo>
                      <a:pt x="3481" y="1454"/>
                    </a:lnTo>
                    <a:lnTo>
                      <a:pt x="3472" y="1457"/>
                    </a:lnTo>
                    <a:lnTo>
                      <a:pt x="3466" y="1452"/>
                    </a:lnTo>
                    <a:lnTo>
                      <a:pt x="3458" y="1449"/>
                    </a:lnTo>
                    <a:lnTo>
                      <a:pt x="3449" y="1441"/>
                    </a:lnTo>
                    <a:lnTo>
                      <a:pt x="3447" y="1428"/>
                    </a:lnTo>
                    <a:lnTo>
                      <a:pt x="3442" y="1419"/>
                    </a:lnTo>
                    <a:lnTo>
                      <a:pt x="3441" y="1404"/>
                    </a:lnTo>
                    <a:lnTo>
                      <a:pt x="3441" y="1392"/>
                    </a:lnTo>
                    <a:lnTo>
                      <a:pt x="3442" y="1387"/>
                    </a:lnTo>
                    <a:lnTo>
                      <a:pt x="3454" y="1379"/>
                    </a:lnTo>
                    <a:lnTo>
                      <a:pt x="3466" y="1360"/>
                    </a:lnTo>
                    <a:lnTo>
                      <a:pt x="3474" y="1350"/>
                    </a:lnTo>
                    <a:lnTo>
                      <a:pt x="3481" y="1347"/>
                    </a:lnTo>
                    <a:lnTo>
                      <a:pt x="3481" y="1355"/>
                    </a:lnTo>
                    <a:lnTo>
                      <a:pt x="3490" y="1354"/>
                    </a:lnTo>
                    <a:lnTo>
                      <a:pt x="3516" y="1355"/>
                    </a:lnTo>
                    <a:lnTo>
                      <a:pt x="3547" y="1362"/>
                    </a:lnTo>
                    <a:lnTo>
                      <a:pt x="3552" y="1367"/>
                    </a:lnTo>
                    <a:lnTo>
                      <a:pt x="3553" y="1369"/>
                    </a:lnTo>
                    <a:lnTo>
                      <a:pt x="3562" y="1374"/>
                    </a:lnTo>
                    <a:lnTo>
                      <a:pt x="3579" y="1377"/>
                    </a:lnTo>
                    <a:lnTo>
                      <a:pt x="3586" y="1379"/>
                    </a:lnTo>
                    <a:lnTo>
                      <a:pt x="3583" y="1388"/>
                    </a:lnTo>
                    <a:lnTo>
                      <a:pt x="3585" y="1390"/>
                    </a:lnTo>
                    <a:lnTo>
                      <a:pt x="3596" y="1383"/>
                    </a:lnTo>
                    <a:lnTo>
                      <a:pt x="3612" y="1383"/>
                    </a:lnTo>
                    <a:lnTo>
                      <a:pt x="3616" y="1389"/>
                    </a:lnTo>
                    <a:lnTo>
                      <a:pt x="3613" y="1397"/>
                    </a:lnTo>
                    <a:lnTo>
                      <a:pt x="3633" y="1395"/>
                    </a:lnTo>
                    <a:lnTo>
                      <a:pt x="3630" y="1390"/>
                    </a:lnTo>
                    <a:lnTo>
                      <a:pt x="3637" y="1384"/>
                    </a:lnTo>
                    <a:lnTo>
                      <a:pt x="3670" y="1373"/>
                    </a:lnTo>
                    <a:lnTo>
                      <a:pt x="3682" y="1361"/>
                    </a:lnTo>
                    <a:lnTo>
                      <a:pt x="3715" y="1378"/>
                    </a:lnTo>
                    <a:lnTo>
                      <a:pt x="3724" y="1390"/>
                    </a:lnTo>
                    <a:lnTo>
                      <a:pt x="3739" y="1397"/>
                    </a:lnTo>
                    <a:lnTo>
                      <a:pt x="3748" y="1398"/>
                    </a:lnTo>
                    <a:lnTo>
                      <a:pt x="3751" y="1403"/>
                    </a:lnTo>
                    <a:lnTo>
                      <a:pt x="3752" y="1411"/>
                    </a:lnTo>
                    <a:lnTo>
                      <a:pt x="3740" y="1438"/>
                    </a:lnTo>
                    <a:lnTo>
                      <a:pt x="3743" y="1435"/>
                    </a:lnTo>
                    <a:lnTo>
                      <a:pt x="3751" y="1437"/>
                    </a:lnTo>
                    <a:lnTo>
                      <a:pt x="3753" y="1433"/>
                    </a:lnTo>
                    <a:lnTo>
                      <a:pt x="3753" y="1422"/>
                    </a:lnTo>
                    <a:lnTo>
                      <a:pt x="3759" y="1421"/>
                    </a:lnTo>
                    <a:lnTo>
                      <a:pt x="3769" y="1425"/>
                    </a:lnTo>
                    <a:lnTo>
                      <a:pt x="3769" y="1441"/>
                    </a:lnTo>
                    <a:lnTo>
                      <a:pt x="3775" y="1448"/>
                    </a:lnTo>
                    <a:lnTo>
                      <a:pt x="3778" y="1455"/>
                    </a:lnTo>
                    <a:lnTo>
                      <a:pt x="3770" y="1460"/>
                    </a:lnTo>
                    <a:lnTo>
                      <a:pt x="3772" y="1469"/>
                    </a:lnTo>
                    <a:lnTo>
                      <a:pt x="3782" y="1465"/>
                    </a:lnTo>
                    <a:lnTo>
                      <a:pt x="3784" y="1458"/>
                    </a:lnTo>
                    <a:lnTo>
                      <a:pt x="3793" y="1455"/>
                    </a:lnTo>
                    <a:lnTo>
                      <a:pt x="3801" y="1458"/>
                    </a:lnTo>
                    <a:lnTo>
                      <a:pt x="3807" y="1464"/>
                    </a:lnTo>
                    <a:lnTo>
                      <a:pt x="3802" y="1471"/>
                    </a:lnTo>
                    <a:lnTo>
                      <a:pt x="3798" y="1474"/>
                    </a:lnTo>
                    <a:lnTo>
                      <a:pt x="3791" y="1479"/>
                    </a:lnTo>
                    <a:lnTo>
                      <a:pt x="3791" y="1489"/>
                    </a:lnTo>
                    <a:lnTo>
                      <a:pt x="3794" y="1495"/>
                    </a:lnTo>
                    <a:lnTo>
                      <a:pt x="3799" y="1501"/>
                    </a:lnTo>
                    <a:lnTo>
                      <a:pt x="3807" y="1503"/>
                    </a:lnTo>
                    <a:lnTo>
                      <a:pt x="3805" y="1511"/>
                    </a:lnTo>
                    <a:lnTo>
                      <a:pt x="3806" y="1514"/>
                    </a:lnTo>
                    <a:lnTo>
                      <a:pt x="3823" y="1511"/>
                    </a:lnTo>
                    <a:lnTo>
                      <a:pt x="3834" y="1513"/>
                    </a:lnTo>
                    <a:lnTo>
                      <a:pt x="3837" y="1523"/>
                    </a:lnTo>
                    <a:lnTo>
                      <a:pt x="3843" y="1532"/>
                    </a:lnTo>
                    <a:lnTo>
                      <a:pt x="3849" y="1524"/>
                    </a:lnTo>
                    <a:lnTo>
                      <a:pt x="3864" y="1529"/>
                    </a:lnTo>
                    <a:lnTo>
                      <a:pt x="3877" y="1523"/>
                    </a:lnTo>
                    <a:lnTo>
                      <a:pt x="3882" y="1529"/>
                    </a:lnTo>
                    <a:lnTo>
                      <a:pt x="3884" y="1537"/>
                    </a:lnTo>
                    <a:lnTo>
                      <a:pt x="3884" y="1544"/>
                    </a:lnTo>
                    <a:lnTo>
                      <a:pt x="3888" y="1545"/>
                    </a:lnTo>
                    <a:lnTo>
                      <a:pt x="3908" y="1535"/>
                    </a:lnTo>
                    <a:lnTo>
                      <a:pt x="3907" y="1528"/>
                    </a:lnTo>
                    <a:lnTo>
                      <a:pt x="3914" y="1524"/>
                    </a:lnTo>
                    <a:lnTo>
                      <a:pt x="3925" y="1541"/>
                    </a:lnTo>
                    <a:lnTo>
                      <a:pt x="3926" y="1548"/>
                    </a:lnTo>
                    <a:lnTo>
                      <a:pt x="3925" y="1553"/>
                    </a:lnTo>
                    <a:lnTo>
                      <a:pt x="3920" y="1560"/>
                    </a:lnTo>
                    <a:lnTo>
                      <a:pt x="3912" y="1566"/>
                    </a:lnTo>
                    <a:lnTo>
                      <a:pt x="3912" y="1575"/>
                    </a:lnTo>
                    <a:lnTo>
                      <a:pt x="3909" y="1584"/>
                    </a:lnTo>
                    <a:lnTo>
                      <a:pt x="3912" y="1592"/>
                    </a:lnTo>
                    <a:lnTo>
                      <a:pt x="3911" y="1598"/>
                    </a:lnTo>
                    <a:lnTo>
                      <a:pt x="3915" y="1599"/>
                    </a:lnTo>
                    <a:lnTo>
                      <a:pt x="3918" y="1615"/>
                    </a:lnTo>
                    <a:lnTo>
                      <a:pt x="3926" y="1632"/>
                    </a:lnTo>
                    <a:lnTo>
                      <a:pt x="3913" y="1634"/>
                    </a:lnTo>
                    <a:lnTo>
                      <a:pt x="3912" y="1638"/>
                    </a:lnTo>
                    <a:lnTo>
                      <a:pt x="3908" y="1642"/>
                    </a:lnTo>
                    <a:lnTo>
                      <a:pt x="3896" y="1642"/>
                    </a:lnTo>
                    <a:lnTo>
                      <a:pt x="3887" y="1640"/>
                    </a:lnTo>
                    <a:lnTo>
                      <a:pt x="3869" y="1641"/>
                    </a:lnTo>
                    <a:lnTo>
                      <a:pt x="3853" y="1638"/>
                    </a:lnTo>
                    <a:lnTo>
                      <a:pt x="3842" y="1631"/>
                    </a:lnTo>
                    <a:lnTo>
                      <a:pt x="3831" y="1632"/>
                    </a:lnTo>
                    <a:lnTo>
                      <a:pt x="3826" y="1636"/>
                    </a:lnTo>
                    <a:lnTo>
                      <a:pt x="3845" y="1638"/>
                    </a:lnTo>
                    <a:lnTo>
                      <a:pt x="3863" y="1650"/>
                    </a:lnTo>
                    <a:lnTo>
                      <a:pt x="3899" y="1648"/>
                    </a:lnTo>
                    <a:lnTo>
                      <a:pt x="3912" y="1653"/>
                    </a:lnTo>
                    <a:lnTo>
                      <a:pt x="3924" y="1664"/>
                    </a:lnTo>
                    <a:lnTo>
                      <a:pt x="3926" y="1674"/>
                    </a:lnTo>
                    <a:lnTo>
                      <a:pt x="3924" y="1677"/>
                    </a:lnTo>
                    <a:lnTo>
                      <a:pt x="3926" y="1683"/>
                    </a:lnTo>
                    <a:lnTo>
                      <a:pt x="3913" y="1713"/>
                    </a:lnTo>
                    <a:lnTo>
                      <a:pt x="3915" y="1717"/>
                    </a:lnTo>
                    <a:lnTo>
                      <a:pt x="3931" y="1712"/>
                    </a:lnTo>
                    <a:lnTo>
                      <a:pt x="3938" y="1717"/>
                    </a:lnTo>
                    <a:lnTo>
                      <a:pt x="3935" y="1722"/>
                    </a:lnTo>
                    <a:lnTo>
                      <a:pt x="3923" y="1731"/>
                    </a:lnTo>
                    <a:lnTo>
                      <a:pt x="3924" y="1736"/>
                    </a:lnTo>
                    <a:lnTo>
                      <a:pt x="3934" y="1736"/>
                    </a:lnTo>
                    <a:lnTo>
                      <a:pt x="3938" y="1743"/>
                    </a:lnTo>
                    <a:lnTo>
                      <a:pt x="3938" y="1748"/>
                    </a:lnTo>
                    <a:lnTo>
                      <a:pt x="3935" y="1751"/>
                    </a:lnTo>
                    <a:lnTo>
                      <a:pt x="3931" y="1750"/>
                    </a:lnTo>
                    <a:lnTo>
                      <a:pt x="3930" y="1748"/>
                    </a:lnTo>
                    <a:lnTo>
                      <a:pt x="3924" y="1755"/>
                    </a:lnTo>
                    <a:lnTo>
                      <a:pt x="3912" y="1766"/>
                    </a:lnTo>
                    <a:lnTo>
                      <a:pt x="3909" y="1755"/>
                    </a:lnTo>
                    <a:lnTo>
                      <a:pt x="3903" y="1749"/>
                    </a:lnTo>
                    <a:lnTo>
                      <a:pt x="3893" y="1750"/>
                    </a:lnTo>
                    <a:lnTo>
                      <a:pt x="3899" y="1764"/>
                    </a:lnTo>
                    <a:lnTo>
                      <a:pt x="3899" y="1770"/>
                    </a:lnTo>
                    <a:lnTo>
                      <a:pt x="3879" y="1774"/>
                    </a:lnTo>
                    <a:lnTo>
                      <a:pt x="3885" y="1779"/>
                    </a:lnTo>
                    <a:lnTo>
                      <a:pt x="3895" y="1779"/>
                    </a:lnTo>
                    <a:lnTo>
                      <a:pt x="3901" y="1780"/>
                    </a:lnTo>
                    <a:lnTo>
                      <a:pt x="3907" y="1787"/>
                    </a:lnTo>
                    <a:lnTo>
                      <a:pt x="3924" y="1770"/>
                    </a:lnTo>
                    <a:lnTo>
                      <a:pt x="3931" y="1765"/>
                    </a:lnTo>
                    <a:lnTo>
                      <a:pt x="3945" y="1765"/>
                    </a:lnTo>
                    <a:lnTo>
                      <a:pt x="3956" y="1761"/>
                    </a:lnTo>
                    <a:lnTo>
                      <a:pt x="3969" y="1760"/>
                    </a:lnTo>
                    <a:lnTo>
                      <a:pt x="3979" y="1764"/>
                    </a:lnTo>
                    <a:lnTo>
                      <a:pt x="3985" y="1788"/>
                    </a:lnTo>
                    <a:lnTo>
                      <a:pt x="3990" y="1793"/>
                    </a:lnTo>
                    <a:lnTo>
                      <a:pt x="3992" y="1808"/>
                    </a:lnTo>
                    <a:lnTo>
                      <a:pt x="3987" y="1839"/>
                    </a:lnTo>
                    <a:lnTo>
                      <a:pt x="3972" y="1851"/>
                    </a:lnTo>
                    <a:lnTo>
                      <a:pt x="3934" y="1872"/>
                    </a:lnTo>
                    <a:lnTo>
                      <a:pt x="3966" y="1860"/>
                    </a:lnTo>
                    <a:lnTo>
                      <a:pt x="3987" y="1844"/>
                    </a:lnTo>
                    <a:lnTo>
                      <a:pt x="3994" y="1829"/>
                    </a:lnTo>
                    <a:lnTo>
                      <a:pt x="4000" y="1802"/>
                    </a:lnTo>
                    <a:lnTo>
                      <a:pt x="4008" y="1791"/>
                    </a:lnTo>
                    <a:lnTo>
                      <a:pt x="4008" y="1812"/>
                    </a:lnTo>
                    <a:lnTo>
                      <a:pt x="4005" y="1818"/>
                    </a:lnTo>
                    <a:lnTo>
                      <a:pt x="4015" y="1807"/>
                    </a:lnTo>
                    <a:lnTo>
                      <a:pt x="4017" y="1817"/>
                    </a:lnTo>
                    <a:lnTo>
                      <a:pt x="4015" y="1825"/>
                    </a:lnTo>
                    <a:lnTo>
                      <a:pt x="4016" y="1840"/>
                    </a:lnTo>
                    <a:lnTo>
                      <a:pt x="4019" y="1844"/>
                    </a:lnTo>
                    <a:lnTo>
                      <a:pt x="4026" y="1828"/>
                    </a:lnTo>
                    <a:lnTo>
                      <a:pt x="4055" y="1808"/>
                    </a:lnTo>
                    <a:lnTo>
                      <a:pt x="4078" y="1802"/>
                    </a:lnTo>
                    <a:lnTo>
                      <a:pt x="4079" y="1788"/>
                    </a:lnTo>
                    <a:lnTo>
                      <a:pt x="4085" y="1775"/>
                    </a:lnTo>
                    <a:lnTo>
                      <a:pt x="4091" y="1766"/>
                    </a:lnTo>
                    <a:lnTo>
                      <a:pt x="4100" y="1775"/>
                    </a:lnTo>
                    <a:lnTo>
                      <a:pt x="4112" y="1781"/>
                    </a:lnTo>
                    <a:lnTo>
                      <a:pt x="4116" y="1791"/>
                    </a:lnTo>
                    <a:lnTo>
                      <a:pt x="4111" y="1809"/>
                    </a:lnTo>
                    <a:lnTo>
                      <a:pt x="4114" y="1803"/>
                    </a:lnTo>
                    <a:lnTo>
                      <a:pt x="4123" y="1782"/>
                    </a:lnTo>
                    <a:lnTo>
                      <a:pt x="4116" y="1772"/>
                    </a:lnTo>
                    <a:lnTo>
                      <a:pt x="4110" y="1766"/>
                    </a:lnTo>
                    <a:lnTo>
                      <a:pt x="4106" y="1758"/>
                    </a:lnTo>
                    <a:lnTo>
                      <a:pt x="4116" y="1766"/>
                    </a:lnTo>
                    <a:lnTo>
                      <a:pt x="4122" y="1764"/>
                    </a:lnTo>
                    <a:lnTo>
                      <a:pt x="4127" y="1758"/>
                    </a:lnTo>
                    <a:lnTo>
                      <a:pt x="4123" y="1755"/>
                    </a:lnTo>
                    <a:lnTo>
                      <a:pt x="4124" y="1745"/>
                    </a:lnTo>
                    <a:lnTo>
                      <a:pt x="4133" y="1747"/>
                    </a:lnTo>
                    <a:lnTo>
                      <a:pt x="4135" y="1732"/>
                    </a:lnTo>
                    <a:lnTo>
                      <a:pt x="4130" y="1718"/>
                    </a:lnTo>
                    <a:lnTo>
                      <a:pt x="4137" y="1726"/>
                    </a:lnTo>
                    <a:lnTo>
                      <a:pt x="4141" y="1717"/>
                    </a:lnTo>
                    <a:lnTo>
                      <a:pt x="4149" y="1712"/>
                    </a:lnTo>
                    <a:lnTo>
                      <a:pt x="4149" y="1704"/>
                    </a:lnTo>
                    <a:lnTo>
                      <a:pt x="4157" y="1699"/>
                    </a:lnTo>
                    <a:lnTo>
                      <a:pt x="4150" y="1686"/>
                    </a:lnTo>
                    <a:lnTo>
                      <a:pt x="4143" y="1679"/>
                    </a:lnTo>
                    <a:lnTo>
                      <a:pt x="4138" y="1669"/>
                    </a:lnTo>
                    <a:lnTo>
                      <a:pt x="4143" y="1658"/>
                    </a:lnTo>
                    <a:lnTo>
                      <a:pt x="4157" y="1635"/>
                    </a:lnTo>
                    <a:lnTo>
                      <a:pt x="4165" y="1630"/>
                    </a:lnTo>
                    <a:lnTo>
                      <a:pt x="4172" y="1621"/>
                    </a:lnTo>
                    <a:lnTo>
                      <a:pt x="4172" y="1619"/>
                    </a:lnTo>
                    <a:lnTo>
                      <a:pt x="4177" y="1609"/>
                    </a:lnTo>
                    <a:lnTo>
                      <a:pt x="4186" y="1608"/>
                    </a:lnTo>
                    <a:lnTo>
                      <a:pt x="4196" y="1609"/>
                    </a:lnTo>
                    <a:lnTo>
                      <a:pt x="4198" y="1615"/>
                    </a:lnTo>
                    <a:lnTo>
                      <a:pt x="4194" y="1621"/>
                    </a:lnTo>
                    <a:lnTo>
                      <a:pt x="4202" y="1623"/>
                    </a:lnTo>
                    <a:lnTo>
                      <a:pt x="4200" y="1631"/>
                    </a:lnTo>
                    <a:lnTo>
                      <a:pt x="4203" y="1638"/>
                    </a:lnTo>
                    <a:lnTo>
                      <a:pt x="4203" y="1650"/>
                    </a:lnTo>
                    <a:lnTo>
                      <a:pt x="4198" y="1656"/>
                    </a:lnTo>
                    <a:lnTo>
                      <a:pt x="4207" y="1651"/>
                    </a:lnTo>
                    <a:lnTo>
                      <a:pt x="4211" y="1656"/>
                    </a:lnTo>
                    <a:lnTo>
                      <a:pt x="4211" y="1679"/>
                    </a:lnTo>
                    <a:lnTo>
                      <a:pt x="4223" y="1680"/>
                    </a:lnTo>
                    <a:lnTo>
                      <a:pt x="4218" y="1683"/>
                    </a:lnTo>
                    <a:lnTo>
                      <a:pt x="4219" y="1690"/>
                    </a:lnTo>
                    <a:lnTo>
                      <a:pt x="4229" y="1688"/>
                    </a:lnTo>
                    <a:lnTo>
                      <a:pt x="4239" y="1693"/>
                    </a:lnTo>
                    <a:lnTo>
                      <a:pt x="4234" y="1700"/>
                    </a:lnTo>
                    <a:lnTo>
                      <a:pt x="4226" y="1708"/>
                    </a:lnTo>
                    <a:lnTo>
                      <a:pt x="4237" y="1710"/>
                    </a:lnTo>
                    <a:lnTo>
                      <a:pt x="4240" y="1718"/>
                    </a:lnTo>
                    <a:lnTo>
                      <a:pt x="4243" y="1710"/>
                    </a:lnTo>
                    <a:lnTo>
                      <a:pt x="4248" y="1712"/>
                    </a:lnTo>
                    <a:lnTo>
                      <a:pt x="4248" y="1724"/>
                    </a:lnTo>
                    <a:lnTo>
                      <a:pt x="4254" y="1721"/>
                    </a:lnTo>
                    <a:lnTo>
                      <a:pt x="4259" y="1724"/>
                    </a:lnTo>
                    <a:lnTo>
                      <a:pt x="4258" y="1734"/>
                    </a:lnTo>
                    <a:lnTo>
                      <a:pt x="4247" y="1740"/>
                    </a:lnTo>
                    <a:lnTo>
                      <a:pt x="4226" y="1740"/>
                    </a:lnTo>
                    <a:lnTo>
                      <a:pt x="4214" y="1747"/>
                    </a:lnTo>
                    <a:lnTo>
                      <a:pt x="4211" y="1753"/>
                    </a:lnTo>
                    <a:lnTo>
                      <a:pt x="4221" y="1745"/>
                    </a:lnTo>
                    <a:lnTo>
                      <a:pt x="4226" y="1749"/>
                    </a:lnTo>
                    <a:lnTo>
                      <a:pt x="4234" y="1747"/>
                    </a:lnTo>
                    <a:lnTo>
                      <a:pt x="4250" y="1747"/>
                    </a:lnTo>
                    <a:lnTo>
                      <a:pt x="4266" y="1742"/>
                    </a:lnTo>
                    <a:lnTo>
                      <a:pt x="4269" y="1743"/>
                    </a:lnTo>
                    <a:lnTo>
                      <a:pt x="4266" y="1754"/>
                    </a:lnTo>
                    <a:lnTo>
                      <a:pt x="4268" y="1755"/>
                    </a:lnTo>
                    <a:lnTo>
                      <a:pt x="4268" y="1764"/>
                    </a:lnTo>
                    <a:lnTo>
                      <a:pt x="4266" y="1771"/>
                    </a:lnTo>
                    <a:lnTo>
                      <a:pt x="4270" y="1769"/>
                    </a:lnTo>
                    <a:lnTo>
                      <a:pt x="4283" y="1770"/>
                    </a:lnTo>
                    <a:lnTo>
                      <a:pt x="4280" y="1781"/>
                    </a:lnTo>
                    <a:lnTo>
                      <a:pt x="4282" y="1785"/>
                    </a:lnTo>
                    <a:lnTo>
                      <a:pt x="4289" y="1787"/>
                    </a:lnTo>
                    <a:lnTo>
                      <a:pt x="4286" y="1792"/>
                    </a:lnTo>
                    <a:lnTo>
                      <a:pt x="4278" y="1796"/>
                    </a:lnTo>
                    <a:lnTo>
                      <a:pt x="4264" y="1798"/>
                    </a:lnTo>
                    <a:lnTo>
                      <a:pt x="4257" y="1794"/>
                    </a:lnTo>
                    <a:lnTo>
                      <a:pt x="4251" y="1797"/>
                    </a:lnTo>
                    <a:lnTo>
                      <a:pt x="4251" y="1802"/>
                    </a:lnTo>
                    <a:lnTo>
                      <a:pt x="4256" y="1806"/>
                    </a:lnTo>
                    <a:lnTo>
                      <a:pt x="4266" y="1803"/>
                    </a:lnTo>
                    <a:lnTo>
                      <a:pt x="4284" y="1804"/>
                    </a:lnTo>
                    <a:lnTo>
                      <a:pt x="4301" y="1803"/>
                    </a:lnTo>
                    <a:lnTo>
                      <a:pt x="4304" y="1814"/>
                    </a:lnTo>
                    <a:lnTo>
                      <a:pt x="4297" y="1819"/>
                    </a:lnTo>
                    <a:lnTo>
                      <a:pt x="4294" y="1825"/>
                    </a:lnTo>
                    <a:lnTo>
                      <a:pt x="4299" y="1828"/>
                    </a:lnTo>
                    <a:lnTo>
                      <a:pt x="4293" y="1833"/>
                    </a:lnTo>
                    <a:lnTo>
                      <a:pt x="4280" y="1836"/>
                    </a:lnTo>
                    <a:lnTo>
                      <a:pt x="4269" y="1851"/>
                    </a:lnTo>
                    <a:lnTo>
                      <a:pt x="4278" y="1850"/>
                    </a:lnTo>
                    <a:lnTo>
                      <a:pt x="4286" y="1842"/>
                    </a:lnTo>
                    <a:lnTo>
                      <a:pt x="4296" y="1841"/>
                    </a:lnTo>
                    <a:lnTo>
                      <a:pt x="4305" y="1837"/>
                    </a:lnTo>
                    <a:lnTo>
                      <a:pt x="4315" y="1852"/>
                    </a:lnTo>
                    <a:lnTo>
                      <a:pt x="4310" y="1853"/>
                    </a:lnTo>
                    <a:lnTo>
                      <a:pt x="4304" y="1860"/>
                    </a:lnTo>
                    <a:lnTo>
                      <a:pt x="4304" y="1866"/>
                    </a:lnTo>
                    <a:lnTo>
                      <a:pt x="4315" y="1861"/>
                    </a:lnTo>
                    <a:lnTo>
                      <a:pt x="4322" y="1864"/>
                    </a:lnTo>
                    <a:lnTo>
                      <a:pt x="4322" y="1867"/>
                    </a:lnTo>
                    <a:lnTo>
                      <a:pt x="4331" y="1878"/>
                    </a:lnTo>
                    <a:lnTo>
                      <a:pt x="4339" y="1884"/>
                    </a:lnTo>
                    <a:lnTo>
                      <a:pt x="4342" y="1893"/>
                    </a:lnTo>
                    <a:lnTo>
                      <a:pt x="4323" y="1907"/>
                    </a:lnTo>
                    <a:lnTo>
                      <a:pt x="4312" y="1907"/>
                    </a:lnTo>
                    <a:lnTo>
                      <a:pt x="4312" y="1914"/>
                    </a:lnTo>
                    <a:lnTo>
                      <a:pt x="4339" y="1912"/>
                    </a:lnTo>
                    <a:lnTo>
                      <a:pt x="4347" y="1922"/>
                    </a:lnTo>
                    <a:lnTo>
                      <a:pt x="4342" y="1932"/>
                    </a:lnTo>
                    <a:lnTo>
                      <a:pt x="4364" y="1939"/>
                    </a:lnTo>
                    <a:lnTo>
                      <a:pt x="4368" y="1953"/>
                    </a:lnTo>
                    <a:lnTo>
                      <a:pt x="4358" y="1963"/>
                    </a:lnTo>
                    <a:lnTo>
                      <a:pt x="4347" y="1974"/>
                    </a:lnTo>
                    <a:lnTo>
                      <a:pt x="4350" y="1987"/>
                    </a:lnTo>
                    <a:lnTo>
                      <a:pt x="4343" y="1989"/>
                    </a:lnTo>
                    <a:lnTo>
                      <a:pt x="4315" y="1973"/>
                    </a:lnTo>
                    <a:lnTo>
                      <a:pt x="4312" y="1979"/>
                    </a:lnTo>
                    <a:lnTo>
                      <a:pt x="4326" y="1984"/>
                    </a:lnTo>
                    <a:lnTo>
                      <a:pt x="4326" y="1986"/>
                    </a:lnTo>
                    <a:lnTo>
                      <a:pt x="4295" y="1990"/>
                    </a:lnTo>
                    <a:lnTo>
                      <a:pt x="4286" y="1992"/>
                    </a:lnTo>
                    <a:lnTo>
                      <a:pt x="4302" y="1996"/>
                    </a:lnTo>
                    <a:lnTo>
                      <a:pt x="4334" y="1995"/>
                    </a:lnTo>
                    <a:lnTo>
                      <a:pt x="4348" y="1997"/>
                    </a:lnTo>
                    <a:lnTo>
                      <a:pt x="4350" y="2002"/>
                    </a:lnTo>
                    <a:lnTo>
                      <a:pt x="4342" y="2003"/>
                    </a:lnTo>
                    <a:lnTo>
                      <a:pt x="4334" y="2009"/>
                    </a:lnTo>
                    <a:lnTo>
                      <a:pt x="4336" y="2013"/>
                    </a:lnTo>
                    <a:lnTo>
                      <a:pt x="4350" y="2022"/>
                    </a:lnTo>
                    <a:lnTo>
                      <a:pt x="4352" y="2028"/>
                    </a:lnTo>
                    <a:lnTo>
                      <a:pt x="4342" y="2027"/>
                    </a:lnTo>
                    <a:lnTo>
                      <a:pt x="4338" y="2036"/>
                    </a:lnTo>
                    <a:lnTo>
                      <a:pt x="4371" y="2034"/>
                    </a:lnTo>
                    <a:lnTo>
                      <a:pt x="4375" y="2055"/>
                    </a:lnTo>
                    <a:lnTo>
                      <a:pt x="4379" y="2060"/>
                    </a:lnTo>
                    <a:lnTo>
                      <a:pt x="4374" y="2065"/>
                    </a:lnTo>
                    <a:lnTo>
                      <a:pt x="4403" y="2068"/>
                    </a:lnTo>
                    <a:lnTo>
                      <a:pt x="4411" y="2073"/>
                    </a:lnTo>
                    <a:lnTo>
                      <a:pt x="4412" y="2084"/>
                    </a:lnTo>
                    <a:lnTo>
                      <a:pt x="4418" y="2079"/>
                    </a:lnTo>
                    <a:lnTo>
                      <a:pt x="4428" y="2079"/>
                    </a:lnTo>
                    <a:lnTo>
                      <a:pt x="4428" y="2089"/>
                    </a:lnTo>
                    <a:lnTo>
                      <a:pt x="4424" y="2097"/>
                    </a:lnTo>
                    <a:lnTo>
                      <a:pt x="4429" y="2102"/>
                    </a:lnTo>
                    <a:lnTo>
                      <a:pt x="4431" y="2110"/>
                    </a:lnTo>
                    <a:lnTo>
                      <a:pt x="4420" y="2122"/>
                    </a:lnTo>
                    <a:lnTo>
                      <a:pt x="4420" y="2126"/>
                    </a:lnTo>
                    <a:lnTo>
                      <a:pt x="4433" y="2119"/>
                    </a:lnTo>
                    <a:lnTo>
                      <a:pt x="4447" y="2130"/>
                    </a:lnTo>
                    <a:lnTo>
                      <a:pt x="4452" y="2125"/>
                    </a:lnTo>
                    <a:lnTo>
                      <a:pt x="4462" y="2120"/>
                    </a:lnTo>
                    <a:lnTo>
                      <a:pt x="4463" y="2129"/>
                    </a:lnTo>
                    <a:lnTo>
                      <a:pt x="4473" y="2132"/>
                    </a:lnTo>
                    <a:lnTo>
                      <a:pt x="4461" y="2162"/>
                    </a:lnTo>
                    <a:lnTo>
                      <a:pt x="4469" y="2154"/>
                    </a:lnTo>
                    <a:lnTo>
                      <a:pt x="4481" y="2138"/>
                    </a:lnTo>
                    <a:lnTo>
                      <a:pt x="4490" y="2131"/>
                    </a:lnTo>
                    <a:lnTo>
                      <a:pt x="4489" y="2145"/>
                    </a:lnTo>
                    <a:lnTo>
                      <a:pt x="4493" y="2145"/>
                    </a:lnTo>
                    <a:lnTo>
                      <a:pt x="4499" y="2137"/>
                    </a:lnTo>
                    <a:lnTo>
                      <a:pt x="4501" y="2149"/>
                    </a:lnTo>
                    <a:lnTo>
                      <a:pt x="4504" y="2158"/>
                    </a:lnTo>
                    <a:lnTo>
                      <a:pt x="4510" y="2164"/>
                    </a:lnTo>
                    <a:lnTo>
                      <a:pt x="4522" y="2167"/>
                    </a:lnTo>
                    <a:lnTo>
                      <a:pt x="4536" y="2174"/>
                    </a:lnTo>
                    <a:lnTo>
                      <a:pt x="4543" y="2170"/>
                    </a:lnTo>
                    <a:lnTo>
                      <a:pt x="4542" y="2163"/>
                    </a:lnTo>
                    <a:lnTo>
                      <a:pt x="4552" y="2156"/>
                    </a:lnTo>
                    <a:lnTo>
                      <a:pt x="4559" y="2165"/>
                    </a:lnTo>
                    <a:lnTo>
                      <a:pt x="4557" y="2174"/>
                    </a:lnTo>
                    <a:lnTo>
                      <a:pt x="4568" y="2176"/>
                    </a:lnTo>
                    <a:lnTo>
                      <a:pt x="4575" y="2181"/>
                    </a:lnTo>
                    <a:lnTo>
                      <a:pt x="4581" y="2183"/>
                    </a:lnTo>
                    <a:lnTo>
                      <a:pt x="4586" y="2192"/>
                    </a:lnTo>
                    <a:lnTo>
                      <a:pt x="4581" y="2199"/>
                    </a:lnTo>
                    <a:lnTo>
                      <a:pt x="4581" y="2203"/>
                    </a:lnTo>
                    <a:lnTo>
                      <a:pt x="4580" y="2206"/>
                    </a:lnTo>
                    <a:lnTo>
                      <a:pt x="4571" y="2208"/>
                    </a:lnTo>
                    <a:lnTo>
                      <a:pt x="4565" y="2206"/>
                    </a:lnTo>
                    <a:lnTo>
                      <a:pt x="4558" y="2207"/>
                    </a:lnTo>
                    <a:lnTo>
                      <a:pt x="4544" y="2213"/>
                    </a:lnTo>
                    <a:lnTo>
                      <a:pt x="4539" y="2216"/>
                    </a:lnTo>
                    <a:lnTo>
                      <a:pt x="4539" y="2218"/>
                    </a:lnTo>
                    <a:lnTo>
                      <a:pt x="4524" y="2228"/>
                    </a:lnTo>
                    <a:lnTo>
                      <a:pt x="4494" y="2232"/>
                    </a:lnTo>
                    <a:lnTo>
                      <a:pt x="4477" y="2238"/>
                    </a:lnTo>
                    <a:lnTo>
                      <a:pt x="4469" y="2246"/>
                    </a:lnTo>
                    <a:lnTo>
                      <a:pt x="4482" y="2246"/>
                    </a:lnTo>
                    <a:lnTo>
                      <a:pt x="4495" y="2242"/>
                    </a:lnTo>
                    <a:lnTo>
                      <a:pt x="4510" y="2233"/>
                    </a:lnTo>
                    <a:lnTo>
                      <a:pt x="4515" y="2235"/>
                    </a:lnTo>
                    <a:lnTo>
                      <a:pt x="4482" y="2251"/>
                    </a:lnTo>
                    <a:lnTo>
                      <a:pt x="4467" y="2256"/>
                    </a:lnTo>
                    <a:lnTo>
                      <a:pt x="4452" y="2256"/>
                    </a:lnTo>
                    <a:lnTo>
                      <a:pt x="4436" y="2280"/>
                    </a:lnTo>
                    <a:lnTo>
                      <a:pt x="4424" y="2276"/>
                    </a:lnTo>
                    <a:lnTo>
                      <a:pt x="4413" y="2267"/>
                    </a:lnTo>
                    <a:lnTo>
                      <a:pt x="4399" y="2264"/>
                    </a:lnTo>
                    <a:lnTo>
                      <a:pt x="4386" y="2265"/>
                    </a:lnTo>
                    <a:lnTo>
                      <a:pt x="4387" y="2274"/>
                    </a:lnTo>
                    <a:lnTo>
                      <a:pt x="4404" y="2276"/>
                    </a:lnTo>
                    <a:lnTo>
                      <a:pt x="4419" y="2282"/>
                    </a:lnTo>
                    <a:lnTo>
                      <a:pt x="4430" y="2289"/>
                    </a:lnTo>
                    <a:lnTo>
                      <a:pt x="4426" y="2314"/>
                    </a:lnTo>
                    <a:lnTo>
                      <a:pt x="4438" y="2308"/>
                    </a:lnTo>
                    <a:lnTo>
                      <a:pt x="4451" y="2298"/>
                    </a:lnTo>
                    <a:lnTo>
                      <a:pt x="4456" y="2291"/>
                    </a:lnTo>
                    <a:lnTo>
                      <a:pt x="4468" y="2283"/>
                    </a:lnTo>
                    <a:lnTo>
                      <a:pt x="4479" y="2272"/>
                    </a:lnTo>
                    <a:lnTo>
                      <a:pt x="4496" y="2265"/>
                    </a:lnTo>
                    <a:lnTo>
                      <a:pt x="4506" y="2251"/>
                    </a:lnTo>
                    <a:lnTo>
                      <a:pt x="4519" y="2244"/>
                    </a:lnTo>
                    <a:lnTo>
                      <a:pt x="4547" y="2237"/>
                    </a:lnTo>
                    <a:lnTo>
                      <a:pt x="4563" y="2240"/>
                    </a:lnTo>
                    <a:lnTo>
                      <a:pt x="4569" y="2238"/>
                    </a:lnTo>
                    <a:lnTo>
                      <a:pt x="4560" y="2234"/>
                    </a:lnTo>
                    <a:lnTo>
                      <a:pt x="4546" y="2231"/>
                    </a:lnTo>
                    <a:lnTo>
                      <a:pt x="4530" y="2234"/>
                    </a:lnTo>
                    <a:lnTo>
                      <a:pt x="4538" y="2229"/>
                    </a:lnTo>
                    <a:lnTo>
                      <a:pt x="4555" y="2226"/>
                    </a:lnTo>
                    <a:lnTo>
                      <a:pt x="4582" y="2228"/>
                    </a:lnTo>
                    <a:lnTo>
                      <a:pt x="4594" y="2228"/>
                    </a:lnTo>
                    <a:lnTo>
                      <a:pt x="4596" y="2233"/>
                    </a:lnTo>
                    <a:lnTo>
                      <a:pt x="4595" y="2243"/>
                    </a:lnTo>
                    <a:lnTo>
                      <a:pt x="4597" y="2253"/>
                    </a:lnTo>
                    <a:lnTo>
                      <a:pt x="4598" y="2265"/>
                    </a:lnTo>
                    <a:lnTo>
                      <a:pt x="4591" y="2275"/>
                    </a:lnTo>
                    <a:lnTo>
                      <a:pt x="4590" y="2285"/>
                    </a:lnTo>
                    <a:lnTo>
                      <a:pt x="4592" y="2301"/>
                    </a:lnTo>
                    <a:lnTo>
                      <a:pt x="4595" y="2301"/>
                    </a:lnTo>
                    <a:lnTo>
                      <a:pt x="4607" y="2274"/>
                    </a:lnTo>
                    <a:lnTo>
                      <a:pt x="4616" y="2267"/>
                    </a:lnTo>
                    <a:lnTo>
                      <a:pt x="4629" y="2266"/>
                    </a:lnTo>
                    <a:lnTo>
                      <a:pt x="4637" y="2269"/>
                    </a:lnTo>
                    <a:lnTo>
                      <a:pt x="4633" y="2274"/>
                    </a:lnTo>
                    <a:lnTo>
                      <a:pt x="4667" y="2286"/>
                    </a:lnTo>
                    <a:lnTo>
                      <a:pt x="4668" y="2289"/>
                    </a:lnTo>
                    <a:lnTo>
                      <a:pt x="4662" y="2293"/>
                    </a:lnTo>
                    <a:lnTo>
                      <a:pt x="4668" y="2303"/>
                    </a:lnTo>
                    <a:lnTo>
                      <a:pt x="4675" y="2307"/>
                    </a:lnTo>
                    <a:lnTo>
                      <a:pt x="4676" y="2313"/>
                    </a:lnTo>
                    <a:lnTo>
                      <a:pt x="4680" y="2315"/>
                    </a:lnTo>
                    <a:lnTo>
                      <a:pt x="4680" y="2323"/>
                    </a:lnTo>
                    <a:lnTo>
                      <a:pt x="4675" y="2325"/>
                    </a:lnTo>
                    <a:lnTo>
                      <a:pt x="4670" y="2330"/>
                    </a:lnTo>
                    <a:lnTo>
                      <a:pt x="4648" y="2321"/>
                    </a:lnTo>
                    <a:lnTo>
                      <a:pt x="4655" y="2334"/>
                    </a:lnTo>
                    <a:lnTo>
                      <a:pt x="4660" y="2336"/>
                    </a:lnTo>
                    <a:lnTo>
                      <a:pt x="4668" y="2336"/>
                    </a:lnTo>
                    <a:lnTo>
                      <a:pt x="4672" y="2350"/>
                    </a:lnTo>
                    <a:lnTo>
                      <a:pt x="4668" y="2353"/>
                    </a:lnTo>
                    <a:lnTo>
                      <a:pt x="4668" y="2357"/>
                    </a:lnTo>
                    <a:lnTo>
                      <a:pt x="4677" y="2371"/>
                    </a:lnTo>
                    <a:lnTo>
                      <a:pt x="4677" y="2373"/>
                    </a:lnTo>
                    <a:lnTo>
                      <a:pt x="4667" y="2372"/>
                    </a:lnTo>
                    <a:lnTo>
                      <a:pt x="4664" y="2378"/>
                    </a:lnTo>
                    <a:lnTo>
                      <a:pt x="4681" y="2383"/>
                    </a:lnTo>
                    <a:lnTo>
                      <a:pt x="4686" y="2395"/>
                    </a:lnTo>
                    <a:lnTo>
                      <a:pt x="4671" y="2394"/>
                    </a:lnTo>
                    <a:lnTo>
                      <a:pt x="4664" y="2391"/>
                    </a:lnTo>
                    <a:lnTo>
                      <a:pt x="4668" y="2398"/>
                    </a:lnTo>
                    <a:close/>
                  </a:path>
                </a:pathLst>
              </a:custGeom>
              <a:grpFill/>
              <a:ln w="63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43" name="Freeform 305"/>
              <p:cNvSpPr>
                <a:spLocks noChangeAspect="1"/>
              </p:cNvSpPr>
              <p:nvPr/>
            </p:nvSpPr>
            <p:spPr bwMode="gray">
              <a:xfrm>
                <a:off x="1437" y="1025"/>
                <a:ext cx="39" cy="63"/>
              </a:xfrm>
              <a:custGeom>
                <a:avLst/>
                <a:gdLst/>
                <a:ahLst/>
                <a:cxnLst>
                  <a:cxn ang="0">
                    <a:pos x="197" y="156"/>
                  </a:cxn>
                  <a:cxn ang="0">
                    <a:pos x="180" y="119"/>
                  </a:cxn>
                  <a:cxn ang="0">
                    <a:pos x="140" y="109"/>
                  </a:cxn>
                  <a:cxn ang="0">
                    <a:pos x="128" y="97"/>
                  </a:cxn>
                  <a:cxn ang="0">
                    <a:pos x="132" y="73"/>
                  </a:cxn>
                  <a:cxn ang="0">
                    <a:pos x="121" y="63"/>
                  </a:cxn>
                  <a:cxn ang="0">
                    <a:pos x="95" y="44"/>
                  </a:cxn>
                  <a:cxn ang="0">
                    <a:pos x="22" y="0"/>
                  </a:cxn>
                  <a:cxn ang="0">
                    <a:pos x="6" y="25"/>
                  </a:cxn>
                  <a:cxn ang="0">
                    <a:pos x="4" y="44"/>
                  </a:cxn>
                  <a:cxn ang="0">
                    <a:pos x="9" y="65"/>
                  </a:cxn>
                  <a:cxn ang="0">
                    <a:pos x="18" y="82"/>
                  </a:cxn>
                  <a:cxn ang="0">
                    <a:pos x="0" y="98"/>
                  </a:cxn>
                  <a:cxn ang="0">
                    <a:pos x="20" y="127"/>
                  </a:cxn>
                  <a:cxn ang="0">
                    <a:pos x="21" y="161"/>
                  </a:cxn>
                  <a:cxn ang="0">
                    <a:pos x="34" y="173"/>
                  </a:cxn>
                  <a:cxn ang="0">
                    <a:pos x="27" y="184"/>
                  </a:cxn>
                  <a:cxn ang="0">
                    <a:pos x="54" y="187"/>
                  </a:cxn>
                  <a:cxn ang="0">
                    <a:pos x="83" y="215"/>
                  </a:cxn>
                  <a:cxn ang="0">
                    <a:pos x="79" y="226"/>
                  </a:cxn>
                  <a:cxn ang="0">
                    <a:pos x="35" y="236"/>
                  </a:cxn>
                  <a:cxn ang="0">
                    <a:pos x="63" y="300"/>
                  </a:cxn>
                  <a:cxn ang="0">
                    <a:pos x="86" y="316"/>
                  </a:cxn>
                  <a:cxn ang="0">
                    <a:pos x="97" y="295"/>
                  </a:cxn>
                  <a:cxn ang="0">
                    <a:pos x="91" y="292"/>
                  </a:cxn>
                  <a:cxn ang="0">
                    <a:pos x="120" y="290"/>
                  </a:cxn>
                  <a:cxn ang="0">
                    <a:pos x="170" y="268"/>
                  </a:cxn>
                  <a:cxn ang="0">
                    <a:pos x="185" y="275"/>
                  </a:cxn>
                  <a:cxn ang="0">
                    <a:pos x="190" y="264"/>
                  </a:cxn>
                  <a:cxn ang="0">
                    <a:pos x="197" y="233"/>
                  </a:cxn>
                  <a:cxn ang="0">
                    <a:pos x="186" y="221"/>
                  </a:cxn>
                  <a:cxn ang="0">
                    <a:pos x="185" y="219"/>
                  </a:cxn>
                  <a:cxn ang="0">
                    <a:pos x="197" y="163"/>
                  </a:cxn>
                </a:cxnLst>
                <a:rect l="0" t="0" r="r" b="b"/>
                <a:pathLst>
                  <a:path w="197" h="316">
                    <a:moveTo>
                      <a:pt x="197" y="163"/>
                    </a:moveTo>
                    <a:lnTo>
                      <a:pt x="197" y="156"/>
                    </a:lnTo>
                    <a:lnTo>
                      <a:pt x="196" y="149"/>
                    </a:lnTo>
                    <a:lnTo>
                      <a:pt x="180" y="119"/>
                    </a:lnTo>
                    <a:lnTo>
                      <a:pt x="156" y="102"/>
                    </a:lnTo>
                    <a:lnTo>
                      <a:pt x="140" y="109"/>
                    </a:lnTo>
                    <a:lnTo>
                      <a:pt x="127" y="107"/>
                    </a:lnTo>
                    <a:lnTo>
                      <a:pt x="128" y="97"/>
                    </a:lnTo>
                    <a:lnTo>
                      <a:pt x="128" y="86"/>
                    </a:lnTo>
                    <a:lnTo>
                      <a:pt x="132" y="73"/>
                    </a:lnTo>
                    <a:lnTo>
                      <a:pt x="127" y="65"/>
                    </a:lnTo>
                    <a:lnTo>
                      <a:pt x="121" y="63"/>
                    </a:lnTo>
                    <a:lnTo>
                      <a:pt x="106" y="47"/>
                    </a:lnTo>
                    <a:lnTo>
                      <a:pt x="95" y="44"/>
                    </a:lnTo>
                    <a:lnTo>
                      <a:pt x="53" y="7"/>
                    </a:lnTo>
                    <a:lnTo>
                      <a:pt x="22" y="0"/>
                    </a:lnTo>
                    <a:lnTo>
                      <a:pt x="5" y="16"/>
                    </a:lnTo>
                    <a:lnTo>
                      <a:pt x="6" y="25"/>
                    </a:lnTo>
                    <a:lnTo>
                      <a:pt x="4" y="27"/>
                    </a:lnTo>
                    <a:lnTo>
                      <a:pt x="4" y="44"/>
                    </a:lnTo>
                    <a:lnTo>
                      <a:pt x="5" y="52"/>
                    </a:lnTo>
                    <a:lnTo>
                      <a:pt x="9" y="65"/>
                    </a:lnTo>
                    <a:lnTo>
                      <a:pt x="15" y="70"/>
                    </a:lnTo>
                    <a:lnTo>
                      <a:pt x="18" y="82"/>
                    </a:lnTo>
                    <a:lnTo>
                      <a:pt x="14" y="90"/>
                    </a:lnTo>
                    <a:lnTo>
                      <a:pt x="0" y="98"/>
                    </a:lnTo>
                    <a:lnTo>
                      <a:pt x="13" y="124"/>
                    </a:lnTo>
                    <a:lnTo>
                      <a:pt x="20" y="127"/>
                    </a:lnTo>
                    <a:lnTo>
                      <a:pt x="18" y="139"/>
                    </a:lnTo>
                    <a:lnTo>
                      <a:pt x="21" y="161"/>
                    </a:lnTo>
                    <a:lnTo>
                      <a:pt x="31" y="163"/>
                    </a:lnTo>
                    <a:lnTo>
                      <a:pt x="34" y="173"/>
                    </a:lnTo>
                    <a:lnTo>
                      <a:pt x="24" y="177"/>
                    </a:lnTo>
                    <a:lnTo>
                      <a:pt x="27" y="184"/>
                    </a:lnTo>
                    <a:lnTo>
                      <a:pt x="46" y="190"/>
                    </a:lnTo>
                    <a:lnTo>
                      <a:pt x="54" y="187"/>
                    </a:lnTo>
                    <a:lnTo>
                      <a:pt x="85" y="203"/>
                    </a:lnTo>
                    <a:lnTo>
                      <a:pt x="83" y="215"/>
                    </a:lnTo>
                    <a:lnTo>
                      <a:pt x="89" y="216"/>
                    </a:lnTo>
                    <a:lnTo>
                      <a:pt x="79" y="226"/>
                    </a:lnTo>
                    <a:lnTo>
                      <a:pt x="38" y="224"/>
                    </a:lnTo>
                    <a:lnTo>
                      <a:pt x="35" y="236"/>
                    </a:lnTo>
                    <a:lnTo>
                      <a:pt x="72" y="279"/>
                    </a:lnTo>
                    <a:lnTo>
                      <a:pt x="63" y="300"/>
                    </a:lnTo>
                    <a:lnTo>
                      <a:pt x="65" y="307"/>
                    </a:lnTo>
                    <a:lnTo>
                      <a:pt x="86" y="316"/>
                    </a:lnTo>
                    <a:lnTo>
                      <a:pt x="97" y="300"/>
                    </a:lnTo>
                    <a:lnTo>
                      <a:pt x="97" y="295"/>
                    </a:lnTo>
                    <a:lnTo>
                      <a:pt x="94" y="290"/>
                    </a:lnTo>
                    <a:lnTo>
                      <a:pt x="91" y="292"/>
                    </a:lnTo>
                    <a:lnTo>
                      <a:pt x="106" y="275"/>
                    </a:lnTo>
                    <a:lnTo>
                      <a:pt x="120" y="290"/>
                    </a:lnTo>
                    <a:lnTo>
                      <a:pt x="133" y="287"/>
                    </a:lnTo>
                    <a:lnTo>
                      <a:pt x="170" y="268"/>
                    </a:lnTo>
                    <a:lnTo>
                      <a:pt x="181" y="270"/>
                    </a:lnTo>
                    <a:lnTo>
                      <a:pt x="185" y="275"/>
                    </a:lnTo>
                    <a:lnTo>
                      <a:pt x="188" y="271"/>
                    </a:lnTo>
                    <a:lnTo>
                      <a:pt x="190" y="264"/>
                    </a:lnTo>
                    <a:lnTo>
                      <a:pt x="196" y="249"/>
                    </a:lnTo>
                    <a:lnTo>
                      <a:pt x="197" y="233"/>
                    </a:lnTo>
                    <a:lnTo>
                      <a:pt x="193" y="227"/>
                    </a:lnTo>
                    <a:lnTo>
                      <a:pt x="186" y="221"/>
                    </a:lnTo>
                    <a:lnTo>
                      <a:pt x="186" y="225"/>
                    </a:lnTo>
                    <a:lnTo>
                      <a:pt x="185" y="219"/>
                    </a:lnTo>
                    <a:lnTo>
                      <a:pt x="185" y="174"/>
                    </a:lnTo>
                    <a:lnTo>
                      <a:pt x="197" y="16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44" name="Freeform 306"/>
              <p:cNvSpPr>
                <a:spLocks noChangeAspect="1"/>
              </p:cNvSpPr>
              <p:nvPr/>
            </p:nvSpPr>
            <p:spPr bwMode="gray">
              <a:xfrm>
                <a:off x="1356" y="1000"/>
                <a:ext cx="74" cy="86"/>
              </a:xfrm>
              <a:custGeom>
                <a:avLst/>
                <a:gdLst/>
                <a:ahLst/>
                <a:cxnLst>
                  <a:cxn ang="0">
                    <a:pos x="318" y="278"/>
                  </a:cxn>
                  <a:cxn ang="0">
                    <a:pos x="327" y="224"/>
                  </a:cxn>
                  <a:cxn ang="0">
                    <a:pos x="332" y="197"/>
                  </a:cxn>
                  <a:cxn ang="0">
                    <a:pos x="321" y="194"/>
                  </a:cxn>
                  <a:cxn ang="0">
                    <a:pos x="300" y="176"/>
                  </a:cxn>
                  <a:cxn ang="0">
                    <a:pos x="297" y="141"/>
                  </a:cxn>
                  <a:cxn ang="0">
                    <a:pos x="245" y="131"/>
                  </a:cxn>
                  <a:cxn ang="0">
                    <a:pos x="236" y="133"/>
                  </a:cxn>
                  <a:cxn ang="0">
                    <a:pos x="232" y="101"/>
                  </a:cxn>
                  <a:cxn ang="0">
                    <a:pos x="220" y="85"/>
                  </a:cxn>
                  <a:cxn ang="0">
                    <a:pos x="210" y="76"/>
                  </a:cxn>
                  <a:cxn ang="0">
                    <a:pos x="176" y="44"/>
                  </a:cxn>
                  <a:cxn ang="0">
                    <a:pos x="148" y="76"/>
                  </a:cxn>
                  <a:cxn ang="0">
                    <a:pos x="143" y="114"/>
                  </a:cxn>
                  <a:cxn ang="0">
                    <a:pos x="130" y="22"/>
                  </a:cxn>
                  <a:cxn ang="0">
                    <a:pos x="108" y="16"/>
                  </a:cxn>
                  <a:cxn ang="0">
                    <a:pos x="84" y="0"/>
                  </a:cxn>
                  <a:cxn ang="0">
                    <a:pos x="11" y="16"/>
                  </a:cxn>
                  <a:cxn ang="0">
                    <a:pos x="5" y="101"/>
                  </a:cxn>
                  <a:cxn ang="0">
                    <a:pos x="40" y="96"/>
                  </a:cxn>
                  <a:cxn ang="0">
                    <a:pos x="42" y="145"/>
                  </a:cxn>
                  <a:cxn ang="0">
                    <a:pos x="55" y="155"/>
                  </a:cxn>
                  <a:cxn ang="0">
                    <a:pos x="80" y="109"/>
                  </a:cxn>
                  <a:cxn ang="0">
                    <a:pos x="95" y="130"/>
                  </a:cxn>
                  <a:cxn ang="0">
                    <a:pos x="81" y="155"/>
                  </a:cxn>
                  <a:cxn ang="0">
                    <a:pos x="97" y="162"/>
                  </a:cxn>
                  <a:cxn ang="0">
                    <a:pos x="123" y="168"/>
                  </a:cxn>
                  <a:cxn ang="0">
                    <a:pos x="96" y="201"/>
                  </a:cxn>
                  <a:cxn ang="0">
                    <a:pos x="121" y="228"/>
                  </a:cxn>
                  <a:cxn ang="0">
                    <a:pos x="65" y="225"/>
                  </a:cxn>
                  <a:cxn ang="0">
                    <a:pos x="42" y="253"/>
                  </a:cxn>
                  <a:cxn ang="0">
                    <a:pos x="79" y="307"/>
                  </a:cxn>
                  <a:cxn ang="0">
                    <a:pos x="118" y="290"/>
                  </a:cxn>
                  <a:cxn ang="0">
                    <a:pos x="157" y="282"/>
                  </a:cxn>
                  <a:cxn ang="0">
                    <a:pos x="180" y="305"/>
                  </a:cxn>
                  <a:cxn ang="0">
                    <a:pos x="230" y="305"/>
                  </a:cxn>
                  <a:cxn ang="0">
                    <a:pos x="250" y="322"/>
                  </a:cxn>
                  <a:cxn ang="0">
                    <a:pos x="257" y="328"/>
                  </a:cxn>
                  <a:cxn ang="0">
                    <a:pos x="277" y="388"/>
                  </a:cxn>
                  <a:cxn ang="0">
                    <a:pos x="301" y="416"/>
                  </a:cxn>
                  <a:cxn ang="0">
                    <a:pos x="326" y="415"/>
                  </a:cxn>
                  <a:cxn ang="0">
                    <a:pos x="360" y="395"/>
                  </a:cxn>
                  <a:cxn ang="0">
                    <a:pos x="337" y="301"/>
                  </a:cxn>
                </a:cxnLst>
                <a:rect l="0" t="0" r="r" b="b"/>
                <a:pathLst>
                  <a:path w="368" h="430">
                    <a:moveTo>
                      <a:pt x="337" y="301"/>
                    </a:moveTo>
                    <a:lnTo>
                      <a:pt x="333" y="284"/>
                    </a:lnTo>
                    <a:lnTo>
                      <a:pt x="318" y="278"/>
                    </a:lnTo>
                    <a:lnTo>
                      <a:pt x="320" y="260"/>
                    </a:lnTo>
                    <a:lnTo>
                      <a:pt x="316" y="243"/>
                    </a:lnTo>
                    <a:lnTo>
                      <a:pt x="327" y="224"/>
                    </a:lnTo>
                    <a:lnTo>
                      <a:pt x="328" y="211"/>
                    </a:lnTo>
                    <a:lnTo>
                      <a:pt x="332" y="204"/>
                    </a:lnTo>
                    <a:lnTo>
                      <a:pt x="332" y="197"/>
                    </a:lnTo>
                    <a:lnTo>
                      <a:pt x="327" y="190"/>
                    </a:lnTo>
                    <a:lnTo>
                      <a:pt x="323" y="187"/>
                    </a:lnTo>
                    <a:lnTo>
                      <a:pt x="321" y="194"/>
                    </a:lnTo>
                    <a:lnTo>
                      <a:pt x="311" y="177"/>
                    </a:lnTo>
                    <a:lnTo>
                      <a:pt x="312" y="177"/>
                    </a:lnTo>
                    <a:lnTo>
                      <a:pt x="300" y="176"/>
                    </a:lnTo>
                    <a:lnTo>
                      <a:pt x="299" y="171"/>
                    </a:lnTo>
                    <a:lnTo>
                      <a:pt x="304" y="158"/>
                    </a:lnTo>
                    <a:lnTo>
                      <a:pt x="297" y="141"/>
                    </a:lnTo>
                    <a:lnTo>
                      <a:pt x="266" y="118"/>
                    </a:lnTo>
                    <a:lnTo>
                      <a:pt x="261" y="125"/>
                    </a:lnTo>
                    <a:lnTo>
                      <a:pt x="245" y="131"/>
                    </a:lnTo>
                    <a:lnTo>
                      <a:pt x="237" y="141"/>
                    </a:lnTo>
                    <a:lnTo>
                      <a:pt x="235" y="139"/>
                    </a:lnTo>
                    <a:lnTo>
                      <a:pt x="236" y="133"/>
                    </a:lnTo>
                    <a:lnTo>
                      <a:pt x="227" y="128"/>
                    </a:lnTo>
                    <a:lnTo>
                      <a:pt x="227" y="119"/>
                    </a:lnTo>
                    <a:lnTo>
                      <a:pt x="232" y="101"/>
                    </a:lnTo>
                    <a:lnTo>
                      <a:pt x="231" y="85"/>
                    </a:lnTo>
                    <a:lnTo>
                      <a:pt x="223" y="75"/>
                    </a:lnTo>
                    <a:lnTo>
                      <a:pt x="220" y="85"/>
                    </a:lnTo>
                    <a:lnTo>
                      <a:pt x="211" y="90"/>
                    </a:lnTo>
                    <a:lnTo>
                      <a:pt x="211" y="85"/>
                    </a:lnTo>
                    <a:lnTo>
                      <a:pt x="210" y="76"/>
                    </a:lnTo>
                    <a:lnTo>
                      <a:pt x="200" y="69"/>
                    </a:lnTo>
                    <a:lnTo>
                      <a:pt x="193" y="53"/>
                    </a:lnTo>
                    <a:lnTo>
                      <a:pt x="176" y="44"/>
                    </a:lnTo>
                    <a:lnTo>
                      <a:pt x="166" y="44"/>
                    </a:lnTo>
                    <a:lnTo>
                      <a:pt x="151" y="65"/>
                    </a:lnTo>
                    <a:lnTo>
                      <a:pt x="148" y="76"/>
                    </a:lnTo>
                    <a:lnTo>
                      <a:pt x="148" y="93"/>
                    </a:lnTo>
                    <a:lnTo>
                      <a:pt x="146" y="104"/>
                    </a:lnTo>
                    <a:lnTo>
                      <a:pt x="143" y="114"/>
                    </a:lnTo>
                    <a:lnTo>
                      <a:pt x="129" y="96"/>
                    </a:lnTo>
                    <a:lnTo>
                      <a:pt x="134" y="33"/>
                    </a:lnTo>
                    <a:lnTo>
                      <a:pt x="130" y="22"/>
                    </a:lnTo>
                    <a:lnTo>
                      <a:pt x="116" y="21"/>
                    </a:lnTo>
                    <a:lnTo>
                      <a:pt x="103" y="27"/>
                    </a:lnTo>
                    <a:lnTo>
                      <a:pt x="108" y="16"/>
                    </a:lnTo>
                    <a:lnTo>
                      <a:pt x="106" y="11"/>
                    </a:lnTo>
                    <a:lnTo>
                      <a:pt x="95" y="4"/>
                    </a:lnTo>
                    <a:lnTo>
                      <a:pt x="84" y="0"/>
                    </a:lnTo>
                    <a:lnTo>
                      <a:pt x="62" y="13"/>
                    </a:lnTo>
                    <a:lnTo>
                      <a:pt x="22" y="22"/>
                    </a:lnTo>
                    <a:lnTo>
                      <a:pt x="11" y="16"/>
                    </a:lnTo>
                    <a:lnTo>
                      <a:pt x="9" y="21"/>
                    </a:lnTo>
                    <a:lnTo>
                      <a:pt x="0" y="56"/>
                    </a:lnTo>
                    <a:lnTo>
                      <a:pt x="5" y="101"/>
                    </a:lnTo>
                    <a:lnTo>
                      <a:pt x="6" y="104"/>
                    </a:lnTo>
                    <a:lnTo>
                      <a:pt x="17" y="107"/>
                    </a:lnTo>
                    <a:lnTo>
                      <a:pt x="40" y="96"/>
                    </a:lnTo>
                    <a:lnTo>
                      <a:pt x="52" y="98"/>
                    </a:lnTo>
                    <a:lnTo>
                      <a:pt x="52" y="114"/>
                    </a:lnTo>
                    <a:lnTo>
                      <a:pt x="42" y="145"/>
                    </a:lnTo>
                    <a:lnTo>
                      <a:pt x="36" y="150"/>
                    </a:lnTo>
                    <a:lnTo>
                      <a:pt x="41" y="161"/>
                    </a:lnTo>
                    <a:lnTo>
                      <a:pt x="55" y="155"/>
                    </a:lnTo>
                    <a:lnTo>
                      <a:pt x="67" y="120"/>
                    </a:lnTo>
                    <a:lnTo>
                      <a:pt x="75" y="117"/>
                    </a:lnTo>
                    <a:lnTo>
                      <a:pt x="80" y="109"/>
                    </a:lnTo>
                    <a:lnTo>
                      <a:pt x="87" y="111"/>
                    </a:lnTo>
                    <a:lnTo>
                      <a:pt x="92" y="117"/>
                    </a:lnTo>
                    <a:lnTo>
                      <a:pt x="95" y="130"/>
                    </a:lnTo>
                    <a:lnTo>
                      <a:pt x="92" y="139"/>
                    </a:lnTo>
                    <a:lnTo>
                      <a:pt x="89" y="146"/>
                    </a:lnTo>
                    <a:lnTo>
                      <a:pt x="81" y="155"/>
                    </a:lnTo>
                    <a:lnTo>
                      <a:pt x="83" y="171"/>
                    </a:lnTo>
                    <a:lnTo>
                      <a:pt x="92" y="174"/>
                    </a:lnTo>
                    <a:lnTo>
                      <a:pt x="97" y="162"/>
                    </a:lnTo>
                    <a:lnTo>
                      <a:pt x="102" y="165"/>
                    </a:lnTo>
                    <a:lnTo>
                      <a:pt x="103" y="176"/>
                    </a:lnTo>
                    <a:lnTo>
                      <a:pt x="123" y="168"/>
                    </a:lnTo>
                    <a:lnTo>
                      <a:pt x="122" y="181"/>
                    </a:lnTo>
                    <a:lnTo>
                      <a:pt x="117" y="190"/>
                    </a:lnTo>
                    <a:lnTo>
                      <a:pt x="96" y="201"/>
                    </a:lnTo>
                    <a:lnTo>
                      <a:pt x="94" y="210"/>
                    </a:lnTo>
                    <a:lnTo>
                      <a:pt x="127" y="216"/>
                    </a:lnTo>
                    <a:lnTo>
                      <a:pt x="121" y="228"/>
                    </a:lnTo>
                    <a:lnTo>
                      <a:pt x="118" y="242"/>
                    </a:lnTo>
                    <a:lnTo>
                      <a:pt x="92" y="240"/>
                    </a:lnTo>
                    <a:lnTo>
                      <a:pt x="65" y="225"/>
                    </a:lnTo>
                    <a:lnTo>
                      <a:pt x="47" y="228"/>
                    </a:lnTo>
                    <a:lnTo>
                      <a:pt x="41" y="236"/>
                    </a:lnTo>
                    <a:lnTo>
                      <a:pt x="42" y="253"/>
                    </a:lnTo>
                    <a:lnTo>
                      <a:pt x="43" y="268"/>
                    </a:lnTo>
                    <a:lnTo>
                      <a:pt x="57" y="290"/>
                    </a:lnTo>
                    <a:lnTo>
                      <a:pt x="79" y="307"/>
                    </a:lnTo>
                    <a:lnTo>
                      <a:pt x="103" y="310"/>
                    </a:lnTo>
                    <a:lnTo>
                      <a:pt x="111" y="303"/>
                    </a:lnTo>
                    <a:lnTo>
                      <a:pt x="118" y="290"/>
                    </a:lnTo>
                    <a:lnTo>
                      <a:pt x="127" y="290"/>
                    </a:lnTo>
                    <a:lnTo>
                      <a:pt x="159" y="274"/>
                    </a:lnTo>
                    <a:lnTo>
                      <a:pt x="157" y="282"/>
                    </a:lnTo>
                    <a:lnTo>
                      <a:pt x="159" y="295"/>
                    </a:lnTo>
                    <a:lnTo>
                      <a:pt x="170" y="305"/>
                    </a:lnTo>
                    <a:lnTo>
                      <a:pt x="180" y="305"/>
                    </a:lnTo>
                    <a:lnTo>
                      <a:pt x="191" y="297"/>
                    </a:lnTo>
                    <a:lnTo>
                      <a:pt x="203" y="297"/>
                    </a:lnTo>
                    <a:lnTo>
                      <a:pt x="230" y="305"/>
                    </a:lnTo>
                    <a:lnTo>
                      <a:pt x="234" y="312"/>
                    </a:lnTo>
                    <a:lnTo>
                      <a:pt x="234" y="321"/>
                    </a:lnTo>
                    <a:lnTo>
                      <a:pt x="250" y="322"/>
                    </a:lnTo>
                    <a:lnTo>
                      <a:pt x="253" y="316"/>
                    </a:lnTo>
                    <a:lnTo>
                      <a:pt x="256" y="318"/>
                    </a:lnTo>
                    <a:lnTo>
                      <a:pt x="257" y="328"/>
                    </a:lnTo>
                    <a:lnTo>
                      <a:pt x="268" y="343"/>
                    </a:lnTo>
                    <a:lnTo>
                      <a:pt x="268" y="366"/>
                    </a:lnTo>
                    <a:lnTo>
                      <a:pt x="277" y="388"/>
                    </a:lnTo>
                    <a:lnTo>
                      <a:pt x="278" y="399"/>
                    </a:lnTo>
                    <a:lnTo>
                      <a:pt x="294" y="418"/>
                    </a:lnTo>
                    <a:lnTo>
                      <a:pt x="301" y="416"/>
                    </a:lnTo>
                    <a:lnTo>
                      <a:pt x="313" y="430"/>
                    </a:lnTo>
                    <a:lnTo>
                      <a:pt x="318" y="420"/>
                    </a:lnTo>
                    <a:lnTo>
                      <a:pt x="326" y="415"/>
                    </a:lnTo>
                    <a:lnTo>
                      <a:pt x="339" y="416"/>
                    </a:lnTo>
                    <a:lnTo>
                      <a:pt x="355" y="410"/>
                    </a:lnTo>
                    <a:lnTo>
                      <a:pt x="360" y="395"/>
                    </a:lnTo>
                    <a:lnTo>
                      <a:pt x="359" y="382"/>
                    </a:lnTo>
                    <a:lnTo>
                      <a:pt x="368" y="357"/>
                    </a:lnTo>
                    <a:lnTo>
                      <a:pt x="337" y="30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45" name="Freeform 307"/>
              <p:cNvSpPr>
                <a:spLocks noChangeAspect="1"/>
              </p:cNvSpPr>
              <p:nvPr/>
            </p:nvSpPr>
            <p:spPr bwMode="gray">
              <a:xfrm>
                <a:off x="1462" y="960"/>
                <a:ext cx="121" cy="112"/>
              </a:xfrm>
              <a:custGeom>
                <a:avLst/>
                <a:gdLst/>
                <a:ahLst/>
                <a:cxnLst>
                  <a:cxn ang="0">
                    <a:pos x="22" y="39"/>
                  </a:cxn>
                  <a:cxn ang="0">
                    <a:pos x="18" y="69"/>
                  </a:cxn>
                  <a:cxn ang="0">
                    <a:pos x="88" y="118"/>
                  </a:cxn>
                  <a:cxn ang="0">
                    <a:pos x="103" y="142"/>
                  </a:cxn>
                  <a:cxn ang="0">
                    <a:pos x="45" y="146"/>
                  </a:cxn>
                  <a:cxn ang="0">
                    <a:pos x="39" y="178"/>
                  </a:cxn>
                  <a:cxn ang="0">
                    <a:pos x="70" y="189"/>
                  </a:cxn>
                  <a:cxn ang="0">
                    <a:pos x="83" y="233"/>
                  </a:cxn>
                  <a:cxn ang="0">
                    <a:pos x="110" y="200"/>
                  </a:cxn>
                  <a:cxn ang="0">
                    <a:pos x="143" y="192"/>
                  </a:cxn>
                  <a:cxn ang="0">
                    <a:pos x="132" y="225"/>
                  </a:cxn>
                  <a:cxn ang="0">
                    <a:pos x="158" y="204"/>
                  </a:cxn>
                  <a:cxn ang="0">
                    <a:pos x="177" y="181"/>
                  </a:cxn>
                  <a:cxn ang="0">
                    <a:pos x="193" y="192"/>
                  </a:cxn>
                  <a:cxn ang="0">
                    <a:pos x="229" y="209"/>
                  </a:cxn>
                  <a:cxn ang="0">
                    <a:pos x="260" y="216"/>
                  </a:cxn>
                  <a:cxn ang="0">
                    <a:pos x="208" y="232"/>
                  </a:cxn>
                  <a:cxn ang="0">
                    <a:pos x="266" y="236"/>
                  </a:cxn>
                  <a:cxn ang="0">
                    <a:pos x="313" y="243"/>
                  </a:cxn>
                  <a:cxn ang="0">
                    <a:pos x="154" y="292"/>
                  </a:cxn>
                  <a:cxn ang="0">
                    <a:pos x="138" y="340"/>
                  </a:cxn>
                  <a:cxn ang="0">
                    <a:pos x="185" y="382"/>
                  </a:cxn>
                  <a:cxn ang="0">
                    <a:pos x="153" y="392"/>
                  </a:cxn>
                  <a:cxn ang="0">
                    <a:pos x="164" y="416"/>
                  </a:cxn>
                  <a:cxn ang="0">
                    <a:pos x="243" y="442"/>
                  </a:cxn>
                  <a:cxn ang="0">
                    <a:pos x="184" y="486"/>
                  </a:cxn>
                  <a:cxn ang="0">
                    <a:pos x="211" y="506"/>
                  </a:cxn>
                  <a:cxn ang="0">
                    <a:pos x="210" y="513"/>
                  </a:cxn>
                  <a:cxn ang="0">
                    <a:pos x="250" y="547"/>
                  </a:cxn>
                  <a:cxn ang="0">
                    <a:pos x="326" y="549"/>
                  </a:cxn>
                  <a:cxn ang="0">
                    <a:pos x="326" y="511"/>
                  </a:cxn>
                  <a:cxn ang="0">
                    <a:pos x="365" y="552"/>
                  </a:cxn>
                  <a:cxn ang="0">
                    <a:pos x="335" y="475"/>
                  </a:cxn>
                  <a:cxn ang="0">
                    <a:pos x="330" y="430"/>
                  </a:cxn>
                  <a:cxn ang="0">
                    <a:pos x="368" y="497"/>
                  </a:cxn>
                  <a:cxn ang="0">
                    <a:pos x="405" y="533"/>
                  </a:cxn>
                  <a:cxn ang="0">
                    <a:pos x="398" y="415"/>
                  </a:cxn>
                  <a:cxn ang="0">
                    <a:pos x="421" y="461"/>
                  </a:cxn>
                  <a:cxn ang="0">
                    <a:pos x="435" y="416"/>
                  </a:cxn>
                  <a:cxn ang="0">
                    <a:pos x="420" y="360"/>
                  </a:cxn>
                  <a:cxn ang="0">
                    <a:pos x="432" y="284"/>
                  </a:cxn>
                  <a:cxn ang="0">
                    <a:pos x="431" y="321"/>
                  </a:cxn>
                  <a:cxn ang="0">
                    <a:pos x="455" y="407"/>
                  </a:cxn>
                  <a:cxn ang="0">
                    <a:pos x="486" y="303"/>
                  </a:cxn>
                  <a:cxn ang="0">
                    <a:pos x="513" y="310"/>
                  </a:cxn>
                  <a:cxn ang="0">
                    <a:pos x="602" y="231"/>
                  </a:cxn>
                  <a:cxn ang="0">
                    <a:pos x="588" y="170"/>
                  </a:cxn>
                  <a:cxn ang="0">
                    <a:pos x="551" y="135"/>
                  </a:cxn>
                  <a:cxn ang="0">
                    <a:pos x="535" y="176"/>
                  </a:cxn>
                  <a:cxn ang="0">
                    <a:pos x="539" y="141"/>
                  </a:cxn>
                  <a:cxn ang="0">
                    <a:pos x="507" y="93"/>
                  </a:cxn>
                  <a:cxn ang="0">
                    <a:pos x="468" y="127"/>
                  </a:cxn>
                  <a:cxn ang="0">
                    <a:pos x="481" y="96"/>
                  </a:cxn>
                  <a:cxn ang="0">
                    <a:pos x="481" y="33"/>
                  </a:cxn>
                  <a:cxn ang="0">
                    <a:pos x="104" y="0"/>
                  </a:cxn>
                  <a:cxn ang="0">
                    <a:pos x="99" y="0"/>
                  </a:cxn>
                  <a:cxn ang="0">
                    <a:pos x="2" y="0"/>
                  </a:cxn>
                </a:cxnLst>
                <a:rect l="0" t="0" r="r" b="b"/>
                <a:pathLst>
                  <a:path w="603" h="558">
                    <a:moveTo>
                      <a:pt x="3" y="21"/>
                    </a:moveTo>
                    <a:lnTo>
                      <a:pt x="23" y="26"/>
                    </a:lnTo>
                    <a:lnTo>
                      <a:pt x="25" y="32"/>
                    </a:lnTo>
                    <a:lnTo>
                      <a:pt x="22" y="39"/>
                    </a:lnTo>
                    <a:lnTo>
                      <a:pt x="1" y="42"/>
                    </a:lnTo>
                    <a:lnTo>
                      <a:pt x="12" y="52"/>
                    </a:lnTo>
                    <a:lnTo>
                      <a:pt x="9" y="57"/>
                    </a:lnTo>
                    <a:lnTo>
                      <a:pt x="18" y="69"/>
                    </a:lnTo>
                    <a:lnTo>
                      <a:pt x="34" y="103"/>
                    </a:lnTo>
                    <a:lnTo>
                      <a:pt x="55" y="117"/>
                    </a:lnTo>
                    <a:lnTo>
                      <a:pt x="59" y="124"/>
                    </a:lnTo>
                    <a:lnTo>
                      <a:pt x="88" y="118"/>
                    </a:lnTo>
                    <a:lnTo>
                      <a:pt x="105" y="128"/>
                    </a:lnTo>
                    <a:lnTo>
                      <a:pt x="126" y="104"/>
                    </a:lnTo>
                    <a:lnTo>
                      <a:pt x="120" y="129"/>
                    </a:lnTo>
                    <a:lnTo>
                      <a:pt x="103" y="142"/>
                    </a:lnTo>
                    <a:lnTo>
                      <a:pt x="81" y="144"/>
                    </a:lnTo>
                    <a:lnTo>
                      <a:pt x="80" y="149"/>
                    </a:lnTo>
                    <a:lnTo>
                      <a:pt x="64" y="155"/>
                    </a:lnTo>
                    <a:lnTo>
                      <a:pt x="45" y="146"/>
                    </a:lnTo>
                    <a:lnTo>
                      <a:pt x="39" y="152"/>
                    </a:lnTo>
                    <a:lnTo>
                      <a:pt x="38" y="161"/>
                    </a:lnTo>
                    <a:lnTo>
                      <a:pt x="40" y="168"/>
                    </a:lnTo>
                    <a:lnTo>
                      <a:pt x="39" y="178"/>
                    </a:lnTo>
                    <a:lnTo>
                      <a:pt x="48" y="189"/>
                    </a:lnTo>
                    <a:lnTo>
                      <a:pt x="56" y="188"/>
                    </a:lnTo>
                    <a:lnTo>
                      <a:pt x="60" y="195"/>
                    </a:lnTo>
                    <a:lnTo>
                      <a:pt x="70" y="189"/>
                    </a:lnTo>
                    <a:lnTo>
                      <a:pt x="72" y="200"/>
                    </a:lnTo>
                    <a:lnTo>
                      <a:pt x="77" y="209"/>
                    </a:lnTo>
                    <a:lnTo>
                      <a:pt x="76" y="212"/>
                    </a:lnTo>
                    <a:lnTo>
                      <a:pt x="83" y="233"/>
                    </a:lnTo>
                    <a:lnTo>
                      <a:pt x="88" y="224"/>
                    </a:lnTo>
                    <a:lnTo>
                      <a:pt x="98" y="212"/>
                    </a:lnTo>
                    <a:lnTo>
                      <a:pt x="108" y="209"/>
                    </a:lnTo>
                    <a:lnTo>
                      <a:pt x="110" y="200"/>
                    </a:lnTo>
                    <a:lnTo>
                      <a:pt x="109" y="193"/>
                    </a:lnTo>
                    <a:lnTo>
                      <a:pt x="116" y="183"/>
                    </a:lnTo>
                    <a:lnTo>
                      <a:pt x="135" y="193"/>
                    </a:lnTo>
                    <a:lnTo>
                      <a:pt x="143" y="192"/>
                    </a:lnTo>
                    <a:lnTo>
                      <a:pt x="132" y="203"/>
                    </a:lnTo>
                    <a:lnTo>
                      <a:pt x="130" y="209"/>
                    </a:lnTo>
                    <a:lnTo>
                      <a:pt x="129" y="225"/>
                    </a:lnTo>
                    <a:lnTo>
                      <a:pt x="132" y="225"/>
                    </a:lnTo>
                    <a:lnTo>
                      <a:pt x="138" y="236"/>
                    </a:lnTo>
                    <a:lnTo>
                      <a:pt x="146" y="233"/>
                    </a:lnTo>
                    <a:lnTo>
                      <a:pt x="156" y="221"/>
                    </a:lnTo>
                    <a:lnTo>
                      <a:pt x="158" y="204"/>
                    </a:lnTo>
                    <a:lnTo>
                      <a:pt x="168" y="197"/>
                    </a:lnTo>
                    <a:lnTo>
                      <a:pt x="170" y="181"/>
                    </a:lnTo>
                    <a:lnTo>
                      <a:pt x="175" y="172"/>
                    </a:lnTo>
                    <a:lnTo>
                      <a:pt x="177" y="181"/>
                    </a:lnTo>
                    <a:lnTo>
                      <a:pt x="170" y="208"/>
                    </a:lnTo>
                    <a:lnTo>
                      <a:pt x="174" y="211"/>
                    </a:lnTo>
                    <a:lnTo>
                      <a:pt x="191" y="205"/>
                    </a:lnTo>
                    <a:lnTo>
                      <a:pt x="193" y="192"/>
                    </a:lnTo>
                    <a:lnTo>
                      <a:pt x="194" y="189"/>
                    </a:lnTo>
                    <a:lnTo>
                      <a:pt x="218" y="183"/>
                    </a:lnTo>
                    <a:lnTo>
                      <a:pt x="215" y="200"/>
                    </a:lnTo>
                    <a:lnTo>
                      <a:pt x="229" y="209"/>
                    </a:lnTo>
                    <a:lnTo>
                      <a:pt x="276" y="203"/>
                    </a:lnTo>
                    <a:lnTo>
                      <a:pt x="277" y="206"/>
                    </a:lnTo>
                    <a:lnTo>
                      <a:pt x="272" y="211"/>
                    </a:lnTo>
                    <a:lnTo>
                      <a:pt x="260" y="216"/>
                    </a:lnTo>
                    <a:lnTo>
                      <a:pt x="222" y="216"/>
                    </a:lnTo>
                    <a:lnTo>
                      <a:pt x="220" y="224"/>
                    </a:lnTo>
                    <a:lnTo>
                      <a:pt x="208" y="224"/>
                    </a:lnTo>
                    <a:lnTo>
                      <a:pt x="208" y="232"/>
                    </a:lnTo>
                    <a:lnTo>
                      <a:pt x="213" y="237"/>
                    </a:lnTo>
                    <a:lnTo>
                      <a:pt x="227" y="244"/>
                    </a:lnTo>
                    <a:lnTo>
                      <a:pt x="259" y="243"/>
                    </a:lnTo>
                    <a:lnTo>
                      <a:pt x="266" y="236"/>
                    </a:lnTo>
                    <a:lnTo>
                      <a:pt x="312" y="231"/>
                    </a:lnTo>
                    <a:lnTo>
                      <a:pt x="324" y="222"/>
                    </a:lnTo>
                    <a:lnTo>
                      <a:pt x="315" y="241"/>
                    </a:lnTo>
                    <a:lnTo>
                      <a:pt x="313" y="243"/>
                    </a:lnTo>
                    <a:lnTo>
                      <a:pt x="275" y="247"/>
                    </a:lnTo>
                    <a:lnTo>
                      <a:pt x="242" y="258"/>
                    </a:lnTo>
                    <a:lnTo>
                      <a:pt x="173" y="265"/>
                    </a:lnTo>
                    <a:lnTo>
                      <a:pt x="154" y="292"/>
                    </a:lnTo>
                    <a:lnTo>
                      <a:pt x="138" y="298"/>
                    </a:lnTo>
                    <a:lnTo>
                      <a:pt x="127" y="313"/>
                    </a:lnTo>
                    <a:lnTo>
                      <a:pt x="130" y="325"/>
                    </a:lnTo>
                    <a:lnTo>
                      <a:pt x="138" y="340"/>
                    </a:lnTo>
                    <a:lnTo>
                      <a:pt x="145" y="359"/>
                    </a:lnTo>
                    <a:lnTo>
                      <a:pt x="163" y="356"/>
                    </a:lnTo>
                    <a:lnTo>
                      <a:pt x="183" y="371"/>
                    </a:lnTo>
                    <a:lnTo>
                      <a:pt x="185" y="382"/>
                    </a:lnTo>
                    <a:lnTo>
                      <a:pt x="163" y="380"/>
                    </a:lnTo>
                    <a:lnTo>
                      <a:pt x="156" y="373"/>
                    </a:lnTo>
                    <a:lnTo>
                      <a:pt x="151" y="377"/>
                    </a:lnTo>
                    <a:lnTo>
                      <a:pt x="153" y="392"/>
                    </a:lnTo>
                    <a:lnTo>
                      <a:pt x="158" y="404"/>
                    </a:lnTo>
                    <a:lnTo>
                      <a:pt x="165" y="404"/>
                    </a:lnTo>
                    <a:lnTo>
                      <a:pt x="163" y="410"/>
                    </a:lnTo>
                    <a:lnTo>
                      <a:pt x="164" y="416"/>
                    </a:lnTo>
                    <a:lnTo>
                      <a:pt x="170" y="426"/>
                    </a:lnTo>
                    <a:lnTo>
                      <a:pt x="193" y="420"/>
                    </a:lnTo>
                    <a:lnTo>
                      <a:pt x="201" y="427"/>
                    </a:lnTo>
                    <a:lnTo>
                      <a:pt x="243" y="442"/>
                    </a:lnTo>
                    <a:lnTo>
                      <a:pt x="238" y="448"/>
                    </a:lnTo>
                    <a:lnTo>
                      <a:pt x="178" y="457"/>
                    </a:lnTo>
                    <a:lnTo>
                      <a:pt x="178" y="472"/>
                    </a:lnTo>
                    <a:lnTo>
                      <a:pt x="184" y="486"/>
                    </a:lnTo>
                    <a:lnTo>
                      <a:pt x="193" y="491"/>
                    </a:lnTo>
                    <a:lnTo>
                      <a:pt x="199" y="505"/>
                    </a:lnTo>
                    <a:lnTo>
                      <a:pt x="205" y="509"/>
                    </a:lnTo>
                    <a:lnTo>
                      <a:pt x="211" y="506"/>
                    </a:lnTo>
                    <a:lnTo>
                      <a:pt x="212" y="497"/>
                    </a:lnTo>
                    <a:lnTo>
                      <a:pt x="216" y="500"/>
                    </a:lnTo>
                    <a:lnTo>
                      <a:pt x="216" y="506"/>
                    </a:lnTo>
                    <a:lnTo>
                      <a:pt x="210" y="513"/>
                    </a:lnTo>
                    <a:lnTo>
                      <a:pt x="218" y="523"/>
                    </a:lnTo>
                    <a:lnTo>
                      <a:pt x="223" y="537"/>
                    </a:lnTo>
                    <a:lnTo>
                      <a:pt x="242" y="537"/>
                    </a:lnTo>
                    <a:lnTo>
                      <a:pt x="250" y="547"/>
                    </a:lnTo>
                    <a:lnTo>
                      <a:pt x="269" y="549"/>
                    </a:lnTo>
                    <a:lnTo>
                      <a:pt x="290" y="558"/>
                    </a:lnTo>
                    <a:lnTo>
                      <a:pt x="324" y="558"/>
                    </a:lnTo>
                    <a:lnTo>
                      <a:pt x="326" y="549"/>
                    </a:lnTo>
                    <a:lnTo>
                      <a:pt x="323" y="532"/>
                    </a:lnTo>
                    <a:lnTo>
                      <a:pt x="307" y="523"/>
                    </a:lnTo>
                    <a:lnTo>
                      <a:pt x="299" y="511"/>
                    </a:lnTo>
                    <a:lnTo>
                      <a:pt x="326" y="511"/>
                    </a:lnTo>
                    <a:lnTo>
                      <a:pt x="339" y="515"/>
                    </a:lnTo>
                    <a:lnTo>
                      <a:pt x="347" y="532"/>
                    </a:lnTo>
                    <a:lnTo>
                      <a:pt x="360" y="539"/>
                    </a:lnTo>
                    <a:lnTo>
                      <a:pt x="365" y="552"/>
                    </a:lnTo>
                    <a:lnTo>
                      <a:pt x="367" y="545"/>
                    </a:lnTo>
                    <a:lnTo>
                      <a:pt x="350" y="501"/>
                    </a:lnTo>
                    <a:lnTo>
                      <a:pt x="339" y="486"/>
                    </a:lnTo>
                    <a:lnTo>
                      <a:pt x="335" y="475"/>
                    </a:lnTo>
                    <a:lnTo>
                      <a:pt x="322" y="447"/>
                    </a:lnTo>
                    <a:lnTo>
                      <a:pt x="323" y="426"/>
                    </a:lnTo>
                    <a:lnTo>
                      <a:pt x="328" y="424"/>
                    </a:lnTo>
                    <a:lnTo>
                      <a:pt x="330" y="430"/>
                    </a:lnTo>
                    <a:lnTo>
                      <a:pt x="339" y="457"/>
                    </a:lnTo>
                    <a:lnTo>
                      <a:pt x="346" y="469"/>
                    </a:lnTo>
                    <a:lnTo>
                      <a:pt x="367" y="486"/>
                    </a:lnTo>
                    <a:lnTo>
                      <a:pt x="368" y="497"/>
                    </a:lnTo>
                    <a:lnTo>
                      <a:pt x="384" y="532"/>
                    </a:lnTo>
                    <a:lnTo>
                      <a:pt x="394" y="544"/>
                    </a:lnTo>
                    <a:lnTo>
                      <a:pt x="401" y="545"/>
                    </a:lnTo>
                    <a:lnTo>
                      <a:pt x="405" y="533"/>
                    </a:lnTo>
                    <a:lnTo>
                      <a:pt x="412" y="483"/>
                    </a:lnTo>
                    <a:lnTo>
                      <a:pt x="395" y="451"/>
                    </a:lnTo>
                    <a:lnTo>
                      <a:pt x="394" y="436"/>
                    </a:lnTo>
                    <a:lnTo>
                      <a:pt x="398" y="415"/>
                    </a:lnTo>
                    <a:lnTo>
                      <a:pt x="401" y="416"/>
                    </a:lnTo>
                    <a:lnTo>
                      <a:pt x="403" y="426"/>
                    </a:lnTo>
                    <a:lnTo>
                      <a:pt x="417" y="447"/>
                    </a:lnTo>
                    <a:lnTo>
                      <a:pt x="421" y="461"/>
                    </a:lnTo>
                    <a:lnTo>
                      <a:pt x="436" y="461"/>
                    </a:lnTo>
                    <a:lnTo>
                      <a:pt x="436" y="451"/>
                    </a:lnTo>
                    <a:lnTo>
                      <a:pt x="438" y="434"/>
                    </a:lnTo>
                    <a:lnTo>
                      <a:pt x="435" y="416"/>
                    </a:lnTo>
                    <a:lnTo>
                      <a:pt x="423" y="407"/>
                    </a:lnTo>
                    <a:lnTo>
                      <a:pt x="425" y="396"/>
                    </a:lnTo>
                    <a:lnTo>
                      <a:pt x="420" y="376"/>
                    </a:lnTo>
                    <a:lnTo>
                      <a:pt x="420" y="360"/>
                    </a:lnTo>
                    <a:lnTo>
                      <a:pt x="421" y="348"/>
                    </a:lnTo>
                    <a:lnTo>
                      <a:pt x="421" y="329"/>
                    </a:lnTo>
                    <a:lnTo>
                      <a:pt x="427" y="312"/>
                    </a:lnTo>
                    <a:lnTo>
                      <a:pt x="432" y="284"/>
                    </a:lnTo>
                    <a:lnTo>
                      <a:pt x="436" y="280"/>
                    </a:lnTo>
                    <a:lnTo>
                      <a:pt x="436" y="287"/>
                    </a:lnTo>
                    <a:lnTo>
                      <a:pt x="433" y="298"/>
                    </a:lnTo>
                    <a:lnTo>
                      <a:pt x="431" y="321"/>
                    </a:lnTo>
                    <a:lnTo>
                      <a:pt x="436" y="334"/>
                    </a:lnTo>
                    <a:lnTo>
                      <a:pt x="436" y="361"/>
                    </a:lnTo>
                    <a:lnTo>
                      <a:pt x="438" y="380"/>
                    </a:lnTo>
                    <a:lnTo>
                      <a:pt x="455" y="407"/>
                    </a:lnTo>
                    <a:lnTo>
                      <a:pt x="460" y="404"/>
                    </a:lnTo>
                    <a:lnTo>
                      <a:pt x="475" y="367"/>
                    </a:lnTo>
                    <a:lnTo>
                      <a:pt x="489" y="345"/>
                    </a:lnTo>
                    <a:lnTo>
                      <a:pt x="486" y="303"/>
                    </a:lnTo>
                    <a:lnTo>
                      <a:pt x="486" y="291"/>
                    </a:lnTo>
                    <a:lnTo>
                      <a:pt x="496" y="300"/>
                    </a:lnTo>
                    <a:lnTo>
                      <a:pt x="498" y="329"/>
                    </a:lnTo>
                    <a:lnTo>
                      <a:pt x="513" y="310"/>
                    </a:lnTo>
                    <a:lnTo>
                      <a:pt x="511" y="307"/>
                    </a:lnTo>
                    <a:lnTo>
                      <a:pt x="512" y="292"/>
                    </a:lnTo>
                    <a:lnTo>
                      <a:pt x="565" y="267"/>
                    </a:lnTo>
                    <a:lnTo>
                      <a:pt x="602" y="231"/>
                    </a:lnTo>
                    <a:lnTo>
                      <a:pt x="603" y="204"/>
                    </a:lnTo>
                    <a:lnTo>
                      <a:pt x="600" y="195"/>
                    </a:lnTo>
                    <a:lnTo>
                      <a:pt x="592" y="184"/>
                    </a:lnTo>
                    <a:lnTo>
                      <a:pt x="588" y="170"/>
                    </a:lnTo>
                    <a:lnTo>
                      <a:pt x="571" y="146"/>
                    </a:lnTo>
                    <a:lnTo>
                      <a:pt x="560" y="123"/>
                    </a:lnTo>
                    <a:lnTo>
                      <a:pt x="552" y="128"/>
                    </a:lnTo>
                    <a:lnTo>
                      <a:pt x="551" y="135"/>
                    </a:lnTo>
                    <a:lnTo>
                      <a:pt x="549" y="145"/>
                    </a:lnTo>
                    <a:lnTo>
                      <a:pt x="549" y="156"/>
                    </a:lnTo>
                    <a:lnTo>
                      <a:pt x="545" y="165"/>
                    </a:lnTo>
                    <a:lnTo>
                      <a:pt x="535" y="176"/>
                    </a:lnTo>
                    <a:lnTo>
                      <a:pt x="534" y="168"/>
                    </a:lnTo>
                    <a:lnTo>
                      <a:pt x="540" y="162"/>
                    </a:lnTo>
                    <a:lnTo>
                      <a:pt x="538" y="150"/>
                    </a:lnTo>
                    <a:lnTo>
                      <a:pt x="539" y="141"/>
                    </a:lnTo>
                    <a:lnTo>
                      <a:pt x="538" y="130"/>
                    </a:lnTo>
                    <a:lnTo>
                      <a:pt x="529" y="123"/>
                    </a:lnTo>
                    <a:lnTo>
                      <a:pt x="519" y="103"/>
                    </a:lnTo>
                    <a:lnTo>
                      <a:pt x="507" y="93"/>
                    </a:lnTo>
                    <a:lnTo>
                      <a:pt x="502" y="92"/>
                    </a:lnTo>
                    <a:lnTo>
                      <a:pt x="489" y="107"/>
                    </a:lnTo>
                    <a:lnTo>
                      <a:pt x="479" y="107"/>
                    </a:lnTo>
                    <a:lnTo>
                      <a:pt x="468" y="127"/>
                    </a:lnTo>
                    <a:lnTo>
                      <a:pt x="464" y="128"/>
                    </a:lnTo>
                    <a:lnTo>
                      <a:pt x="464" y="115"/>
                    </a:lnTo>
                    <a:lnTo>
                      <a:pt x="470" y="102"/>
                    </a:lnTo>
                    <a:lnTo>
                      <a:pt x="481" y="96"/>
                    </a:lnTo>
                    <a:lnTo>
                      <a:pt x="487" y="60"/>
                    </a:lnTo>
                    <a:lnTo>
                      <a:pt x="496" y="32"/>
                    </a:lnTo>
                    <a:lnTo>
                      <a:pt x="496" y="27"/>
                    </a:lnTo>
                    <a:lnTo>
                      <a:pt x="481" y="33"/>
                    </a:lnTo>
                    <a:lnTo>
                      <a:pt x="481" y="28"/>
                    </a:lnTo>
                    <a:lnTo>
                      <a:pt x="491" y="17"/>
                    </a:lnTo>
                    <a:lnTo>
                      <a:pt x="487" y="0"/>
                    </a:lnTo>
                    <a:lnTo>
                      <a:pt x="104" y="0"/>
                    </a:lnTo>
                    <a:lnTo>
                      <a:pt x="110" y="9"/>
                    </a:lnTo>
                    <a:lnTo>
                      <a:pt x="111" y="15"/>
                    </a:lnTo>
                    <a:lnTo>
                      <a:pt x="102" y="1"/>
                    </a:lnTo>
                    <a:lnTo>
                      <a:pt x="99" y="0"/>
                    </a:lnTo>
                    <a:lnTo>
                      <a:pt x="78" y="0"/>
                    </a:lnTo>
                    <a:lnTo>
                      <a:pt x="75" y="2"/>
                    </a:lnTo>
                    <a:lnTo>
                      <a:pt x="72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3" y="2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46" name="Freeform 308"/>
              <p:cNvSpPr>
                <a:spLocks noChangeAspect="1"/>
              </p:cNvSpPr>
              <p:nvPr/>
            </p:nvSpPr>
            <p:spPr bwMode="gray">
              <a:xfrm>
                <a:off x="1532" y="960"/>
                <a:ext cx="206" cy="207"/>
              </a:xfrm>
              <a:custGeom>
                <a:avLst/>
                <a:gdLst/>
                <a:ahLst/>
                <a:cxnLst>
                  <a:cxn ang="0">
                    <a:pos x="181" y="70"/>
                  </a:cxn>
                  <a:cxn ang="0">
                    <a:pos x="284" y="215"/>
                  </a:cxn>
                  <a:cxn ang="0">
                    <a:pos x="322" y="275"/>
                  </a:cxn>
                  <a:cxn ang="0">
                    <a:pos x="270" y="271"/>
                  </a:cxn>
                  <a:cxn ang="0">
                    <a:pos x="419" y="334"/>
                  </a:cxn>
                  <a:cxn ang="0">
                    <a:pos x="416" y="370"/>
                  </a:cxn>
                  <a:cxn ang="0">
                    <a:pos x="402" y="402"/>
                  </a:cxn>
                  <a:cxn ang="0">
                    <a:pos x="243" y="332"/>
                  </a:cxn>
                  <a:cxn ang="0">
                    <a:pos x="144" y="436"/>
                  </a:cxn>
                  <a:cxn ang="0">
                    <a:pos x="140" y="531"/>
                  </a:cxn>
                  <a:cxn ang="0">
                    <a:pos x="192" y="511"/>
                  </a:cxn>
                  <a:cxn ang="0">
                    <a:pos x="221" y="553"/>
                  </a:cxn>
                  <a:cxn ang="0">
                    <a:pos x="264" y="454"/>
                  </a:cxn>
                  <a:cxn ang="0">
                    <a:pos x="278" y="529"/>
                  </a:cxn>
                  <a:cxn ang="0">
                    <a:pos x="246" y="561"/>
                  </a:cxn>
                  <a:cxn ang="0">
                    <a:pos x="230" y="609"/>
                  </a:cxn>
                  <a:cxn ang="0">
                    <a:pos x="227" y="620"/>
                  </a:cxn>
                  <a:cxn ang="0">
                    <a:pos x="267" y="650"/>
                  </a:cxn>
                  <a:cxn ang="0">
                    <a:pos x="351" y="657"/>
                  </a:cxn>
                  <a:cxn ang="0">
                    <a:pos x="378" y="623"/>
                  </a:cxn>
                  <a:cxn ang="0">
                    <a:pos x="335" y="739"/>
                  </a:cxn>
                  <a:cxn ang="0">
                    <a:pos x="233" y="736"/>
                  </a:cxn>
                  <a:cxn ang="0">
                    <a:pos x="168" y="622"/>
                  </a:cxn>
                  <a:cxn ang="0">
                    <a:pos x="88" y="693"/>
                  </a:cxn>
                  <a:cxn ang="0">
                    <a:pos x="145" y="753"/>
                  </a:cxn>
                  <a:cxn ang="0">
                    <a:pos x="147" y="801"/>
                  </a:cxn>
                  <a:cxn ang="0">
                    <a:pos x="92" y="819"/>
                  </a:cxn>
                  <a:cxn ang="0">
                    <a:pos x="6" y="903"/>
                  </a:cxn>
                  <a:cxn ang="0">
                    <a:pos x="45" y="897"/>
                  </a:cxn>
                  <a:cxn ang="0">
                    <a:pos x="108" y="964"/>
                  </a:cxn>
                  <a:cxn ang="0">
                    <a:pos x="190" y="995"/>
                  </a:cxn>
                  <a:cxn ang="0">
                    <a:pos x="286" y="925"/>
                  </a:cxn>
                  <a:cxn ang="0">
                    <a:pos x="399" y="979"/>
                  </a:cxn>
                  <a:cxn ang="0">
                    <a:pos x="456" y="958"/>
                  </a:cxn>
                  <a:cxn ang="0">
                    <a:pos x="581" y="943"/>
                  </a:cxn>
                  <a:cxn ang="0">
                    <a:pos x="595" y="865"/>
                  </a:cxn>
                  <a:cxn ang="0">
                    <a:pos x="570" y="792"/>
                  </a:cxn>
                  <a:cxn ang="0">
                    <a:pos x="423" y="805"/>
                  </a:cxn>
                  <a:cxn ang="0">
                    <a:pos x="498" y="773"/>
                  </a:cxn>
                  <a:cxn ang="0">
                    <a:pos x="652" y="694"/>
                  </a:cxn>
                  <a:cxn ang="0">
                    <a:pos x="622" y="596"/>
                  </a:cxn>
                  <a:cxn ang="0">
                    <a:pos x="768" y="555"/>
                  </a:cxn>
                  <a:cxn ang="0">
                    <a:pos x="775" y="468"/>
                  </a:cxn>
                  <a:cxn ang="0">
                    <a:pos x="813" y="411"/>
                  </a:cxn>
                  <a:cxn ang="0">
                    <a:pos x="757" y="319"/>
                  </a:cxn>
                  <a:cxn ang="0">
                    <a:pos x="645" y="291"/>
                  </a:cxn>
                  <a:cxn ang="0">
                    <a:pos x="715" y="247"/>
                  </a:cxn>
                  <a:cxn ang="0">
                    <a:pos x="828" y="274"/>
                  </a:cxn>
                  <a:cxn ang="0">
                    <a:pos x="650" y="222"/>
                  </a:cxn>
                  <a:cxn ang="0">
                    <a:pos x="746" y="209"/>
                  </a:cxn>
                  <a:cxn ang="0">
                    <a:pos x="801" y="185"/>
                  </a:cxn>
                  <a:cxn ang="0">
                    <a:pos x="881" y="140"/>
                  </a:cxn>
                  <a:cxn ang="0">
                    <a:pos x="884" y="103"/>
                  </a:cxn>
                  <a:cxn ang="0">
                    <a:pos x="978" y="58"/>
                  </a:cxn>
                  <a:cxn ang="0">
                    <a:pos x="426" y="41"/>
                  </a:cxn>
                  <a:cxn ang="0">
                    <a:pos x="526" y="107"/>
                  </a:cxn>
                  <a:cxn ang="0">
                    <a:pos x="432" y="129"/>
                  </a:cxn>
                  <a:cxn ang="0">
                    <a:pos x="220" y="14"/>
                  </a:cxn>
                </a:cxnLst>
                <a:rect l="0" t="0" r="r" b="b"/>
                <a:pathLst>
                  <a:path w="1028" h="1037">
                    <a:moveTo>
                      <a:pt x="231" y="23"/>
                    </a:moveTo>
                    <a:lnTo>
                      <a:pt x="231" y="28"/>
                    </a:lnTo>
                    <a:lnTo>
                      <a:pt x="228" y="33"/>
                    </a:lnTo>
                    <a:lnTo>
                      <a:pt x="193" y="18"/>
                    </a:lnTo>
                    <a:lnTo>
                      <a:pt x="184" y="9"/>
                    </a:lnTo>
                    <a:lnTo>
                      <a:pt x="174" y="7"/>
                    </a:lnTo>
                    <a:lnTo>
                      <a:pt x="168" y="11"/>
                    </a:lnTo>
                    <a:lnTo>
                      <a:pt x="168" y="49"/>
                    </a:lnTo>
                    <a:lnTo>
                      <a:pt x="170" y="57"/>
                    </a:lnTo>
                    <a:lnTo>
                      <a:pt x="181" y="70"/>
                    </a:lnTo>
                    <a:lnTo>
                      <a:pt x="204" y="86"/>
                    </a:lnTo>
                    <a:lnTo>
                      <a:pt x="217" y="87"/>
                    </a:lnTo>
                    <a:lnTo>
                      <a:pt x="243" y="111"/>
                    </a:lnTo>
                    <a:lnTo>
                      <a:pt x="247" y="120"/>
                    </a:lnTo>
                    <a:lnTo>
                      <a:pt x="251" y="141"/>
                    </a:lnTo>
                    <a:lnTo>
                      <a:pt x="256" y="151"/>
                    </a:lnTo>
                    <a:lnTo>
                      <a:pt x="279" y="182"/>
                    </a:lnTo>
                    <a:lnTo>
                      <a:pt x="281" y="192"/>
                    </a:lnTo>
                    <a:lnTo>
                      <a:pt x="280" y="204"/>
                    </a:lnTo>
                    <a:lnTo>
                      <a:pt x="284" y="215"/>
                    </a:lnTo>
                    <a:lnTo>
                      <a:pt x="284" y="225"/>
                    </a:lnTo>
                    <a:lnTo>
                      <a:pt x="283" y="228"/>
                    </a:lnTo>
                    <a:lnTo>
                      <a:pt x="286" y="237"/>
                    </a:lnTo>
                    <a:lnTo>
                      <a:pt x="289" y="253"/>
                    </a:lnTo>
                    <a:lnTo>
                      <a:pt x="303" y="249"/>
                    </a:lnTo>
                    <a:lnTo>
                      <a:pt x="310" y="240"/>
                    </a:lnTo>
                    <a:lnTo>
                      <a:pt x="308" y="251"/>
                    </a:lnTo>
                    <a:lnTo>
                      <a:pt x="303" y="259"/>
                    </a:lnTo>
                    <a:lnTo>
                      <a:pt x="314" y="278"/>
                    </a:lnTo>
                    <a:lnTo>
                      <a:pt x="322" y="275"/>
                    </a:lnTo>
                    <a:lnTo>
                      <a:pt x="324" y="290"/>
                    </a:lnTo>
                    <a:lnTo>
                      <a:pt x="330" y="298"/>
                    </a:lnTo>
                    <a:lnTo>
                      <a:pt x="344" y="296"/>
                    </a:lnTo>
                    <a:lnTo>
                      <a:pt x="337" y="307"/>
                    </a:lnTo>
                    <a:lnTo>
                      <a:pt x="318" y="306"/>
                    </a:lnTo>
                    <a:lnTo>
                      <a:pt x="307" y="301"/>
                    </a:lnTo>
                    <a:lnTo>
                      <a:pt x="295" y="280"/>
                    </a:lnTo>
                    <a:lnTo>
                      <a:pt x="283" y="279"/>
                    </a:lnTo>
                    <a:lnTo>
                      <a:pt x="276" y="269"/>
                    </a:lnTo>
                    <a:lnTo>
                      <a:pt x="270" y="271"/>
                    </a:lnTo>
                    <a:lnTo>
                      <a:pt x="262" y="286"/>
                    </a:lnTo>
                    <a:lnTo>
                      <a:pt x="265" y="302"/>
                    </a:lnTo>
                    <a:lnTo>
                      <a:pt x="278" y="307"/>
                    </a:lnTo>
                    <a:lnTo>
                      <a:pt x="295" y="327"/>
                    </a:lnTo>
                    <a:lnTo>
                      <a:pt x="354" y="333"/>
                    </a:lnTo>
                    <a:lnTo>
                      <a:pt x="377" y="346"/>
                    </a:lnTo>
                    <a:lnTo>
                      <a:pt x="407" y="345"/>
                    </a:lnTo>
                    <a:lnTo>
                      <a:pt x="410" y="343"/>
                    </a:lnTo>
                    <a:lnTo>
                      <a:pt x="413" y="335"/>
                    </a:lnTo>
                    <a:lnTo>
                      <a:pt x="419" y="334"/>
                    </a:lnTo>
                    <a:lnTo>
                      <a:pt x="434" y="316"/>
                    </a:lnTo>
                    <a:lnTo>
                      <a:pt x="442" y="313"/>
                    </a:lnTo>
                    <a:lnTo>
                      <a:pt x="442" y="316"/>
                    </a:lnTo>
                    <a:lnTo>
                      <a:pt x="434" y="332"/>
                    </a:lnTo>
                    <a:lnTo>
                      <a:pt x="431" y="349"/>
                    </a:lnTo>
                    <a:lnTo>
                      <a:pt x="434" y="353"/>
                    </a:lnTo>
                    <a:lnTo>
                      <a:pt x="427" y="361"/>
                    </a:lnTo>
                    <a:lnTo>
                      <a:pt x="424" y="360"/>
                    </a:lnTo>
                    <a:lnTo>
                      <a:pt x="421" y="367"/>
                    </a:lnTo>
                    <a:lnTo>
                      <a:pt x="416" y="370"/>
                    </a:lnTo>
                    <a:lnTo>
                      <a:pt x="408" y="357"/>
                    </a:lnTo>
                    <a:lnTo>
                      <a:pt x="398" y="364"/>
                    </a:lnTo>
                    <a:lnTo>
                      <a:pt x="355" y="357"/>
                    </a:lnTo>
                    <a:lnTo>
                      <a:pt x="348" y="366"/>
                    </a:lnTo>
                    <a:lnTo>
                      <a:pt x="351" y="375"/>
                    </a:lnTo>
                    <a:lnTo>
                      <a:pt x="364" y="384"/>
                    </a:lnTo>
                    <a:lnTo>
                      <a:pt x="373" y="386"/>
                    </a:lnTo>
                    <a:lnTo>
                      <a:pt x="377" y="393"/>
                    </a:lnTo>
                    <a:lnTo>
                      <a:pt x="405" y="394"/>
                    </a:lnTo>
                    <a:lnTo>
                      <a:pt x="402" y="402"/>
                    </a:lnTo>
                    <a:lnTo>
                      <a:pt x="388" y="402"/>
                    </a:lnTo>
                    <a:lnTo>
                      <a:pt x="402" y="431"/>
                    </a:lnTo>
                    <a:lnTo>
                      <a:pt x="399" y="437"/>
                    </a:lnTo>
                    <a:lnTo>
                      <a:pt x="380" y="426"/>
                    </a:lnTo>
                    <a:lnTo>
                      <a:pt x="377" y="418"/>
                    </a:lnTo>
                    <a:lnTo>
                      <a:pt x="367" y="400"/>
                    </a:lnTo>
                    <a:lnTo>
                      <a:pt x="356" y="399"/>
                    </a:lnTo>
                    <a:lnTo>
                      <a:pt x="313" y="353"/>
                    </a:lnTo>
                    <a:lnTo>
                      <a:pt x="270" y="345"/>
                    </a:lnTo>
                    <a:lnTo>
                      <a:pt x="243" y="332"/>
                    </a:lnTo>
                    <a:lnTo>
                      <a:pt x="233" y="333"/>
                    </a:lnTo>
                    <a:lnTo>
                      <a:pt x="232" y="341"/>
                    </a:lnTo>
                    <a:lnTo>
                      <a:pt x="225" y="354"/>
                    </a:lnTo>
                    <a:lnTo>
                      <a:pt x="157" y="367"/>
                    </a:lnTo>
                    <a:lnTo>
                      <a:pt x="152" y="371"/>
                    </a:lnTo>
                    <a:lnTo>
                      <a:pt x="146" y="382"/>
                    </a:lnTo>
                    <a:lnTo>
                      <a:pt x="140" y="404"/>
                    </a:lnTo>
                    <a:lnTo>
                      <a:pt x="136" y="426"/>
                    </a:lnTo>
                    <a:lnTo>
                      <a:pt x="147" y="430"/>
                    </a:lnTo>
                    <a:lnTo>
                      <a:pt x="144" y="436"/>
                    </a:lnTo>
                    <a:lnTo>
                      <a:pt x="125" y="442"/>
                    </a:lnTo>
                    <a:lnTo>
                      <a:pt x="118" y="452"/>
                    </a:lnTo>
                    <a:lnTo>
                      <a:pt x="108" y="474"/>
                    </a:lnTo>
                    <a:lnTo>
                      <a:pt x="114" y="488"/>
                    </a:lnTo>
                    <a:lnTo>
                      <a:pt x="115" y="502"/>
                    </a:lnTo>
                    <a:lnTo>
                      <a:pt x="117" y="507"/>
                    </a:lnTo>
                    <a:lnTo>
                      <a:pt x="115" y="523"/>
                    </a:lnTo>
                    <a:lnTo>
                      <a:pt x="117" y="529"/>
                    </a:lnTo>
                    <a:lnTo>
                      <a:pt x="125" y="524"/>
                    </a:lnTo>
                    <a:lnTo>
                      <a:pt x="140" y="531"/>
                    </a:lnTo>
                    <a:lnTo>
                      <a:pt x="127" y="534"/>
                    </a:lnTo>
                    <a:lnTo>
                      <a:pt x="119" y="542"/>
                    </a:lnTo>
                    <a:lnTo>
                      <a:pt x="117" y="549"/>
                    </a:lnTo>
                    <a:lnTo>
                      <a:pt x="118" y="552"/>
                    </a:lnTo>
                    <a:lnTo>
                      <a:pt x="144" y="558"/>
                    </a:lnTo>
                    <a:lnTo>
                      <a:pt x="170" y="545"/>
                    </a:lnTo>
                    <a:lnTo>
                      <a:pt x="176" y="526"/>
                    </a:lnTo>
                    <a:lnTo>
                      <a:pt x="184" y="528"/>
                    </a:lnTo>
                    <a:lnTo>
                      <a:pt x="188" y="523"/>
                    </a:lnTo>
                    <a:lnTo>
                      <a:pt x="192" y="511"/>
                    </a:lnTo>
                    <a:lnTo>
                      <a:pt x="193" y="500"/>
                    </a:lnTo>
                    <a:lnTo>
                      <a:pt x="205" y="486"/>
                    </a:lnTo>
                    <a:lnTo>
                      <a:pt x="205" y="493"/>
                    </a:lnTo>
                    <a:lnTo>
                      <a:pt x="199" y="515"/>
                    </a:lnTo>
                    <a:lnTo>
                      <a:pt x="185" y="542"/>
                    </a:lnTo>
                    <a:lnTo>
                      <a:pt x="187" y="547"/>
                    </a:lnTo>
                    <a:lnTo>
                      <a:pt x="187" y="554"/>
                    </a:lnTo>
                    <a:lnTo>
                      <a:pt x="188" y="561"/>
                    </a:lnTo>
                    <a:lnTo>
                      <a:pt x="194" y="566"/>
                    </a:lnTo>
                    <a:lnTo>
                      <a:pt x="221" y="553"/>
                    </a:lnTo>
                    <a:lnTo>
                      <a:pt x="226" y="558"/>
                    </a:lnTo>
                    <a:lnTo>
                      <a:pt x="233" y="550"/>
                    </a:lnTo>
                    <a:lnTo>
                      <a:pt x="247" y="523"/>
                    </a:lnTo>
                    <a:lnTo>
                      <a:pt x="249" y="510"/>
                    </a:lnTo>
                    <a:lnTo>
                      <a:pt x="254" y="499"/>
                    </a:lnTo>
                    <a:lnTo>
                      <a:pt x="258" y="472"/>
                    </a:lnTo>
                    <a:lnTo>
                      <a:pt x="263" y="458"/>
                    </a:lnTo>
                    <a:lnTo>
                      <a:pt x="263" y="447"/>
                    </a:lnTo>
                    <a:lnTo>
                      <a:pt x="273" y="425"/>
                    </a:lnTo>
                    <a:lnTo>
                      <a:pt x="264" y="454"/>
                    </a:lnTo>
                    <a:lnTo>
                      <a:pt x="263" y="483"/>
                    </a:lnTo>
                    <a:lnTo>
                      <a:pt x="265" y="490"/>
                    </a:lnTo>
                    <a:lnTo>
                      <a:pt x="270" y="491"/>
                    </a:lnTo>
                    <a:lnTo>
                      <a:pt x="276" y="486"/>
                    </a:lnTo>
                    <a:lnTo>
                      <a:pt x="274" y="494"/>
                    </a:lnTo>
                    <a:lnTo>
                      <a:pt x="263" y="505"/>
                    </a:lnTo>
                    <a:lnTo>
                      <a:pt x="259" y="513"/>
                    </a:lnTo>
                    <a:lnTo>
                      <a:pt x="259" y="531"/>
                    </a:lnTo>
                    <a:lnTo>
                      <a:pt x="260" y="536"/>
                    </a:lnTo>
                    <a:lnTo>
                      <a:pt x="278" y="529"/>
                    </a:lnTo>
                    <a:lnTo>
                      <a:pt x="286" y="532"/>
                    </a:lnTo>
                    <a:lnTo>
                      <a:pt x="294" y="536"/>
                    </a:lnTo>
                    <a:lnTo>
                      <a:pt x="296" y="542"/>
                    </a:lnTo>
                    <a:lnTo>
                      <a:pt x="303" y="538"/>
                    </a:lnTo>
                    <a:lnTo>
                      <a:pt x="303" y="545"/>
                    </a:lnTo>
                    <a:lnTo>
                      <a:pt x="298" y="552"/>
                    </a:lnTo>
                    <a:lnTo>
                      <a:pt x="275" y="542"/>
                    </a:lnTo>
                    <a:lnTo>
                      <a:pt x="252" y="547"/>
                    </a:lnTo>
                    <a:lnTo>
                      <a:pt x="246" y="555"/>
                    </a:lnTo>
                    <a:lnTo>
                      <a:pt x="246" y="561"/>
                    </a:lnTo>
                    <a:lnTo>
                      <a:pt x="243" y="570"/>
                    </a:lnTo>
                    <a:lnTo>
                      <a:pt x="257" y="576"/>
                    </a:lnTo>
                    <a:lnTo>
                      <a:pt x="247" y="581"/>
                    </a:lnTo>
                    <a:lnTo>
                      <a:pt x="232" y="576"/>
                    </a:lnTo>
                    <a:lnTo>
                      <a:pt x="226" y="580"/>
                    </a:lnTo>
                    <a:lnTo>
                      <a:pt x="208" y="602"/>
                    </a:lnTo>
                    <a:lnTo>
                      <a:pt x="209" y="607"/>
                    </a:lnTo>
                    <a:lnTo>
                      <a:pt x="214" y="608"/>
                    </a:lnTo>
                    <a:lnTo>
                      <a:pt x="219" y="618"/>
                    </a:lnTo>
                    <a:lnTo>
                      <a:pt x="230" y="609"/>
                    </a:lnTo>
                    <a:lnTo>
                      <a:pt x="253" y="608"/>
                    </a:lnTo>
                    <a:lnTo>
                      <a:pt x="259" y="602"/>
                    </a:lnTo>
                    <a:lnTo>
                      <a:pt x="264" y="604"/>
                    </a:lnTo>
                    <a:lnTo>
                      <a:pt x="265" y="609"/>
                    </a:lnTo>
                    <a:lnTo>
                      <a:pt x="259" y="610"/>
                    </a:lnTo>
                    <a:lnTo>
                      <a:pt x="249" y="620"/>
                    </a:lnTo>
                    <a:lnTo>
                      <a:pt x="251" y="617"/>
                    </a:lnTo>
                    <a:lnTo>
                      <a:pt x="247" y="615"/>
                    </a:lnTo>
                    <a:lnTo>
                      <a:pt x="230" y="618"/>
                    </a:lnTo>
                    <a:lnTo>
                      <a:pt x="227" y="620"/>
                    </a:lnTo>
                    <a:lnTo>
                      <a:pt x="226" y="626"/>
                    </a:lnTo>
                    <a:lnTo>
                      <a:pt x="227" y="631"/>
                    </a:lnTo>
                    <a:lnTo>
                      <a:pt x="247" y="626"/>
                    </a:lnTo>
                    <a:lnTo>
                      <a:pt x="238" y="637"/>
                    </a:lnTo>
                    <a:lnTo>
                      <a:pt x="235" y="651"/>
                    </a:lnTo>
                    <a:lnTo>
                      <a:pt x="235" y="655"/>
                    </a:lnTo>
                    <a:lnTo>
                      <a:pt x="238" y="669"/>
                    </a:lnTo>
                    <a:lnTo>
                      <a:pt x="254" y="682"/>
                    </a:lnTo>
                    <a:lnTo>
                      <a:pt x="265" y="663"/>
                    </a:lnTo>
                    <a:lnTo>
                      <a:pt x="267" y="650"/>
                    </a:lnTo>
                    <a:lnTo>
                      <a:pt x="269" y="645"/>
                    </a:lnTo>
                    <a:lnTo>
                      <a:pt x="271" y="660"/>
                    </a:lnTo>
                    <a:lnTo>
                      <a:pt x="260" y="687"/>
                    </a:lnTo>
                    <a:lnTo>
                      <a:pt x="263" y="701"/>
                    </a:lnTo>
                    <a:lnTo>
                      <a:pt x="278" y="704"/>
                    </a:lnTo>
                    <a:lnTo>
                      <a:pt x="292" y="700"/>
                    </a:lnTo>
                    <a:lnTo>
                      <a:pt x="314" y="708"/>
                    </a:lnTo>
                    <a:lnTo>
                      <a:pt x="333" y="698"/>
                    </a:lnTo>
                    <a:lnTo>
                      <a:pt x="343" y="684"/>
                    </a:lnTo>
                    <a:lnTo>
                      <a:pt x="351" y="657"/>
                    </a:lnTo>
                    <a:lnTo>
                      <a:pt x="359" y="639"/>
                    </a:lnTo>
                    <a:lnTo>
                      <a:pt x="366" y="628"/>
                    </a:lnTo>
                    <a:lnTo>
                      <a:pt x="373" y="599"/>
                    </a:lnTo>
                    <a:lnTo>
                      <a:pt x="373" y="587"/>
                    </a:lnTo>
                    <a:lnTo>
                      <a:pt x="377" y="579"/>
                    </a:lnTo>
                    <a:lnTo>
                      <a:pt x="383" y="571"/>
                    </a:lnTo>
                    <a:lnTo>
                      <a:pt x="396" y="572"/>
                    </a:lnTo>
                    <a:lnTo>
                      <a:pt x="383" y="587"/>
                    </a:lnTo>
                    <a:lnTo>
                      <a:pt x="383" y="602"/>
                    </a:lnTo>
                    <a:lnTo>
                      <a:pt x="378" y="623"/>
                    </a:lnTo>
                    <a:lnTo>
                      <a:pt x="366" y="649"/>
                    </a:lnTo>
                    <a:lnTo>
                      <a:pt x="365" y="657"/>
                    </a:lnTo>
                    <a:lnTo>
                      <a:pt x="360" y="668"/>
                    </a:lnTo>
                    <a:lnTo>
                      <a:pt x="341" y="696"/>
                    </a:lnTo>
                    <a:lnTo>
                      <a:pt x="340" y="701"/>
                    </a:lnTo>
                    <a:lnTo>
                      <a:pt x="323" y="719"/>
                    </a:lnTo>
                    <a:lnTo>
                      <a:pt x="323" y="726"/>
                    </a:lnTo>
                    <a:lnTo>
                      <a:pt x="326" y="730"/>
                    </a:lnTo>
                    <a:lnTo>
                      <a:pt x="335" y="732"/>
                    </a:lnTo>
                    <a:lnTo>
                      <a:pt x="335" y="739"/>
                    </a:lnTo>
                    <a:lnTo>
                      <a:pt x="329" y="742"/>
                    </a:lnTo>
                    <a:lnTo>
                      <a:pt x="313" y="736"/>
                    </a:lnTo>
                    <a:lnTo>
                      <a:pt x="306" y="728"/>
                    </a:lnTo>
                    <a:lnTo>
                      <a:pt x="278" y="733"/>
                    </a:lnTo>
                    <a:lnTo>
                      <a:pt x="284" y="746"/>
                    </a:lnTo>
                    <a:lnTo>
                      <a:pt x="285" y="750"/>
                    </a:lnTo>
                    <a:lnTo>
                      <a:pt x="284" y="757"/>
                    </a:lnTo>
                    <a:lnTo>
                      <a:pt x="276" y="758"/>
                    </a:lnTo>
                    <a:lnTo>
                      <a:pt x="256" y="738"/>
                    </a:lnTo>
                    <a:lnTo>
                      <a:pt x="233" y="736"/>
                    </a:lnTo>
                    <a:lnTo>
                      <a:pt x="215" y="723"/>
                    </a:lnTo>
                    <a:lnTo>
                      <a:pt x="211" y="726"/>
                    </a:lnTo>
                    <a:lnTo>
                      <a:pt x="213" y="716"/>
                    </a:lnTo>
                    <a:lnTo>
                      <a:pt x="209" y="711"/>
                    </a:lnTo>
                    <a:lnTo>
                      <a:pt x="205" y="689"/>
                    </a:lnTo>
                    <a:lnTo>
                      <a:pt x="199" y="678"/>
                    </a:lnTo>
                    <a:lnTo>
                      <a:pt x="194" y="665"/>
                    </a:lnTo>
                    <a:lnTo>
                      <a:pt x="188" y="656"/>
                    </a:lnTo>
                    <a:lnTo>
                      <a:pt x="187" y="646"/>
                    </a:lnTo>
                    <a:lnTo>
                      <a:pt x="168" y="622"/>
                    </a:lnTo>
                    <a:lnTo>
                      <a:pt x="119" y="612"/>
                    </a:lnTo>
                    <a:lnTo>
                      <a:pt x="88" y="628"/>
                    </a:lnTo>
                    <a:lnTo>
                      <a:pt x="82" y="626"/>
                    </a:lnTo>
                    <a:lnTo>
                      <a:pt x="75" y="636"/>
                    </a:lnTo>
                    <a:lnTo>
                      <a:pt x="69" y="636"/>
                    </a:lnTo>
                    <a:lnTo>
                      <a:pt x="70" y="647"/>
                    </a:lnTo>
                    <a:lnTo>
                      <a:pt x="69" y="650"/>
                    </a:lnTo>
                    <a:lnTo>
                      <a:pt x="72" y="655"/>
                    </a:lnTo>
                    <a:lnTo>
                      <a:pt x="70" y="679"/>
                    </a:lnTo>
                    <a:lnTo>
                      <a:pt x="88" y="693"/>
                    </a:lnTo>
                    <a:lnTo>
                      <a:pt x="88" y="699"/>
                    </a:lnTo>
                    <a:lnTo>
                      <a:pt x="99" y="714"/>
                    </a:lnTo>
                    <a:lnTo>
                      <a:pt x="101" y="716"/>
                    </a:lnTo>
                    <a:lnTo>
                      <a:pt x="98" y="735"/>
                    </a:lnTo>
                    <a:lnTo>
                      <a:pt x="102" y="743"/>
                    </a:lnTo>
                    <a:lnTo>
                      <a:pt x="103" y="750"/>
                    </a:lnTo>
                    <a:lnTo>
                      <a:pt x="120" y="757"/>
                    </a:lnTo>
                    <a:lnTo>
                      <a:pt x="131" y="748"/>
                    </a:lnTo>
                    <a:lnTo>
                      <a:pt x="144" y="748"/>
                    </a:lnTo>
                    <a:lnTo>
                      <a:pt x="145" y="753"/>
                    </a:lnTo>
                    <a:lnTo>
                      <a:pt x="127" y="768"/>
                    </a:lnTo>
                    <a:lnTo>
                      <a:pt x="128" y="770"/>
                    </a:lnTo>
                    <a:lnTo>
                      <a:pt x="139" y="773"/>
                    </a:lnTo>
                    <a:lnTo>
                      <a:pt x="139" y="776"/>
                    </a:lnTo>
                    <a:lnTo>
                      <a:pt x="129" y="781"/>
                    </a:lnTo>
                    <a:lnTo>
                      <a:pt x="129" y="790"/>
                    </a:lnTo>
                    <a:lnTo>
                      <a:pt x="130" y="793"/>
                    </a:lnTo>
                    <a:lnTo>
                      <a:pt x="134" y="790"/>
                    </a:lnTo>
                    <a:lnTo>
                      <a:pt x="152" y="796"/>
                    </a:lnTo>
                    <a:lnTo>
                      <a:pt x="147" y="801"/>
                    </a:lnTo>
                    <a:lnTo>
                      <a:pt x="146" y="807"/>
                    </a:lnTo>
                    <a:lnTo>
                      <a:pt x="135" y="801"/>
                    </a:lnTo>
                    <a:lnTo>
                      <a:pt x="134" y="795"/>
                    </a:lnTo>
                    <a:lnTo>
                      <a:pt x="118" y="800"/>
                    </a:lnTo>
                    <a:lnTo>
                      <a:pt x="113" y="807"/>
                    </a:lnTo>
                    <a:lnTo>
                      <a:pt x="118" y="814"/>
                    </a:lnTo>
                    <a:lnTo>
                      <a:pt x="104" y="817"/>
                    </a:lnTo>
                    <a:lnTo>
                      <a:pt x="103" y="811"/>
                    </a:lnTo>
                    <a:lnTo>
                      <a:pt x="101" y="811"/>
                    </a:lnTo>
                    <a:lnTo>
                      <a:pt x="92" y="819"/>
                    </a:lnTo>
                    <a:lnTo>
                      <a:pt x="85" y="813"/>
                    </a:lnTo>
                    <a:lnTo>
                      <a:pt x="72" y="811"/>
                    </a:lnTo>
                    <a:lnTo>
                      <a:pt x="69" y="813"/>
                    </a:lnTo>
                    <a:lnTo>
                      <a:pt x="68" y="824"/>
                    </a:lnTo>
                    <a:lnTo>
                      <a:pt x="56" y="829"/>
                    </a:lnTo>
                    <a:lnTo>
                      <a:pt x="49" y="835"/>
                    </a:lnTo>
                    <a:lnTo>
                      <a:pt x="45" y="845"/>
                    </a:lnTo>
                    <a:lnTo>
                      <a:pt x="10" y="871"/>
                    </a:lnTo>
                    <a:lnTo>
                      <a:pt x="4" y="892"/>
                    </a:lnTo>
                    <a:lnTo>
                      <a:pt x="6" y="903"/>
                    </a:lnTo>
                    <a:lnTo>
                      <a:pt x="5" y="919"/>
                    </a:lnTo>
                    <a:lnTo>
                      <a:pt x="2" y="932"/>
                    </a:lnTo>
                    <a:lnTo>
                      <a:pt x="0" y="941"/>
                    </a:lnTo>
                    <a:lnTo>
                      <a:pt x="18" y="974"/>
                    </a:lnTo>
                    <a:lnTo>
                      <a:pt x="26" y="975"/>
                    </a:lnTo>
                    <a:lnTo>
                      <a:pt x="39" y="958"/>
                    </a:lnTo>
                    <a:lnTo>
                      <a:pt x="42" y="941"/>
                    </a:lnTo>
                    <a:lnTo>
                      <a:pt x="47" y="970"/>
                    </a:lnTo>
                    <a:lnTo>
                      <a:pt x="53" y="946"/>
                    </a:lnTo>
                    <a:lnTo>
                      <a:pt x="45" y="897"/>
                    </a:lnTo>
                    <a:lnTo>
                      <a:pt x="53" y="886"/>
                    </a:lnTo>
                    <a:lnTo>
                      <a:pt x="55" y="904"/>
                    </a:lnTo>
                    <a:lnTo>
                      <a:pt x="55" y="937"/>
                    </a:lnTo>
                    <a:lnTo>
                      <a:pt x="59" y="976"/>
                    </a:lnTo>
                    <a:lnTo>
                      <a:pt x="79" y="979"/>
                    </a:lnTo>
                    <a:lnTo>
                      <a:pt x="84" y="990"/>
                    </a:lnTo>
                    <a:lnTo>
                      <a:pt x="99" y="985"/>
                    </a:lnTo>
                    <a:lnTo>
                      <a:pt x="104" y="967"/>
                    </a:lnTo>
                    <a:lnTo>
                      <a:pt x="102" y="945"/>
                    </a:lnTo>
                    <a:lnTo>
                      <a:pt x="108" y="964"/>
                    </a:lnTo>
                    <a:lnTo>
                      <a:pt x="124" y="975"/>
                    </a:lnTo>
                    <a:lnTo>
                      <a:pt x="129" y="985"/>
                    </a:lnTo>
                    <a:lnTo>
                      <a:pt x="142" y="989"/>
                    </a:lnTo>
                    <a:lnTo>
                      <a:pt x="146" y="970"/>
                    </a:lnTo>
                    <a:lnTo>
                      <a:pt x="158" y="958"/>
                    </a:lnTo>
                    <a:lnTo>
                      <a:pt x="158" y="934"/>
                    </a:lnTo>
                    <a:lnTo>
                      <a:pt x="163" y="945"/>
                    </a:lnTo>
                    <a:lnTo>
                      <a:pt x="165" y="961"/>
                    </a:lnTo>
                    <a:lnTo>
                      <a:pt x="163" y="965"/>
                    </a:lnTo>
                    <a:lnTo>
                      <a:pt x="190" y="995"/>
                    </a:lnTo>
                    <a:lnTo>
                      <a:pt x="200" y="1004"/>
                    </a:lnTo>
                    <a:lnTo>
                      <a:pt x="225" y="1006"/>
                    </a:lnTo>
                    <a:lnTo>
                      <a:pt x="227" y="1016"/>
                    </a:lnTo>
                    <a:lnTo>
                      <a:pt x="274" y="1008"/>
                    </a:lnTo>
                    <a:lnTo>
                      <a:pt x="243" y="964"/>
                    </a:lnTo>
                    <a:lnTo>
                      <a:pt x="242" y="943"/>
                    </a:lnTo>
                    <a:lnTo>
                      <a:pt x="256" y="973"/>
                    </a:lnTo>
                    <a:lnTo>
                      <a:pt x="269" y="974"/>
                    </a:lnTo>
                    <a:lnTo>
                      <a:pt x="286" y="957"/>
                    </a:lnTo>
                    <a:lnTo>
                      <a:pt x="286" y="925"/>
                    </a:lnTo>
                    <a:lnTo>
                      <a:pt x="310" y="964"/>
                    </a:lnTo>
                    <a:lnTo>
                      <a:pt x="330" y="976"/>
                    </a:lnTo>
                    <a:lnTo>
                      <a:pt x="344" y="968"/>
                    </a:lnTo>
                    <a:lnTo>
                      <a:pt x="345" y="942"/>
                    </a:lnTo>
                    <a:lnTo>
                      <a:pt x="333" y="906"/>
                    </a:lnTo>
                    <a:lnTo>
                      <a:pt x="332" y="897"/>
                    </a:lnTo>
                    <a:lnTo>
                      <a:pt x="339" y="909"/>
                    </a:lnTo>
                    <a:lnTo>
                      <a:pt x="357" y="974"/>
                    </a:lnTo>
                    <a:lnTo>
                      <a:pt x="372" y="985"/>
                    </a:lnTo>
                    <a:lnTo>
                      <a:pt x="399" y="979"/>
                    </a:lnTo>
                    <a:lnTo>
                      <a:pt x="407" y="953"/>
                    </a:lnTo>
                    <a:lnTo>
                      <a:pt x="398" y="935"/>
                    </a:lnTo>
                    <a:lnTo>
                      <a:pt x="384" y="913"/>
                    </a:lnTo>
                    <a:lnTo>
                      <a:pt x="394" y="922"/>
                    </a:lnTo>
                    <a:lnTo>
                      <a:pt x="412" y="925"/>
                    </a:lnTo>
                    <a:lnTo>
                      <a:pt x="413" y="932"/>
                    </a:lnTo>
                    <a:lnTo>
                      <a:pt x="413" y="949"/>
                    </a:lnTo>
                    <a:lnTo>
                      <a:pt x="419" y="961"/>
                    </a:lnTo>
                    <a:lnTo>
                      <a:pt x="440" y="965"/>
                    </a:lnTo>
                    <a:lnTo>
                      <a:pt x="456" y="958"/>
                    </a:lnTo>
                    <a:lnTo>
                      <a:pt x="466" y="961"/>
                    </a:lnTo>
                    <a:lnTo>
                      <a:pt x="474" y="974"/>
                    </a:lnTo>
                    <a:lnTo>
                      <a:pt x="475" y="989"/>
                    </a:lnTo>
                    <a:lnTo>
                      <a:pt x="469" y="1012"/>
                    </a:lnTo>
                    <a:lnTo>
                      <a:pt x="463" y="1023"/>
                    </a:lnTo>
                    <a:lnTo>
                      <a:pt x="469" y="1037"/>
                    </a:lnTo>
                    <a:lnTo>
                      <a:pt x="513" y="1013"/>
                    </a:lnTo>
                    <a:lnTo>
                      <a:pt x="541" y="1005"/>
                    </a:lnTo>
                    <a:lnTo>
                      <a:pt x="559" y="985"/>
                    </a:lnTo>
                    <a:lnTo>
                      <a:pt x="581" y="943"/>
                    </a:lnTo>
                    <a:lnTo>
                      <a:pt x="586" y="973"/>
                    </a:lnTo>
                    <a:lnTo>
                      <a:pt x="608" y="957"/>
                    </a:lnTo>
                    <a:lnTo>
                      <a:pt x="612" y="941"/>
                    </a:lnTo>
                    <a:lnTo>
                      <a:pt x="633" y="934"/>
                    </a:lnTo>
                    <a:lnTo>
                      <a:pt x="635" y="919"/>
                    </a:lnTo>
                    <a:lnTo>
                      <a:pt x="638" y="892"/>
                    </a:lnTo>
                    <a:lnTo>
                      <a:pt x="634" y="863"/>
                    </a:lnTo>
                    <a:lnTo>
                      <a:pt x="625" y="844"/>
                    </a:lnTo>
                    <a:lnTo>
                      <a:pt x="606" y="850"/>
                    </a:lnTo>
                    <a:lnTo>
                      <a:pt x="595" y="865"/>
                    </a:lnTo>
                    <a:lnTo>
                      <a:pt x="586" y="879"/>
                    </a:lnTo>
                    <a:lnTo>
                      <a:pt x="575" y="877"/>
                    </a:lnTo>
                    <a:lnTo>
                      <a:pt x="576" y="861"/>
                    </a:lnTo>
                    <a:lnTo>
                      <a:pt x="555" y="849"/>
                    </a:lnTo>
                    <a:lnTo>
                      <a:pt x="558" y="843"/>
                    </a:lnTo>
                    <a:lnTo>
                      <a:pt x="565" y="836"/>
                    </a:lnTo>
                    <a:lnTo>
                      <a:pt x="576" y="829"/>
                    </a:lnTo>
                    <a:lnTo>
                      <a:pt x="581" y="816"/>
                    </a:lnTo>
                    <a:lnTo>
                      <a:pt x="579" y="807"/>
                    </a:lnTo>
                    <a:lnTo>
                      <a:pt x="570" y="792"/>
                    </a:lnTo>
                    <a:lnTo>
                      <a:pt x="556" y="789"/>
                    </a:lnTo>
                    <a:lnTo>
                      <a:pt x="539" y="790"/>
                    </a:lnTo>
                    <a:lnTo>
                      <a:pt x="512" y="821"/>
                    </a:lnTo>
                    <a:lnTo>
                      <a:pt x="506" y="819"/>
                    </a:lnTo>
                    <a:lnTo>
                      <a:pt x="518" y="801"/>
                    </a:lnTo>
                    <a:lnTo>
                      <a:pt x="517" y="789"/>
                    </a:lnTo>
                    <a:lnTo>
                      <a:pt x="473" y="781"/>
                    </a:lnTo>
                    <a:lnTo>
                      <a:pt x="452" y="785"/>
                    </a:lnTo>
                    <a:lnTo>
                      <a:pt x="426" y="818"/>
                    </a:lnTo>
                    <a:lnTo>
                      <a:pt x="423" y="805"/>
                    </a:lnTo>
                    <a:lnTo>
                      <a:pt x="420" y="786"/>
                    </a:lnTo>
                    <a:lnTo>
                      <a:pt x="414" y="776"/>
                    </a:lnTo>
                    <a:lnTo>
                      <a:pt x="429" y="779"/>
                    </a:lnTo>
                    <a:lnTo>
                      <a:pt x="458" y="766"/>
                    </a:lnTo>
                    <a:lnTo>
                      <a:pt x="458" y="760"/>
                    </a:lnTo>
                    <a:lnTo>
                      <a:pt x="441" y="748"/>
                    </a:lnTo>
                    <a:lnTo>
                      <a:pt x="437" y="732"/>
                    </a:lnTo>
                    <a:lnTo>
                      <a:pt x="439" y="722"/>
                    </a:lnTo>
                    <a:lnTo>
                      <a:pt x="467" y="754"/>
                    </a:lnTo>
                    <a:lnTo>
                      <a:pt x="498" y="773"/>
                    </a:lnTo>
                    <a:lnTo>
                      <a:pt x="577" y="770"/>
                    </a:lnTo>
                    <a:lnTo>
                      <a:pt x="585" y="758"/>
                    </a:lnTo>
                    <a:lnTo>
                      <a:pt x="593" y="762"/>
                    </a:lnTo>
                    <a:lnTo>
                      <a:pt x="592" y="768"/>
                    </a:lnTo>
                    <a:lnTo>
                      <a:pt x="592" y="770"/>
                    </a:lnTo>
                    <a:lnTo>
                      <a:pt x="622" y="753"/>
                    </a:lnTo>
                    <a:lnTo>
                      <a:pt x="635" y="725"/>
                    </a:lnTo>
                    <a:lnTo>
                      <a:pt x="638" y="709"/>
                    </a:lnTo>
                    <a:lnTo>
                      <a:pt x="636" y="701"/>
                    </a:lnTo>
                    <a:lnTo>
                      <a:pt x="652" y="694"/>
                    </a:lnTo>
                    <a:lnTo>
                      <a:pt x="654" y="687"/>
                    </a:lnTo>
                    <a:lnTo>
                      <a:pt x="634" y="668"/>
                    </a:lnTo>
                    <a:lnTo>
                      <a:pt x="634" y="658"/>
                    </a:lnTo>
                    <a:lnTo>
                      <a:pt x="636" y="650"/>
                    </a:lnTo>
                    <a:lnTo>
                      <a:pt x="630" y="633"/>
                    </a:lnTo>
                    <a:lnTo>
                      <a:pt x="623" y="628"/>
                    </a:lnTo>
                    <a:lnTo>
                      <a:pt x="624" y="625"/>
                    </a:lnTo>
                    <a:lnTo>
                      <a:pt x="624" y="614"/>
                    </a:lnTo>
                    <a:lnTo>
                      <a:pt x="622" y="603"/>
                    </a:lnTo>
                    <a:lnTo>
                      <a:pt x="622" y="596"/>
                    </a:lnTo>
                    <a:lnTo>
                      <a:pt x="634" y="603"/>
                    </a:lnTo>
                    <a:lnTo>
                      <a:pt x="679" y="604"/>
                    </a:lnTo>
                    <a:lnTo>
                      <a:pt x="687" y="613"/>
                    </a:lnTo>
                    <a:lnTo>
                      <a:pt x="706" y="607"/>
                    </a:lnTo>
                    <a:lnTo>
                      <a:pt x="727" y="583"/>
                    </a:lnTo>
                    <a:lnTo>
                      <a:pt x="743" y="591"/>
                    </a:lnTo>
                    <a:lnTo>
                      <a:pt x="746" y="599"/>
                    </a:lnTo>
                    <a:lnTo>
                      <a:pt x="760" y="574"/>
                    </a:lnTo>
                    <a:lnTo>
                      <a:pt x="760" y="570"/>
                    </a:lnTo>
                    <a:lnTo>
                      <a:pt x="768" y="555"/>
                    </a:lnTo>
                    <a:lnTo>
                      <a:pt x="714" y="545"/>
                    </a:lnTo>
                    <a:lnTo>
                      <a:pt x="690" y="537"/>
                    </a:lnTo>
                    <a:lnTo>
                      <a:pt x="709" y="522"/>
                    </a:lnTo>
                    <a:lnTo>
                      <a:pt x="728" y="523"/>
                    </a:lnTo>
                    <a:lnTo>
                      <a:pt x="764" y="539"/>
                    </a:lnTo>
                    <a:lnTo>
                      <a:pt x="776" y="511"/>
                    </a:lnTo>
                    <a:lnTo>
                      <a:pt x="795" y="501"/>
                    </a:lnTo>
                    <a:lnTo>
                      <a:pt x="797" y="493"/>
                    </a:lnTo>
                    <a:lnTo>
                      <a:pt x="787" y="477"/>
                    </a:lnTo>
                    <a:lnTo>
                      <a:pt x="775" y="468"/>
                    </a:lnTo>
                    <a:lnTo>
                      <a:pt x="751" y="463"/>
                    </a:lnTo>
                    <a:lnTo>
                      <a:pt x="738" y="453"/>
                    </a:lnTo>
                    <a:lnTo>
                      <a:pt x="725" y="450"/>
                    </a:lnTo>
                    <a:lnTo>
                      <a:pt x="733" y="445"/>
                    </a:lnTo>
                    <a:lnTo>
                      <a:pt x="749" y="447"/>
                    </a:lnTo>
                    <a:lnTo>
                      <a:pt x="786" y="443"/>
                    </a:lnTo>
                    <a:lnTo>
                      <a:pt x="798" y="439"/>
                    </a:lnTo>
                    <a:lnTo>
                      <a:pt x="805" y="430"/>
                    </a:lnTo>
                    <a:lnTo>
                      <a:pt x="819" y="420"/>
                    </a:lnTo>
                    <a:lnTo>
                      <a:pt x="813" y="411"/>
                    </a:lnTo>
                    <a:lnTo>
                      <a:pt x="813" y="402"/>
                    </a:lnTo>
                    <a:lnTo>
                      <a:pt x="817" y="392"/>
                    </a:lnTo>
                    <a:lnTo>
                      <a:pt x="816" y="375"/>
                    </a:lnTo>
                    <a:lnTo>
                      <a:pt x="813" y="354"/>
                    </a:lnTo>
                    <a:lnTo>
                      <a:pt x="802" y="344"/>
                    </a:lnTo>
                    <a:lnTo>
                      <a:pt x="774" y="334"/>
                    </a:lnTo>
                    <a:lnTo>
                      <a:pt x="733" y="340"/>
                    </a:lnTo>
                    <a:lnTo>
                      <a:pt x="733" y="332"/>
                    </a:lnTo>
                    <a:lnTo>
                      <a:pt x="748" y="327"/>
                    </a:lnTo>
                    <a:lnTo>
                      <a:pt x="757" y="319"/>
                    </a:lnTo>
                    <a:lnTo>
                      <a:pt x="757" y="313"/>
                    </a:lnTo>
                    <a:lnTo>
                      <a:pt x="749" y="303"/>
                    </a:lnTo>
                    <a:lnTo>
                      <a:pt x="678" y="310"/>
                    </a:lnTo>
                    <a:lnTo>
                      <a:pt x="665" y="316"/>
                    </a:lnTo>
                    <a:lnTo>
                      <a:pt x="655" y="329"/>
                    </a:lnTo>
                    <a:lnTo>
                      <a:pt x="647" y="330"/>
                    </a:lnTo>
                    <a:lnTo>
                      <a:pt x="656" y="314"/>
                    </a:lnTo>
                    <a:lnTo>
                      <a:pt x="658" y="302"/>
                    </a:lnTo>
                    <a:lnTo>
                      <a:pt x="647" y="300"/>
                    </a:lnTo>
                    <a:lnTo>
                      <a:pt x="645" y="291"/>
                    </a:lnTo>
                    <a:lnTo>
                      <a:pt x="669" y="298"/>
                    </a:lnTo>
                    <a:lnTo>
                      <a:pt x="712" y="284"/>
                    </a:lnTo>
                    <a:lnTo>
                      <a:pt x="740" y="287"/>
                    </a:lnTo>
                    <a:lnTo>
                      <a:pt x="740" y="279"/>
                    </a:lnTo>
                    <a:lnTo>
                      <a:pt x="716" y="269"/>
                    </a:lnTo>
                    <a:lnTo>
                      <a:pt x="652" y="267"/>
                    </a:lnTo>
                    <a:lnTo>
                      <a:pt x="644" y="260"/>
                    </a:lnTo>
                    <a:lnTo>
                      <a:pt x="658" y="255"/>
                    </a:lnTo>
                    <a:lnTo>
                      <a:pt x="704" y="255"/>
                    </a:lnTo>
                    <a:lnTo>
                      <a:pt x="715" y="247"/>
                    </a:lnTo>
                    <a:lnTo>
                      <a:pt x="732" y="249"/>
                    </a:lnTo>
                    <a:lnTo>
                      <a:pt x="748" y="255"/>
                    </a:lnTo>
                    <a:lnTo>
                      <a:pt x="754" y="263"/>
                    </a:lnTo>
                    <a:lnTo>
                      <a:pt x="753" y="276"/>
                    </a:lnTo>
                    <a:lnTo>
                      <a:pt x="758" y="289"/>
                    </a:lnTo>
                    <a:lnTo>
                      <a:pt x="769" y="295"/>
                    </a:lnTo>
                    <a:lnTo>
                      <a:pt x="819" y="302"/>
                    </a:lnTo>
                    <a:lnTo>
                      <a:pt x="827" y="298"/>
                    </a:lnTo>
                    <a:lnTo>
                      <a:pt x="829" y="287"/>
                    </a:lnTo>
                    <a:lnTo>
                      <a:pt x="828" y="274"/>
                    </a:lnTo>
                    <a:lnTo>
                      <a:pt x="814" y="257"/>
                    </a:lnTo>
                    <a:lnTo>
                      <a:pt x="825" y="240"/>
                    </a:lnTo>
                    <a:lnTo>
                      <a:pt x="818" y="232"/>
                    </a:lnTo>
                    <a:lnTo>
                      <a:pt x="752" y="236"/>
                    </a:lnTo>
                    <a:lnTo>
                      <a:pt x="746" y="228"/>
                    </a:lnTo>
                    <a:lnTo>
                      <a:pt x="687" y="236"/>
                    </a:lnTo>
                    <a:lnTo>
                      <a:pt x="661" y="243"/>
                    </a:lnTo>
                    <a:lnTo>
                      <a:pt x="671" y="236"/>
                    </a:lnTo>
                    <a:lnTo>
                      <a:pt x="672" y="228"/>
                    </a:lnTo>
                    <a:lnTo>
                      <a:pt x="650" y="222"/>
                    </a:lnTo>
                    <a:lnTo>
                      <a:pt x="641" y="214"/>
                    </a:lnTo>
                    <a:lnTo>
                      <a:pt x="657" y="209"/>
                    </a:lnTo>
                    <a:lnTo>
                      <a:pt x="683" y="212"/>
                    </a:lnTo>
                    <a:lnTo>
                      <a:pt x="677" y="187"/>
                    </a:lnTo>
                    <a:lnTo>
                      <a:pt x="672" y="181"/>
                    </a:lnTo>
                    <a:lnTo>
                      <a:pt x="679" y="178"/>
                    </a:lnTo>
                    <a:lnTo>
                      <a:pt x="684" y="184"/>
                    </a:lnTo>
                    <a:lnTo>
                      <a:pt x="689" y="198"/>
                    </a:lnTo>
                    <a:lnTo>
                      <a:pt x="698" y="204"/>
                    </a:lnTo>
                    <a:lnTo>
                      <a:pt x="746" y="209"/>
                    </a:lnTo>
                    <a:lnTo>
                      <a:pt x="749" y="200"/>
                    </a:lnTo>
                    <a:lnTo>
                      <a:pt x="740" y="188"/>
                    </a:lnTo>
                    <a:lnTo>
                      <a:pt x="737" y="181"/>
                    </a:lnTo>
                    <a:lnTo>
                      <a:pt x="687" y="171"/>
                    </a:lnTo>
                    <a:lnTo>
                      <a:pt x="679" y="158"/>
                    </a:lnTo>
                    <a:lnTo>
                      <a:pt x="687" y="156"/>
                    </a:lnTo>
                    <a:lnTo>
                      <a:pt x="722" y="162"/>
                    </a:lnTo>
                    <a:lnTo>
                      <a:pt x="764" y="189"/>
                    </a:lnTo>
                    <a:lnTo>
                      <a:pt x="794" y="194"/>
                    </a:lnTo>
                    <a:lnTo>
                      <a:pt x="801" y="185"/>
                    </a:lnTo>
                    <a:lnTo>
                      <a:pt x="797" y="170"/>
                    </a:lnTo>
                    <a:lnTo>
                      <a:pt x="810" y="176"/>
                    </a:lnTo>
                    <a:lnTo>
                      <a:pt x="838" y="178"/>
                    </a:lnTo>
                    <a:lnTo>
                      <a:pt x="846" y="165"/>
                    </a:lnTo>
                    <a:lnTo>
                      <a:pt x="845" y="155"/>
                    </a:lnTo>
                    <a:lnTo>
                      <a:pt x="850" y="157"/>
                    </a:lnTo>
                    <a:lnTo>
                      <a:pt x="855" y="146"/>
                    </a:lnTo>
                    <a:lnTo>
                      <a:pt x="861" y="160"/>
                    </a:lnTo>
                    <a:lnTo>
                      <a:pt x="876" y="156"/>
                    </a:lnTo>
                    <a:lnTo>
                      <a:pt x="881" y="140"/>
                    </a:lnTo>
                    <a:lnTo>
                      <a:pt x="880" y="125"/>
                    </a:lnTo>
                    <a:lnTo>
                      <a:pt x="873" y="106"/>
                    </a:lnTo>
                    <a:lnTo>
                      <a:pt x="871" y="91"/>
                    </a:lnTo>
                    <a:lnTo>
                      <a:pt x="813" y="80"/>
                    </a:lnTo>
                    <a:lnTo>
                      <a:pt x="817" y="66"/>
                    </a:lnTo>
                    <a:lnTo>
                      <a:pt x="834" y="61"/>
                    </a:lnTo>
                    <a:lnTo>
                      <a:pt x="856" y="74"/>
                    </a:lnTo>
                    <a:lnTo>
                      <a:pt x="884" y="79"/>
                    </a:lnTo>
                    <a:lnTo>
                      <a:pt x="882" y="91"/>
                    </a:lnTo>
                    <a:lnTo>
                      <a:pt x="884" y="103"/>
                    </a:lnTo>
                    <a:lnTo>
                      <a:pt x="899" y="112"/>
                    </a:lnTo>
                    <a:lnTo>
                      <a:pt x="914" y="111"/>
                    </a:lnTo>
                    <a:lnTo>
                      <a:pt x="914" y="115"/>
                    </a:lnTo>
                    <a:lnTo>
                      <a:pt x="937" y="108"/>
                    </a:lnTo>
                    <a:lnTo>
                      <a:pt x="961" y="109"/>
                    </a:lnTo>
                    <a:lnTo>
                      <a:pt x="969" y="101"/>
                    </a:lnTo>
                    <a:lnTo>
                      <a:pt x="982" y="98"/>
                    </a:lnTo>
                    <a:lnTo>
                      <a:pt x="1004" y="59"/>
                    </a:lnTo>
                    <a:lnTo>
                      <a:pt x="995" y="54"/>
                    </a:lnTo>
                    <a:lnTo>
                      <a:pt x="978" y="58"/>
                    </a:lnTo>
                    <a:lnTo>
                      <a:pt x="980" y="44"/>
                    </a:lnTo>
                    <a:lnTo>
                      <a:pt x="990" y="29"/>
                    </a:lnTo>
                    <a:lnTo>
                      <a:pt x="1011" y="21"/>
                    </a:lnTo>
                    <a:lnTo>
                      <a:pt x="1015" y="12"/>
                    </a:lnTo>
                    <a:lnTo>
                      <a:pt x="1028" y="0"/>
                    </a:lnTo>
                    <a:lnTo>
                      <a:pt x="393" y="0"/>
                    </a:lnTo>
                    <a:lnTo>
                      <a:pt x="394" y="1"/>
                    </a:lnTo>
                    <a:lnTo>
                      <a:pt x="440" y="28"/>
                    </a:lnTo>
                    <a:lnTo>
                      <a:pt x="439" y="33"/>
                    </a:lnTo>
                    <a:lnTo>
                      <a:pt x="426" y="41"/>
                    </a:lnTo>
                    <a:lnTo>
                      <a:pt x="430" y="48"/>
                    </a:lnTo>
                    <a:lnTo>
                      <a:pt x="432" y="72"/>
                    </a:lnTo>
                    <a:lnTo>
                      <a:pt x="432" y="87"/>
                    </a:lnTo>
                    <a:lnTo>
                      <a:pt x="437" y="87"/>
                    </a:lnTo>
                    <a:lnTo>
                      <a:pt x="437" y="92"/>
                    </a:lnTo>
                    <a:lnTo>
                      <a:pt x="441" y="102"/>
                    </a:lnTo>
                    <a:lnTo>
                      <a:pt x="462" y="108"/>
                    </a:lnTo>
                    <a:lnTo>
                      <a:pt x="479" y="123"/>
                    </a:lnTo>
                    <a:lnTo>
                      <a:pt x="515" y="107"/>
                    </a:lnTo>
                    <a:lnTo>
                      <a:pt x="526" y="107"/>
                    </a:lnTo>
                    <a:lnTo>
                      <a:pt x="527" y="113"/>
                    </a:lnTo>
                    <a:lnTo>
                      <a:pt x="525" y="120"/>
                    </a:lnTo>
                    <a:lnTo>
                      <a:pt x="513" y="120"/>
                    </a:lnTo>
                    <a:lnTo>
                      <a:pt x="482" y="136"/>
                    </a:lnTo>
                    <a:lnTo>
                      <a:pt x="478" y="142"/>
                    </a:lnTo>
                    <a:lnTo>
                      <a:pt x="478" y="149"/>
                    </a:lnTo>
                    <a:lnTo>
                      <a:pt x="480" y="154"/>
                    </a:lnTo>
                    <a:lnTo>
                      <a:pt x="479" y="155"/>
                    </a:lnTo>
                    <a:lnTo>
                      <a:pt x="445" y="130"/>
                    </a:lnTo>
                    <a:lnTo>
                      <a:pt x="432" y="129"/>
                    </a:lnTo>
                    <a:lnTo>
                      <a:pt x="423" y="139"/>
                    </a:lnTo>
                    <a:lnTo>
                      <a:pt x="421" y="111"/>
                    </a:lnTo>
                    <a:lnTo>
                      <a:pt x="415" y="111"/>
                    </a:lnTo>
                    <a:lnTo>
                      <a:pt x="412" y="102"/>
                    </a:lnTo>
                    <a:lnTo>
                      <a:pt x="410" y="87"/>
                    </a:lnTo>
                    <a:lnTo>
                      <a:pt x="405" y="82"/>
                    </a:lnTo>
                    <a:lnTo>
                      <a:pt x="405" y="68"/>
                    </a:lnTo>
                    <a:lnTo>
                      <a:pt x="357" y="0"/>
                    </a:lnTo>
                    <a:lnTo>
                      <a:pt x="183" y="0"/>
                    </a:lnTo>
                    <a:lnTo>
                      <a:pt x="220" y="14"/>
                    </a:lnTo>
                    <a:lnTo>
                      <a:pt x="231" y="2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47" name="Freeform 309"/>
              <p:cNvSpPr>
                <a:spLocks noChangeAspect="1"/>
              </p:cNvSpPr>
              <p:nvPr/>
            </p:nvSpPr>
            <p:spPr bwMode="gray">
              <a:xfrm>
                <a:off x="1564" y="1153"/>
                <a:ext cx="6" cy="6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0" y="21"/>
                  </a:cxn>
                  <a:cxn ang="0">
                    <a:pos x="30" y="30"/>
                  </a:cxn>
                  <a:cxn ang="0">
                    <a:pos x="3" y="0"/>
                  </a:cxn>
                  <a:cxn ang="0">
                    <a:pos x="0" y="16"/>
                  </a:cxn>
                </a:cxnLst>
                <a:rect l="0" t="0" r="r" b="b"/>
                <a:pathLst>
                  <a:path w="30" h="30">
                    <a:moveTo>
                      <a:pt x="0" y="16"/>
                    </a:moveTo>
                    <a:lnTo>
                      <a:pt x="0" y="21"/>
                    </a:lnTo>
                    <a:lnTo>
                      <a:pt x="30" y="30"/>
                    </a:lnTo>
                    <a:lnTo>
                      <a:pt x="3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48" name="Freeform 310"/>
              <p:cNvSpPr>
                <a:spLocks noChangeAspect="1"/>
              </p:cNvSpPr>
              <p:nvPr/>
            </p:nvSpPr>
            <p:spPr bwMode="gray">
              <a:xfrm>
                <a:off x="1564" y="1147"/>
                <a:ext cx="1" cy="6"/>
              </a:xfrm>
              <a:custGeom>
                <a:avLst/>
                <a:gdLst/>
                <a:ahLst/>
                <a:cxnLst>
                  <a:cxn ang="0">
                    <a:pos x="5" y="11"/>
                  </a:cxn>
                  <a:cxn ang="0">
                    <a:pos x="0" y="0"/>
                  </a:cxn>
                  <a:cxn ang="0">
                    <a:pos x="0" y="24"/>
                  </a:cxn>
                  <a:cxn ang="0">
                    <a:pos x="5" y="31"/>
                  </a:cxn>
                  <a:cxn ang="0">
                    <a:pos x="7" y="27"/>
                  </a:cxn>
                  <a:cxn ang="0">
                    <a:pos x="5" y="11"/>
                  </a:cxn>
                </a:cxnLst>
                <a:rect l="0" t="0" r="r" b="b"/>
                <a:pathLst>
                  <a:path w="7" h="31">
                    <a:moveTo>
                      <a:pt x="5" y="11"/>
                    </a:moveTo>
                    <a:lnTo>
                      <a:pt x="0" y="0"/>
                    </a:lnTo>
                    <a:lnTo>
                      <a:pt x="0" y="24"/>
                    </a:lnTo>
                    <a:lnTo>
                      <a:pt x="5" y="31"/>
                    </a:lnTo>
                    <a:lnTo>
                      <a:pt x="7" y="27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49" name="Freeform 311"/>
              <p:cNvSpPr>
                <a:spLocks noChangeAspect="1"/>
              </p:cNvSpPr>
              <p:nvPr/>
            </p:nvSpPr>
            <p:spPr bwMode="gray">
              <a:xfrm>
                <a:off x="1031" y="1408"/>
                <a:ext cx="17" cy="23"/>
              </a:xfrm>
              <a:custGeom>
                <a:avLst/>
                <a:gdLst/>
                <a:ahLst/>
                <a:cxnLst>
                  <a:cxn ang="0">
                    <a:pos x="16" y="58"/>
                  </a:cxn>
                  <a:cxn ang="0">
                    <a:pos x="22" y="61"/>
                  </a:cxn>
                  <a:cxn ang="0">
                    <a:pos x="25" y="56"/>
                  </a:cxn>
                  <a:cxn ang="0">
                    <a:pos x="19" y="46"/>
                  </a:cxn>
                  <a:cxn ang="0">
                    <a:pos x="24" y="46"/>
                  </a:cxn>
                  <a:cxn ang="0">
                    <a:pos x="30" y="52"/>
                  </a:cxn>
                  <a:cxn ang="0">
                    <a:pos x="35" y="47"/>
                  </a:cxn>
                  <a:cxn ang="0">
                    <a:pos x="38" y="52"/>
                  </a:cxn>
                  <a:cxn ang="0">
                    <a:pos x="46" y="46"/>
                  </a:cxn>
                  <a:cxn ang="0">
                    <a:pos x="47" y="37"/>
                  </a:cxn>
                  <a:cxn ang="0">
                    <a:pos x="43" y="41"/>
                  </a:cxn>
                  <a:cxn ang="0">
                    <a:pos x="38" y="37"/>
                  </a:cxn>
                  <a:cxn ang="0">
                    <a:pos x="43" y="32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3" y="3"/>
                  </a:cxn>
                  <a:cxn ang="0">
                    <a:pos x="47" y="0"/>
                  </a:cxn>
                  <a:cxn ang="0">
                    <a:pos x="47" y="10"/>
                  </a:cxn>
                  <a:cxn ang="0">
                    <a:pos x="58" y="18"/>
                  </a:cxn>
                  <a:cxn ang="0">
                    <a:pos x="57" y="26"/>
                  </a:cxn>
                  <a:cxn ang="0">
                    <a:pos x="60" y="32"/>
                  </a:cxn>
                  <a:cxn ang="0">
                    <a:pos x="67" y="35"/>
                  </a:cxn>
                  <a:cxn ang="0">
                    <a:pos x="76" y="24"/>
                  </a:cxn>
                  <a:cxn ang="0">
                    <a:pos x="81" y="30"/>
                  </a:cxn>
                  <a:cxn ang="0">
                    <a:pos x="81" y="41"/>
                  </a:cxn>
                  <a:cxn ang="0">
                    <a:pos x="79" y="50"/>
                  </a:cxn>
                  <a:cxn ang="0">
                    <a:pos x="70" y="58"/>
                  </a:cxn>
                  <a:cxn ang="0">
                    <a:pos x="49" y="94"/>
                  </a:cxn>
                  <a:cxn ang="0">
                    <a:pos x="35" y="110"/>
                  </a:cxn>
                  <a:cxn ang="0">
                    <a:pos x="24" y="106"/>
                  </a:cxn>
                  <a:cxn ang="0">
                    <a:pos x="22" y="110"/>
                  </a:cxn>
                  <a:cxn ang="0">
                    <a:pos x="22" y="113"/>
                  </a:cxn>
                  <a:cxn ang="0">
                    <a:pos x="16" y="106"/>
                  </a:cxn>
                  <a:cxn ang="0">
                    <a:pos x="17" y="101"/>
                  </a:cxn>
                  <a:cxn ang="0">
                    <a:pos x="27" y="104"/>
                  </a:cxn>
                  <a:cxn ang="0">
                    <a:pos x="33" y="96"/>
                  </a:cxn>
                  <a:cxn ang="0">
                    <a:pos x="38" y="85"/>
                  </a:cxn>
                  <a:cxn ang="0">
                    <a:pos x="26" y="96"/>
                  </a:cxn>
                  <a:cxn ang="0">
                    <a:pos x="12" y="86"/>
                  </a:cxn>
                  <a:cxn ang="0">
                    <a:pos x="8" y="73"/>
                  </a:cxn>
                  <a:cxn ang="0">
                    <a:pos x="6" y="61"/>
                  </a:cxn>
                  <a:cxn ang="0">
                    <a:pos x="1" y="57"/>
                  </a:cxn>
                  <a:cxn ang="0">
                    <a:pos x="0" y="52"/>
                  </a:cxn>
                  <a:cxn ang="0">
                    <a:pos x="3" y="46"/>
                  </a:cxn>
                  <a:cxn ang="0">
                    <a:pos x="6" y="46"/>
                  </a:cxn>
                  <a:cxn ang="0">
                    <a:pos x="16" y="58"/>
                  </a:cxn>
                </a:cxnLst>
                <a:rect l="0" t="0" r="r" b="b"/>
                <a:pathLst>
                  <a:path w="81" h="113">
                    <a:moveTo>
                      <a:pt x="16" y="58"/>
                    </a:moveTo>
                    <a:lnTo>
                      <a:pt x="22" y="61"/>
                    </a:lnTo>
                    <a:lnTo>
                      <a:pt x="25" y="56"/>
                    </a:lnTo>
                    <a:lnTo>
                      <a:pt x="19" y="46"/>
                    </a:lnTo>
                    <a:lnTo>
                      <a:pt x="24" y="46"/>
                    </a:lnTo>
                    <a:lnTo>
                      <a:pt x="30" y="52"/>
                    </a:lnTo>
                    <a:lnTo>
                      <a:pt x="35" y="47"/>
                    </a:lnTo>
                    <a:lnTo>
                      <a:pt x="38" y="52"/>
                    </a:lnTo>
                    <a:lnTo>
                      <a:pt x="46" y="46"/>
                    </a:lnTo>
                    <a:lnTo>
                      <a:pt x="47" y="37"/>
                    </a:lnTo>
                    <a:lnTo>
                      <a:pt x="43" y="41"/>
                    </a:lnTo>
                    <a:lnTo>
                      <a:pt x="38" y="37"/>
                    </a:lnTo>
                    <a:lnTo>
                      <a:pt x="43" y="32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3" y="3"/>
                    </a:lnTo>
                    <a:lnTo>
                      <a:pt x="47" y="0"/>
                    </a:lnTo>
                    <a:lnTo>
                      <a:pt x="47" y="10"/>
                    </a:lnTo>
                    <a:lnTo>
                      <a:pt x="58" y="18"/>
                    </a:lnTo>
                    <a:lnTo>
                      <a:pt x="57" y="26"/>
                    </a:lnTo>
                    <a:lnTo>
                      <a:pt x="60" y="32"/>
                    </a:lnTo>
                    <a:lnTo>
                      <a:pt x="67" y="35"/>
                    </a:lnTo>
                    <a:lnTo>
                      <a:pt x="76" y="24"/>
                    </a:lnTo>
                    <a:lnTo>
                      <a:pt x="81" y="30"/>
                    </a:lnTo>
                    <a:lnTo>
                      <a:pt x="81" y="41"/>
                    </a:lnTo>
                    <a:lnTo>
                      <a:pt x="79" y="50"/>
                    </a:lnTo>
                    <a:lnTo>
                      <a:pt x="70" y="58"/>
                    </a:lnTo>
                    <a:lnTo>
                      <a:pt x="49" y="94"/>
                    </a:lnTo>
                    <a:lnTo>
                      <a:pt x="35" y="110"/>
                    </a:lnTo>
                    <a:lnTo>
                      <a:pt x="24" y="106"/>
                    </a:lnTo>
                    <a:lnTo>
                      <a:pt x="22" y="110"/>
                    </a:lnTo>
                    <a:lnTo>
                      <a:pt x="22" y="113"/>
                    </a:lnTo>
                    <a:lnTo>
                      <a:pt x="16" y="106"/>
                    </a:lnTo>
                    <a:lnTo>
                      <a:pt x="17" y="101"/>
                    </a:lnTo>
                    <a:lnTo>
                      <a:pt x="27" y="104"/>
                    </a:lnTo>
                    <a:lnTo>
                      <a:pt x="33" y="96"/>
                    </a:lnTo>
                    <a:lnTo>
                      <a:pt x="38" y="85"/>
                    </a:lnTo>
                    <a:lnTo>
                      <a:pt x="26" y="96"/>
                    </a:lnTo>
                    <a:lnTo>
                      <a:pt x="12" y="86"/>
                    </a:lnTo>
                    <a:lnTo>
                      <a:pt x="8" y="73"/>
                    </a:lnTo>
                    <a:lnTo>
                      <a:pt x="6" y="61"/>
                    </a:lnTo>
                    <a:lnTo>
                      <a:pt x="1" y="57"/>
                    </a:lnTo>
                    <a:lnTo>
                      <a:pt x="0" y="52"/>
                    </a:lnTo>
                    <a:lnTo>
                      <a:pt x="3" y="46"/>
                    </a:lnTo>
                    <a:lnTo>
                      <a:pt x="6" y="46"/>
                    </a:lnTo>
                    <a:lnTo>
                      <a:pt x="16" y="5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50" name="Freeform 312"/>
              <p:cNvSpPr>
                <a:spLocks noChangeAspect="1"/>
              </p:cNvSpPr>
              <p:nvPr/>
            </p:nvSpPr>
            <p:spPr bwMode="gray">
              <a:xfrm>
                <a:off x="1024" y="1423"/>
                <a:ext cx="11" cy="11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1" y="4"/>
                  </a:cxn>
                  <a:cxn ang="0">
                    <a:pos x="0" y="8"/>
                  </a:cxn>
                  <a:cxn ang="0">
                    <a:pos x="1" y="22"/>
                  </a:cxn>
                  <a:cxn ang="0">
                    <a:pos x="9" y="28"/>
                  </a:cxn>
                  <a:cxn ang="0">
                    <a:pos x="12" y="38"/>
                  </a:cxn>
                  <a:cxn ang="0">
                    <a:pos x="23" y="39"/>
                  </a:cxn>
                  <a:cxn ang="0">
                    <a:pos x="32" y="49"/>
                  </a:cxn>
                  <a:cxn ang="0">
                    <a:pos x="41" y="50"/>
                  </a:cxn>
                  <a:cxn ang="0">
                    <a:pos x="44" y="55"/>
                  </a:cxn>
                  <a:cxn ang="0">
                    <a:pos x="47" y="58"/>
                  </a:cxn>
                  <a:cxn ang="0">
                    <a:pos x="52" y="56"/>
                  </a:cxn>
                  <a:cxn ang="0">
                    <a:pos x="54" y="50"/>
                  </a:cxn>
                  <a:cxn ang="0">
                    <a:pos x="45" y="39"/>
                  </a:cxn>
                  <a:cxn ang="0">
                    <a:pos x="30" y="28"/>
                  </a:cxn>
                  <a:cxn ang="0">
                    <a:pos x="33" y="22"/>
                  </a:cxn>
                  <a:cxn ang="0">
                    <a:pos x="19" y="15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</a:cxnLst>
                <a:rect l="0" t="0" r="r" b="b"/>
                <a:pathLst>
                  <a:path w="54" h="58">
                    <a:moveTo>
                      <a:pt x="2" y="4"/>
                    </a:moveTo>
                    <a:lnTo>
                      <a:pt x="1" y="4"/>
                    </a:lnTo>
                    <a:lnTo>
                      <a:pt x="0" y="8"/>
                    </a:lnTo>
                    <a:lnTo>
                      <a:pt x="1" y="22"/>
                    </a:lnTo>
                    <a:lnTo>
                      <a:pt x="9" y="28"/>
                    </a:lnTo>
                    <a:lnTo>
                      <a:pt x="12" y="38"/>
                    </a:lnTo>
                    <a:lnTo>
                      <a:pt x="23" y="39"/>
                    </a:lnTo>
                    <a:lnTo>
                      <a:pt x="32" y="49"/>
                    </a:lnTo>
                    <a:lnTo>
                      <a:pt x="41" y="50"/>
                    </a:lnTo>
                    <a:lnTo>
                      <a:pt x="44" y="55"/>
                    </a:lnTo>
                    <a:lnTo>
                      <a:pt x="47" y="58"/>
                    </a:lnTo>
                    <a:lnTo>
                      <a:pt x="52" y="56"/>
                    </a:lnTo>
                    <a:lnTo>
                      <a:pt x="54" y="50"/>
                    </a:lnTo>
                    <a:lnTo>
                      <a:pt x="45" y="39"/>
                    </a:lnTo>
                    <a:lnTo>
                      <a:pt x="30" y="28"/>
                    </a:lnTo>
                    <a:lnTo>
                      <a:pt x="33" y="22"/>
                    </a:lnTo>
                    <a:lnTo>
                      <a:pt x="19" y="15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</p:grpSp>
        <p:sp>
          <p:nvSpPr>
            <p:cNvPr id="78" name="Freeform 313"/>
            <p:cNvSpPr>
              <a:spLocks noChangeAspect="1"/>
            </p:cNvSpPr>
            <p:nvPr/>
          </p:nvSpPr>
          <p:spPr bwMode="gray">
            <a:xfrm rot="21085610">
              <a:off x="4534484" y="3703338"/>
              <a:ext cx="12721" cy="6985"/>
            </a:xfrm>
            <a:custGeom>
              <a:avLst/>
              <a:gdLst/>
              <a:ahLst/>
              <a:cxnLst>
                <a:cxn ang="0">
                  <a:pos x="291" y="10"/>
                </a:cxn>
                <a:cxn ang="0">
                  <a:pos x="281" y="6"/>
                </a:cxn>
                <a:cxn ang="0">
                  <a:pos x="289" y="25"/>
                </a:cxn>
                <a:cxn ang="0">
                  <a:pos x="298" y="25"/>
                </a:cxn>
                <a:cxn ang="0">
                  <a:pos x="326" y="50"/>
                </a:cxn>
                <a:cxn ang="0">
                  <a:pos x="336" y="96"/>
                </a:cxn>
                <a:cxn ang="0">
                  <a:pos x="312" y="69"/>
                </a:cxn>
                <a:cxn ang="0">
                  <a:pos x="274" y="50"/>
                </a:cxn>
                <a:cxn ang="0">
                  <a:pos x="230" y="52"/>
                </a:cxn>
                <a:cxn ang="0">
                  <a:pos x="98" y="96"/>
                </a:cxn>
                <a:cxn ang="0">
                  <a:pos x="21" y="93"/>
                </a:cxn>
                <a:cxn ang="0">
                  <a:pos x="0" y="52"/>
                </a:cxn>
                <a:cxn ang="0">
                  <a:pos x="87" y="45"/>
                </a:cxn>
                <a:cxn ang="0">
                  <a:pos x="208" y="0"/>
                </a:cxn>
                <a:cxn ang="0">
                  <a:pos x="257" y="0"/>
                </a:cxn>
                <a:cxn ang="0">
                  <a:pos x="291" y="10"/>
                </a:cxn>
              </a:cxnLst>
              <a:rect l="0" t="0" r="r" b="b"/>
              <a:pathLst>
                <a:path w="336" h="96">
                  <a:moveTo>
                    <a:pt x="291" y="10"/>
                  </a:moveTo>
                  <a:lnTo>
                    <a:pt x="281" y="6"/>
                  </a:lnTo>
                  <a:lnTo>
                    <a:pt x="289" y="25"/>
                  </a:lnTo>
                  <a:lnTo>
                    <a:pt x="298" y="25"/>
                  </a:lnTo>
                  <a:lnTo>
                    <a:pt x="326" y="50"/>
                  </a:lnTo>
                  <a:lnTo>
                    <a:pt x="336" y="96"/>
                  </a:lnTo>
                  <a:lnTo>
                    <a:pt x="312" y="69"/>
                  </a:lnTo>
                  <a:lnTo>
                    <a:pt x="274" y="50"/>
                  </a:lnTo>
                  <a:lnTo>
                    <a:pt x="230" y="52"/>
                  </a:lnTo>
                  <a:lnTo>
                    <a:pt x="98" y="96"/>
                  </a:lnTo>
                  <a:lnTo>
                    <a:pt x="21" y="93"/>
                  </a:lnTo>
                  <a:lnTo>
                    <a:pt x="0" y="52"/>
                  </a:lnTo>
                  <a:lnTo>
                    <a:pt x="87" y="45"/>
                  </a:lnTo>
                  <a:lnTo>
                    <a:pt x="208" y="0"/>
                  </a:lnTo>
                  <a:lnTo>
                    <a:pt x="257" y="0"/>
                  </a:lnTo>
                  <a:lnTo>
                    <a:pt x="291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79" name="Freeform 314"/>
            <p:cNvSpPr>
              <a:spLocks noChangeAspect="1"/>
            </p:cNvSpPr>
            <p:nvPr/>
          </p:nvSpPr>
          <p:spPr bwMode="gray">
            <a:xfrm rot="21085610">
              <a:off x="4555155" y="3705084"/>
              <a:ext cx="1591" cy="17461"/>
            </a:xfrm>
            <a:custGeom>
              <a:avLst/>
              <a:gdLst/>
              <a:ahLst/>
              <a:cxnLst>
                <a:cxn ang="0">
                  <a:pos x="76" y="83"/>
                </a:cxn>
                <a:cxn ang="0">
                  <a:pos x="86" y="6"/>
                </a:cxn>
                <a:cxn ang="0">
                  <a:pos x="86" y="62"/>
                </a:cxn>
                <a:cxn ang="0">
                  <a:pos x="53" y="146"/>
                </a:cxn>
                <a:cxn ang="0">
                  <a:pos x="39" y="232"/>
                </a:cxn>
                <a:cxn ang="0">
                  <a:pos x="0" y="173"/>
                </a:cxn>
                <a:cxn ang="0">
                  <a:pos x="14" y="159"/>
                </a:cxn>
                <a:cxn ang="0">
                  <a:pos x="21" y="135"/>
                </a:cxn>
                <a:cxn ang="0">
                  <a:pos x="18" y="95"/>
                </a:cxn>
                <a:cxn ang="0">
                  <a:pos x="42" y="6"/>
                </a:cxn>
                <a:cxn ang="0">
                  <a:pos x="53" y="0"/>
                </a:cxn>
                <a:cxn ang="0">
                  <a:pos x="72" y="41"/>
                </a:cxn>
                <a:cxn ang="0">
                  <a:pos x="76" y="83"/>
                </a:cxn>
              </a:cxnLst>
              <a:rect l="0" t="0" r="r" b="b"/>
              <a:pathLst>
                <a:path w="86" h="232">
                  <a:moveTo>
                    <a:pt x="76" y="83"/>
                  </a:moveTo>
                  <a:lnTo>
                    <a:pt x="86" y="6"/>
                  </a:lnTo>
                  <a:lnTo>
                    <a:pt x="86" y="62"/>
                  </a:lnTo>
                  <a:lnTo>
                    <a:pt x="53" y="146"/>
                  </a:lnTo>
                  <a:lnTo>
                    <a:pt x="39" y="232"/>
                  </a:lnTo>
                  <a:lnTo>
                    <a:pt x="0" y="173"/>
                  </a:lnTo>
                  <a:lnTo>
                    <a:pt x="14" y="159"/>
                  </a:lnTo>
                  <a:lnTo>
                    <a:pt x="21" y="135"/>
                  </a:lnTo>
                  <a:lnTo>
                    <a:pt x="18" y="95"/>
                  </a:lnTo>
                  <a:lnTo>
                    <a:pt x="42" y="6"/>
                  </a:lnTo>
                  <a:lnTo>
                    <a:pt x="53" y="0"/>
                  </a:lnTo>
                  <a:lnTo>
                    <a:pt x="72" y="41"/>
                  </a:lnTo>
                  <a:lnTo>
                    <a:pt x="76" y="8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80" name="Freeform 315"/>
            <p:cNvSpPr>
              <a:spLocks noChangeAspect="1"/>
            </p:cNvSpPr>
            <p:nvPr/>
          </p:nvSpPr>
          <p:spPr bwMode="gray">
            <a:xfrm rot="21085610">
              <a:off x="4555155" y="3745245"/>
              <a:ext cx="3180" cy="1747"/>
            </a:xfrm>
            <a:custGeom>
              <a:avLst/>
              <a:gdLst/>
              <a:ahLst/>
              <a:cxnLst>
                <a:cxn ang="0">
                  <a:pos x="55" y="25"/>
                </a:cxn>
                <a:cxn ang="0">
                  <a:pos x="73" y="7"/>
                </a:cxn>
                <a:cxn ang="0">
                  <a:pos x="73" y="0"/>
                </a:cxn>
                <a:cxn ang="0">
                  <a:pos x="48" y="0"/>
                </a:cxn>
                <a:cxn ang="0">
                  <a:pos x="8" y="4"/>
                </a:cxn>
                <a:cxn ang="0">
                  <a:pos x="0" y="28"/>
                </a:cxn>
                <a:cxn ang="0">
                  <a:pos x="55" y="25"/>
                </a:cxn>
              </a:cxnLst>
              <a:rect l="0" t="0" r="r" b="b"/>
              <a:pathLst>
                <a:path w="73" h="28">
                  <a:moveTo>
                    <a:pt x="55" y="25"/>
                  </a:moveTo>
                  <a:lnTo>
                    <a:pt x="73" y="7"/>
                  </a:lnTo>
                  <a:lnTo>
                    <a:pt x="73" y="0"/>
                  </a:lnTo>
                  <a:lnTo>
                    <a:pt x="48" y="0"/>
                  </a:lnTo>
                  <a:lnTo>
                    <a:pt x="8" y="4"/>
                  </a:lnTo>
                  <a:lnTo>
                    <a:pt x="0" y="28"/>
                  </a:lnTo>
                  <a:lnTo>
                    <a:pt x="55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81" name="Freeform 316"/>
            <p:cNvSpPr>
              <a:spLocks noChangeAspect="1"/>
            </p:cNvSpPr>
            <p:nvPr/>
          </p:nvSpPr>
          <p:spPr bwMode="gray">
            <a:xfrm rot="21085610">
              <a:off x="4547205" y="3743499"/>
              <a:ext cx="6361" cy="20954"/>
            </a:xfrm>
            <a:custGeom>
              <a:avLst/>
              <a:gdLst/>
              <a:ahLst/>
              <a:cxnLst>
                <a:cxn ang="0">
                  <a:pos x="93" y="46"/>
                </a:cxn>
                <a:cxn ang="0">
                  <a:pos x="107" y="50"/>
                </a:cxn>
                <a:cxn ang="0">
                  <a:pos x="114" y="81"/>
                </a:cxn>
                <a:cxn ang="0">
                  <a:pos x="175" y="163"/>
                </a:cxn>
                <a:cxn ang="0">
                  <a:pos x="175" y="244"/>
                </a:cxn>
                <a:cxn ang="0">
                  <a:pos x="168" y="268"/>
                </a:cxn>
                <a:cxn ang="0">
                  <a:pos x="141" y="288"/>
                </a:cxn>
                <a:cxn ang="0">
                  <a:pos x="101" y="291"/>
                </a:cxn>
                <a:cxn ang="0">
                  <a:pos x="59" y="244"/>
                </a:cxn>
                <a:cxn ang="0">
                  <a:pos x="10" y="212"/>
                </a:cxn>
                <a:cxn ang="0">
                  <a:pos x="0" y="167"/>
                </a:cxn>
                <a:cxn ang="0">
                  <a:pos x="28" y="84"/>
                </a:cxn>
                <a:cxn ang="0">
                  <a:pos x="35" y="39"/>
                </a:cxn>
                <a:cxn ang="0">
                  <a:pos x="30" y="8"/>
                </a:cxn>
                <a:cxn ang="0">
                  <a:pos x="79" y="0"/>
                </a:cxn>
                <a:cxn ang="0">
                  <a:pos x="93" y="46"/>
                </a:cxn>
              </a:cxnLst>
              <a:rect l="0" t="0" r="r" b="b"/>
              <a:pathLst>
                <a:path w="175" h="291">
                  <a:moveTo>
                    <a:pt x="93" y="46"/>
                  </a:moveTo>
                  <a:lnTo>
                    <a:pt x="107" y="50"/>
                  </a:lnTo>
                  <a:lnTo>
                    <a:pt x="114" y="81"/>
                  </a:lnTo>
                  <a:lnTo>
                    <a:pt x="175" y="163"/>
                  </a:lnTo>
                  <a:lnTo>
                    <a:pt x="175" y="244"/>
                  </a:lnTo>
                  <a:lnTo>
                    <a:pt x="168" y="268"/>
                  </a:lnTo>
                  <a:lnTo>
                    <a:pt x="141" y="288"/>
                  </a:lnTo>
                  <a:lnTo>
                    <a:pt x="101" y="291"/>
                  </a:lnTo>
                  <a:lnTo>
                    <a:pt x="59" y="244"/>
                  </a:lnTo>
                  <a:lnTo>
                    <a:pt x="10" y="212"/>
                  </a:lnTo>
                  <a:lnTo>
                    <a:pt x="0" y="167"/>
                  </a:lnTo>
                  <a:lnTo>
                    <a:pt x="28" y="84"/>
                  </a:lnTo>
                  <a:lnTo>
                    <a:pt x="35" y="39"/>
                  </a:lnTo>
                  <a:lnTo>
                    <a:pt x="30" y="8"/>
                  </a:lnTo>
                  <a:lnTo>
                    <a:pt x="79" y="0"/>
                  </a:lnTo>
                  <a:lnTo>
                    <a:pt x="93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82" name="Freeform 317"/>
            <p:cNvSpPr>
              <a:spLocks noChangeAspect="1"/>
            </p:cNvSpPr>
            <p:nvPr/>
          </p:nvSpPr>
          <p:spPr bwMode="gray">
            <a:xfrm rot="21085610">
              <a:off x="4555155" y="3767945"/>
              <a:ext cx="1591" cy="10477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47" y="0"/>
                </a:cxn>
                <a:cxn ang="0">
                  <a:pos x="69" y="118"/>
                </a:cxn>
                <a:cxn ang="0">
                  <a:pos x="59" y="144"/>
                </a:cxn>
                <a:cxn ang="0">
                  <a:pos x="17" y="128"/>
                </a:cxn>
                <a:cxn ang="0">
                  <a:pos x="0" y="70"/>
                </a:cxn>
              </a:cxnLst>
              <a:rect l="0" t="0" r="r" b="b"/>
              <a:pathLst>
                <a:path w="69" h="144">
                  <a:moveTo>
                    <a:pt x="0" y="70"/>
                  </a:moveTo>
                  <a:lnTo>
                    <a:pt x="47" y="0"/>
                  </a:lnTo>
                  <a:lnTo>
                    <a:pt x="69" y="118"/>
                  </a:lnTo>
                  <a:lnTo>
                    <a:pt x="59" y="144"/>
                  </a:lnTo>
                  <a:lnTo>
                    <a:pt x="17" y="128"/>
                  </a:lnTo>
                  <a:lnTo>
                    <a:pt x="0" y="7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83" name="Freeform 318"/>
            <p:cNvSpPr>
              <a:spLocks noChangeAspect="1"/>
            </p:cNvSpPr>
            <p:nvPr/>
          </p:nvSpPr>
          <p:spPr bwMode="gray">
            <a:xfrm rot="21085610">
              <a:off x="4569467" y="3738260"/>
              <a:ext cx="1591" cy="13969"/>
            </a:xfrm>
            <a:custGeom>
              <a:avLst/>
              <a:gdLst/>
              <a:ahLst/>
              <a:cxnLst>
                <a:cxn ang="0">
                  <a:pos x="37" y="20"/>
                </a:cxn>
                <a:cxn ang="0">
                  <a:pos x="37" y="0"/>
                </a:cxn>
                <a:cxn ang="0">
                  <a:pos x="52" y="45"/>
                </a:cxn>
                <a:cxn ang="0">
                  <a:pos x="47" y="192"/>
                </a:cxn>
                <a:cxn ang="0">
                  <a:pos x="10" y="160"/>
                </a:cxn>
                <a:cxn ang="0">
                  <a:pos x="0" y="120"/>
                </a:cxn>
                <a:cxn ang="0">
                  <a:pos x="20" y="99"/>
                </a:cxn>
                <a:cxn ang="0">
                  <a:pos x="37" y="20"/>
                </a:cxn>
              </a:cxnLst>
              <a:rect l="0" t="0" r="r" b="b"/>
              <a:pathLst>
                <a:path w="52" h="192">
                  <a:moveTo>
                    <a:pt x="37" y="20"/>
                  </a:moveTo>
                  <a:lnTo>
                    <a:pt x="37" y="0"/>
                  </a:lnTo>
                  <a:lnTo>
                    <a:pt x="52" y="45"/>
                  </a:lnTo>
                  <a:lnTo>
                    <a:pt x="47" y="192"/>
                  </a:lnTo>
                  <a:lnTo>
                    <a:pt x="10" y="160"/>
                  </a:lnTo>
                  <a:lnTo>
                    <a:pt x="0" y="120"/>
                  </a:lnTo>
                  <a:lnTo>
                    <a:pt x="20" y="99"/>
                  </a:lnTo>
                  <a:lnTo>
                    <a:pt x="37" y="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84" name="Freeform 319"/>
            <p:cNvSpPr>
              <a:spLocks noChangeAspect="1"/>
            </p:cNvSpPr>
            <p:nvPr/>
          </p:nvSpPr>
          <p:spPr bwMode="gray">
            <a:xfrm rot="21085610">
              <a:off x="4577417" y="3750484"/>
              <a:ext cx="4771" cy="15716"/>
            </a:xfrm>
            <a:custGeom>
              <a:avLst/>
              <a:gdLst/>
              <a:ahLst/>
              <a:cxnLst>
                <a:cxn ang="0">
                  <a:pos x="115" y="147"/>
                </a:cxn>
                <a:cxn ang="0">
                  <a:pos x="132" y="142"/>
                </a:cxn>
                <a:cxn ang="0">
                  <a:pos x="146" y="205"/>
                </a:cxn>
                <a:cxn ang="0">
                  <a:pos x="121" y="212"/>
                </a:cxn>
                <a:cxn ang="0">
                  <a:pos x="87" y="202"/>
                </a:cxn>
                <a:cxn ang="0">
                  <a:pos x="101" y="157"/>
                </a:cxn>
                <a:cxn ang="0">
                  <a:pos x="56" y="76"/>
                </a:cxn>
                <a:cxn ang="0">
                  <a:pos x="0" y="0"/>
                </a:cxn>
                <a:cxn ang="0">
                  <a:pos x="24" y="4"/>
                </a:cxn>
                <a:cxn ang="0">
                  <a:pos x="52" y="35"/>
                </a:cxn>
                <a:cxn ang="0">
                  <a:pos x="115" y="147"/>
                </a:cxn>
              </a:cxnLst>
              <a:rect l="0" t="0" r="r" b="b"/>
              <a:pathLst>
                <a:path w="146" h="212">
                  <a:moveTo>
                    <a:pt x="115" y="147"/>
                  </a:moveTo>
                  <a:lnTo>
                    <a:pt x="132" y="142"/>
                  </a:lnTo>
                  <a:lnTo>
                    <a:pt x="146" y="205"/>
                  </a:lnTo>
                  <a:lnTo>
                    <a:pt x="121" y="212"/>
                  </a:lnTo>
                  <a:lnTo>
                    <a:pt x="87" y="202"/>
                  </a:lnTo>
                  <a:lnTo>
                    <a:pt x="101" y="157"/>
                  </a:lnTo>
                  <a:lnTo>
                    <a:pt x="56" y="76"/>
                  </a:lnTo>
                  <a:lnTo>
                    <a:pt x="0" y="0"/>
                  </a:lnTo>
                  <a:lnTo>
                    <a:pt x="24" y="4"/>
                  </a:lnTo>
                  <a:lnTo>
                    <a:pt x="52" y="35"/>
                  </a:lnTo>
                  <a:lnTo>
                    <a:pt x="115" y="14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85" name="Freeform 320"/>
            <p:cNvSpPr>
              <a:spLocks noChangeAspect="1"/>
            </p:cNvSpPr>
            <p:nvPr/>
          </p:nvSpPr>
          <p:spPr bwMode="gray">
            <a:xfrm rot="21085610">
              <a:off x="4591729" y="3762706"/>
              <a:ext cx="3180" cy="3492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3" y="28"/>
                </a:cxn>
                <a:cxn ang="0">
                  <a:pos x="0" y="55"/>
                </a:cxn>
                <a:cxn ang="0">
                  <a:pos x="35" y="52"/>
                </a:cxn>
                <a:cxn ang="0">
                  <a:pos x="52" y="0"/>
                </a:cxn>
                <a:cxn ang="0">
                  <a:pos x="20" y="0"/>
                </a:cxn>
              </a:cxnLst>
              <a:rect l="0" t="0" r="r" b="b"/>
              <a:pathLst>
                <a:path w="52" h="55">
                  <a:moveTo>
                    <a:pt x="20" y="0"/>
                  </a:moveTo>
                  <a:lnTo>
                    <a:pt x="3" y="28"/>
                  </a:lnTo>
                  <a:lnTo>
                    <a:pt x="0" y="55"/>
                  </a:lnTo>
                  <a:lnTo>
                    <a:pt x="35" y="52"/>
                  </a:lnTo>
                  <a:lnTo>
                    <a:pt x="52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86" name="Freeform 321"/>
            <p:cNvSpPr>
              <a:spLocks noChangeAspect="1"/>
            </p:cNvSpPr>
            <p:nvPr/>
          </p:nvSpPr>
          <p:spPr bwMode="gray">
            <a:xfrm rot="21085610">
              <a:off x="4585368" y="3778422"/>
              <a:ext cx="4771" cy="174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17"/>
                </a:cxn>
                <a:cxn ang="0">
                  <a:pos x="37" y="105"/>
                </a:cxn>
                <a:cxn ang="0">
                  <a:pos x="55" y="135"/>
                </a:cxn>
                <a:cxn ang="0">
                  <a:pos x="93" y="149"/>
                </a:cxn>
                <a:cxn ang="0">
                  <a:pos x="117" y="204"/>
                </a:cxn>
                <a:cxn ang="0">
                  <a:pos x="117" y="232"/>
                </a:cxn>
                <a:cxn ang="0">
                  <a:pos x="96" y="191"/>
                </a:cxn>
                <a:cxn ang="0">
                  <a:pos x="52" y="162"/>
                </a:cxn>
                <a:cxn ang="0">
                  <a:pos x="35" y="118"/>
                </a:cxn>
                <a:cxn ang="0">
                  <a:pos x="24" y="44"/>
                </a:cxn>
                <a:cxn ang="0">
                  <a:pos x="0" y="0"/>
                </a:cxn>
              </a:cxnLst>
              <a:rect l="0" t="0" r="r" b="b"/>
              <a:pathLst>
                <a:path w="117" h="232">
                  <a:moveTo>
                    <a:pt x="0" y="0"/>
                  </a:moveTo>
                  <a:lnTo>
                    <a:pt x="10" y="17"/>
                  </a:lnTo>
                  <a:lnTo>
                    <a:pt x="37" y="105"/>
                  </a:lnTo>
                  <a:lnTo>
                    <a:pt x="55" y="135"/>
                  </a:lnTo>
                  <a:lnTo>
                    <a:pt x="93" y="149"/>
                  </a:lnTo>
                  <a:lnTo>
                    <a:pt x="117" y="204"/>
                  </a:lnTo>
                  <a:lnTo>
                    <a:pt x="117" y="232"/>
                  </a:lnTo>
                  <a:lnTo>
                    <a:pt x="96" y="191"/>
                  </a:lnTo>
                  <a:lnTo>
                    <a:pt x="52" y="162"/>
                  </a:lnTo>
                  <a:lnTo>
                    <a:pt x="35" y="118"/>
                  </a:lnTo>
                  <a:lnTo>
                    <a:pt x="24" y="4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87" name="Freeform 322"/>
            <p:cNvSpPr>
              <a:spLocks noChangeAspect="1"/>
            </p:cNvSpPr>
            <p:nvPr/>
          </p:nvSpPr>
          <p:spPr bwMode="gray">
            <a:xfrm rot="21085610">
              <a:off x="4599679" y="3794137"/>
              <a:ext cx="4771" cy="15716"/>
            </a:xfrm>
            <a:custGeom>
              <a:avLst/>
              <a:gdLst/>
              <a:ahLst/>
              <a:cxnLst>
                <a:cxn ang="0">
                  <a:pos x="101" y="73"/>
                </a:cxn>
                <a:cxn ang="0">
                  <a:pos x="101" y="48"/>
                </a:cxn>
                <a:cxn ang="0">
                  <a:pos x="101" y="56"/>
                </a:cxn>
                <a:cxn ang="0">
                  <a:pos x="90" y="48"/>
                </a:cxn>
                <a:cxn ang="0">
                  <a:pos x="31" y="48"/>
                </a:cxn>
                <a:cxn ang="0">
                  <a:pos x="4" y="27"/>
                </a:cxn>
                <a:cxn ang="0">
                  <a:pos x="0" y="14"/>
                </a:cxn>
                <a:cxn ang="0">
                  <a:pos x="11" y="0"/>
                </a:cxn>
                <a:cxn ang="0">
                  <a:pos x="46" y="14"/>
                </a:cxn>
                <a:cxn ang="0">
                  <a:pos x="83" y="41"/>
                </a:cxn>
                <a:cxn ang="0">
                  <a:pos x="125" y="41"/>
                </a:cxn>
                <a:cxn ang="0">
                  <a:pos x="145" y="61"/>
                </a:cxn>
                <a:cxn ang="0">
                  <a:pos x="149" y="113"/>
                </a:cxn>
                <a:cxn ang="0">
                  <a:pos x="103" y="172"/>
                </a:cxn>
                <a:cxn ang="0">
                  <a:pos x="49" y="218"/>
                </a:cxn>
                <a:cxn ang="0">
                  <a:pos x="35" y="182"/>
                </a:cxn>
                <a:cxn ang="0">
                  <a:pos x="111" y="100"/>
                </a:cxn>
                <a:cxn ang="0">
                  <a:pos x="101" y="73"/>
                </a:cxn>
              </a:cxnLst>
              <a:rect l="0" t="0" r="r" b="b"/>
              <a:pathLst>
                <a:path w="149" h="218">
                  <a:moveTo>
                    <a:pt x="101" y="73"/>
                  </a:moveTo>
                  <a:lnTo>
                    <a:pt x="101" y="48"/>
                  </a:lnTo>
                  <a:lnTo>
                    <a:pt x="101" y="56"/>
                  </a:lnTo>
                  <a:lnTo>
                    <a:pt x="90" y="48"/>
                  </a:lnTo>
                  <a:lnTo>
                    <a:pt x="31" y="48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11" y="0"/>
                  </a:lnTo>
                  <a:lnTo>
                    <a:pt x="46" y="14"/>
                  </a:lnTo>
                  <a:lnTo>
                    <a:pt x="83" y="41"/>
                  </a:lnTo>
                  <a:lnTo>
                    <a:pt x="125" y="41"/>
                  </a:lnTo>
                  <a:lnTo>
                    <a:pt x="145" y="61"/>
                  </a:lnTo>
                  <a:lnTo>
                    <a:pt x="149" y="113"/>
                  </a:lnTo>
                  <a:lnTo>
                    <a:pt x="103" y="172"/>
                  </a:lnTo>
                  <a:lnTo>
                    <a:pt x="49" y="218"/>
                  </a:lnTo>
                  <a:lnTo>
                    <a:pt x="35" y="182"/>
                  </a:lnTo>
                  <a:lnTo>
                    <a:pt x="111" y="100"/>
                  </a:lnTo>
                  <a:lnTo>
                    <a:pt x="101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88" name="Freeform 323"/>
            <p:cNvSpPr>
              <a:spLocks noChangeAspect="1"/>
            </p:cNvSpPr>
            <p:nvPr/>
          </p:nvSpPr>
          <p:spPr bwMode="gray">
            <a:xfrm rot="21085610">
              <a:off x="4612400" y="3804613"/>
              <a:ext cx="4771" cy="1747"/>
            </a:xfrm>
            <a:custGeom>
              <a:avLst/>
              <a:gdLst/>
              <a:ahLst/>
              <a:cxnLst>
                <a:cxn ang="0">
                  <a:pos x="118" y="34"/>
                </a:cxn>
                <a:cxn ang="0">
                  <a:pos x="100" y="3"/>
                </a:cxn>
                <a:cxn ang="0">
                  <a:pos x="56" y="0"/>
                </a:cxn>
                <a:cxn ang="0">
                  <a:pos x="0" y="24"/>
                </a:cxn>
                <a:cxn ang="0">
                  <a:pos x="52" y="17"/>
                </a:cxn>
                <a:cxn ang="0">
                  <a:pos x="90" y="34"/>
                </a:cxn>
                <a:cxn ang="0">
                  <a:pos x="118" y="34"/>
                </a:cxn>
              </a:cxnLst>
              <a:rect l="0" t="0" r="r" b="b"/>
              <a:pathLst>
                <a:path w="118" h="34">
                  <a:moveTo>
                    <a:pt x="118" y="34"/>
                  </a:moveTo>
                  <a:lnTo>
                    <a:pt x="100" y="3"/>
                  </a:lnTo>
                  <a:lnTo>
                    <a:pt x="56" y="0"/>
                  </a:lnTo>
                  <a:lnTo>
                    <a:pt x="0" y="24"/>
                  </a:lnTo>
                  <a:lnTo>
                    <a:pt x="52" y="17"/>
                  </a:lnTo>
                  <a:lnTo>
                    <a:pt x="90" y="34"/>
                  </a:lnTo>
                  <a:lnTo>
                    <a:pt x="118" y="3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89" name="Freeform 324"/>
            <p:cNvSpPr>
              <a:spLocks noChangeAspect="1"/>
            </p:cNvSpPr>
            <p:nvPr/>
          </p:nvSpPr>
          <p:spPr bwMode="gray">
            <a:xfrm rot="21085610">
              <a:off x="4623532" y="3811598"/>
              <a:ext cx="9541" cy="6985"/>
            </a:xfrm>
            <a:custGeom>
              <a:avLst/>
              <a:gdLst/>
              <a:ahLst/>
              <a:cxnLst>
                <a:cxn ang="0">
                  <a:pos x="48" y="19"/>
                </a:cxn>
                <a:cxn ang="0">
                  <a:pos x="86" y="0"/>
                </a:cxn>
                <a:cxn ang="0">
                  <a:pos x="114" y="25"/>
                </a:cxn>
                <a:cxn ang="0">
                  <a:pos x="192" y="61"/>
                </a:cxn>
                <a:cxn ang="0">
                  <a:pos x="241" y="92"/>
                </a:cxn>
                <a:cxn ang="0">
                  <a:pos x="248" y="103"/>
                </a:cxn>
                <a:cxn ang="0">
                  <a:pos x="210" y="98"/>
                </a:cxn>
                <a:cxn ang="0">
                  <a:pos x="148" y="52"/>
                </a:cxn>
                <a:cxn ang="0">
                  <a:pos x="100" y="34"/>
                </a:cxn>
                <a:cxn ang="0">
                  <a:pos x="41" y="73"/>
                </a:cxn>
                <a:cxn ang="0">
                  <a:pos x="0" y="76"/>
                </a:cxn>
                <a:cxn ang="0">
                  <a:pos x="13" y="48"/>
                </a:cxn>
                <a:cxn ang="0">
                  <a:pos x="48" y="19"/>
                </a:cxn>
              </a:cxnLst>
              <a:rect l="0" t="0" r="r" b="b"/>
              <a:pathLst>
                <a:path w="248" h="103">
                  <a:moveTo>
                    <a:pt x="48" y="19"/>
                  </a:moveTo>
                  <a:lnTo>
                    <a:pt x="86" y="0"/>
                  </a:lnTo>
                  <a:lnTo>
                    <a:pt x="114" y="25"/>
                  </a:lnTo>
                  <a:lnTo>
                    <a:pt x="192" y="61"/>
                  </a:lnTo>
                  <a:lnTo>
                    <a:pt x="241" y="92"/>
                  </a:lnTo>
                  <a:lnTo>
                    <a:pt x="248" y="103"/>
                  </a:lnTo>
                  <a:lnTo>
                    <a:pt x="210" y="98"/>
                  </a:lnTo>
                  <a:lnTo>
                    <a:pt x="148" y="52"/>
                  </a:lnTo>
                  <a:lnTo>
                    <a:pt x="100" y="34"/>
                  </a:lnTo>
                  <a:lnTo>
                    <a:pt x="41" y="73"/>
                  </a:lnTo>
                  <a:lnTo>
                    <a:pt x="0" y="76"/>
                  </a:lnTo>
                  <a:lnTo>
                    <a:pt x="13" y="48"/>
                  </a:lnTo>
                  <a:lnTo>
                    <a:pt x="48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90" name="Freeform 325"/>
            <p:cNvSpPr>
              <a:spLocks noChangeAspect="1"/>
            </p:cNvSpPr>
            <p:nvPr/>
          </p:nvSpPr>
          <p:spPr bwMode="gray">
            <a:xfrm rot="21085610">
              <a:off x="4610810" y="3830806"/>
              <a:ext cx="6361" cy="10477"/>
            </a:xfrm>
            <a:custGeom>
              <a:avLst/>
              <a:gdLst/>
              <a:ahLst/>
              <a:cxnLst>
                <a:cxn ang="0">
                  <a:pos x="192" y="0"/>
                </a:cxn>
                <a:cxn ang="0">
                  <a:pos x="184" y="0"/>
                </a:cxn>
                <a:cxn ang="0">
                  <a:pos x="184" y="56"/>
                </a:cxn>
                <a:cxn ang="0">
                  <a:pos x="175" y="104"/>
                </a:cxn>
                <a:cxn ang="0">
                  <a:pos x="132" y="132"/>
                </a:cxn>
                <a:cxn ang="0">
                  <a:pos x="0" y="146"/>
                </a:cxn>
                <a:cxn ang="0">
                  <a:pos x="4" y="76"/>
                </a:cxn>
                <a:cxn ang="0">
                  <a:pos x="62" y="49"/>
                </a:cxn>
                <a:cxn ang="0">
                  <a:pos x="114" y="67"/>
                </a:cxn>
                <a:cxn ang="0">
                  <a:pos x="192" y="0"/>
                </a:cxn>
              </a:cxnLst>
              <a:rect l="0" t="0" r="r" b="b"/>
              <a:pathLst>
                <a:path w="192" h="146">
                  <a:moveTo>
                    <a:pt x="192" y="0"/>
                  </a:moveTo>
                  <a:lnTo>
                    <a:pt x="184" y="0"/>
                  </a:lnTo>
                  <a:lnTo>
                    <a:pt x="184" y="56"/>
                  </a:lnTo>
                  <a:lnTo>
                    <a:pt x="175" y="104"/>
                  </a:lnTo>
                  <a:lnTo>
                    <a:pt x="132" y="132"/>
                  </a:lnTo>
                  <a:lnTo>
                    <a:pt x="0" y="146"/>
                  </a:lnTo>
                  <a:lnTo>
                    <a:pt x="4" y="76"/>
                  </a:lnTo>
                  <a:lnTo>
                    <a:pt x="62" y="49"/>
                  </a:lnTo>
                  <a:lnTo>
                    <a:pt x="114" y="67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91" name="Freeform 326"/>
            <p:cNvSpPr>
              <a:spLocks noChangeAspect="1"/>
            </p:cNvSpPr>
            <p:nvPr/>
          </p:nvSpPr>
          <p:spPr bwMode="gray">
            <a:xfrm rot="21085610">
              <a:off x="4553565" y="3766198"/>
              <a:ext cx="3180" cy="5239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55"/>
                </a:cxn>
                <a:cxn ang="0">
                  <a:pos x="4" y="80"/>
                </a:cxn>
                <a:cxn ang="0">
                  <a:pos x="42" y="57"/>
                </a:cxn>
                <a:cxn ang="0">
                  <a:pos x="70" y="9"/>
                </a:cxn>
                <a:cxn ang="0">
                  <a:pos x="42" y="0"/>
                </a:cxn>
              </a:cxnLst>
              <a:rect l="0" t="0" r="r" b="b"/>
              <a:pathLst>
                <a:path w="70" h="80">
                  <a:moveTo>
                    <a:pt x="42" y="0"/>
                  </a:moveTo>
                  <a:lnTo>
                    <a:pt x="0" y="55"/>
                  </a:lnTo>
                  <a:lnTo>
                    <a:pt x="4" y="80"/>
                  </a:lnTo>
                  <a:lnTo>
                    <a:pt x="42" y="57"/>
                  </a:lnTo>
                  <a:lnTo>
                    <a:pt x="70" y="9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92" name="Freeform 327"/>
            <p:cNvSpPr>
              <a:spLocks noChangeAspect="1"/>
            </p:cNvSpPr>
            <p:nvPr/>
          </p:nvSpPr>
          <p:spPr bwMode="gray">
            <a:xfrm rot="21085610">
              <a:off x="4521763" y="3748737"/>
              <a:ext cx="1591" cy="6985"/>
            </a:xfrm>
            <a:custGeom>
              <a:avLst/>
              <a:gdLst/>
              <a:ahLst/>
              <a:cxnLst>
                <a:cxn ang="0">
                  <a:pos x="72" y="7"/>
                </a:cxn>
                <a:cxn ang="0">
                  <a:pos x="57" y="0"/>
                </a:cxn>
                <a:cxn ang="0">
                  <a:pos x="0" y="79"/>
                </a:cxn>
                <a:cxn ang="0">
                  <a:pos x="7" y="93"/>
                </a:cxn>
                <a:cxn ang="0">
                  <a:pos x="72" y="7"/>
                </a:cxn>
              </a:cxnLst>
              <a:rect l="0" t="0" r="r" b="b"/>
              <a:pathLst>
                <a:path w="72" h="93">
                  <a:moveTo>
                    <a:pt x="72" y="7"/>
                  </a:moveTo>
                  <a:lnTo>
                    <a:pt x="57" y="0"/>
                  </a:lnTo>
                  <a:lnTo>
                    <a:pt x="0" y="79"/>
                  </a:lnTo>
                  <a:lnTo>
                    <a:pt x="7" y="93"/>
                  </a:lnTo>
                  <a:lnTo>
                    <a:pt x="72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93" name="Freeform 328"/>
            <p:cNvSpPr>
              <a:spLocks noChangeAspect="1"/>
            </p:cNvSpPr>
            <p:nvPr/>
          </p:nvSpPr>
          <p:spPr bwMode="gray">
            <a:xfrm rot="21085610">
              <a:off x="4518582" y="3757468"/>
              <a:ext cx="3180" cy="3492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26"/>
                </a:cxn>
                <a:cxn ang="0">
                  <a:pos x="4" y="36"/>
                </a:cxn>
                <a:cxn ang="0">
                  <a:pos x="53" y="18"/>
                </a:cxn>
                <a:cxn ang="0">
                  <a:pos x="56" y="0"/>
                </a:cxn>
              </a:cxnLst>
              <a:rect l="0" t="0" r="r" b="b"/>
              <a:pathLst>
                <a:path w="56" h="36">
                  <a:moveTo>
                    <a:pt x="56" y="0"/>
                  </a:moveTo>
                  <a:lnTo>
                    <a:pt x="0" y="26"/>
                  </a:lnTo>
                  <a:lnTo>
                    <a:pt x="4" y="36"/>
                  </a:lnTo>
                  <a:lnTo>
                    <a:pt x="53" y="18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94" name="Freeform 329"/>
            <p:cNvSpPr>
              <a:spLocks noChangeAspect="1"/>
            </p:cNvSpPr>
            <p:nvPr/>
          </p:nvSpPr>
          <p:spPr bwMode="gray">
            <a:xfrm rot="21085610">
              <a:off x="4509041" y="3760961"/>
              <a:ext cx="6361" cy="6985"/>
            </a:xfrm>
            <a:custGeom>
              <a:avLst/>
              <a:gdLst/>
              <a:ahLst/>
              <a:cxnLst>
                <a:cxn ang="0">
                  <a:pos x="152" y="40"/>
                </a:cxn>
                <a:cxn ang="0">
                  <a:pos x="109" y="36"/>
                </a:cxn>
                <a:cxn ang="0">
                  <a:pos x="44" y="67"/>
                </a:cxn>
                <a:cxn ang="0">
                  <a:pos x="0" y="70"/>
                </a:cxn>
                <a:cxn ang="0">
                  <a:pos x="9" y="50"/>
                </a:cxn>
                <a:cxn ang="0">
                  <a:pos x="59" y="36"/>
                </a:cxn>
                <a:cxn ang="0">
                  <a:pos x="119" y="0"/>
                </a:cxn>
                <a:cxn ang="0">
                  <a:pos x="155" y="9"/>
                </a:cxn>
                <a:cxn ang="0">
                  <a:pos x="152" y="40"/>
                </a:cxn>
              </a:cxnLst>
              <a:rect l="0" t="0" r="r" b="b"/>
              <a:pathLst>
                <a:path w="155" h="70">
                  <a:moveTo>
                    <a:pt x="152" y="40"/>
                  </a:moveTo>
                  <a:lnTo>
                    <a:pt x="109" y="36"/>
                  </a:lnTo>
                  <a:lnTo>
                    <a:pt x="44" y="67"/>
                  </a:lnTo>
                  <a:lnTo>
                    <a:pt x="0" y="70"/>
                  </a:lnTo>
                  <a:lnTo>
                    <a:pt x="9" y="50"/>
                  </a:lnTo>
                  <a:lnTo>
                    <a:pt x="59" y="36"/>
                  </a:lnTo>
                  <a:lnTo>
                    <a:pt x="119" y="0"/>
                  </a:lnTo>
                  <a:lnTo>
                    <a:pt x="155" y="9"/>
                  </a:lnTo>
                  <a:lnTo>
                    <a:pt x="152" y="4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95" name="Freeform 330"/>
            <p:cNvSpPr>
              <a:spLocks noChangeAspect="1"/>
            </p:cNvSpPr>
            <p:nvPr/>
          </p:nvSpPr>
          <p:spPr bwMode="gray">
            <a:xfrm rot="20552049">
              <a:off x="4551975" y="3911128"/>
              <a:ext cx="23853" cy="19208"/>
            </a:xfrm>
            <a:custGeom>
              <a:avLst/>
              <a:gdLst/>
              <a:ahLst/>
              <a:cxnLst>
                <a:cxn ang="0">
                  <a:pos x="373" y="31"/>
                </a:cxn>
                <a:cxn ang="0">
                  <a:pos x="397" y="35"/>
                </a:cxn>
                <a:cxn ang="0">
                  <a:pos x="450" y="63"/>
                </a:cxn>
                <a:cxn ang="0">
                  <a:pos x="483" y="101"/>
                </a:cxn>
                <a:cxn ang="0">
                  <a:pos x="600" y="104"/>
                </a:cxn>
                <a:cxn ang="0">
                  <a:pos x="642" y="212"/>
                </a:cxn>
                <a:cxn ang="0">
                  <a:pos x="588" y="222"/>
                </a:cxn>
                <a:cxn ang="0">
                  <a:pos x="504" y="197"/>
                </a:cxn>
                <a:cxn ang="0">
                  <a:pos x="442" y="222"/>
                </a:cxn>
                <a:cxn ang="0">
                  <a:pos x="390" y="222"/>
                </a:cxn>
                <a:cxn ang="0">
                  <a:pos x="369" y="260"/>
                </a:cxn>
                <a:cxn ang="0">
                  <a:pos x="304" y="256"/>
                </a:cxn>
                <a:cxn ang="0">
                  <a:pos x="273" y="228"/>
                </a:cxn>
                <a:cxn ang="0">
                  <a:pos x="194" y="222"/>
                </a:cxn>
                <a:cxn ang="0">
                  <a:pos x="101" y="135"/>
                </a:cxn>
                <a:cxn ang="0">
                  <a:pos x="39" y="115"/>
                </a:cxn>
                <a:cxn ang="0">
                  <a:pos x="0" y="73"/>
                </a:cxn>
                <a:cxn ang="0">
                  <a:pos x="10" y="44"/>
                </a:cxn>
                <a:cxn ang="0">
                  <a:pos x="138" y="0"/>
                </a:cxn>
                <a:cxn ang="0">
                  <a:pos x="194" y="4"/>
                </a:cxn>
                <a:cxn ang="0">
                  <a:pos x="279" y="21"/>
                </a:cxn>
                <a:cxn ang="0">
                  <a:pos x="373" y="31"/>
                </a:cxn>
              </a:cxnLst>
              <a:rect l="0" t="0" r="r" b="b"/>
              <a:pathLst>
                <a:path w="642" h="260">
                  <a:moveTo>
                    <a:pt x="373" y="31"/>
                  </a:moveTo>
                  <a:lnTo>
                    <a:pt x="397" y="35"/>
                  </a:lnTo>
                  <a:lnTo>
                    <a:pt x="450" y="63"/>
                  </a:lnTo>
                  <a:lnTo>
                    <a:pt x="483" y="101"/>
                  </a:lnTo>
                  <a:lnTo>
                    <a:pt x="600" y="104"/>
                  </a:lnTo>
                  <a:lnTo>
                    <a:pt x="642" y="212"/>
                  </a:lnTo>
                  <a:lnTo>
                    <a:pt x="588" y="222"/>
                  </a:lnTo>
                  <a:lnTo>
                    <a:pt x="504" y="197"/>
                  </a:lnTo>
                  <a:lnTo>
                    <a:pt x="442" y="222"/>
                  </a:lnTo>
                  <a:lnTo>
                    <a:pt x="390" y="222"/>
                  </a:lnTo>
                  <a:lnTo>
                    <a:pt x="369" y="260"/>
                  </a:lnTo>
                  <a:lnTo>
                    <a:pt x="304" y="256"/>
                  </a:lnTo>
                  <a:lnTo>
                    <a:pt x="273" y="228"/>
                  </a:lnTo>
                  <a:lnTo>
                    <a:pt x="194" y="222"/>
                  </a:lnTo>
                  <a:lnTo>
                    <a:pt x="101" y="135"/>
                  </a:lnTo>
                  <a:lnTo>
                    <a:pt x="39" y="115"/>
                  </a:lnTo>
                  <a:lnTo>
                    <a:pt x="0" y="73"/>
                  </a:lnTo>
                  <a:lnTo>
                    <a:pt x="10" y="44"/>
                  </a:lnTo>
                  <a:lnTo>
                    <a:pt x="138" y="0"/>
                  </a:lnTo>
                  <a:lnTo>
                    <a:pt x="194" y="4"/>
                  </a:lnTo>
                  <a:lnTo>
                    <a:pt x="279" y="21"/>
                  </a:lnTo>
                  <a:lnTo>
                    <a:pt x="373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96" name="Freeform 331"/>
            <p:cNvSpPr>
              <a:spLocks noChangeAspect="1"/>
            </p:cNvSpPr>
            <p:nvPr/>
          </p:nvSpPr>
          <p:spPr bwMode="gray">
            <a:xfrm rot="20552049">
              <a:off x="4617171" y="3848267"/>
              <a:ext cx="38163" cy="57623"/>
            </a:xfrm>
            <a:custGeom>
              <a:avLst/>
              <a:gdLst/>
              <a:ahLst/>
              <a:cxnLst>
                <a:cxn ang="0">
                  <a:pos x="25" y="17"/>
                </a:cxn>
                <a:cxn ang="0">
                  <a:pos x="119" y="0"/>
                </a:cxn>
                <a:cxn ang="0">
                  <a:pos x="338" y="4"/>
                </a:cxn>
                <a:cxn ang="0">
                  <a:pos x="512" y="76"/>
                </a:cxn>
                <a:cxn ang="0">
                  <a:pos x="614" y="110"/>
                </a:cxn>
                <a:cxn ang="0">
                  <a:pos x="643" y="181"/>
                </a:cxn>
                <a:cxn ang="0">
                  <a:pos x="805" y="193"/>
                </a:cxn>
                <a:cxn ang="0">
                  <a:pos x="825" y="227"/>
                </a:cxn>
                <a:cxn ang="0">
                  <a:pos x="728" y="244"/>
                </a:cxn>
                <a:cxn ang="0">
                  <a:pos x="796" y="294"/>
                </a:cxn>
                <a:cxn ang="0">
                  <a:pos x="977" y="336"/>
                </a:cxn>
                <a:cxn ang="0">
                  <a:pos x="1076" y="404"/>
                </a:cxn>
                <a:cxn ang="0">
                  <a:pos x="1080" y="462"/>
                </a:cxn>
                <a:cxn ang="0">
                  <a:pos x="1012" y="547"/>
                </a:cxn>
                <a:cxn ang="0">
                  <a:pos x="940" y="522"/>
                </a:cxn>
                <a:cxn ang="0">
                  <a:pos x="706" y="483"/>
                </a:cxn>
                <a:cxn ang="0">
                  <a:pos x="551" y="522"/>
                </a:cxn>
                <a:cxn ang="0">
                  <a:pos x="525" y="556"/>
                </a:cxn>
                <a:cxn ang="0">
                  <a:pos x="406" y="589"/>
                </a:cxn>
                <a:cxn ang="0">
                  <a:pos x="369" y="509"/>
                </a:cxn>
                <a:cxn ang="0">
                  <a:pos x="292" y="517"/>
                </a:cxn>
                <a:cxn ang="0">
                  <a:pos x="233" y="584"/>
                </a:cxn>
                <a:cxn ang="0">
                  <a:pos x="174" y="673"/>
                </a:cxn>
                <a:cxn ang="0">
                  <a:pos x="110" y="745"/>
                </a:cxn>
                <a:cxn ang="0">
                  <a:pos x="85" y="733"/>
                </a:cxn>
                <a:cxn ang="0">
                  <a:pos x="42" y="694"/>
                </a:cxn>
                <a:cxn ang="0">
                  <a:pos x="25" y="619"/>
                </a:cxn>
                <a:cxn ang="0">
                  <a:pos x="42" y="531"/>
                </a:cxn>
                <a:cxn ang="0">
                  <a:pos x="0" y="458"/>
                </a:cxn>
                <a:cxn ang="0">
                  <a:pos x="8" y="417"/>
                </a:cxn>
                <a:cxn ang="0">
                  <a:pos x="46" y="290"/>
                </a:cxn>
                <a:cxn ang="0">
                  <a:pos x="77" y="235"/>
                </a:cxn>
                <a:cxn ang="0">
                  <a:pos x="59" y="127"/>
                </a:cxn>
                <a:cxn ang="0">
                  <a:pos x="12" y="38"/>
                </a:cxn>
              </a:cxnLst>
              <a:rect l="0" t="0" r="r" b="b"/>
              <a:pathLst>
                <a:path w="1080" h="745">
                  <a:moveTo>
                    <a:pt x="17" y="29"/>
                  </a:moveTo>
                  <a:lnTo>
                    <a:pt x="25" y="17"/>
                  </a:lnTo>
                  <a:lnTo>
                    <a:pt x="51" y="0"/>
                  </a:lnTo>
                  <a:lnTo>
                    <a:pt x="119" y="0"/>
                  </a:lnTo>
                  <a:lnTo>
                    <a:pt x="183" y="9"/>
                  </a:lnTo>
                  <a:lnTo>
                    <a:pt x="338" y="4"/>
                  </a:lnTo>
                  <a:lnTo>
                    <a:pt x="423" y="29"/>
                  </a:lnTo>
                  <a:lnTo>
                    <a:pt x="512" y="76"/>
                  </a:lnTo>
                  <a:lnTo>
                    <a:pt x="589" y="84"/>
                  </a:lnTo>
                  <a:lnTo>
                    <a:pt x="614" y="110"/>
                  </a:lnTo>
                  <a:lnTo>
                    <a:pt x="632" y="169"/>
                  </a:lnTo>
                  <a:lnTo>
                    <a:pt x="643" y="181"/>
                  </a:lnTo>
                  <a:lnTo>
                    <a:pt x="699" y="193"/>
                  </a:lnTo>
                  <a:lnTo>
                    <a:pt x="805" y="193"/>
                  </a:lnTo>
                  <a:lnTo>
                    <a:pt x="822" y="203"/>
                  </a:lnTo>
                  <a:lnTo>
                    <a:pt x="825" y="227"/>
                  </a:lnTo>
                  <a:lnTo>
                    <a:pt x="779" y="244"/>
                  </a:lnTo>
                  <a:lnTo>
                    <a:pt x="728" y="244"/>
                  </a:lnTo>
                  <a:lnTo>
                    <a:pt x="723" y="269"/>
                  </a:lnTo>
                  <a:lnTo>
                    <a:pt x="796" y="294"/>
                  </a:lnTo>
                  <a:lnTo>
                    <a:pt x="944" y="298"/>
                  </a:lnTo>
                  <a:lnTo>
                    <a:pt x="977" y="336"/>
                  </a:lnTo>
                  <a:lnTo>
                    <a:pt x="1038" y="387"/>
                  </a:lnTo>
                  <a:lnTo>
                    <a:pt x="1076" y="404"/>
                  </a:lnTo>
                  <a:lnTo>
                    <a:pt x="1080" y="417"/>
                  </a:lnTo>
                  <a:lnTo>
                    <a:pt x="1080" y="462"/>
                  </a:lnTo>
                  <a:lnTo>
                    <a:pt x="1055" y="509"/>
                  </a:lnTo>
                  <a:lnTo>
                    <a:pt x="1012" y="547"/>
                  </a:lnTo>
                  <a:lnTo>
                    <a:pt x="969" y="547"/>
                  </a:lnTo>
                  <a:lnTo>
                    <a:pt x="940" y="522"/>
                  </a:lnTo>
                  <a:lnTo>
                    <a:pt x="872" y="496"/>
                  </a:lnTo>
                  <a:lnTo>
                    <a:pt x="706" y="483"/>
                  </a:lnTo>
                  <a:lnTo>
                    <a:pt x="589" y="500"/>
                  </a:lnTo>
                  <a:lnTo>
                    <a:pt x="551" y="522"/>
                  </a:lnTo>
                  <a:lnTo>
                    <a:pt x="538" y="547"/>
                  </a:lnTo>
                  <a:lnTo>
                    <a:pt x="525" y="556"/>
                  </a:lnTo>
                  <a:lnTo>
                    <a:pt x="474" y="576"/>
                  </a:lnTo>
                  <a:lnTo>
                    <a:pt x="406" y="589"/>
                  </a:lnTo>
                  <a:lnTo>
                    <a:pt x="369" y="522"/>
                  </a:lnTo>
                  <a:lnTo>
                    <a:pt x="369" y="509"/>
                  </a:lnTo>
                  <a:lnTo>
                    <a:pt x="322" y="504"/>
                  </a:lnTo>
                  <a:lnTo>
                    <a:pt x="292" y="517"/>
                  </a:lnTo>
                  <a:lnTo>
                    <a:pt x="271" y="534"/>
                  </a:lnTo>
                  <a:lnTo>
                    <a:pt x="233" y="584"/>
                  </a:lnTo>
                  <a:lnTo>
                    <a:pt x="191" y="656"/>
                  </a:lnTo>
                  <a:lnTo>
                    <a:pt x="174" y="673"/>
                  </a:lnTo>
                  <a:lnTo>
                    <a:pt x="170" y="690"/>
                  </a:lnTo>
                  <a:lnTo>
                    <a:pt x="110" y="745"/>
                  </a:lnTo>
                  <a:lnTo>
                    <a:pt x="88" y="745"/>
                  </a:lnTo>
                  <a:lnTo>
                    <a:pt x="85" y="733"/>
                  </a:lnTo>
                  <a:lnTo>
                    <a:pt x="46" y="702"/>
                  </a:lnTo>
                  <a:lnTo>
                    <a:pt x="42" y="694"/>
                  </a:lnTo>
                  <a:lnTo>
                    <a:pt x="42" y="640"/>
                  </a:lnTo>
                  <a:lnTo>
                    <a:pt x="25" y="619"/>
                  </a:lnTo>
                  <a:lnTo>
                    <a:pt x="34" y="606"/>
                  </a:lnTo>
                  <a:lnTo>
                    <a:pt x="42" y="531"/>
                  </a:lnTo>
                  <a:lnTo>
                    <a:pt x="34" y="496"/>
                  </a:lnTo>
                  <a:lnTo>
                    <a:pt x="0" y="458"/>
                  </a:lnTo>
                  <a:lnTo>
                    <a:pt x="0" y="434"/>
                  </a:lnTo>
                  <a:lnTo>
                    <a:pt x="8" y="417"/>
                  </a:lnTo>
                  <a:lnTo>
                    <a:pt x="51" y="384"/>
                  </a:lnTo>
                  <a:lnTo>
                    <a:pt x="46" y="290"/>
                  </a:lnTo>
                  <a:lnTo>
                    <a:pt x="68" y="269"/>
                  </a:lnTo>
                  <a:lnTo>
                    <a:pt x="77" y="235"/>
                  </a:lnTo>
                  <a:lnTo>
                    <a:pt x="51" y="206"/>
                  </a:lnTo>
                  <a:lnTo>
                    <a:pt x="59" y="127"/>
                  </a:lnTo>
                  <a:lnTo>
                    <a:pt x="46" y="80"/>
                  </a:lnTo>
                  <a:lnTo>
                    <a:pt x="12" y="38"/>
                  </a:lnTo>
                  <a:lnTo>
                    <a:pt x="17" y="2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97" name="Freeform 332"/>
            <p:cNvSpPr>
              <a:spLocks noChangeAspect="1"/>
            </p:cNvSpPr>
            <p:nvPr/>
          </p:nvSpPr>
          <p:spPr bwMode="gray">
            <a:xfrm rot="20552049">
              <a:off x="4731661" y="3883190"/>
              <a:ext cx="1591" cy="1747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1" y="4"/>
                </a:cxn>
                <a:cxn ang="0">
                  <a:pos x="0" y="28"/>
                </a:cxn>
                <a:cxn ang="0">
                  <a:pos x="4" y="48"/>
                </a:cxn>
                <a:cxn ang="0">
                  <a:pos x="24" y="53"/>
                </a:cxn>
                <a:cxn ang="0">
                  <a:pos x="52" y="34"/>
                </a:cxn>
                <a:cxn ang="0">
                  <a:pos x="56" y="22"/>
                </a:cxn>
                <a:cxn ang="0">
                  <a:pos x="18" y="0"/>
                </a:cxn>
              </a:cxnLst>
              <a:rect l="0" t="0" r="r" b="b"/>
              <a:pathLst>
                <a:path w="56" h="53">
                  <a:moveTo>
                    <a:pt x="18" y="0"/>
                  </a:moveTo>
                  <a:lnTo>
                    <a:pt x="11" y="4"/>
                  </a:lnTo>
                  <a:lnTo>
                    <a:pt x="0" y="28"/>
                  </a:lnTo>
                  <a:lnTo>
                    <a:pt x="4" y="48"/>
                  </a:lnTo>
                  <a:lnTo>
                    <a:pt x="24" y="53"/>
                  </a:lnTo>
                  <a:lnTo>
                    <a:pt x="52" y="34"/>
                  </a:lnTo>
                  <a:lnTo>
                    <a:pt x="56" y="22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98" name="Freeform 333"/>
            <p:cNvSpPr>
              <a:spLocks noChangeAspect="1"/>
            </p:cNvSpPr>
            <p:nvPr/>
          </p:nvSpPr>
          <p:spPr bwMode="gray">
            <a:xfrm rot="20552049">
              <a:off x="4753923" y="3930335"/>
              <a:ext cx="3180" cy="1222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32" y="7"/>
                </a:cxn>
                <a:cxn ang="0">
                  <a:pos x="66" y="41"/>
                </a:cxn>
                <a:cxn ang="0">
                  <a:pos x="111" y="138"/>
                </a:cxn>
                <a:cxn ang="0">
                  <a:pos x="105" y="145"/>
                </a:cxn>
                <a:cxn ang="0">
                  <a:pos x="66" y="152"/>
                </a:cxn>
                <a:cxn ang="0">
                  <a:pos x="49" y="138"/>
                </a:cxn>
                <a:cxn ang="0">
                  <a:pos x="7" y="47"/>
                </a:cxn>
                <a:cxn ang="0">
                  <a:pos x="0" y="23"/>
                </a:cxn>
                <a:cxn ang="0">
                  <a:pos x="4" y="0"/>
                </a:cxn>
              </a:cxnLst>
              <a:rect l="0" t="0" r="r" b="b"/>
              <a:pathLst>
                <a:path w="111" h="152">
                  <a:moveTo>
                    <a:pt x="4" y="0"/>
                  </a:moveTo>
                  <a:lnTo>
                    <a:pt x="32" y="7"/>
                  </a:lnTo>
                  <a:lnTo>
                    <a:pt x="66" y="41"/>
                  </a:lnTo>
                  <a:lnTo>
                    <a:pt x="111" y="138"/>
                  </a:lnTo>
                  <a:lnTo>
                    <a:pt x="105" y="145"/>
                  </a:lnTo>
                  <a:lnTo>
                    <a:pt x="66" y="152"/>
                  </a:lnTo>
                  <a:lnTo>
                    <a:pt x="49" y="138"/>
                  </a:lnTo>
                  <a:lnTo>
                    <a:pt x="7" y="47"/>
                  </a:lnTo>
                  <a:lnTo>
                    <a:pt x="0" y="2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99" name="Freeform 334"/>
            <p:cNvSpPr>
              <a:spLocks noChangeAspect="1"/>
            </p:cNvSpPr>
            <p:nvPr/>
          </p:nvSpPr>
          <p:spPr bwMode="gray">
            <a:xfrm rot="20552049">
              <a:off x="4777775" y="4015896"/>
              <a:ext cx="3180" cy="5239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51" y="11"/>
                </a:cxn>
                <a:cxn ang="0">
                  <a:pos x="0" y="52"/>
                </a:cxn>
                <a:cxn ang="0">
                  <a:pos x="14" y="63"/>
                </a:cxn>
                <a:cxn ang="0">
                  <a:pos x="62" y="31"/>
                </a:cxn>
                <a:cxn ang="0">
                  <a:pos x="86" y="0"/>
                </a:cxn>
              </a:cxnLst>
              <a:rect l="0" t="0" r="r" b="b"/>
              <a:pathLst>
                <a:path w="86" h="63">
                  <a:moveTo>
                    <a:pt x="86" y="0"/>
                  </a:moveTo>
                  <a:lnTo>
                    <a:pt x="51" y="11"/>
                  </a:lnTo>
                  <a:lnTo>
                    <a:pt x="0" y="52"/>
                  </a:lnTo>
                  <a:lnTo>
                    <a:pt x="14" y="63"/>
                  </a:lnTo>
                  <a:lnTo>
                    <a:pt x="62" y="31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00" name="Freeform 335"/>
            <p:cNvSpPr>
              <a:spLocks noChangeAspect="1"/>
            </p:cNvSpPr>
            <p:nvPr/>
          </p:nvSpPr>
          <p:spPr bwMode="gray">
            <a:xfrm rot="20552049">
              <a:off x="4771414" y="4031611"/>
              <a:ext cx="9541" cy="17461"/>
            </a:xfrm>
            <a:custGeom>
              <a:avLst/>
              <a:gdLst/>
              <a:ahLst/>
              <a:cxnLst>
                <a:cxn ang="0">
                  <a:pos x="287" y="26"/>
                </a:cxn>
                <a:cxn ang="0">
                  <a:pos x="267" y="48"/>
                </a:cxn>
                <a:cxn ang="0">
                  <a:pos x="259" y="106"/>
                </a:cxn>
                <a:cxn ang="0">
                  <a:pos x="267" y="144"/>
                </a:cxn>
                <a:cxn ang="0">
                  <a:pos x="276" y="153"/>
                </a:cxn>
                <a:cxn ang="0">
                  <a:pos x="270" y="204"/>
                </a:cxn>
                <a:cxn ang="0">
                  <a:pos x="233" y="232"/>
                </a:cxn>
                <a:cxn ang="0">
                  <a:pos x="173" y="245"/>
                </a:cxn>
                <a:cxn ang="0">
                  <a:pos x="3" y="245"/>
                </a:cxn>
                <a:cxn ang="0">
                  <a:pos x="0" y="232"/>
                </a:cxn>
                <a:cxn ang="0">
                  <a:pos x="102" y="194"/>
                </a:cxn>
                <a:cxn ang="0">
                  <a:pos x="118" y="156"/>
                </a:cxn>
                <a:cxn ang="0">
                  <a:pos x="128" y="85"/>
                </a:cxn>
                <a:cxn ang="0">
                  <a:pos x="123" y="72"/>
                </a:cxn>
                <a:cxn ang="0">
                  <a:pos x="111" y="65"/>
                </a:cxn>
                <a:cxn ang="0">
                  <a:pos x="77" y="60"/>
                </a:cxn>
                <a:cxn ang="0">
                  <a:pos x="72" y="34"/>
                </a:cxn>
                <a:cxn ang="0">
                  <a:pos x="85" y="34"/>
                </a:cxn>
                <a:cxn ang="0">
                  <a:pos x="111" y="23"/>
                </a:cxn>
                <a:cxn ang="0">
                  <a:pos x="207" y="18"/>
                </a:cxn>
                <a:cxn ang="0">
                  <a:pos x="276" y="0"/>
                </a:cxn>
                <a:cxn ang="0">
                  <a:pos x="287" y="0"/>
                </a:cxn>
                <a:cxn ang="0">
                  <a:pos x="287" y="26"/>
                </a:cxn>
              </a:cxnLst>
              <a:rect l="0" t="0" r="r" b="b"/>
              <a:pathLst>
                <a:path w="287" h="245">
                  <a:moveTo>
                    <a:pt x="287" y="26"/>
                  </a:moveTo>
                  <a:lnTo>
                    <a:pt x="267" y="48"/>
                  </a:lnTo>
                  <a:lnTo>
                    <a:pt x="259" y="106"/>
                  </a:lnTo>
                  <a:lnTo>
                    <a:pt x="267" y="144"/>
                  </a:lnTo>
                  <a:lnTo>
                    <a:pt x="276" y="153"/>
                  </a:lnTo>
                  <a:lnTo>
                    <a:pt x="270" y="204"/>
                  </a:lnTo>
                  <a:lnTo>
                    <a:pt x="233" y="232"/>
                  </a:lnTo>
                  <a:lnTo>
                    <a:pt x="173" y="245"/>
                  </a:lnTo>
                  <a:lnTo>
                    <a:pt x="3" y="245"/>
                  </a:lnTo>
                  <a:lnTo>
                    <a:pt x="0" y="232"/>
                  </a:lnTo>
                  <a:lnTo>
                    <a:pt x="102" y="194"/>
                  </a:lnTo>
                  <a:lnTo>
                    <a:pt x="118" y="156"/>
                  </a:lnTo>
                  <a:lnTo>
                    <a:pt x="128" y="85"/>
                  </a:lnTo>
                  <a:lnTo>
                    <a:pt x="123" y="72"/>
                  </a:lnTo>
                  <a:lnTo>
                    <a:pt x="111" y="65"/>
                  </a:lnTo>
                  <a:lnTo>
                    <a:pt x="77" y="60"/>
                  </a:lnTo>
                  <a:lnTo>
                    <a:pt x="72" y="34"/>
                  </a:lnTo>
                  <a:lnTo>
                    <a:pt x="85" y="34"/>
                  </a:lnTo>
                  <a:lnTo>
                    <a:pt x="111" y="23"/>
                  </a:lnTo>
                  <a:lnTo>
                    <a:pt x="207" y="18"/>
                  </a:lnTo>
                  <a:lnTo>
                    <a:pt x="276" y="0"/>
                  </a:lnTo>
                  <a:lnTo>
                    <a:pt x="287" y="0"/>
                  </a:lnTo>
                  <a:lnTo>
                    <a:pt x="287" y="2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01" name="Freeform 336"/>
            <p:cNvSpPr>
              <a:spLocks noChangeAspect="1"/>
            </p:cNvSpPr>
            <p:nvPr/>
          </p:nvSpPr>
          <p:spPr bwMode="gray">
            <a:xfrm rot="20552049">
              <a:off x="4598089" y="3855252"/>
              <a:ext cx="1591" cy="349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39" y="0"/>
                </a:cxn>
                <a:cxn ang="0">
                  <a:pos x="68" y="20"/>
                </a:cxn>
                <a:cxn ang="0">
                  <a:pos x="63" y="42"/>
                </a:cxn>
                <a:cxn ang="0">
                  <a:pos x="14" y="42"/>
                </a:cxn>
                <a:cxn ang="0">
                  <a:pos x="5" y="34"/>
                </a:cxn>
                <a:cxn ang="0">
                  <a:pos x="0" y="20"/>
                </a:cxn>
                <a:cxn ang="0">
                  <a:pos x="5" y="9"/>
                </a:cxn>
                <a:cxn ang="0">
                  <a:pos x="17" y="9"/>
                </a:cxn>
                <a:cxn ang="0">
                  <a:pos x="26" y="0"/>
                </a:cxn>
              </a:cxnLst>
              <a:rect l="0" t="0" r="r" b="b"/>
              <a:pathLst>
                <a:path w="68" h="42">
                  <a:moveTo>
                    <a:pt x="26" y="0"/>
                  </a:moveTo>
                  <a:lnTo>
                    <a:pt x="39" y="0"/>
                  </a:lnTo>
                  <a:lnTo>
                    <a:pt x="68" y="20"/>
                  </a:lnTo>
                  <a:lnTo>
                    <a:pt x="63" y="42"/>
                  </a:lnTo>
                  <a:lnTo>
                    <a:pt x="14" y="42"/>
                  </a:lnTo>
                  <a:lnTo>
                    <a:pt x="5" y="34"/>
                  </a:lnTo>
                  <a:lnTo>
                    <a:pt x="0" y="20"/>
                  </a:lnTo>
                  <a:lnTo>
                    <a:pt x="5" y="9"/>
                  </a:lnTo>
                  <a:lnTo>
                    <a:pt x="17" y="9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grpSp>
          <p:nvGrpSpPr>
            <p:cNvPr id="102" name="Group 337"/>
            <p:cNvGrpSpPr>
              <a:grpSpLocks noChangeAspect="1"/>
            </p:cNvGrpSpPr>
            <p:nvPr/>
          </p:nvGrpSpPr>
          <p:grpSpPr bwMode="gray">
            <a:xfrm>
              <a:off x="4590138" y="3858744"/>
              <a:ext cx="28623" cy="48892"/>
              <a:chOff x="1694" y="2257"/>
              <a:chExt cx="18" cy="28"/>
            </a:xfrm>
            <a:grpFill/>
          </p:grpSpPr>
          <p:sp>
            <p:nvSpPr>
              <p:cNvPr id="220" name="Freeform 338"/>
              <p:cNvSpPr>
                <a:spLocks noChangeAspect="1"/>
              </p:cNvSpPr>
              <p:nvPr/>
            </p:nvSpPr>
            <p:spPr bwMode="gray">
              <a:xfrm rot="-1047951">
                <a:off x="1701" y="2270"/>
                <a:ext cx="3" cy="4"/>
              </a:xfrm>
              <a:custGeom>
                <a:avLst/>
                <a:gdLst/>
                <a:ahLst/>
                <a:cxnLst>
                  <a:cxn ang="0">
                    <a:pos x="89" y="8"/>
                  </a:cxn>
                  <a:cxn ang="0">
                    <a:pos x="138" y="32"/>
                  </a:cxn>
                  <a:cxn ang="0">
                    <a:pos x="147" y="83"/>
                  </a:cxn>
                  <a:cxn ang="0">
                    <a:pos x="105" y="62"/>
                  </a:cxn>
                  <a:cxn ang="0">
                    <a:pos x="29" y="56"/>
                  </a:cxn>
                  <a:cxn ang="0">
                    <a:pos x="0" y="14"/>
                  </a:cxn>
                  <a:cxn ang="0">
                    <a:pos x="32" y="0"/>
                  </a:cxn>
                  <a:cxn ang="0">
                    <a:pos x="89" y="8"/>
                  </a:cxn>
                </a:cxnLst>
                <a:rect l="0" t="0" r="r" b="b"/>
                <a:pathLst>
                  <a:path w="147" h="83">
                    <a:moveTo>
                      <a:pt x="89" y="8"/>
                    </a:moveTo>
                    <a:lnTo>
                      <a:pt x="138" y="32"/>
                    </a:lnTo>
                    <a:lnTo>
                      <a:pt x="147" y="83"/>
                    </a:lnTo>
                    <a:lnTo>
                      <a:pt x="105" y="62"/>
                    </a:lnTo>
                    <a:lnTo>
                      <a:pt x="29" y="56"/>
                    </a:lnTo>
                    <a:lnTo>
                      <a:pt x="0" y="14"/>
                    </a:lnTo>
                    <a:lnTo>
                      <a:pt x="32" y="0"/>
                    </a:lnTo>
                    <a:lnTo>
                      <a:pt x="89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21" name="Freeform 339"/>
              <p:cNvSpPr>
                <a:spLocks noChangeAspect="1"/>
              </p:cNvSpPr>
              <p:nvPr/>
            </p:nvSpPr>
            <p:spPr bwMode="gray">
              <a:xfrm rot="-1047951">
                <a:off x="1694" y="2257"/>
                <a:ext cx="18" cy="28"/>
              </a:xfrm>
              <a:custGeom>
                <a:avLst/>
                <a:gdLst/>
                <a:ahLst/>
                <a:cxnLst>
                  <a:cxn ang="0">
                    <a:pos x="826" y="627"/>
                  </a:cxn>
                  <a:cxn ang="0">
                    <a:pos x="835" y="614"/>
                  </a:cxn>
                  <a:cxn ang="0">
                    <a:pos x="843" y="539"/>
                  </a:cxn>
                  <a:cxn ang="0">
                    <a:pos x="835" y="504"/>
                  </a:cxn>
                  <a:cxn ang="0">
                    <a:pos x="801" y="466"/>
                  </a:cxn>
                  <a:cxn ang="0">
                    <a:pos x="801" y="442"/>
                  </a:cxn>
                  <a:cxn ang="0">
                    <a:pos x="809" y="425"/>
                  </a:cxn>
                  <a:cxn ang="0">
                    <a:pos x="852" y="392"/>
                  </a:cxn>
                  <a:cxn ang="0">
                    <a:pos x="847" y="298"/>
                  </a:cxn>
                  <a:cxn ang="0">
                    <a:pos x="868" y="277"/>
                  </a:cxn>
                  <a:cxn ang="0">
                    <a:pos x="877" y="243"/>
                  </a:cxn>
                  <a:cxn ang="0">
                    <a:pos x="852" y="214"/>
                  </a:cxn>
                  <a:cxn ang="0">
                    <a:pos x="860" y="135"/>
                  </a:cxn>
                  <a:cxn ang="0">
                    <a:pos x="847" y="88"/>
                  </a:cxn>
                  <a:cxn ang="0">
                    <a:pos x="813" y="46"/>
                  </a:cxn>
                  <a:cxn ang="0">
                    <a:pos x="818" y="37"/>
                  </a:cxn>
                  <a:cxn ang="0">
                    <a:pos x="809" y="37"/>
                  </a:cxn>
                  <a:cxn ang="0">
                    <a:pos x="775" y="63"/>
                  </a:cxn>
                  <a:cxn ang="0">
                    <a:pos x="639" y="67"/>
                  </a:cxn>
                  <a:cxn ang="0">
                    <a:pos x="606" y="59"/>
                  </a:cxn>
                  <a:cxn ang="0">
                    <a:pos x="564" y="29"/>
                  </a:cxn>
                  <a:cxn ang="0">
                    <a:pos x="513" y="8"/>
                  </a:cxn>
                  <a:cxn ang="0">
                    <a:pos x="445" y="0"/>
                  </a:cxn>
                  <a:cxn ang="0">
                    <a:pos x="356" y="17"/>
                  </a:cxn>
                  <a:cxn ang="0">
                    <a:pos x="317" y="37"/>
                  </a:cxn>
                  <a:cxn ang="0">
                    <a:pos x="300" y="63"/>
                  </a:cxn>
                  <a:cxn ang="0">
                    <a:pos x="305" y="101"/>
                  </a:cxn>
                  <a:cxn ang="0">
                    <a:pos x="326" y="109"/>
                  </a:cxn>
                  <a:cxn ang="0">
                    <a:pos x="445" y="109"/>
                  </a:cxn>
                  <a:cxn ang="0">
                    <a:pos x="492" y="135"/>
                  </a:cxn>
                  <a:cxn ang="0">
                    <a:pos x="504" y="172"/>
                  </a:cxn>
                  <a:cxn ang="0">
                    <a:pos x="504" y="298"/>
                  </a:cxn>
                  <a:cxn ang="0">
                    <a:pos x="513" y="327"/>
                  </a:cxn>
                  <a:cxn ang="0">
                    <a:pos x="584" y="387"/>
                  </a:cxn>
                  <a:cxn ang="0">
                    <a:pos x="631" y="412"/>
                  </a:cxn>
                  <a:cxn ang="0">
                    <a:pos x="635" y="442"/>
                  </a:cxn>
                  <a:cxn ang="0">
                    <a:pos x="618" y="459"/>
                  </a:cxn>
                  <a:cxn ang="0">
                    <a:pos x="581" y="459"/>
                  </a:cxn>
                  <a:cxn ang="0">
                    <a:pos x="516" y="476"/>
                  </a:cxn>
                  <a:cxn ang="0">
                    <a:pos x="377" y="479"/>
                  </a:cxn>
                  <a:cxn ang="0">
                    <a:pos x="262" y="466"/>
                  </a:cxn>
                  <a:cxn ang="0">
                    <a:pos x="186" y="445"/>
                  </a:cxn>
                  <a:cxn ang="0">
                    <a:pos x="8" y="445"/>
                  </a:cxn>
                  <a:cxn ang="0">
                    <a:pos x="0" y="459"/>
                  </a:cxn>
                  <a:cxn ang="0">
                    <a:pos x="0" y="491"/>
                  </a:cxn>
                  <a:cxn ang="0">
                    <a:pos x="42" y="550"/>
                  </a:cxn>
                  <a:cxn ang="0">
                    <a:pos x="131" y="589"/>
                  </a:cxn>
                  <a:cxn ang="0">
                    <a:pos x="164" y="623"/>
                  </a:cxn>
                  <a:cxn ang="0">
                    <a:pos x="186" y="614"/>
                  </a:cxn>
                  <a:cxn ang="0">
                    <a:pos x="181" y="584"/>
                  </a:cxn>
                  <a:cxn ang="0">
                    <a:pos x="198" y="567"/>
                  </a:cxn>
                  <a:cxn ang="0">
                    <a:pos x="224" y="555"/>
                  </a:cxn>
                  <a:cxn ang="0">
                    <a:pos x="249" y="555"/>
                  </a:cxn>
                  <a:cxn ang="0">
                    <a:pos x="339" y="559"/>
                  </a:cxn>
                  <a:cxn ang="0">
                    <a:pos x="504" y="601"/>
                  </a:cxn>
                  <a:cxn ang="0">
                    <a:pos x="547" y="597"/>
                  </a:cxn>
                  <a:cxn ang="0">
                    <a:pos x="648" y="567"/>
                  </a:cxn>
                  <a:cxn ang="0">
                    <a:pos x="690" y="567"/>
                  </a:cxn>
                  <a:cxn ang="0">
                    <a:pos x="729" y="575"/>
                  </a:cxn>
                  <a:cxn ang="0">
                    <a:pos x="758" y="592"/>
                  </a:cxn>
                  <a:cxn ang="0">
                    <a:pos x="787" y="601"/>
                  </a:cxn>
                  <a:cxn ang="0">
                    <a:pos x="821" y="617"/>
                  </a:cxn>
                  <a:cxn ang="0">
                    <a:pos x="826" y="627"/>
                  </a:cxn>
                </a:cxnLst>
                <a:rect l="0" t="0" r="r" b="b"/>
                <a:pathLst>
                  <a:path w="877" h="627">
                    <a:moveTo>
                      <a:pt x="826" y="627"/>
                    </a:moveTo>
                    <a:lnTo>
                      <a:pt x="835" y="614"/>
                    </a:lnTo>
                    <a:lnTo>
                      <a:pt x="843" y="539"/>
                    </a:lnTo>
                    <a:lnTo>
                      <a:pt x="835" y="504"/>
                    </a:lnTo>
                    <a:lnTo>
                      <a:pt x="801" y="466"/>
                    </a:lnTo>
                    <a:lnTo>
                      <a:pt x="801" y="442"/>
                    </a:lnTo>
                    <a:lnTo>
                      <a:pt x="809" y="425"/>
                    </a:lnTo>
                    <a:lnTo>
                      <a:pt x="852" y="392"/>
                    </a:lnTo>
                    <a:lnTo>
                      <a:pt x="847" y="298"/>
                    </a:lnTo>
                    <a:lnTo>
                      <a:pt x="868" y="277"/>
                    </a:lnTo>
                    <a:lnTo>
                      <a:pt x="877" y="243"/>
                    </a:lnTo>
                    <a:lnTo>
                      <a:pt x="852" y="214"/>
                    </a:lnTo>
                    <a:lnTo>
                      <a:pt x="860" y="135"/>
                    </a:lnTo>
                    <a:lnTo>
                      <a:pt x="847" y="88"/>
                    </a:lnTo>
                    <a:lnTo>
                      <a:pt x="813" y="46"/>
                    </a:lnTo>
                    <a:lnTo>
                      <a:pt x="818" y="37"/>
                    </a:lnTo>
                    <a:lnTo>
                      <a:pt x="809" y="37"/>
                    </a:lnTo>
                    <a:lnTo>
                      <a:pt x="775" y="63"/>
                    </a:lnTo>
                    <a:lnTo>
                      <a:pt x="639" y="67"/>
                    </a:lnTo>
                    <a:lnTo>
                      <a:pt x="606" y="59"/>
                    </a:lnTo>
                    <a:lnTo>
                      <a:pt x="564" y="29"/>
                    </a:lnTo>
                    <a:lnTo>
                      <a:pt x="513" y="8"/>
                    </a:lnTo>
                    <a:lnTo>
                      <a:pt x="445" y="0"/>
                    </a:lnTo>
                    <a:lnTo>
                      <a:pt x="356" y="17"/>
                    </a:lnTo>
                    <a:lnTo>
                      <a:pt x="317" y="37"/>
                    </a:lnTo>
                    <a:lnTo>
                      <a:pt x="300" y="63"/>
                    </a:lnTo>
                    <a:lnTo>
                      <a:pt x="305" y="101"/>
                    </a:lnTo>
                    <a:lnTo>
                      <a:pt x="326" y="109"/>
                    </a:lnTo>
                    <a:lnTo>
                      <a:pt x="445" y="109"/>
                    </a:lnTo>
                    <a:lnTo>
                      <a:pt x="492" y="135"/>
                    </a:lnTo>
                    <a:lnTo>
                      <a:pt x="504" y="172"/>
                    </a:lnTo>
                    <a:lnTo>
                      <a:pt x="504" y="298"/>
                    </a:lnTo>
                    <a:lnTo>
                      <a:pt x="513" y="327"/>
                    </a:lnTo>
                    <a:lnTo>
                      <a:pt x="584" y="387"/>
                    </a:lnTo>
                    <a:lnTo>
                      <a:pt x="631" y="412"/>
                    </a:lnTo>
                    <a:lnTo>
                      <a:pt x="635" y="442"/>
                    </a:lnTo>
                    <a:lnTo>
                      <a:pt x="618" y="459"/>
                    </a:lnTo>
                    <a:lnTo>
                      <a:pt x="581" y="459"/>
                    </a:lnTo>
                    <a:lnTo>
                      <a:pt x="516" y="476"/>
                    </a:lnTo>
                    <a:lnTo>
                      <a:pt x="377" y="479"/>
                    </a:lnTo>
                    <a:lnTo>
                      <a:pt x="262" y="466"/>
                    </a:lnTo>
                    <a:lnTo>
                      <a:pt x="186" y="445"/>
                    </a:lnTo>
                    <a:lnTo>
                      <a:pt x="8" y="445"/>
                    </a:lnTo>
                    <a:lnTo>
                      <a:pt x="0" y="459"/>
                    </a:lnTo>
                    <a:lnTo>
                      <a:pt x="0" y="491"/>
                    </a:lnTo>
                    <a:lnTo>
                      <a:pt x="42" y="550"/>
                    </a:lnTo>
                    <a:lnTo>
                      <a:pt x="131" y="589"/>
                    </a:lnTo>
                    <a:lnTo>
                      <a:pt x="164" y="623"/>
                    </a:lnTo>
                    <a:lnTo>
                      <a:pt x="186" y="614"/>
                    </a:lnTo>
                    <a:lnTo>
                      <a:pt x="181" y="584"/>
                    </a:lnTo>
                    <a:lnTo>
                      <a:pt x="198" y="567"/>
                    </a:lnTo>
                    <a:lnTo>
                      <a:pt x="224" y="555"/>
                    </a:lnTo>
                    <a:lnTo>
                      <a:pt x="249" y="555"/>
                    </a:lnTo>
                    <a:lnTo>
                      <a:pt x="339" y="559"/>
                    </a:lnTo>
                    <a:lnTo>
                      <a:pt x="504" y="601"/>
                    </a:lnTo>
                    <a:lnTo>
                      <a:pt x="547" y="597"/>
                    </a:lnTo>
                    <a:lnTo>
                      <a:pt x="648" y="567"/>
                    </a:lnTo>
                    <a:lnTo>
                      <a:pt x="690" y="567"/>
                    </a:lnTo>
                    <a:lnTo>
                      <a:pt x="729" y="575"/>
                    </a:lnTo>
                    <a:lnTo>
                      <a:pt x="758" y="592"/>
                    </a:lnTo>
                    <a:lnTo>
                      <a:pt x="787" y="601"/>
                    </a:lnTo>
                    <a:lnTo>
                      <a:pt x="821" y="617"/>
                    </a:lnTo>
                    <a:lnTo>
                      <a:pt x="826" y="62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</p:grpSp>
        <p:sp>
          <p:nvSpPr>
            <p:cNvPr id="103" name="Freeform 340"/>
            <p:cNvSpPr>
              <a:spLocks noChangeAspect="1"/>
            </p:cNvSpPr>
            <p:nvPr/>
          </p:nvSpPr>
          <p:spPr bwMode="gray">
            <a:xfrm rot="20552049">
              <a:off x="4668055" y="3869221"/>
              <a:ext cx="15901" cy="13969"/>
            </a:xfrm>
            <a:custGeom>
              <a:avLst/>
              <a:gdLst/>
              <a:ahLst/>
              <a:cxnLst>
                <a:cxn ang="0">
                  <a:pos x="442" y="20"/>
                </a:cxn>
                <a:cxn ang="0">
                  <a:pos x="462" y="54"/>
                </a:cxn>
                <a:cxn ang="0">
                  <a:pos x="471" y="99"/>
                </a:cxn>
                <a:cxn ang="0">
                  <a:pos x="425" y="141"/>
                </a:cxn>
                <a:cxn ang="0">
                  <a:pos x="393" y="159"/>
                </a:cxn>
                <a:cxn ang="0">
                  <a:pos x="292" y="180"/>
                </a:cxn>
                <a:cxn ang="0">
                  <a:pos x="224" y="180"/>
                </a:cxn>
                <a:cxn ang="0">
                  <a:pos x="156" y="172"/>
                </a:cxn>
                <a:cxn ang="0">
                  <a:pos x="51" y="176"/>
                </a:cxn>
                <a:cxn ang="0">
                  <a:pos x="42" y="172"/>
                </a:cxn>
                <a:cxn ang="0">
                  <a:pos x="30" y="113"/>
                </a:cxn>
                <a:cxn ang="0">
                  <a:pos x="0" y="66"/>
                </a:cxn>
                <a:cxn ang="0">
                  <a:pos x="0" y="23"/>
                </a:cxn>
                <a:cxn ang="0">
                  <a:pos x="30" y="0"/>
                </a:cxn>
                <a:cxn ang="0">
                  <a:pos x="385" y="0"/>
                </a:cxn>
                <a:cxn ang="0">
                  <a:pos x="416" y="3"/>
                </a:cxn>
                <a:cxn ang="0">
                  <a:pos x="437" y="11"/>
                </a:cxn>
                <a:cxn ang="0">
                  <a:pos x="442" y="20"/>
                </a:cxn>
              </a:cxnLst>
              <a:rect l="0" t="0" r="r" b="b"/>
              <a:pathLst>
                <a:path w="471" h="180">
                  <a:moveTo>
                    <a:pt x="442" y="20"/>
                  </a:moveTo>
                  <a:lnTo>
                    <a:pt x="462" y="54"/>
                  </a:lnTo>
                  <a:lnTo>
                    <a:pt x="471" y="99"/>
                  </a:lnTo>
                  <a:lnTo>
                    <a:pt x="425" y="141"/>
                  </a:lnTo>
                  <a:lnTo>
                    <a:pt x="393" y="159"/>
                  </a:lnTo>
                  <a:lnTo>
                    <a:pt x="292" y="180"/>
                  </a:lnTo>
                  <a:lnTo>
                    <a:pt x="224" y="180"/>
                  </a:lnTo>
                  <a:lnTo>
                    <a:pt x="156" y="172"/>
                  </a:lnTo>
                  <a:lnTo>
                    <a:pt x="51" y="176"/>
                  </a:lnTo>
                  <a:lnTo>
                    <a:pt x="42" y="172"/>
                  </a:lnTo>
                  <a:lnTo>
                    <a:pt x="30" y="113"/>
                  </a:lnTo>
                  <a:lnTo>
                    <a:pt x="0" y="66"/>
                  </a:lnTo>
                  <a:lnTo>
                    <a:pt x="0" y="23"/>
                  </a:lnTo>
                  <a:lnTo>
                    <a:pt x="30" y="0"/>
                  </a:lnTo>
                  <a:lnTo>
                    <a:pt x="385" y="0"/>
                  </a:lnTo>
                  <a:lnTo>
                    <a:pt x="416" y="3"/>
                  </a:lnTo>
                  <a:lnTo>
                    <a:pt x="437" y="11"/>
                  </a:lnTo>
                  <a:lnTo>
                    <a:pt x="442" y="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04" name="Freeform 341"/>
            <p:cNvSpPr>
              <a:spLocks noChangeAspect="1"/>
            </p:cNvSpPr>
            <p:nvPr/>
          </p:nvSpPr>
          <p:spPr bwMode="gray">
            <a:xfrm rot="20552049">
              <a:off x="4765054" y="3970497"/>
              <a:ext cx="0" cy="5239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0" y="7"/>
                </a:cxn>
                <a:cxn ang="0">
                  <a:pos x="0" y="76"/>
                </a:cxn>
                <a:cxn ang="0">
                  <a:pos x="14" y="59"/>
                </a:cxn>
                <a:cxn ang="0">
                  <a:pos x="14" y="0"/>
                </a:cxn>
              </a:cxnLst>
              <a:rect l="0" t="0" r="r" b="b"/>
              <a:pathLst>
                <a:path w="14" h="76">
                  <a:moveTo>
                    <a:pt x="14" y="0"/>
                  </a:moveTo>
                  <a:lnTo>
                    <a:pt x="0" y="7"/>
                  </a:lnTo>
                  <a:lnTo>
                    <a:pt x="0" y="76"/>
                  </a:lnTo>
                  <a:lnTo>
                    <a:pt x="14" y="59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05" name="Freeform 342"/>
            <p:cNvSpPr>
              <a:spLocks noChangeAspect="1"/>
            </p:cNvSpPr>
            <p:nvPr/>
          </p:nvSpPr>
          <p:spPr bwMode="gray">
            <a:xfrm rot="20552049">
              <a:off x="4738022" y="3897159"/>
              <a:ext cx="4771" cy="12223"/>
            </a:xfrm>
            <a:custGeom>
              <a:avLst/>
              <a:gdLst/>
              <a:ahLst/>
              <a:cxnLst>
                <a:cxn ang="0">
                  <a:pos x="122" y="0"/>
                </a:cxn>
                <a:cxn ang="0">
                  <a:pos x="98" y="4"/>
                </a:cxn>
                <a:cxn ang="0">
                  <a:pos x="81" y="52"/>
                </a:cxn>
                <a:cxn ang="0">
                  <a:pos x="17" y="45"/>
                </a:cxn>
                <a:cxn ang="0">
                  <a:pos x="0" y="104"/>
                </a:cxn>
                <a:cxn ang="0">
                  <a:pos x="8" y="160"/>
                </a:cxn>
                <a:cxn ang="0">
                  <a:pos x="53" y="163"/>
                </a:cxn>
                <a:cxn ang="0">
                  <a:pos x="70" y="104"/>
                </a:cxn>
                <a:cxn ang="0">
                  <a:pos x="83" y="93"/>
                </a:cxn>
                <a:cxn ang="0">
                  <a:pos x="132" y="91"/>
                </a:cxn>
                <a:cxn ang="0">
                  <a:pos x="173" y="74"/>
                </a:cxn>
                <a:cxn ang="0">
                  <a:pos x="166" y="52"/>
                </a:cxn>
                <a:cxn ang="0">
                  <a:pos x="135" y="38"/>
                </a:cxn>
                <a:cxn ang="0">
                  <a:pos x="122" y="0"/>
                </a:cxn>
              </a:cxnLst>
              <a:rect l="0" t="0" r="r" b="b"/>
              <a:pathLst>
                <a:path w="173" h="163">
                  <a:moveTo>
                    <a:pt x="122" y="0"/>
                  </a:moveTo>
                  <a:lnTo>
                    <a:pt x="98" y="4"/>
                  </a:lnTo>
                  <a:lnTo>
                    <a:pt x="81" y="52"/>
                  </a:lnTo>
                  <a:lnTo>
                    <a:pt x="17" y="45"/>
                  </a:lnTo>
                  <a:lnTo>
                    <a:pt x="0" y="104"/>
                  </a:lnTo>
                  <a:lnTo>
                    <a:pt x="8" y="160"/>
                  </a:lnTo>
                  <a:lnTo>
                    <a:pt x="53" y="163"/>
                  </a:lnTo>
                  <a:lnTo>
                    <a:pt x="70" y="104"/>
                  </a:lnTo>
                  <a:lnTo>
                    <a:pt x="83" y="93"/>
                  </a:lnTo>
                  <a:lnTo>
                    <a:pt x="132" y="91"/>
                  </a:lnTo>
                  <a:lnTo>
                    <a:pt x="173" y="74"/>
                  </a:lnTo>
                  <a:lnTo>
                    <a:pt x="166" y="52"/>
                  </a:lnTo>
                  <a:lnTo>
                    <a:pt x="135" y="38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06" name="Freeform 343"/>
            <p:cNvSpPr>
              <a:spLocks noChangeAspect="1"/>
            </p:cNvSpPr>
            <p:nvPr/>
          </p:nvSpPr>
          <p:spPr bwMode="gray">
            <a:xfrm rot="20552049">
              <a:off x="4691907" y="3865729"/>
              <a:ext cx="0" cy="1747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0" y="21"/>
                </a:cxn>
                <a:cxn ang="0">
                  <a:pos x="3" y="39"/>
                </a:cxn>
                <a:cxn ang="0">
                  <a:pos x="28" y="32"/>
                </a:cxn>
                <a:cxn ang="0">
                  <a:pos x="28" y="0"/>
                </a:cxn>
              </a:cxnLst>
              <a:rect l="0" t="0" r="r" b="b"/>
              <a:pathLst>
                <a:path w="28" h="39">
                  <a:moveTo>
                    <a:pt x="28" y="0"/>
                  </a:moveTo>
                  <a:lnTo>
                    <a:pt x="0" y="21"/>
                  </a:lnTo>
                  <a:lnTo>
                    <a:pt x="3" y="39"/>
                  </a:lnTo>
                  <a:lnTo>
                    <a:pt x="28" y="32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07" name="Freeform 344"/>
            <p:cNvSpPr>
              <a:spLocks noChangeAspect="1"/>
            </p:cNvSpPr>
            <p:nvPr/>
          </p:nvSpPr>
          <p:spPr bwMode="gray">
            <a:xfrm rot="20552049">
              <a:off x="4695087" y="3879698"/>
              <a:ext cx="1591" cy="3492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0" y="17"/>
                </a:cxn>
                <a:cxn ang="0">
                  <a:pos x="6" y="34"/>
                </a:cxn>
                <a:cxn ang="0">
                  <a:pos x="42" y="0"/>
                </a:cxn>
                <a:cxn ang="0">
                  <a:pos x="6" y="8"/>
                </a:cxn>
              </a:cxnLst>
              <a:rect l="0" t="0" r="r" b="b"/>
              <a:pathLst>
                <a:path w="42" h="34">
                  <a:moveTo>
                    <a:pt x="6" y="8"/>
                  </a:moveTo>
                  <a:lnTo>
                    <a:pt x="0" y="17"/>
                  </a:lnTo>
                  <a:lnTo>
                    <a:pt x="6" y="34"/>
                  </a:lnTo>
                  <a:lnTo>
                    <a:pt x="42" y="0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08" name="Freeform 345"/>
            <p:cNvSpPr>
              <a:spLocks noChangeAspect="1"/>
            </p:cNvSpPr>
            <p:nvPr/>
          </p:nvSpPr>
          <p:spPr bwMode="gray">
            <a:xfrm rot="20552049">
              <a:off x="4745972" y="3916366"/>
              <a:ext cx="3180" cy="873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0"/>
                </a:cxn>
                <a:cxn ang="0">
                  <a:pos x="0" y="86"/>
                </a:cxn>
                <a:cxn ang="0">
                  <a:pos x="14" y="124"/>
                </a:cxn>
                <a:cxn ang="0">
                  <a:pos x="42" y="124"/>
                </a:cxn>
                <a:cxn ang="0">
                  <a:pos x="52" y="90"/>
                </a:cxn>
                <a:cxn ang="0">
                  <a:pos x="49" y="20"/>
                </a:cxn>
                <a:cxn ang="0">
                  <a:pos x="18" y="0"/>
                </a:cxn>
              </a:cxnLst>
              <a:rect l="0" t="0" r="r" b="b"/>
              <a:pathLst>
                <a:path w="52" h="124">
                  <a:moveTo>
                    <a:pt x="18" y="0"/>
                  </a:moveTo>
                  <a:lnTo>
                    <a:pt x="0" y="0"/>
                  </a:lnTo>
                  <a:lnTo>
                    <a:pt x="0" y="86"/>
                  </a:lnTo>
                  <a:lnTo>
                    <a:pt x="14" y="124"/>
                  </a:lnTo>
                  <a:lnTo>
                    <a:pt x="42" y="124"/>
                  </a:lnTo>
                  <a:lnTo>
                    <a:pt x="52" y="90"/>
                  </a:lnTo>
                  <a:lnTo>
                    <a:pt x="49" y="2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09" name="Freeform 346"/>
            <p:cNvSpPr>
              <a:spLocks noChangeAspect="1"/>
            </p:cNvSpPr>
            <p:nvPr/>
          </p:nvSpPr>
          <p:spPr bwMode="gray">
            <a:xfrm rot="20552049">
              <a:off x="4765054" y="3998435"/>
              <a:ext cx="1591" cy="5239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17" y="14"/>
                </a:cxn>
                <a:cxn ang="0">
                  <a:pos x="0" y="62"/>
                </a:cxn>
                <a:cxn ang="0">
                  <a:pos x="38" y="41"/>
                </a:cxn>
                <a:cxn ang="0">
                  <a:pos x="49" y="0"/>
                </a:cxn>
              </a:cxnLst>
              <a:rect l="0" t="0" r="r" b="b"/>
              <a:pathLst>
                <a:path w="49" h="62">
                  <a:moveTo>
                    <a:pt x="49" y="0"/>
                  </a:moveTo>
                  <a:lnTo>
                    <a:pt x="17" y="14"/>
                  </a:lnTo>
                  <a:lnTo>
                    <a:pt x="0" y="62"/>
                  </a:lnTo>
                  <a:lnTo>
                    <a:pt x="38" y="41"/>
                  </a:lnTo>
                  <a:lnTo>
                    <a:pt x="4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10" name="Freeform 347"/>
            <p:cNvSpPr>
              <a:spLocks noChangeAspect="1"/>
            </p:cNvSpPr>
            <p:nvPr/>
          </p:nvSpPr>
          <p:spPr bwMode="gray">
            <a:xfrm rot="20552049">
              <a:off x="4459747" y="3806360"/>
              <a:ext cx="117670" cy="85561"/>
            </a:xfrm>
            <a:custGeom>
              <a:avLst/>
              <a:gdLst/>
              <a:ahLst/>
              <a:cxnLst>
                <a:cxn ang="0">
                  <a:pos x="2488" y="571"/>
                </a:cxn>
                <a:cxn ang="0">
                  <a:pos x="2639" y="644"/>
                </a:cxn>
                <a:cxn ang="0">
                  <a:pos x="2750" y="689"/>
                </a:cxn>
                <a:cxn ang="0">
                  <a:pos x="2869" y="689"/>
                </a:cxn>
                <a:cxn ang="0">
                  <a:pos x="2865" y="787"/>
                </a:cxn>
                <a:cxn ang="0">
                  <a:pos x="2916" y="820"/>
                </a:cxn>
                <a:cxn ang="0">
                  <a:pos x="3170" y="871"/>
                </a:cxn>
                <a:cxn ang="0">
                  <a:pos x="3309" y="951"/>
                </a:cxn>
                <a:cxn ang="0">
                  <a:pos x="3137" y="1073"/>
                </a:cxn>
                <a:cxn ang="0">
                  <a:pos x="2908" y="1111"/>
                </a:cxn>
                <a:cxn ang="0">
                  <a:pos x="2531" y="1086"/>
                </a:cxn>
                <a:cxn ang="0">
                  <a:pos x="2269" y="1123"/>
                </a:cxn>
                <a:cxn ang="0">
                  <a:pos x="2255" y="1069"/>
                </a:cxn>
                <a:cxn ang="0">
                  <a:pos x="2449" y="951"/>
                </a:cxn>
                <a:cxn ang="0">
                  <a:pos x="2416" y="880"/>
                </a:cxn>
                <a:cxn ang="0">
                  <a:pos x="2107" y="803"/>
                </a:cxn>
                <a:cxn ang="0">
                  <a:pos x="1989" y="660"/>
                </a:cxn>
                <a:cxn ang="0">
                  <a:pos x="1832" y="547"/>
                </a:cxn>
                <a:cxn ang="0">
                  <a:pos x="1675" y="534"/>
                </a:cxn>
                <a:cxn ang="0">
                  <a:pos x="1405" y="412"/>
                </a:cxn>
                <a:cxn ang="0">
                  <a:pos x="1184" y="366"/>
                </a:cxn>
                <a:cxn ang="0">
                  <a:pos x="1091" y="383"/>
                </a:cxn>
                <a:cxn ang="0">
                  <a:pos x="955" y="353"/>
                </a:cxn>
                <a:cxn ang="0">
                  <a:pos x="870" y="293"/>
                </a:cxn>
                <a:cxn ang="0">
                  <a:pos x="990" y="231"/>
                </a:cxn>
                <a:cxn ang="0">
                  <a:pos x="929" y="189"/>
                </a:cxn>
                <a:cxn ang="0">
                  <a:pos x="604" y="205"/>
                </a:cxn>
                <a:cxn ang="0">
                  <a:pos x="451" y="325"/>
                </a:cxn>
                <a:cxn ang="0">
                  <a:pos x="281" y="403"/>
                </a:cxn>
                <a:cxn ang="0">
                  <a:pos x="129" y="482"/>
                </a:cxn>
                <a:cxn ang="0">
                  <a:pos x="99" y="449"/>
                </a:cxn>
                <a:cxn ang="0">
                  <a:pos x="78" y="396"/>
                </a:cxn>
                <a:cxn ang="0">
                  <a:pos x="147" y="366"/>
                </a:cxn>
                <a:cxn ang="0">
                  <a:pos x="238" y="176"/>
                </a:cxn>
                <a:cxn ang="0">
                  <a:pos x="454" y="79"/>
                </a:cxn>
                <a:cxn ang="0">
                  <a:pos x="1003" y="0"/>
                </a:cxn>
                <a:cxn ang="0">
                  <a:pos x="1295" y="20"/>
                </a:cxn>
                <a:cxn ang="0">
                  <a:pos x="1490" y="62"/>
                </a:cxn>
                <a:cxn ang="0">
                  <a:pos x="1637" y="189"/>
                </a:cxn>
                <a:cxn ang="0">
                  <a:pos x="1879" y="251"/>
                </a:cxn>
                <a:cxn ang="0">
                  <a:pos x="1985" y="293"/>
                </a:cxn>
                <a:cxn ang="0">
                  <a:pos x="1989" y="325"/>
                </a:cxn>
                <a:cxn ang="0">
                  <a:pos x="2167" y="429"/>
                </a:cxn>
                <a:cxn ang="0">
                  <a:pos x="2394" y="508"/>
                </a:cxn>
              </a:cxnLst>
              <a:rect l="0" t="0" r="r" b="b"/>
              <a:pathLst>
                <a:path w="3347" h="1123">
                  <a:moveTo>
                    <a:pt x="2394" y="508"/>
                  </a:moveTo>
                  <a:lnTo>
                    <a:pt x="2399" y="517"/>
                  </a:lnTo>
                  <a:lnTo>
                    <a:pt x="2488" y="571"/>
                  </a:lnTo>
                  <a:lnTo>
                    <a:pt x="2559" y="627"/>
                  </a:lnTo>
                  <a:lnTo>
                    <a:pt x="2605" y="644"/>
                  </a:lnTo>
                  <a:lnTo>
                    <a:pt x="2639" y="644"/>
                  </a:lnTo>
                  <a:lnTo>
                    <a:pt x="2665" y="652"/>
                  </a:lnTo>
                  <a:lnTo>
                    <a:pt x="2687" y="669"/>
                  </a:lnTo>
                  <a:lnTo>
                    <a:pt x="2750" y="689"/>
                  </a:lnTo>
                  <a:lnTo>
                    <a:pt x="2793" y="689"/>
                  </a:lnTo>
                  <a:lnTo>
                    <a:pt x="2835" y="680"/>
                  </a:lnTo>
                  <a:lnTo>
                    <a:pt x="2869" y="689"/>
                  </a:lnTo>
                  <a:lnTo>
                    <a:pt x="2886" y="719"/>
                  </a:lnTo>
                  <a:lnTo>
                    <a:pt x="2886" y="744"/>
                  </a:lnTo>
                  <a:lnTo>
                    <a:pt x="2865" y="787"/>
                  </a:lnTo>
                  <a:lnTo>
                    <a:pt x="2865" y="803"/>
                  </a:lnTo>
                  <a:lnTo>
                    <a:pt x="2874" y="811"/>
                  </a:lnTo>
                  <a:lnTo>
                    <a:pt x="2916" y="820"/>
                  </a:lnTo>
                  <a:lnTo>
                    <a:pt x="3094" y="816"/>
                  </a:lnTo>
                  <a:lnTo>
                    <a:pt x="3128" y="828"/>
                  </a:lnTo>
                  <a:lnTo>
                    <a:pt x="3170" y="871"/>
                  </a:lnTo>
                  <a:lnTo>
                    <a:pt x="3182" y="891"/>
                  </a:lnTo>
                  <a:lnTo>
                    <a:pt x="3259" y="947"/>
                  </a:lnTo>
                  <a:lnTo>
                    <a:pt x="3309" y="951"/>
                  </a:lnTo>
                  <a:lnTo>
                    <a:pt x="3343" y="964"/>
                  </a:lnTo>
                  <a:lnTo>
                    <a:pt x="3347" y="1002"/>
                  </a:lnTo>
                  <a:lnTo>
                    <a:pt x="3137" y="1073"/>
                  </a:lnTo>
                  <a:lnTo>
                    <a:pt x="3072" y="1103"/>
                  </a:lnTo>
                  <a:lnTo>
                    <a:pt x="2996" y="1115"/>
                  </a:lnTo>
                  <a:lnTo>
                    <a:pt x="2908" y="1111"/>
                  </a:lnTo>
                  <a:lnTo>
                    <a:pt x="2852" y="1094"/>
                  </a:lnTo>
                  <a:lnTo>
                    <a:pt x="2793" y="1090"/>
                  </a:lnTo>
                  <a:lnTo>
                    <a:pt x="2531" y="1086"/>
                  </a:lnTo>
                  <a:lnTo>
                    <a:pt x="2394" y="1103"/>
                  </a:lnTo>
                  <a:lnTo>
                    <a:pt x="2314" y="1123"/>
                  </a:lnTo>
                  <a:lnTo>
                    <a:pt x="2269" y="1123"/>
                  </a:lnTo>
                  <a:lnTo>
                    <a:pt x="2243" y="1115"/>
                  </a:lnTo>
                  <a:lnTo>
                    <a:pt x="2235" y="1094"/>
                  </a:lnTo>
                  <a:lnTo>
                    <a:pt x="2255" y="1069"/>
                  </a:lnTo>
                  <a:lnTo>
                    <a:pt x="2314" y="1019"/>
                  </a:lnTo>
                  <a:lnTo>
                    <a:pt x="2373" y="985"/>
                  </a:lnTo>
                  <a:lnTo>
                    <a:pt x="2449" y="951"/>
                  </a:lnTo>
                  <a:lnTo>
                    <a:pt x="2457" y="917"/>
                  </a:lnTo>
                  <a:lnTo>
                    <a:pt x="2454" y="900"/>
                  </a:lnTo>
                  <a:lnTo>
                    <a:pt x="2416" y="880"/>
                  </a:lnTo>
                  <a:lnTo>
                    <a:pt x="2319" y="849"/>
                  </a:lnTo>
                  <a:lnTo>
                    <a:pt x="2141" y="837"/>
                  </a:lnTo>
                  <a:lnTo>
                    <a:pt x="2107" y="803"/>
                  </a:lnTo>
                  <a:lnTo>
                    <a:pt x="2056" y="770"/>
                  </a:lnTo>
                  <a:lnTo>
                    <a:pt x="2019" y="727"/>
                  </a:lnTo>
                  <a:lnTo>
                    <a:pt x="1989" y="660"/>
                  </a:lnTo>
                  <a:lnTo>
                    <a:pt x="1977" y="606"/>
                  </a:lnTo>
                  <a:lnTo>
                    <a:pt x="1938" y="560"/>
                  </a:lnTo>
                  <a:lnTo>
                    <a:pt x="1832" y="547"/>
                  </a:lnTo>
                  <a:lnTo>
                    <a:pt x="1734" y="551"/>
                  </a:lnTo>
                  <a:lnTo>
                    <a:pt x="1700" y="547"/>
                  </a:lnTo>
                  <a:lnTo>
                    <a:pt x="1675" y="534"/>
                  </a:lnTo>
                  <a:lnTo>
                    <a:pt x="1564" y="513"/>
                  </a:lnTo>
                  <a:lnTo>
                    <a:pt x="1473" y="472"/>
                  </a:lnTo>
                  <a:lnTo>
                    <a:pt x="1405" y="412"/>
                  </a:lnTo>
                  <a:lnTo>
                    <a:pt x="1354" y="387"/>
                  </a:lnTo>
                  <a:lnTo>
                    <a:pt x="1222" y="383"/>
                  </a:lnTo>
                  <a:lnTo>
                    <a:pt x="1184" y="366"/>
                  </a:lnTo>
                  <a:lnTo>
                    <a:pt x="1159" y="366"/>
                  </a:lnTo>
                  <a:lnTo>
                    <a:pt x="1129" y="378"/>
                  </a:lnTo>
                  <a:lnTo>
                    <a:pt x="1091" y="383"/>
                  </a:lnTo>
                  <a:lnTo>
                    <a:pt x="1049" y="370"/>
                  </a:lnTo>
                  <a:lnTo>
                    <a:pt x="1037" y="358"/>
                  </a:lnTo>
                  <a:lnTo>
                    <a:pt x="955" y="353"/>
                  </a:lnTo>
                  <a:lnTo>
                    <a:pt x="904" y="341"/>
                  </a:lnTo>
                  <a:lnTo>
                    <a:pt x="887" y="327"/>
                  </a:lnTo>
                  <a:lnTo>
                    <a:pt x="870" y="293"/>
                  </a:lnTo>
                  <a:lnTo>
                    <a:pt x="870" y="276"/>
                  </a:lnTo>
                  <a:lnTo>
                    <a:pt x="972" y="251"/>
                  </a:lnTo>
                  <a:lnTo>
                    <a:pt x="990" y="231"/>
                  </a:lnTo>
                  <a:lnTo>
                    <a:pt x="981" y="209"/>
                  </a:lnTo>
                  <a:lnTo>
                    <a:pt x="943" y="201"/>
                  </a:lnTo>
                  <a:lnTo>
                    <a:pt x="929" y="189"/>
                  </a:lnTo>
                  <a:lnTo>
                    <a:pt x="718" y="167"/>
                  </a:lnTo>
                  <a:lnTo>
                    <a:pt x="658" y="172"/>
                  </a:lnTo>
                  <a:lnTo>
                    <a:pt x="604" y="205"/>
                  </a:lnTo>
                  <a:lnTo>
                    <a:pt x="557" y="251"/>
                  </a:lnTo>
                  <a:lnTo>
                    <a:pt x="519" y="302"/>
                  </a:lnTo>
                  <a:lnTo>
                    <a:pt x="451" y="325"/>
                  </a:lnTo>
                  <a:lnTo>
                    <a:pt x="370" y="332"/>
                  </a:lnTo>
                  <a:lnTo>
                    <a:pt x="323" y="349"/>
                  </a:lnTo>
                  <a:lnTo>
                    <a:pt x="281" y="403"/>
                  </a:lnTo>
                  <a:lnTo>
                    <a:pt x="230" y="412"/>
                  </a:lnTo>
                  <a:lnTo>
                    <a:pt x="213" y="420"/>
                  </a:lnTo>
                  <a:lnTo>
                    <a:pt x="129" y="482"/>
                  </a:lnTo>
                  <a:lnTo>
                    <a:pt x="120" y="482"/>
                  </a:lnTo>
                  <a:lnTo>
                    <a:pt x="117" y="466"/>
                  </a:lnTo>
                  <a:lnTo>
                    <a:pt x="99" y="449"/>
                  </a:lnTo>
                  <a:lnTo>
                    <a:pt x="0" y="455"/>
                  </a:lnTo>
                  <a:lnTo>
                    <a:pt x="0" y="441"/>
                  </a:lnTo>
                  <a:lnTo>
                    <a:pt x="78" y="396"/>
                  </a:lnTo>
                  <a:lnTo>
                    <a:pt x="133" y="390"/>
                  </a:lnTo>
                  <a:lnTo>
                    <a:pt x="141" y="383"/>
                  </a:lnTo>
                  <a:lnTo>
                    <a:pt x="147" y="366"/>
                  </a:lnTo>
                  <a:lnTo>
                    <a:pt x="147" y="257"/>
                  </a:lnTo>
                  <a:lnTo>
                    <a:pt x="163" y="226"/>
                  </a:lnTo>
                  <a:lnTo>
                    <a:pt x="238" y="176"/>
                  </a:lnTo>
                  <a:lnTo>
                    <a:pt x="337" y="130"/>
                  </a:lnTo>
                  <a:lnTo>
                    <a:pt x="358" y="125"/>
                  </a:lnTo>
                  <a:lnTo>
                    <a:pt x="454" y="79"/>
                  </a:lnTo>
                  <a:lnTo>
                    <a:pt x="675" y="29"/>
                  </a:lnTo>
                  <a:lnTo>
                    <a:pt x="752" y="3"/>
                  </a:lnTo>
                  <a:lnTo>
                    <a:pt x="1003" y="0"/>
                  </a:lnTo>
                  <a:lnTo>
                    <a:pt x="1112" y="20"/>
                  </a:lnTo>
                  <a:lnTo>
                    <a:pt x="1227" y="25"/>
                  </a:lnTo>
                  <a:lnTo>
                    <a:pt x="1295" y="20"/>
                  </a:lnTo>
                  <a:lnTo>
                    <a:pt x="1336" y="54"/>
                  </a:lnTo>
                  <a:lnTo>
                    <a:pt x="1366" y="67"/>
                  </a:lnTo>
                  <a:lnTo>
                    <a:pt x="1490" y="62"/>
                  </a:lnTo>
                  <a:lnTo>
                    <a:pt x="1524" y="79"/>
                  </a:lnTo>
                  <a:lnTo>
                    <a:pt x="1612" y="150"/>
                  </a:lnTo>
                  <a:lnTo>
                    <a:pt x="1637" y="189"/>
                  </a:lnTo>
                  <a:lnTo>
                    <a:pt x="1700" y="240"/>
                  </a:lnTo>
                  <a:lnTo>
                    <a:pt x="1751" y="257"/>
                  </a:lnTo>
                  <a:lnTo>
                    <a:pt x="1879" y="251"/>
                  </a:lnTo>
                  <a:lnTo>
                    <a:pt x="1913" y="273"/>
                  </a:lnTo>
                  <a:lnTo>
                    <a:pt x="1968" y="273"/>
                  </a:lnTo>
                  <a:lnTo>
                    <a:pt x="1985" y="293"/>
                  </a:lnTo>
                  <a:lnTo>
                    <a:pt x="1968" y="293"/>
                  </a:lnTo>
                  <a:lnTo>
                    <a:pt x="1964" y="311"/>
                  </a:lnTo>
                  <a:lnTo>
                    <a:pt x="1989" y="325"/>
                  </a:lnTo>
                  <a:lnTo>
                    <a:pt x="2056" y="335"/>
                  </a:lnTo>
                  <a:lnTo>
                    <a:pt x="2099" y="358"/>
                  </a:lnTo>
                  <a:lnTo>
                    <a:pt x="2167" y="429"/>
                  </a:lnTo>
                  <a:lnTo>
                    <a:pt x="2269" y="458"/>
                  </a:lnTo>
                  <a:lnTo>
                    <a:pt x="2344" y="496"/>
                  </a:lnTo>
                  <a:lnTo>
                    <a:pt x="2394" y="50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11" name="Freeform 348"/>
            <p:cNvSpPr>
              <a:spLocks noChangeAspect="1"/>
            </p:cNvSpPr>
            <p:nvPr/>
          </p:nvSpPr>
          <p:spPr bwMode="gray">
            <a:xfrm rot="20552049">
              <a:off x="4478828" y="3851760"/>
              <a:ext cx="4771" cy="10477"/>
            </a:xfrm>
            <a:custGeom>
              <a:avLst/>
              <a:gdLst/>
              <a:ahLst/>
              <a:cxnLst>
                <a:cxn ang="0">
                  <a:pos x="128" y="5"/>
                </a:cxn>
                <a:cxn ang="0">
                  <a:pos x="136" y="42"/>
                </a:cxn>
                <a:cxn ang="0">
                  <a:pos x="153" y="64"/>
                </a:cxn>
                <a:cxn ang="0">
                  <a:pos x="165" y="128"/>
                </a:cxn>
                <a:cxn ang="0">
                  <a:pos x="77" y="156"/>
                </a:cxn>
                <a:cxn ang="0">
                  <a:pos x="38" y="156"/>
                </a:cxn>
                <a:cxn ang="0">
                  <a:pos x="22" y="144"/>
                </a:cxn>
                <a:cxn ang="0">
                  <a:pos x="8" y="131"/>
                </a:cxn>
                <a:cxn ang="0">
                  <a:pos x="0" y="98"/>
                </a:cxn>
                <a:cxn ang="0">
                  <a:pos x="51" y="123"/>
                </a:cxn>
                <a:cxn ang="0">
                  <a:pos x="63" y="89"/>
                </a:cxn>
                <a:cxn ang="0">
                  <a:pos x="51" y="68"/>
                </a:cxn>
                <a:cxn ang="0">
                  <a:pos x="47" y="42"/>
                </a:cxn>
                <a:cxn ang="0">
                  <a:pos x="51" y="9"/>
                </a:cxn>
                <a:cxn ang="0">
                  <a:pos x="89" y="0"/>
                </a:cxn>
                <a:cxn ang="0">
                  <a:pos x="114" y="5"/>
                </a:cxn>
                <a:cxn ang="0">
                  <a:pos x="128" y="14"/>
                </a:cxn>
                <a:cxn ang="0">
                  <a:pos x="128" y="5"/>
                </a:cxn>
              </a:cxnLst>
              <a:rect l="0" t="0" r="r" b="b"/>
              <a:pathLst>
                <a:path w="165" h="156">
                  <a:moveTo>
                    <a:pt x="128" y="5"/>
                  </a:moveTo>
                  <a:lnTo>
                    <a:pt x="136" y="42"/>
                  </a:lnTo>
                  <a:lnTo>
                    <a:pt x="153" y="64"/>
                  </a:lnTo>
                  <a:lnTo>
                    <a:pt x="165" y="128"/>
                  </a:lnTo>
                  <a:lnTo>
                    <a:pt x="77" y="156"/>
                  </a:lnTo>
                  <a:lnTo>
                    <a:pt x="38" y="156"/>
                  </a:lnTo>
                  <a:lnTo>
                    <a:pt x="22" y="144"/>
                  </a:lnTo>
                  <a:lnTo>
                    <a:pt x="8" y="131"/>
                  </a:lnTo>
                  <a:lnTo>
                    <a:pt x="0" y="98"/>
                  </a:lnTo>
                  <a:lnTo>
                    <a:pt x="51" y="123"/>
                  </a:lnTo>
                  <a:lnTo>
                    <a:pt x="63" y="89"/>
                  </a:lnTo>
                  <a:lnTo>
                    <a:pt x="51" y="68"/>
                  </a:lnTo>
                  <a:lnTo>
                    <a:pt x="47" y="42"/>
                  </a:lnTo>
                  <a:lnTo>
                    <a:pt x="51" y="9"/>
                  </a:lnTo>
                  <a:lnTo>
                    <a:pt x="89" y="0"/>
                  </a:lnTo>
                  <a:lnTo>
                    <a:pt x="114" y="5"/>
                  </a:lnTo>
                  <a:lnTo>
                    <a:pt x="128" y="14"/>
                  </a:lnTo>
                  <a:lnTo>
                    <a:pt x="128" y="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12" name="Freeform 349"/>
            <p:cNvSpPr>
              <a:spLocks noChangeAspect="1"/>
            </p:cNvSpPr>
            <p:nvPr/>
          </p:nvSpPr>
          <p:spPr bwMode="gray">
            <a:xfrm rot="20552049">
              <a:off x="4521763" y="3816837"/>
              <a:ext cx="11131" cy="15716"/>
            </a:xfrm>
            <a:custGeom>
              <a:avLst/>
              <a:gdLst/>
              <a:ahLst/>
              <a:cxnLst>
                <a:cxn ang="0">
                  <a:pos x="211" y="85"/>
                </a:cxn>
                <a:cxn ang="0">
                  <a:pos x="283" y="127"/>
                </a:cxn>
                <a:cxn ang="0">
                  <a:pos x="308" y="156"/>
                </a:cxn>
                <a:cxn ang="0">
                  <a:pos x="317" y="201"/>
                </a:cxn>
                <a:cxn ang="0">
                  <a:pos x="266" y="198"/>
                </a:cxn>
                <a:cxn ang="0">
                  <a:pos x="208" y="156"/>
                </a:cxn>
                <a:cxn ang="0">
                  <a:pos x="169" y="97"/>
                </a:cxn>
                <a:cxn ang="0">
                  <a:pos x="135" y="68"/>
                </a:cxn>
                <a:cxn ang="0">
                  <a:pos x="59" y="59"/>
                </a:cxn>
                <a:cxn ang="0">
                  <a:pos x="38" y="50"/>
                </a:cxn>
                <a:cxn ang="0">
                  <a:pos x="8" y="29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85" y="4"/>
                </a:cxn>
                <a:cxn ang="0">
                  <a:pos x="211" y="85"/>
                </a:cxn>
              </a:cxnLst>
              <a:rect l="0" t="0" r="r" b="b"/>
              <a:pathLst>
                <a:path w="317" h="201">
                  <a:moveTo>
                    <a:pt x="211" y="85"/>
                  </a:moveTo>
                  <a:lnTo>
                    <a:pt x="283" y="127"/>
                  </a:lnTo>
                  <a:lnTo>
                    <a:pt x="308" y="156"/>
                  </a:lnTo>
                  <a:lnTo>
                    <a:pt x="317" y="201"/>
                  </a:lnTo>
                  <a:lnTo>
                    <a:pt x="266" y="198"/>
                  </a:lnTo>
                  <a:lnTo>
                    <a:pt x="208" y="156"/>
                  </a:lnTo>
                  <a:lnTo>
                    <a:pt x="169" y="97"/>
                  </a:lnTo>
                  <a:lnTo>
                    <a:pt x="135" y="68"/>
                  </a:lnTo>
                  <a:lnTo>
                    <a:pt x="59" y="59"/>
                  </a:lnTo>
                  <a:lnTo>
                    <a:pt x="38" y="50"/>
                  </a:lnTo>
                  <a:lnTo>
                    <a:pt x="8" y="29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5" y="4"/>
                  </a:lnTo>
                  <a:lnTo>
                    <a:pt x="211" y="8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13" name="Freeform 350"/>
            <p:cNvSpPr>
              <a:spLocks noChangeAspect="1"/>
            </p:cNvSpPr>
            <p:nvPr/>
          </p:nvSpPr>
          <p:spPr bwMode="gray">
            <a:xfrm rot="20552049">
              <a:off x="4720530" y="3879698"/>
              <a:ext cx="0" cy="5239"/>
            </a:xfrm>
            <a:custGeom>
              <a:avLst/>
              <a:gdLst/>
              <a:ahLst/>
              <a:cxnLst>
                <a:cxn ang="0">
                  <a:pos x="34" y="2"/>
                </a:cxn>
                <a:cxn ang="0">
                  <a:pos x="0" y="0"/>
                </a:cxn>
                <a:cxn ang="0">
                  <a:pos x="11" y="30"/>
                </a:cxn>
                <a:cxn ang="0">
                  <a:pos x="31" y="47"/>
                </a:cxn>
                <a:cxn ang="0">
                  <a:pos x="46" y="42"/>
                </a:cxn>
                <a:cxn ang="0">
                  <a:pos x="46" y="10"/>
                </a:cxn>
                <a:cxn ang="0">
                  <a:pos x="34" y="2"/>
                </a:cxn>
              </a:cxnLst>
              <a:rect l="0" t="0" r="r" b="b"/>
              <a:pathLst>
                <a:path w="46" h="47">
                  <a:moveTo>
                    <a:pt x="34" y="2"/>
                  </a:moveTo>
                  <a:lnTo>
                    <a:pt x="0" y="0"/>
                  </a:lnTo>
                  <a:lnTo>
                    <a:pt x="11" y="30"/>
                  </a:lnTo>
                  <a:lnTo>
                    <a:pt x="31" y="47"/>
                  </a:lnTo>
                  <a:lnTo>
                    <a:pt x="46" y="42"/>
                  </a:lnTo>
                  <a:lnTo>
                    <a:pt x="46" y="10"/>
                  </a:lnTo>
                  <a:lnTo>
                    <a:pt x="34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sp>
          <p:nvSpPr>
            <p:cNvPr id="114" name="Freeform 351"/>
            <p:cNvSpPr>
              <a:spLocks noChangeAspect="1"/>
            </p:cNvSpPr>
            <p:nvPr/>
          </p:nvSpPr>
          <p:spPr bwMode="gray">
            <a:xfrm rot="20552049">
              <a:off x="4761873" y="3953035"/>
              <a:ext cx="1591" cy="6985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0" y="97"/>
                </a:cxn>
                <a:cxn ang="0">
                  <a:pos x="25" y="103"/>
                </a:cxn>
                <a:cxn ang="0">
                  <a:pos x="45" y="94"/>
                </a:cxn>
                <a:cxn ang="0">
                  <a:pos x="45" y="62"/>
                </a:cxn>
                <a:cxn ang="0">
                  <a:pos x="39" y="20"/>
                </a:cxn>
                <a:cxn ang="0">
                  <a:pos x="25" y="0"/>
                </a:cxn>
              </a:cxnLst>
              <a:rect l="0" t="0" r="r" b="b"/>
              <a:pathLst>
                <a:path w="45" h="103">
                  <a:moveTo>
                    <a:pt x="25" y="0"/>
                  </a:moveTo>
                  <a:lnTo>
                    <a:pt x="0" y="97"/>
                  </a:lnTo>
                  <a:lnTo>
                    <a:pt x="25" y="103"/>
                  </a:lnTo>
                  <a:lnTo>
                    <a:pt x="45" y="94"/>
                  </a:lnTo>
                  <a:lnTo>
                    <a:pt x="45" y="62"/>
                  </a:lnTo>
                  <a:lnTo>
                    <a:pt x="39" y="2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+mj-ea"/>
                <a:ea typeface="+mj-ea"/>
              </a:endParaRPr>
            </a:p>
          </p:txBody>
        </p:sp>
        <p:grpSp>
          <p:nvGrpSpPr>
            <p:cNvPr id="115" name="Group 362"/>
            <p:cNvGrpSpPr/>
            <p:nvPr/>
          </p:nvGrpSpPr>
          <p:grpSpPr bwMode="gray">
            <a:xfrm>
              <a:off x="5717548" y="2301193"/>
              <a:ext cx="880939" cy="1220548"/>
              <a:chOff x="4580731" y="1911697"/>
              <a:chExt cx="879476" cy="1109663"/>
            </a:xfrm>
            <a:grpFill/>
          </p:grpSpPr>
          <p:sp>
            <p:nvSpPr>
              <p:cNvPr id="171" name="Freeform 175"/>
              <p:cNvSpPr>
                <a:spLocks noChangeAspect="1"/>
              </p:cNvSpPr>
              <p:nvPr/>
            </p:nvSpPr>
            <p:spPr bwMode="gray">
              <a:xfrm>
                <a:off x="4923631" y="2716560"/>
                <a:ext cx="133350" cy="65088"/>
              </a:xfrm>
              <a:custGeom>
                <a:avLst/>
                <a:gdLst/>
                <a:ahLst/>
                <a:cxnLst>
                  <a:cxn ang="0">
                    <a:pos x="234" y="27"/>
                  </a:cxn>
                  <a:cxn ang="0">
                    <a:pos x="213" y="43"/>
                  </a:cxn>
                  <a:cxn ang="0">
                    <a:pos x="188" y="62"/>
                  </a:cxn>
                  <a:cxn ang="0">
                    <a:pos x="184" y="90"/>
                  </a:cxn>
                  <a:cxn ang="0">
                    <a:pos x="191" y="113"/>
                  </a:cxn>
                  <a:cxn ang="0">
                    <a:pos x="179" y="110"/>
                  </a:cxn>
                  <a:cxn ang="0">
                    <a:pos x="153" y="106"/>
                  </a:cxn>
                  <a:cxn ang="0">
                    <a:pos x="116" y="114"/>
                  </a:cxn>
                  <a:cxn ang="0">
                    <a:pos x="83" y="127"/>
                  </a:cxn>
                  <a:cxn ang="0">
                    <a:pos x="59" y="118"/>
                  </a:cxn>
                  <a:cxn ang="0">
                    <a:pos x="49" y="132"/>
                  </a:cxn>
                  <a:cxn ang="0">
                    <a:pos x="34" y="129"/>
                  </a:cxn>
                  <a:cxn ang="0">
                    <a:pos x="19" y="119"/>
                  </a:cxn>
                  <a:cxn ang="0">
                    <a:pos x="0" y="123"/>
                  </a:cxn>
                  <a:cxn ang="0">
                    <a:pos x="16" y="137"/>
                  </a:cxn>
                  <a:cxn ang="0">
                    <a:pos x="17" y="155"/>
                  </a:cxn>
                  <a:cxn ang="0">
                    <a:pos x="17" y="167"/>
                  </a:cxn>
                  <a:cxn ang="0">
                    <a:pos x="36" y="172"/>
                  </a:cxn>
                  <a:cxn ang="0">
                    <a:pos x="51" y="173"/>
                  </a:cxn>
                  <a:cxn ang="0">
                    <a:pos x="68" y="177"/>
                  </a:cxn>
                  <a:cxn ang="0">
                    <a:pos x="104" y="165"/>
                  </a:cxn>
                  <a:cxn ang="0">
                    <a:pos x="132" y="161"/>
                  </a:cxn>
                  <a:cxn ang="0">
                    <a:pos x="143" y="156"/>
                  </a:cxn>
                  <a:cxn ang="0">
                    <a:pos x="146" y="164"/>
                  </a:cxn>
                  <a:cxn ang="0">
                    <a:pos x="152" y="178"/>
                  </a:cxn>
                  <a:cxn ang="0">
                    <a:pos x="168" y="187"/>
                  </a:cxn>
                  <a:cxn ang="0">
                    <a:pos x="208" y="198"/>
                  </a:cxn>
                  <a:cxn ang="0">
                    <a:pos x="231" y="203"/>
                  </a:cxn>
                  <a:cxn ang="0">
                    <a:pos x="275" y="205"/>
                  </a:cxn>
                  <a:cxn ang="0">
                    <a:pos x="292" y="189"/>
                  </a:cxn>
                  <a:cxn ang="0">
                    <a:pos x="325" y="191"/>
                  </a:cxn>
                  <a:cxn ang="0">
                    <a:pos x="334" y="182"/>
                  </a:cxn>
                  <a:cxn ang="0">
                    <a:pos x="353" y="176"/>
                  </a:cxn>
                  <a:cxn ang="0">
                    <a:pos x="372" y="161"/>
                  </a:cxn>
                  <a:cxn ang="0">
                    <a:pos x="382" y="148"/>
                  </a:cxn>
                  <a:cxn ang="0">
                    <a:pos x="390" y="119"/>
                  </a:cxn>
                  <a:cxn ang="0">
                    <a:pos x="388" y="103"/>
                  </a:cxn>
                  <a:cxn ang="0">
                    <a:pos x="420" y="95"/>
                  </a:cxn>
                  <a:cxn ang="0">
                    <a:pos x="412" y="62"/>
                  </a:cxn>
                  <a:cxn ang="0">
                    <a:pos x="406" y="26"/>
                  </a:cxn>
                  <a:cxn ang="0">
                    <a:pos x="362" y="19"/>
                  </a:cxn>
                  <a:cxn ang="0">
                    <a:pos x="340" y="1"/>
                  </a:cxn>
                  <a:cxn ang="0">
                    <a:pos x="301" y="10"/>
                  </a:cxn>
                  <a:cxn ang="0">
                    <a:pos x="287" y="27"/>
                  </a:cxn>
                  <a:cxn ang="0">
                    <a:pos x="267" y="32"/>
                  </a:cxn>
                  <a:cxn ang="0">
                    <a:pos x="249" y="25"/>
                  </a:cxn>
                </a:cxnLst>
                <a:rect l="0" t="0" r="r" b="b"/>
                <a:pathLst>
                  <a:path w="420" h="205">
                    <a:moveTo>
                      <a:pt x="235" y="20"/>
                    </a:moveTo>
                    <a:lnTo>
                      <a:pt x="234" y="27"/>
                    </a:lnTo>
                    <a:lnTo>
                      <a:pt x="217" y="35"/>
                    </a:lnTo>
                    <a:lnTo>
                      <a:pt x="213" y="43"/>
                    </a:lnTo>
                    <a:lnTo>
                      <a:pt x="210" y="53"/>
                    </a:lnTo>
                    <a:lnTo>
                      <a:pt x="188" y="62"/>
                    </a:lnTo>
                    <a:lnTo>
                      <a:pt x="183" y="74"/>
                    </a:lnTo>
                    <a:lnTo>
                      <a:pt x="184" y="90"/>
                    </a:lnTo>
                    <a:lnTo>
                      <a:pt x="191" y="106"/>
                    </a:lnTo>
                    <a:lnTo>
                      <a:pt x="191" y="113"/>
                    </a:lnTo>
                    <a:lnTo>
                      <a:pt x="184" y="117"/>
                    </a:lnTo>
                    <a:lnTo>
                      <a:pt x="179" y="110"/>
                    </a:lnTo>
                    <a:lnTo>
                      <a:pt x="164" y="110"/>
                    </a:lnTo>
                    <a:lnTo>
                      <a:pt x="153" y="106"/>
                    </a:lnTo>
                    <a:lnTo>
                      <a:pt x="149" y="111"/>
                    </a:lnTo>
                    <a:lnTo>
                      <a:pt x="116" y="114"/>
                    </a:lnTo>
                    <a:lnTo>
                      <a:pt x="97" y="127"/>
                    </a:lnTo>
                    <a:lnTo>
                      <a:pt x="83" y="127"/>
                    </a:lnTo>
                    <a:lnTo>
                      <a:pt x="70" y="119"/>
                    </a:lnTo>
                    <a:lnTo>
                      <a:pt x="59" y="118"/>
                    </a:lnTo>
                    <a:lnTo>
                      <a:pt x="51" y="124"/>
                    </a:lnTo>
                    <a:lnTo>
                      <a:pt x="49" y="132"/>
                    </a:lnTo>
                    <a:lnTo>
                      <a:pt x="44" y="134"/>
                    </a:lnTo>
                    <a:lnTo>
                      <a:pt x="34" y="129"/>
                    </a:lnTo>
                    <a:lnTo>
                      <a:pt x="28" y="121"/>
                    </a:lnTo>
                    <a:lnTo>
                      <a:pt x="19" y="119"/>
                    </a:lnTo>
                    <a:lnTo>
                      <a:pt x="11" y="119"/>
                    </a:lnTo>
                    <a:lnTo>
                      <a:pt x="0" y="123"/>
                    </a:lnTo>
                    <a:lnTo>
                      <a:pt x="7" y="132"/>
                    </a:lnTo>
                    <a:lnTo>
                      <a:pt x="16" y="137"/>
                    </a:lnTo>
                    <a:lnTo>
                      <a:pt x="17" y="144"/>
                    </a:lnTo>
                    <a:lnTo>
                      <a:pt x="17" y="155"/>
                    </a:lnTo>
                    <a:lnTo>
                      <a:pt x="11" y="162"/>
                    </a:lnTo>
                    <a:lnTo>
                      <a:pt x="17" y="167"/>
                    </a:lnTo>
                    <a:lnTo>
                      <a:pt x="27" y="171"/>
                    </a:lnTo>
                    <a:lnTo>
                      <a:pt x="36" y="172"/>
                    </a:lnTo>
                    <a:lnTo>
                      <a:pt x="44" y="168"/>
                    </a:lnTo>
                    <a:lnTo>
                      <a:pt x="51" y="173"/>
                    </a:lnTo>
                    <a:lnTo>
                      <a:pt x="65" y="178"/>
                    </a:lnTo>
                    <a:lnTo>
                      <a:pt x="68" y="177"/>
                    </a:lnTo>
                    <a:lnTo>
                      <a:pt x="84" y="172"/>
                    </a:lnTo>
                    <a:lnTo>
                      <a:pt x="104" y="165"/>
                    </a:lnTo>
                    <a:lnTo>
                      <a:pt x="122" y="164"/>
                    </a:lnTo>
                    <a:lnTo>
                      <a:pt x="132" y="161"/>
                    </a:lnTo>
                    <a:lnTo>
                      <a:pt x="137" y="157"/>
                    </a:lnTo>
                    <a:lnTo>
                      <a:pt x="143" y="156"/>
                    </a:lnTo>
                    <a:lnTo>
                      <a:pt x="146" y="159"/>
                    </a:lnTo>
                    <a:lnTo>
                      <a:pt x="146" y="164"/>
                    </a:lnTo>
                    <a:lnTo>
                      <a:pt x="148" y="171"/>
                    </a:lnTo>
                    <a:lnTo>
                      <a:pt x="152" y="178"/>
                    </a:lnTo>
                    <a:lnTo>
                      <a:pt x="163" y="187"/>
                    </a:lnTo>
                    <a:lnTo>
                      <a:pt x="168" y="187"/>
                    </a:lnTo>
                    <a:lnTo>
                      <a:pt x="178" y="193"/>
                    </a:lnTo>
                    <a:lnTo>
                      <a:pt x="208" y="198"/>
                    </a:lnTo>
                    <a:lnTo>
                      <a:pt x="222" y="203"/>
                    </a:lnTo>
                    <a:lnTo>
                      <a:pt x="231" y="203"/>
                    </a:lnTo>
                    <a:lnTo>
                      <a:pt x="247" y="203"/>
                    </a:lnTo>
                    <a:lnTo>
                      <a:pt x="275" y="205"/>
                    </a:lnTo>
                    <a:lnTo>
                      <a:pt x="283" y="200"/>
                    </a:lnTo>
                    <a:lnTo>
                      <a:pt x="292" y="189"/>
                    </a:lnTo>
                    <a:lnTo>
                      <a:pt x="305" y="187"/>
                    </a:lnTo>
                    <a:lnTo>
                      <a:pt x="325" y="191"/>
                    </a:lnTo>
                    <a:lnTo>
                      <a:pt x="330" y="182"/>
                    </a:lnTo>
                    <a:lnTo>
                      <a:pt x="334" y="182"/>
                    </a:lnTo>
                    <a:lnTo>
                      <a:pt x="351" y="184"/>
                    </a:lnTo>
                    <a:lnTo>
                      <a:pt x="353" y="176"/>
                    </a:lnTo>
                    <a:lnTo>
                      <a:pt x="362" y="172"/>
                    </a:lnTo>
                    <a:lnTo>
                      <a:pt x="372" y="161"/>
                    </a:lnTo>
                    <a:lnTo>
                      <a:pt x="383" y="159"/>
                    </a:lnTo>
                    <a:lnTo>
                      <a:pt x="382" y="148"/>
                    </a:lnTo>
                    <a:lnTo>
                      <a:pt x="382" y="138"/>
                    </a:lnTo>
                    <a:lnTo>
                      <a:pt x="390" y="119"/>
                    </a:lnTo>
                    <a:lnTo>
                      <a:pt x="384" y="111"/>
                    </a:lnTo>
                    <a:lnTo>
                      <a:pt x="388" y="103"/>
                    </a:lnTo>
                    <a:lnTo>
                      <a:pt x="415" y="103"/>
                    </a:lnTo>
                    <a:lnTo>
                      <a:pt x="420" y="95"/>
                    </a:lnTo>
                    <a:lnTo>
                      <a:pt x="420" y="75"/>
                    </a:lnTo>
                    <a:lnTo>
                      <a:pt x="412" y="62"/>
                    </a:lnTo>
                    <a:lnTo>
                      <a:pt x="406" y="40"/>
                    </a:lnTo>
                    <a:lnTo>
                      <a:pt x="406" y="26"/>
                    </a:lnTo>
                    <a:lnTo>
                      <a:pt x="398" y="15"/>
                    </a:lnTo>
                    <a:lnTo>
                      <a:pt x="362" y="19"/>
                    </a:lnTo>
                    <a:lnTo>
                      <a:pt x="348" y="6"/>
                    </a:lnTo>
                    <a:lnTo>
                      <a:pt x="340" y="1"/>
                    </a:lnTo>
                    <a:lnTo>
                      <a:pt x="307" y="0"/>
                    </a:lnTo>
                    <a:lnTo>
                      <a:pt x="301" y="10"/>
                    </a:lnTo>
                    <a:lnTo>
                      <a:pt x="297" y="19"/>
                    </a:lnTo>
                    <a:lnTo>
                      <a:pt x="287" y="27"/>
                    </a:lnTo>
                    <a:lnTo>
                      <a:pt x="278" y="31"/>
                    </a:lnTo>
                    <a:lnTo>
                      <a:pt x="267" y="32"/>
                    </a:lnTo>
                    <a:lnTo>
                      <a:pt x="256" y="31"/>
                    </a:lnTo>
                    <a:lnTo>
                      <a:pt x="249" y="25"/>
                    </a:lnTo>
                    <a:lnTo>
                      <a:pt x="235" y="2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72" name="Freeform 176"/>
              <p:cNvSpPr>
                <a:spLocks noChangeAspect="1"/>
              </p:cNvSpPr>
              <p:nvPr/>
            </p:nvSpPr>
            <p:spPr bwMode="gray">
              <a:xfrm>
                <a:off x="4783931" y="2875310"/>
                <a:ext cx="7938" cy="4763"/>
              </a:xfrm>
              <a:custGeom>
                <a:avLst/>
                <a:gdLst/>
                <a:ahLst/>
                <a:cxnLst>
                  <a:cxn ang="0">
                    <a:pos x="18" y="7"/>
                  </a:cxn>
                  <a:cxn ang="0">
                    <a:pos x="21" y="11"/>
                  </a:cxn>
                  <a:cxn ang="0">
                    <a:pos x="16" y="13"/>
                  </a:cxn>
                  <a:cxn ang="0">
                    <a:pos x="10" y="12"/>
                  </a:cxn>
                  <a:cxn ang="0">
                    <a:pos x="6" y="7"/>
                  </a:cxn>
                  <a:cxn ang="0">
                    <a:pos x="0" y="0"/>
                  </a:cxn>
                  <a:cxn ang="0">
                    <a:pos x="13" y="1"/>
                  </a:cxn>
                  <a:cxn ang="0">
                    <a:pos x="18" y="7"/>
                  </a:cxn>
                </a:cxnLst>
                <a:rect l="0" t="0" r="r" b="b"/>
                <a:pathLst>
                  <a:path w="21" h="13">
                    <a:moveTo>
                      <a:pt x="18" y="7"/>
                    </a:moveTo>
                    <a:lnTo>
                      <a:pt x="21" y="11"/>
                    </a:lnTo>
                    <a:lnTo>
                      <a:pt x="16" y="13"/>
                    </a:lnTo>
                    <a:lnTo>
                      <a:pt x="10" y="12"/>
                    </a:lnTo>
                    <a:lnTo>
                      <a:pt x="6" y="7"/>
                    </a:lnTo>
                    <a:lnTo>
                      <a:pt x="0" y="0"/>
                    </a:lnTo>
                    <a:lnTo>
                      <a:pt x="13" y="1"/>
                    </a:lnTo>
                    <a:lnTo>
                      <a:pt x="18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73" name="Freeform 177"/>
              <p:cNvSpPr>
                <a:spLocks noChangeAspect="1"/>
              </p:cNvSpPr>
              <p:nvPr/>
            </p:nvSpPr>
            <p:spPr bwMode="gray">
              <a:xfrm>
                <a:off x="4925219" y="2757835"/>
                <a:ext cx="4763" cy="9525"/>
              </a:xfrm>
              <a:custGeom>
                <a:avLst/>
                <a:gdLst/>
                <a:ahLst/>
                <a:cxnLst>
                  <a:cxn ang="0">
                    <a:pos x="8" y="30"/>
                  </a:cxn>
                  <a:cxn ang="0">
                    <a:pos x="14" y="23"/>
                  </a:cxn>
                  <a:cxn ang="0">
                    <a:pos x="14" y="12"/>
                  </a:cxn>
                  <a:cxn ang="0">
                    <a:pos x="13" y="5"/>
                  </a:cxn>
                  <a:cxn ang="0">
                    <a:pos x="4" y="0"/>
                  </a:cxn>
                  <a:cxn ang="0">
                    <a:pos x="2" y="8"/>
                  </a:cxn>
                  <a:cxn ang="0">
                    <a:pos x="0" y="18"/>
                  </a:cxn>
                  <a:cxn ang="0">
                    <a:pos x="8" y="30"/>
                  </a:cxn>
                </a:cxnLst>
                <a:rect l="0" t="0" r="r" b="b"/>
                <a:pathLst>
                  <a:path w="14" h="30">
                    <a:moveTo>
                      <a:pt x="8" y="30"/>
                    </a:moveTo>
                    <a:lnTo>
                      <a:pt x="14" y="23"/>
                    </a:lnTo>
                    <a:lnTo>
                      <a:pt x="14" y="12"/>
                    </a:lnTo>
                    <a:lnTo>
                      <a:pt x="13" y="5"/>
                    </a:lnTo>
                    <a:lnTo>
                      <a:pt x="4" y="0"/>
                    </a:lnTo>
                    <a:lnTo>
                      <a:pt x="2" y="8"/>
                    </a:lnTo>
                    <a:lnTo>
                      <a:pt x="0" y="18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grpSp>
            <p:nvGrpSpPr>
              <p:cNvPr id="174" name="Group 178"/>
              <p:cNvGrpSpPr>
                <a:grpSpLocks noChangeAspect="1"/>
              </p:cNvGrpSpPr>
              <p:nvPr/>
            </p:nvGrpSpPr>
            <p:grpSpPr bwMode="gray">
              <a:xfrm>
                <a:off x="4876006" y="2765772"/>
                <a:ext cx="204788" cy="242888"/>
                <a:chOff x="2589" y="1903"/>
                <a:chExt cx="129" cy="153"/>
              </a:xfrm>
              <a:grpFill/>
            </p:grpSpPr>
            <p:sp>
              <p:nvSpPr>
                <p:cNvPr id="217" name="Freeform 179"/>
                <p:cNvSpPr>
                  <a:spLocks noChangeAspect="1"/>
                </p:cNvSpPr>
                <p:nvPr/>
              </p:nvSpPr>
              <p:spPr bwMode="gray">
                <a:xfrm>
                  <a:off x="2653" y="2034"/>
                  <a:ext cx="34" cy="22"/>
                </a:xfrm>
                <a:custGeom>
                  <a:avLst/>
                  <a:gdLst/>
                  <a:ahLst/>
                  <a:cxnLst>
                    <a:cxn ang="0">
                      <a:pos x="172" y="0"/>
                    </a:cxn>
                    <a:cxn ang="0">
                      <a:pos x="168" y="1"/>
                    </a:cxn>
                    <a:cxn ang="0">
                      <a:pos x="168" y="2"/>
                    </a:cxn>
                    <a:cxn ang="0">
                      <a:pos x="167" y="12"/>
                    </a:cxn>
                    <a:cxn ang="0">
                      <a:pos x="153" y="34"/>
                    </a:cxn>
                    <a:cxn ang="0">
                      <a:pos x="143" y="60"/>
                    </a:cxn>
                    <a:cxn ang="0">
                      <a:pos x="142" y="66"/>
                    </a:cxn>
                    <a:cxn ang="0">
                      <a:pos x="146" y="70"/>
                    </a:cxn>
                    <a:cxn ang="0">
                      <a:pos x="147" y="75"/>
                    </a:cxn>
                    <a:cxn ang="0">
                      <a:pos x="152" y="87"/>
                    </a:cxn>
                    <a:cxn ang="0">
                      <a:pos x="146" y="103"/>
                    </a:cxn>
                    <a:cxn ang="0">
                      <a:pos x="145" y="110"/>
                    </a:cxn>
                    <a:cxn ang="0">
                      <a:pos x="130" y="110"/>
                    </a:cxn>
                    <a:cxn ang="0">
                      <a:pos x="118" y="108"/>
                    </a:cxn>
                    <a:cxn ang="0">
                      <a:pos x="108" y="98"/>
                    </a:cxn>
                    <a:cxn ang="0">
                      <a:pos x="99" y="88"/>
                    </a:cxn>
                    <a:cxn ang="0">
                      <a:pos x="84" y="83"/>
                    </a:cxn>
                    <a:cxn ang="0">
                      <a:pos x="76" y="82"/>
                    </a:cxn>
                    <a:cxn ang="0">
                      <a:pos x="67" y="79"/>
                    </a:cxn>
                    <a:cxn ang="0">
                      <a:pos x="61" y="71"/>
                    </a:cxn>
                    <a:cxn ang="0">
                      <a:pos x="49" y="66"/>
                    </a:cxn>
                    <a:cxn ang="0">
                      <a:pos x="37" y="56"/>
                    </a:cxn>
                    <a:cxn ang="0">
                      <a:pos x="25" y="51"/>
                    </a:cxn>
                    <a:cxn ang="0">
                      <a:pos x="8" y="48"/>
                    </a:cxn>
                    <a:cxn ang="0">
                      <a:pos x="2" y="40"/>
                    </a:cxn>
                    <a:cxn ang="0">
                      <a:pos x="0" y="26"/>
                    </a:cxn>
                    <a:cxn ang="0">
                      <a:pos x="1" y="18"/>
                    </a:cxn>
                    <a:cxn ang="0">
                      <a:pos x="3" y="15"/>
                    </a:cxn>
                    <a:cxn ang="0">
                      <a:pos x="6" y="10"/>
                    </a:cxn>
                    <a:cxn ang="0">
                      <a:pos x="9" y="8"/>
                    </a:cxn>
                    <a:cxn ang="0">
                      <a:pos x="19" y="15"/>
                    </a:cxn>
                    <a:cxn ang="0">
                      <a:pos x="25" y="15"/>
                    </a:cxn>
                    <a:cxn ang="0">
                      <a:pos x="41" y="5"/>
                    </a:cxn>
                    <a:cxn ang="0">
                      <a:pos x="62" y="15"/>
                    </a:cxn>
                    <a:cxn ang="0">
                      <a:pos x="66" y="22"/>
                    </a:cxn>
                    <a:cxn ang="0">
                      <a:pos x="73" y="22"/>
                    </a:cxn>
                    <a:cxn ang="0">
                      <a:pos x="80" y="20"/>
                    </a:cxn>
                    <a:cxn ang="0">
                      <a:pos x="110" y="16"/>
                    </a:cxn>
                    <a:cxn ang="0">
                      <a:pos x="119" y="13"/>
                    </a:cxn>
                    <a:cxn ang="0">
                      <a:pos x="127" y="8"/>
                    </a:cxn>
                    <a:cxn ang="0">
                      <a:pos x="146" y="8"/>
                    </a:cxn>
                    <a:cxn ang="0">
                      <a:pos x="152" y="4"/>
                    </a:cxn>
                    <a:cxn ang="0">
                      <a:pos x="163" y="2"/>
                    </a:cxn>
                    <a:cxn ang="0">
                      <a:pos x="172" y="0"/>
                    </a:cxn>
                  </a:cxnLst>
                  <a:rect l="0" t="0" r="r" b="b"/>
                  <a:pathLst>
                    <a:path w="172" h="110">
                      <a:moveTo>
                        <a:pt x="172" y="0"/>
                      </a:moveTo>
                      <a:lnTo>
                        <a:pt x="168" y="1"/>
                      </a:lnTo>
                      <a:lnTo>
                        <a:pt x="168" y="2"/>
                      </a:lnTo>
                      <a:lnTo>
                        <a:pt x="167" y="12"/>
                      </a:lnTo>
                      <a:lnTo>
                        <a:pt x="153" y="34"/>
                      </a:lnTo>
                      <a:lnTo>
                        <a:pt x="143" y="60"/>
                      </a:lnTo>
                      <a:lnTo>
                        <a:pt x="142" y="66"/>
                      </a:lnTo>
                      <a:lnTo>
                        <a:pt x="146" y="70"/>
                      </a:lnTo>
                      <a:lnTo>
                        <a:pt x="147" y="75"/>
                      </a:lnTo>
                      <a:lnTo>
                        <a:pt x="152" y="87"/>
                      </a:lnTo>
                      <a:lnTo>
                        <a:pt x="146" y="103"/>
                      </a:lnTo>
                      <a:lnTo>
                        <a:pt x="145" y="110"/>
                      </a:lnTo>
                      <a:lnTo>
                        <a:pt x="130" y="110"/>
                      </a:lnTo>
                      <a:lnTo>
                        <a:pt x="118" y="108"/>
                      </a:lnTo>
                      <a:lnTo>
                        <a:pt x="108" y="98"/>
                      </a:lnTo>
                      <a:lnTo>
                        <a:pt x="99" y="88"/>
                      </a:lnTo>
                      <a:lnTo>
                        <a:pt x="84" y="83"/>
                      </a:lnTo>
                      <a:lnTo>
                        <a:pt x="76" y="82"/>
                      </a:lnTo>
                      <a:lnTo>
                        <a:pt x="67" y="79"/>
                      </a:lnTo>
                      <a:lnTo>
                        <a:pt x="61" y="71"/>
                      </a:lnTo>
                      <a:lnTo>
                        <a:pt x="49" y="66"/>
                      </a:lnTo>
                      <a:lnTo>
                        <a:pt x="37" y="56"/>
                      </a:lnTo>
                      <a:lnTo>
                        <a:pt x="25" y="51"/>
                      </a:lnTo>
                      <a:lnTo>
                        <a:pt x="8" y="48"/>
                      </a:lnTo>
                      <a:lnTo>
                        <a:pt x="2" y="40"/>
                      </a:lnTo>
                      <a:lnTo>
                        <a:pt x="0" y="26"/>
                      </a:lnTo>
                      <a:lnTo>
                        <a:pt x="1" y="18"/>
                      </a:lnTo>
                      <a:lnTo>
                        <a:pt x="3" y="15"/>
                      </a:lnTo>
                      <a:lnTo>
                        <a:pt x="6" y="10"/>
                      </a:lnTo>
                      <a:lnTo>
                        <a:pt x="9" y="8"/>
                      </a:lnTo>
                      <a:lnTo>
                        <a:pt x="19" y="15"/>
                      </a:lnTo>
                      <a:lnTo>
                        <a:pt x="25" y="15"/>
                      </a:lnTo>
                      <a:lnTo>
                        <a:pt x="41" y="5"/>
                      </a:lnTo>
                      <a:lnTo>
                        <a:pt x="62" y="15"/>
                      </a:lnTo>
                      <a:lnTo>
                        <a:pt x="66" y="22"/>
                      </a:lnTo>
                      <a:lnTo>
                        <a:pt x="73" y="22"/>
                      </a:lnTo>
                      <a:lnTo>
                        <a:pt x="80" y="20"/>
                      </a:lnTo>
                      <a:lnTo>
                        <a:pt x="110" y="16"/>
                      </a:lnTo>
                      <a:lnTo>
                        <a:pt x="119" y="13"/>
                      </a:lnTo>
                      <a:lnTo>
                        <a:pt x="127" y="8"/>
                      </a:lnTo>
                      <a:lnTo>
                        <a:pt x="146" y="8"/>
                      </a:lnTo>
                      <a:lnTo>
                        <a:pt x="152" y="4"/>
                      </a:lnTo>
                      <a:lnTo>
                        <a:pt x="163" y="2"/>
                      </a:lnTo>
                      <a:lnTo>
                        <a:pt x="172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18" name="Freeform 180"/>
                <p:cNvSpPr>
                  <a:spLocks noChangeAspect="1"/>
                </p:cNvSpPr>
                <p:nvPr/>
              </p:nvSpPr>
              <p:spPr bwMode="gray">
                <a:xfrm>
                  <a:off x="2606" y="1991"/>
                  <a:ext cx="16" cy="35"/>
                </a:xfrm>
                <a:custGeom>
                  <a:avLst/>
                  <a:gdLst/>
                  <a:ahLst/>
                  <a:cxnLst>
                    <a:cxn ang="0">
                      <a:pos x="50" y="0"/>
                    </a:cxn>
                    <a:cxn ang="0">
                      <a:pos x="63" y="5"/>
                    </a:cxn>
                    <a:cxn ang="0">
                      <a:pos x="64" y="8"/>
                    </a:cxn>
                    <a:cxn ang="0">
                      <a:pos x="70" y="12"/>
                    </a:cxn>
                    <a:cxn ang="0">
                      <a:pos x="75" y="24"/>
                    </a:cxn>
                    <a:cxn ang="0">
                      <a:pos x="81" y="43"/>
                    </a:cxn>
                    <a:cxn ang="0">
                      <a:pos x="82" y="63"/>
                    </a:cxn>
                    <a:cxn ang="0">
                      <a:pos x="80" y="79"/>
                    </a:cxn>
                    <a:cxn ang="0">
                      <a:pos x="81" y="111"/>
                    </a:cxn>
                    <a:cxn ang="0">
                      <a:pos x="80" y="138"/>
                    </a:cxn>
                    <a:cxn ang="0">
                      <a:pos x="76" y="144"/>
                    </a:cxn>
                    <a:cxn ang="0">
                      <a:pos x="76" y="149"/>
                    </a:cxn>
                    <a:cxn ang="0">
                      <a:pos x="70" y="154"/>
                    </a:cxn>
                    <a:cxn ang="0">
                      <a:pos x="57" y="150"/>
                    </a:cxn>
                    <a:cxn ang="0">
                      <a:pos x="52" y="155"/>
                    </a:cxn>
                    <a:cxn ang="0">
                      <a:pos x="47" y="165"/>
                    </a:cxn>
                    <a:cxn ang="0">
                      <a:pos x="41" y="171"/>
                    </a:cxn>
                    <a:cxn ang="0">
                      <a:pos x="31" y="173"/>
                    </a:cxn>
                    <a:cxn ang="0">
                      <a:pos x="26" y="168"/>
                    </a:cxn>
                    <a:cxn ang="0">
                      <a:pos x="15" y="152"/>
                    </a:cxn>
                    <a:cxn ang="0">
                      <a:pos x="14" y="144"/>
                    </a:cxn>
                    <a:cxn ang="0">
                      <a:pos x="14" y="139"/>
                    </a:cxn>
                    <a:cxn ang="0">
                      <a:pos x="11" y="130"/>
                    </a:cxn>
                    <a:cxn ang="0">
                      <a:pos x="14" y="109"/>
                    </a:cxn>
                    <a:cxn ang="0">
                      <a:pos x="17" y="106"/>
                    </a:cxn>
                    <a:cxn ang="0">
                      <a:pos x="18" y="101"/>
                    </a:cxn>
                    <a:cxn ang="0">
                      <a:pos x="16" y="97"/>
                    </a:cxn>
                    <a:cxn ang="0">
                      <a:pos x="14" y="89"/>
                    </a:cxn>
                    <a:cxn ang="0">
                      <a:pos x="15" y="80"/>
                    </a:cxn>
                    <a:cxn ang="0">
                      <a:pos x="15" y="70"/>
                    </a:cxn>
                    <a:cxn ang="0">
                      <a:pos x="12" y="63"/>
                    </a:cxn>
                    <a:cxn ang="0">
                      <a:pos x="10" y="54"/>
                    </a:cxn>
                    <a:cxn ang="0">
                      <a:pos x="7" y="53"/>
                    </a:cxn>
                    <a:cxn ang="0">
                      <a:pos x="4" y="53"/>
                    </a:cxn>
                    <a:cxn ang="0">
                      <a:pos x="0" y="47"/>
                    </a:cxn>
                    <a:cxn ang="0">
                      <a:pos x="0" y="26"/>
                    </a:cxn>
                    <a:cxn ang="0">
                      <a:pos x="1" y="25"/>
                    </a:cxn>
                    <a:cxn ang="0">
                      <a:pos x="10" y="33"/>
                    </a:cxn>
                    <a:cxn ang="0">
                      <a:pos x="20" y="32"/>
                    </a:cxn>
                    <a:cxn ang="0">
                      <a:pos x="39" y="12"/>
                    </a:cxn>
                    <a:cxn ang="0">
                      <a:pos x="45" y="1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82" h="173">
                      <a:moveTo>
                        <a:pt x="50" y="0"/>
                      </a:moveTo>
                      <a:lnTo>
                        <a:pt x="63" y="5"/>
                      </a:lnTo>
                      <a:lnTo>
                        <a:pt x="64" y="8"/>
                      </a:lnTo>
                      <a:lnTo>
                        <a:pt x="70" y="12"/>
                      </a:lnTo>
                      <a:lnTo>
                        <a:pt x="75" y="24"/>
                      </a:lnTo>
                      <a:lnTo>
                        <a:pt x="81" y="43"/>
                      </a:lnTo>
                      <a:lnTo>
                        <a:pt x="82" y="63"/>
                      </a:lnTo>
                      <a:lnTo>
                        <a:pt x="80" y="79"/>
                      </a:lnTo>
                      <a:lnTo>
                        <a:pt x="81" y="111"/>
                      </a:lnTo>
                      <a:lnTo>
                        <a:pt x="80" y="138"/>
                      </a:lnTo>
                      <a:lnTo>
                        <a:pt x="76" y="144"/>
                      </a:lnTo>
                      <a:lnTo>
                        <a:pt x="76" y="149"/>
                      </a:lnTo>
                      <a:lnTo>
                        <a:pt x="70" y="154"/>
                      </a:lnTo>
                      <a:lnTo>
                        <a:pt x="57" y="150"/>
                      </a:lnTo>
                      <a:lnTo>
                        <a:pt x="52" y="155"/>
                      </a:lnTo>
                      <a:lnTo>
                        <a:pt x="47" y="165"/>
                      </a:lnTo>
                      <a:lnTo>
                        <a:pt x="41" y="171"/>
                      </a:lnTo>
                      <a:lnTo>
                        <a:pt x="31" y="173"/>
                      </a:lnTo>
                      <a:lnTo>
                        <a:pt x="26" y="168"/>
                      </a:lnTo>
                      <a:lnTo>
                        <a:pt x="15" y="152"/>
                      </a:lnTo>
                      <a:lnTo>
                        <a:pt x="14" y="144"/>
                      </a:lnTo>
                      <a:lnTo>
                        <a:pt x="14" y="139"/>
                      </a:lnTo>
                      <a:lnTo>
                        <a:pt x="11" y="130"/>
                      </a:lnTo>
                      <a:lnTo>
                        <a:pt x="14" y="109"/>
                      </a:lnTo>
                      <a:lnTo>
                        <a:pt x="17" y="106"/>
                      </a:lnTo>
                      <a:lnTo>
                        <a:pt x="18" y="101"/>
                      </a:lnTo>
                      <a:lnTo>
                        <a:pt x="16" y="97"/>
                      </a:lnTo>
                      <a:lnTo>
                        <a:pt x="14" y="89"/>
                      </a:lnTo>
                      <a:lnTo>
                        <a:pt x="15" y="80"/>
                      </a:lnTo>
                      <a:lnTo>
                        <a:pt x="15" y="70"/>
                      </a:lnTo>
                      <a:lnTo>
                        <a:pt x="12" y="63"/>
                      </a:lnTo>
                      <a:lnTo>
                        <a:pt x="10" y="54"/>
                      </a:lnTo>
                      <a:lnTo>
                        <a:pt x="7" y="53"/>
                      </a:lnTo>
                      <a:lnTo>
                        <a:pt x="4" y="53"/>
                      </a:lnTo>
                      <a:lnTo>
                        <a:pt x="0" y="47"/>
                      </a:lnTo>
                      <a:lnTo>
                        <a:pt x="0" y="26"/>
                      </a:lnTo>
                      <a:lnTo>
                        <a:pt x="1" y="25"/>
                      </a:lnTo>
                      <a:lnTo>
                        <a:pt x="10" y="33"/>
                      </a:lnTo>
                      <a:lnTo>
                        <a:pt x="20" y="32"/>
                      </a:lnTo>
                      <a:lnTo>
                        <a:pt x="39" y="12"/>
                      </a:lnTo>
                      <a:lnTo>
                        <a:pt x="45" y="10"/>
                      </a:lnTo>
                      <a:lnTo>
                        <a:pt x="50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19" name="Freeform 181"/>
                <p:cNvSpPr>
                  <a:spLocks noChangeAspect="1"/>
                </p:cNvSpPr>
                <p:nvPr/>
              </p:nvSpPr>
              <p:spPr bwMode="gray">
                <a:xfrm>
                  <a:off x="2589" y="1903"/>
                  <a:ext cx="129" cy="136"/>
                </a:xfrm>
                <a:custGeom>
                  <a:avLst/>
                  <a:gdLst/>
                  <a:ahLst/>
                  <a:cxnLst>
                    <a:cxn ang="0">
                      <a:pos x="195" y="38"/>
                    </a:cxn>
                    <a:cxn ang="0">
                      <a:pos x="186" y="59"/>
                    </a:cxn>
                    <a:cxn ang="0">
                      <a:pos x="147" y="53"/>
                    </a:cxn>
                    <a:cxn ang="0">
                      <a:pos x="125" y="89"/>
                    </a:cxn>
                    <a:cxn ang="0">
                      <a:pos x="98" y="73"/>
                    </a:cxn>
                    <a:cxn ang="0">
                      <a:pos x="75" y="76"/>
                    </a:cxn>
                    <a:cxn ang="0">
                      <a:pos x="23" y="96"/>
                    </a:cxn>
                    <a:cxn ang="0">
                      <a:pos x="5" y="107"/>
                    </a:cxn>
                    <a:cxn ang="0">
                      <a:pos x="2" y="156"/>
                    </a:cxn>
                    <a:cxn ang="0">
                      <a:pos x="11" y="177"/>
                    </a:cxn>
                    <a:cxn ang="0">
                      <a:pos x="13" y="216"/>
                    </a:cxn>
                    <a:cxn ang="0">
                      <a:pos x="48" y="245"/>
                    </a:cxn>
                    <a:cxn ang="0">
                      <a:pos x="64" y="254"/>
                    </a:cxn>
                    <a:cxn ang="0">
                      <a:pos x="94" y="224"/>
                    </a:cxn>
                    <a:cxn ang="0">
                      <a:pos x="132" y="213"/>
                    </a:cxn>
                    <a:cxn ang="0">
                      <a:pos x="195" y="259"/>
                    </a:cxn>
                    <a:cxn ang="0">
                      <a:pos x="231" y="333"/>
                    </a:cxn>
                    <a:cxn ang="0">
                      <a:pos x="259" y="358"/>
                    </a:cxn>
                    <a:cxn ang="0">
                      <a:pos x="309" y="410"/>
                    </a:cxn>
                    <a:cxn ang="0">
                      <a:pos x="379" y="444"/>
                    </a:cxn>
                    <a:cxn ang="0">
                      <a:pos x="421" y="479"/>
                    </a:cxn>
                    <a:cxn ang="0">
                      <a:pos x="444" y="488"/>
                    </a:cxn>
                    <a:cxn ang="0">
                      <a:pos x="455" y="520"/>
                    </a:cxn>
                    <a:cxn ang="0">
                      <a:pos x="483" y="527"/>
                    </a:cxn>
                    <a:cxn ang="0">
                      <a:pos x="498" y="559"/>
                    </a:cxn>
                    <a:cxn ang="0">
                      <a:pos x="507" y="624"/>
                    </a:cxn>
                    <a:cxn ang="0">
                      <a:pos x="492" y="661"/>
                    </a:cxn>
                    <a:cxn ang="0">
                      <a:pos x="496" y="681"/>
                    </a:cxn>
                    <a:cxn ang="0">
                      <a:pos x="522" y="661"/>
                    </a:cxn>
                    <a:cxn ang="0">
                      <a:pos x="540" y="643"/>
                    </a:cxn>
                    <a:cxn ang="0">
                      <a:pos x="562" y="607"/>
                    </a:cxn>
                    <a:cxn ang="0">
                      <a:pos x="568" y="585"/>
                    </a:cxn>
                    <a:cxn ang="0">
                      <a:pos x="549" y="558"/>
                    </a:cxn>
                    <a:cxn ang="0">
                      <a:pos x="551" y="511"/>
                    </a:cxn>
                    <a:cxn ang="0">
                      <a:pos x="604" y="512"/>
                    </a:cxn>
                    <a:cxn ang="0">
                      <a:pos x="637" y="546"/>
                    </a:cxn>
                    <a:cxn ang="0">
                      <a:pos x="636" y="511"/>
                    </a:cxn>
                    <a:cxn ang="0">
                      <a:pos x="572" y="460"/>
                    </a:cxn>
                    <a:cxn ang="0">
                      <a:pos x="510" y="430"/>
                    </a:cxn>
                    <a:cxn ang="0">
                      <a:pos x="508" y="414"/>
                    </a:cxn>
                    <a:cxn ang="0">
                      <a:pos x="500" y="392"/>
                    </a:cxn>
                    <a:cxn ang="0">
                      <a:pos x="465" y="394"/>
                    </a:cxn>
                    <a:cxn ang="0">
                      <a:pos x="437" y="382"/>
                    </a:cxn>
                    <a:cxn ang="0">
                      <a:pos x="405" y="345"/>
                    </a:cxn>
                    <a:cxn ang="0">
                      <a:pos x="382" y="285"/>
                    </a:cxn>
                    <a:cxn ang="0">
                      <a:pos x="362" y="263"/>
                    </a:cxn>
                    <a:cxn ang="0">
                      <a:pos x="314" y="230"/>
                    </a:cxn>
                    <a:cxn ang="0">
                      <a:pos x="308" y="177"/>
                    </a:cxn>
                    <a:cxn ang="0">
                      <a:pos x="304" y="156"/>
                    </a:cxn>
                    <a:cxn ang="0">
                      <a:pos x="318" y="126"/>
                    </a:cxn>
                    <a:cxn ang="0">
                      <a:pos x="366" y="111"/>
                    </a:cxn>
                    <a:cxn ang="0">
                      <a:pos x="379" y="121"/>
                    </a:cxn>
                    <a:cxn ang="0">
                      <a:pos x="393" y="119"/>
                    </a:cxn>
                    <a:cxn ang="0">
                      <a:pos x="385" y="105"/>
                    </a:cxn>
                    <a:cxn ang="0">
                      <a:pos x="371" y="84"/>
                    </a:cxn>
                    <a:cxn ang="0">
                      <a:pos x="367" y="69"/>
                    </a:cxn>
                    <a:cxn ang="0">
                      <a:pos x="372" y="47"/>
                    </a:cxn>
                    <a:cxn ang="0">
                      <a:pos x="313" y="31"/>
                    </a:cxn>
                    <a:cxn ang="0">
                      <a:pos x="296" y="3"/>
                    </a:cxn>
                    <a:cxn ang="0">
                      <a:pos x="272" y="8"/>
                    </a:cxn>
                    <a:cxn ang="0">
                      <a:pos x="215" y="22"/>
                    </a:cxn>
                  </a:cxnLst>
                  <a:rect l="0" t="0" r="r" b="b"/>
                  <a:pathLst>
                    <a:path w="645" h="681">
                      <a:moveTo>
                        <a:pt x="201" y="17"/>
                      </a:moveTo>
                      <a:lnTo>
                        <a:pt x="199" y="28"/>
                      </a:lnTo>
                      <a:lnTo>
                        <a:pt x="199" y="36"/>
                      </a:lnTo>
                      <a:lnTo>
                        <a:pt x="195" y="38"/>
                      </a:lnTo>
                      <a:lnTo>
                        <a:pt x="184" y="40"/>
                      </a:lnTo>
                      <a:lnTo>
                        <a:pt x="183" y="46"/>
                      </a:lnTo>
                      <a:lnTo>
                        <a:pt x="184" y="53"/>
                      </a:lnTo>
                      <a:lnTo>
                        <a:pt x="186" y="59"/>
                      </a:lnTo>
                      <a:lnTo>
                        <a:pt x="185" y="63"/>
                      </a:lnTo>
                      <a:lnTo>
                        <a:pt x="164" y="59"/>
                      </a:lnTo>
                      <a:lnTo>
                        <a:pt x="153" y="58"/>
                      </a:lnTo>
                      <a:lnTo>
                        <a:pt x="147" y="53"/>
                      </a:lnTo>
                      <a:lnTo>
                        <a:pt x="140" y="49"/>
                      </a:lnTo>
                      <a:lnTo>
                        <a:pt x="137" y="60"/>
                      </a:lnTo>
                      <a:lnTo>
                        <a:pt x="126" y="79"/>
                      </a:lnTo>
                      <a:lnTo>
                        <a:pt x="125" y="89"/>
                      </a:lnTo>
                      <a:lnTo>
                        <a:pt x="123" y="94"/>
                      </a:lnTo>
                      <a:lnTo>
                        <a:pt x="115" y="89"/>
                      </a:lnTo>
                      <a:lnTo>
                        <a:pt x="109" y="81"/>
                      </a:lnTo>
                      <a:lnTo>
                        <a:pt x="98" y="73"/>
                      </a:lnTo>
                      <a:lnTo>
                        <a:pt x="92" y="53"/>
                      </a:lnTo>
                      <a:lnTo>
                        <a:pt x="81" y="59"/>
                      </a:lnTo>
                      <a:lnTo>
                        <a:pt x="75" y="68"/>
                      </a:lnTo>
                      <a:lnTo>
                        <a:pt x="75" y="76"/>
                      </a:lnTo>
                      <a:lnTo>
                        <a:pt x="71" y="81"/>
                      </a:lnTo>
                      <a:lnTo>
                        <a:pt x="60" y="90"/>
                      </a:lnTo>
                      <a:lnTo>
                        <a:pt x="48" y="90"/>
                      </a:lnTo>
                      <a:lnTo>
                        <a:pt x="23" y="96"/>
                      </a:lnTo>
                      <a:lnTo>
                        <a:pt x="14" y="96"/>
                      </a:lnTo>
                      <a:lnTo>
                        <a:pt x="5" y="97"/>
                      </a:lnTo>
                      <a:lnTo>
                        <a:pt x="3" y="102"/>
                      </a:lnTo>
                      <a:lnTo>
                        <a:pt x="5" y="107"/>
                      </a:lnTo>
                      <a:lnTo>
                        <a:pt x="16" y="133"/>
                      </a:lnTo>
                      <a:lnTo>
                        <a:pt x="18" y="143"/>
                      </a:lnTo>
                      <a:lnTo>
                        <a:pt x="7" y="150"/>
                      </a:lnTo>
                      <a:lnTo>
                        <a:pt x="2" y="156"/>
                      </a:lnTo>
                      <a:lnTo>
                        <a:pt x="0" y="165"/>
                      </a:lnTo>
                      <a:lnTo>
                        <a:pt x="1" y="170"/>
                      </a:lnTo>
                      <a:lnTo>
                        <a:pt x="2" y="175"/>
                      </a:lnTo>
                      <a:lnTo>
                        <a:pt x="11" y="177"/>
                      </a:lnTo>
                      <a:lnTo>
                        <a:pt x="12" y="186"/>
                      </a:lnTo>
                      <a:lnTo>
                        <a:pt x="10" y="194"/>
                      </a:lnTo>
                      <a:lnTo>
                        <a:pt x="11" y="205"/>
                      </a:lnTo>
                      <a:lnTo>
                        <a:pt x="13" y="216"/>
                      </a:lnTo>
                      <a:lnTo>
                        <a:pt x="19" y="225"/>
                      </a:lnTo>
                      <a:lnTo>
                        <a:pt x="44" y="227"/>
                      </a:lnTo>
                      <a:lnTo>
                        <a:pt x="48" y="236"/>
                      </a:lnTo>
                      <a:lnTo>
                        <a:pt x="48" y="245"/>
                      </a:lnTo>
                      <a:lnTo>
                        <a:pt x="45" y="251"/>
                      </a:lnTo>
                      <a:lnTo>
                        <a:pt x="46" y="254"/>
                      </a:lnTo>
                      <a:lnTo>
                        <a:pt x="54" y="254"/>
                      </a:lnTo>
                      <a:lnTo>
                        <a:pt x="64" y="254"/>
                      </a:lnTo>
                      <a:lnTo>
                        <a:pt x="80" y="247"/>
                      </a:lnTo>
                      <a:lnTo>
                        <a:pt x="81" y="240"/>
                      </a:lnTo>
                      <a:lnTo>
                        <a:pt x="89" y="226"/>
                      </a:lnTo>
                      <a:lnTo>
                        <a:pt x="94" y="224"/>
                      </a:lnTo>
                      <a:lnTo>
                        <a:pt x="97" y="218"/>
                      </a:lnTo>
                      <a:lnTo>
                        <a:pt x="114" y="210"/>
                      </a:lnTo>
                      <a:lnTo>
                        <a:pt x="123" y="210"/>
                      </a:lnTo>
                      <a:lnTo>
                        <a:pt x="132" y="213"/>
                      </a:lnTo>
                      <a:lnTo>
                        <a:pt x="173" y="236"/>
                      </a:lnTo>
                      <a:lnTo>
                        <a:pt x="190" y="243"/>
                      </a:lnTo>
                      <a:lnTo>
                        <a:pt x="193" y="248"/>
                      </a:lnTo>
                      <a:lnTo>
                        <a:pt x="195" y="259"/>
                      </a:lnTo>
                      <a:lnTo>
                        <a:pt x="207" y="294"/>
                      </a:lnTo>
                      <a:lnTo>
                        <a:pt x="211" y="306"/>
                      </a:lnTo>
                      <a:lnTo>
                        <a:pt x="210" y="313"/>
                      </a:lnTo>
                      <a:lnTo>
                        <a:pt x="231" y="333"/>
                      </a:lnTo>
                      <a:lnTo>
                        <a:pt x="241" y="345"/>
                      </a:lnTo>
                      <a:lnTo>
                        <a:pt x="244" y="361"/>
                      </a:lnTo>
                      <a:lnTo>
                        <a:pt x="252" y="358"/>
                      </a:lnTo>
                      <a:lnTo>
                        <a:pt x="259" y="358"/>
                      </a:lnTo>
                      <a:lnTo>
                        <a:pt x="269" y="365"/>
                      </a:lnTo>
                      <a:lnTo>
                        <a:pt x="282" y="386"/>
                      </a:lnTo>
                      <a:lnTo>
                        <a:pt x="292" y="387"/>
                      </a:lnTo>
                      <a:lnTo>
                        <a:pt x="309" y="410"/>
                      </a:lnTo>
                      <a:lnTo>
                        <a:pt x="323" y="424"/>
                      </a:lnTo>
                      <a:lnTo>
                        <a:pt x="347" y="444"/>
                      </a:lnTo>
                      <a:lnTo>
                        <a:pt x="352" y="442"/>
                      </a:lnTo>
                      <a:lnTo>
                        <a:pt x="379" y="444"/>
                      </a:lnTo>
                      <a:lnTo>
                        <a:pt x="385" y="445"/>
                      </a:lnTo>
                      <a:lnTo>
                        <a:pt x="400" y="462"/>
                      </a:lnTo>
                      <a:lnTo>
                        <a:pt x="404" y="472"/>
                      </a:lnTo>
                      <a:lnTo>
                        <a:pt x="421" y="479"/>
                      </a:lnTo>
                      <a:lnTo>
                        <a:pt x="422" y="482"/>
                      </a:lnTo>
                      <a:lnTo>
                        <a:pt x="421" y="490"/>
                      </a:lnTo>
                      <a:lnTo>
                        <a:pt x="440" y="487"/>
                      </a:lnTo>
                      <a:lnTo>
                        <a:pt x="444" y="488"/>
                      </a:lnTo>
                      <a:lnTo>
                        <a:pt x="449" y="494"/>
                      </a:lnTo>
                      <a:lnTo>
                        <a:pt x="453" y="505"/>
                      </a:lnTo>
                      <a:lnTo>
                        <a:pt x="451" y="512"/>
                      </a:lnTo>
                      <a:lnTo>
                        <a:pt x="455" y="520"/>
                      </a:lnTo>
                      <a:lnTo>
                        <a:pt x="467" y="525"/>
                      </a:lnTo>
                      <a:lnTo>
                        <a:pt x="473" y="530"/>
                      </a:lnTo>
                      <a:lnTo>
                        <a:pt x="478" y="537"/>
                      </a:lnTo>
                      <a:lnTo>
                        <a:pt x="483" y="527"/>
                      </a:lnTo>
                      <a:lnTo>
                        <a:pt x="487" y="527"/>
                      </a:lnTo>
                      <a:lnTo>
                        <a:pt x="495" y="539"/>
                      </a:lnTo>
                      <a:lnTo>
                        <a:pt x="495" y="546"/>
                      </a:lnTo>
                      <a:lnTo>
                        <a:pt x="498" y="559"/>
                      </a:lnTo>
                      <a:lnTo>
                        <a:pt x="510" y="578"/>
                      </a:lnTo>
                      <a:lnTo>
                        <a:pt x="513" y="596"/>
                      </a:lnTo>
                      <a:lnTo>
                        <a:pt x="522" y="617"/>
                      </a:lnTo>
                      <a:lnTo>
                        <a:pt x="507" y="624"/>
                      </a:lnTo>
                      <a:lnTo>
                        <a:pt x="500" y="629"/>
                      </a:lnTo>
                      <a:lnTo>
                        <a:pt x="503" y="640"/>
                      </a:lnTo>
                      <a:lnTo>
                        <a:pt x="496" y="651"/>
                      </a:lnTo>
                      <a:lnTo>
                        <a:pt x="492" y="661"/>
                      </a:lnTo>
                      <a:lnTo>
                        <a:pt x="494" y="673"/>
                      </a:lnTo>
                      <a:lnTo>
                        <a:pt x="496" y="681"/>
                      </a:lnTo>
                      <a:lnTo>
                        <a:pt x="496" y="678"/>
                      </a:lnTo>
                      <a:lnTo>
                        <a:pt x="496" y="681"/>
                      </a:lnTo>
                      <a:lnTo>
                        <a:pt x="503" y="681"/>
                      </a:lnTo>
                      <a:lnTo>
                        <a:pt x="511" y="681"/>
                      </a:lnTo>
                      <a:lnTo>
                        <a:pt x="514" y="678"/>
                      </a:lnTo>
                      <a:lnTo>
                        <a:pt x="522" y="661"/>
                      </a:lnTo>
                      <a:lnTo>
                        <a:pt x="525" y="656"/>
                      </a:lnTo>
                      <a:lnTo>
                        <a:pt x="532" y="651"/>
                      </a:lnTo>
                      <a:lnTo>
                        <a:pt x="538" y="649"/>
                      </a:lnTo>
                      <a:lnTo>
                        <a:pt x="540" y="643"/>
                      </a:lnTo>
                      <a:lnTo>
                        <a:pt x="541" y="621"/>
                      </a:lnTo>
                      <a:lnTo>
                        <a:pt x="544" y="616"/>
                      </a:lnTo>
                      <a:lnTo>
                        <a:pt x="553" y="613"/>
                      </a:lnTo>
                      <a:lnTo>
                        <a:pt x="562" y="607"/>
                      </a:lnTo>
                      <a:lnTo>
                        <a:pt x="567" y="607"/>
                      </a:lnTo>
                      <a:lnTo>
                        <a:pt x="570" y="603"/>
                      </a:lnTo>
                      <a:lnTo>
                        <a:pt x="570" y="590"/>
                      </a:lnTo>
                      <a:lnTo>
                        <a:pt x="568" y="585"/>
                      </a:lnTo>
                      <a:lnTo>
                        <a:pt x="567" y="575"/>
                      </a:lnTo>
                      <a:lnTo>
                        <a:pt x="564" y="570"/>
                      </a:lnTo>
                      <a:lnTo>
                        <a:pt x="554" y="564"/>
                      </a:lnTo>
                      <a:lnTo>
                        <a:pt x="549" y="558"/>
                      </a:lnTo>
                      <a:lnTo>
                        <a:pt x="538" y="553"/>
                      </a:lnTo>
                      <a:lnTo>
                        <a:pt x="538" y="543"/>
                      </a:lnTo>
                      <a:lnTo>
                        <a:pt x="543" y="523"/>
                      </a:lnTo>
                      <a:lnTo>
                        <a:pt x="551" y="511"/>
                      </a:lnTo>
                      <a:lnTo>
                        <a:pt x="564" y="499"/>
                      </a:lnTo>
                      <a:lnTo>
                        <a:pt x="575" y="496"/>
                      </a:lnTo>
                      <a:lnTo>
                        <a:pt x="591" y="509"/>
                      </a:lnTo>
                      <a:lnTo>
                        <a:pt x="604" y="512"/>
                      </a:lnTo>
                      <a:lnTo>
                        <a:pt x="615" y="519"/>
                      </a:lnTo>
                      <a:lnTo>
                        <a:pt x="619" y="527"/>
                      </a:lnTo>
                      <a:lnTo>
                        <a:pt x="626" y="539"/>
                      </a:lnTo>
                      <a:lnTo>
                        <a:pt x="637" y="546"/>
                      </a:lnTo>
                      <a:lnTo>
                        <a:pt x="637" y="543"/>
                      </a:lnTo>
                      <a:lnTo>
                        <a:pt x="645" y="527"/>
                      </a:lnTo>
                      <a:lnTo>
                        <a:pt x="642" y="520"/>
                      </a:lnTo>
                      <a:lnTo>
                        <a:pt x="636" y="511"/>
                      </a:lnTo>
                      <a:lnTo>
                        <a:pt x="626" y="500"/>
                      </a:lnTo>
                      <a:lnTo>
                        <a:pt x="615" y="482"/>
                      </a:lnTo>
                      <a:lnTo>
                        <a:pt x="580" y="468"/>
                      </a:lnTo>
                      <a:lnTo>
                        <a:pt x="572" y="460"/>
                      </a:lnTo>
                      <a:lnTo>
                        <a:pt x="560" y="452"/>
                      </a:lnTo>
                      <a:lnTo>
                        <a:pt x="524" y="437"/>
                      </a:lnTo>
                      <a:lnTo>
                        <a:pt x="516" y="433"/>
                      </a:lnTo>
                      <a:lnTo>
                        <a:pt x="510" y="430"/>
                      </a:lnTo>
                      <a:lnTo>
                        <a:pt x="506" y="430"/>
                      </a:lnTo>
                      <a:lnTo>
                        <a:pt x="502" y="426"/>
                      </a:lnTo>
                      <a:lnTo>
                        <a:pt x="502" y="420"/>
                      </a:lnTo>
                      <a:lnTo>
                        <a:pt x="508" y="414"/>
                      </a:lnTo>
                      <a:lnTo>
                        <a:pt x="516" y="409"/>
                      </a:lnTo>
                      <a:lnTo>
                        <a:pt x="517" y="401"/>
                      </a:lnTo>
                      <a:lnTo>
                        <a:pt x="511" y="392"/>
                      </a:lnTo>
                      <a:lnTo>
                        <a:pt x="500" y="392"/>
                      </a:lnTo>
                      <a:lnTo>
                        <a:pt x="496" y="394"/>
                      </a:lnTo>
                      <a:lnTo>
                        <a:pt x="503" y="392"/>
                      </a:lnTo>
                      <a:lnTo>
                        <a:pt x="496" y="394"/>
                      </a:lnTo>
                      <a:lnTo>
                        <a:pt x="465" y="394"/>
                      </a:lnTo>
                      <a:lnTo>
                        <a:pt x="465" y="403"/>
                      </a:lnTo>
                      <a:lnTo>
                        <a:pt x="453" y="390"/>
                      </a:lnTo>
                      <a:lnTo>
                        <a:pt x="442" y="382"/>
                      </a:lnTo>
                      <a:lnTo>
                        <a:pt x="437" y="382"/>
                      </a:lnTo>
                      <a:lnTo>
                        <a:pt x="435" y="374"/>
                      </a:lnTo>
                      <a:lnTo>
                        <a:pt x="431" y="374"/>
                      </a:lnTo>
                      <a:lnTo>
                        <a:pt x="410" y="354"/>
                      </a:lnTo>
                      <a:lnTo>
                        <a:pt x="405" y="345"/>
                      </a:lnTo>
                      <a:lnTo>
                        <a:pt x="398" y="332"/>
                      </a:lnTo>
                      <a:lnTo>
                        <a:pt x="392" y="313"/>
                      </a:lnTo>
                      <a:lnTo>
                        <a:pt x="388" y="309"/>
                      </a:lnTo>
                      <a:lnTo>
                        <a:pt x="382" y="285"/>
                      </a:lnTo>
                      <a:lnTo>
                        <a:pt x="374" y="270"/>
                      </a:lnTo>
                      <a:lnTo>
                        <a:pt x="369" y="267"/>
                      </a:lnTo>
                      <a:lnTo>
                        <a:pt x="363" y="267"/>
                      </a:lnTo>
                      <a:lnTo>
                        <a:pt x="362" y="263"/>
                      </a:lnTo>
                      <a:lnTo>
                        <a:pt x="347" y="254"/>
                      </a:lnTo>
                      <a:lnTo>
                        <a:pt x="341" y="247"/>
                      </a:lnTo>
                      <a:lnTo>
                        <a:pt x="320" y="237"/>
                      </a:lnTo>
                      <a:lnTo>
                        <a:pt x="314" y="230"/>
                      </a:lnTo>
                      <a:lnTo>
                        <a:pt x="309" y="220"/>
                      </a:lnTo>
                      <a:lnTo>
                        <a:pt x="306" y="211"/>
                      </a:lnTo>
                      <a:lnTo>
                        <a:pt x="306" y="193"/>
                      </a:lnTo>
                      <a:lnTo>
                        <a:pt x="308" y="177"/>
                      </a:lnTo>
                      <a:lnTo>
                        <a:pt x="313" y="172"/>
                      </a:lnTo>
                      <a:lnTo>
                        <a:pt x="314" y="165"/>
                      </a:lnTo>
                      <a:lnTo>
                        <a:pt x="312" y="159"/>
                      </a:lnTo>
                      <a:lnTo>
                        <a:pt x="304" y="156"/>
                      </a:lnTo>
                      <a:lnTo>
                        <a:pt x="302" y="141"/>
                      </a:lnTo>
                      <a:lnTo>
                        <a:pt x="304" y="134"/>
                      </a:lnTo>
                      <a:lnTo>
                        <a:pt x="314" y="126"/>
                      </a:lnTo>
                      <a:lnTo>
                        <a:pt x="318" y="126"/>
                      </a:lnTo>
                      <a:lnTo>
                        <a:pt x="319" y="127"/>
                      </a:lnTo>
                      <a:lnTo>
                        <a:pt x="324" y="126"/>
                      </a:lnTo>
                      <a:lnTo>
                        <a:pt x="357" y="108"/>
                      </a:lnTo>
                      <a:lnTo>
                        <a:pt x="366" y="111"/>
                      </a:lnTo>
                      <a:lnTo>
                        <a:pt x="376" y="106"/>
                      </a:lnTo>
                      <a:lnTo>
                        <a:pt x="382" y="107"/>
                      </a:lnTo>
                      <a:lnTo>
                        <a:pt x="383" y="113"/>
                      </a:lnTo>
                      <a:lnTo>
                        <a:pt x="379" y="121"/>
                      </a:lnTo>
                      <a:lnTo>
                        <a:pt x="379" y="122"/>
                      </a:lnTo>
                      <a:lnTo>
                        <a:pt x="384" y="123"/>
                      </a:lnTo>
                      <a:lnTo>
                        <a:pt x="389" y="122"/>
                      </a:lnTo>
                      <a:lnTo>
                        <a:pt x="393" y="119"/>
                      </a:lnTo>
                      <a:lnTo>
                        <a:pt x="394" y="114"/>
                      </a:lnTo>
                      <a:lnTo>
                        <a:pt x="392" y="111"/>
                      </a:lnTo>
                      <a:lnTo>
                        <a:pt x="388" y="110"/>
                      </a:lnTo>
                      <a:lnTo>
                        <a:pt x="385" y="105"/>
                      </a:lnTo>
                      <a:lnTo>
                        <a:pt x="378" y="101"/>
                      </a:lnTo>
                      <a:lnTo>
                        <a:pt x="376" y="98"/>
                      </a:lnTo>
                      <a:lnTo>
                        <a:pt x="376" y="90"/>
                      </a:lnTo>
                      <a:lnTo>
                        <a:pt x="371" y="84"/>
                      </a:lnTo>
                      <a:lnTo>
                        <a:pt x="372" y="76"/>
                      </a:lnTo>
                      <a:lnTo>
                        <a:pt x="374" y="69"/>
                      </a:lnTo>
                      <a:lnTo>
                        <a:pt x="369" y="70"/>
                      </a:lnTo>
                      <a:lnTo>
                        <a:pt x="367" y="69"/>
                      </a:lnTo>
                      <a:lnTo>
                        <a:pt x="367" y="64"/>
                      </a:lnTo>
                      <a:lnTo>
                        <a:pt x="369" y="57"/>
                      </a:lnTo>
                      <a:lnTo>
                        <a:pt x="381" y="47"/>
                      </a:lnTo>
                      <a:lnTo>
                        <a:pt x="372" y="47"/>
                      </a:lnTo>
                      <a:lnTo>
                        <a:pt x="358" y="42"/>
                      </a:lnTo>
                      <a:lnTo>
                        <a:pt x="328" y="37"/>
                      </a:lnTo>
                      <a:lnTo>
                        <a:pt x="318" y="31"/>
                      </a:lnTo>
                      <a:lnTo>
                        <a:pt x="313" y="31"/>
                      </a:lnTo>
                      <a:lnTo>
                        <a:pt x="302" y="22"/>
                      </a:lnTo>
                      <a:lnTo>
                        <a:pt x="298" y="15"/>
                      </a:lnTo>
                      <a:lnTo>
                        <a:pt x="296" y="8"/>
                      </a:lnTo>
                      <a:lnTo>
                        <a:pt x="296" y="3"/>
                      </a:lnTo>
                      <a:lnTo>
                        <a:pt x="293" y="0"/>
                      </a:lnTo>
                      <a:lnTo>
                        <a:pt x="287" y="1"/>
                      </a:lnTo>
                      <a:lnTo>
                        <a:pt x="282" y="5"/>
                      </a:lnTo>
                      <a:lnTo>
                        <a:pt x="272" y="8"/>
                      </a:lnTo>
                      <a:lnTo>
                        <a:pt x="254" y="9"/>
                      </a:lnTo>
                      <a:lnTo>
                        <a:pt x="234" y="16"/>
                      </a:lnTo>
                      <a:lnTo>
                        <a:pt x="218" y="21"/>
                      </a:lnTo>
                      <a:lnTo>
                        <a:pt x="215" y="22"/>
                      </a:lnTo>
                      <a:lnTo>
                        <a:pt x="201" y="1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175" name="Freeform 174"/>
              <p:cNvSpPr>
                <a:spLocks noChangeAspect="1"/>
              </p:cNvSpPr>
              <p:nvPr/>
            </p:nvSpPr>
            <p:spPr bwMode="gray">
              <a:xfrm>
                <a:off x="4858544" y="2684810"/>
                <a:ext cx="11113" cy="17463"/>
              </a:xfrm>
              <a:custGeom>
                <a:avLst/>
                <a:gdLst/>
                <a:ahLst/>
                <a:cxnLst>
                  <a:cxn ang="0">
                    <a:pos x="21" y="53"/>
                  </a:cxn>
                  <a:cxn ang="0">
                    <a:pos x="33" y="52"/>
                  </a:cxn>
                  <a:cxn ang="0">
                    <a:pos x="38" y="45"/>
                  </a:cxn>
                  <a:cxn ang="0">
                    <a:pos x="37" y="33"/>
                  </a:cxn>
                  <a:cxn ang="0">
                    <a:pos x="33" y="26"/>
                  </a:cxn>
                  <a:cxn ang="0">
                    <a:pos x="28" y="18"/>
                  </a:cxn>
                  <a:cxn ang="0">
                    <a:pos x="28" y="11"/>
                  </a:cxn>
                  <a:cxn ang="0">
                    <a:pos x="30" y="4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7"/>
                  </a:cxn>
                  <a:cxn ang="0">
                    <a:pos x="0" y="20"/>
                  </a:cxn>
                  <a:cxn ang="0">
                    <a:pos x="3" y="33"/>
                  </a:cxn>
                  <a:cxn ang="0">
                    <a:pos x="3" y="48"/>
                  </a:cxn>
                  <a:cxn ang="0">
                    <a:pos x="21" y="53"/>
                  </a:cxn>
                </a:cxnLst>
                <a:rect l="0" t="0" r="r" b="b"/>
                <a:pathLst>
                  <a:path w="38" h="53">
                    <a:moveTo>
                      <a:pt x="21" y="53"/>
                    </a:moveTo>
                    <a:lnTo>
                      <a:pt x="33" y="52"/>
                    </a:lnTo>
                    <a:lnTo>
                      <a:pt x="38" y="45"/>
                    </a:lnTo>
                    <a:lnTo>
                      <a:pt x="37" y="33"/>
                    </a:lnTo>
                    <a:lnTo>
                      <a:pt x="33" y="26"/>
                    </a:lnTo>
                    <a:lnTo>
                      <a:pt x="28" y="18"/>
                    </a:lnTo>
                    <a:lnTo>
                      <a:pt x="28" y="11"/>
                    </a:lnTo>
                    <a:lnTo>
                      <a:pt x="30" y="4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7"/>
                    </a:lnTo>
                    <a:lnTo>
                      <a:pt x="0" y="20"/>
                    </a:lnTo>
                    <a:lnTo>
                      <a:pt x="3" y="33"/>
                    </a:lnTo>
                    <a:lnTo>
                      <a:pt x="3" y="48"/>
                    </a:lnTo>
                    <a:lnTo>
                      <a:pt x="21" y="5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76" name="Freeform 175"/>
              <p:cNvSpPr>
                <a:spLocks noChangeAspect="1"/>
              </p:cNvSpPr>
              <p:nvPr/>
            </p:nvSpPr>
            <p:spPr bwMode="gray">
              <a:xfrm>
                <a:off x="4863306" y="2751485"/>
                <a:ext cx="77788" cy="44450"/>
              </a:xfrm>
              <a:custGeom>
                <a:avLst/>
                <a:gdLst/>
                <a:ahLst/>
                <a:cxnLst>
                  <a:cxn ang="0">
                    <a:pos x="52" y="131"/>
                  </a:cxn>
                  <a:cxn ang="0">
                    <a:pos x="42" y="119"/>
                  </a:cxn>
                  <a:cxn ang="0">
                    <a:pos x="38" y="100"/>
                  </a:cxn>
                  <a:cxn ang="0">
                    <a:pos x="10" y="117"/>
                  </a:cxn>
                  <a:cxn ang="0">
                    <a:pos x="0" y="119"/>
                  </a:cxn>
                  <a:cxn ang="0">
                    <a:pos x="5" y="84"/>
                  </a:cxn>
                  <a:cxn ang="0">
                    <a:pos x="13" y="74"/>
                  </a:cxn>
                  <a:cxn ang="0">
                    <a:pos x="21" y="67"/>
                  </a:cxn>
                  <a:cxn ang="0">
                    <a:pos x="30" y="49"/>
                  </a:cxn>
                  <a:cxn ang="0">
                    <a:pos x="50" y="18"/>
                  </a:cxn>
                  <a:cxn ang="0">
                    <a:pos x="70" y="13"/>
                  </a:cxn>
                  <a:cxn ang="0">
                    <a:pos x="85" y="3"/>
                  </a:cxn>
                  <a:cxn ang="0">
                    <a:pos x="127" y="6"/>
                  </a:cxn>
                  <a:cxn ang="0">
                    <a:pos x="172" y="6"/>
                  </a:cxn>
                  <a:cxn ang="0">
                    <a:pos x="197" y="22"/>
                  </a:cxn>
                  <a:cxn ang="0">
                    <a:pos x="193" y="40"/>
                  </a:cxn>
                  <a:cxn ang="0">
                    <a:pos x="207" y="57"/>
                  </a:cxn>
                  <a:cxn ang="0">
                    <a:pos x="226" y="63"/>
                  </a:cxn>
                  <a:cxn ang="0">
                    <a:pos x="241" y="63"/>
                  </a:cxn>
                  <a:cxn ang="0">
                    <a:pos x="239" y="82"/>
                  </a:cxn>
                  <a:cxn ang="0">
                    <a:pos x="224" y="86"/>
                  </a:cxn>
                  <a:cxn ang="0">
                    <a:pos x="224" y="99"/>
                  </a:cxn>
                  <a:cxn ang="0">
                    <a:pos x="225" y="109"/>
                  </a:cxn>
                  <a:cxn ang="0">
                    <a:pos x="193" y="104"/>
                  </a:cxn>
                  <a:cxn ang="0">
                    <a:pos x="180" y="95"/>
                  </a:cxn>
                  <a:cxn ang="0">
                    <a:pos x="166" y="126"/>
                  </a:cxn>
                  <a:cxn ang="0">
                    <a:pos x="163" y="140"/>
                  </a:cxn>
                  <a:cxn ang="0">
                    <a:pos x="149" y="127"/>
                  </a:cxn>
                  <a:cxn ang="0">
                    <a:pos x="132" y="99"/>
                  </a:cxn>
                  <a:cxn ang="0">
                    <a:pos x="115" y="114"/>
                  </a:cxn>
                  <a:cxn ang="0">
                    <a:pos x="111" y="127"/>
                  </a:cxn>
                  <a:cxn ang="0">
                    <a:pos x="88" y="136"/>
                  </a:cxn>
                  <a:cxn ang="0">
                    <a:pos x="54" y="142"/>
                  </a:cxn>
                </a:cxnLst>
                <a:rect l="0" t="0" r="r" b="b"/>
                <a:pathLst>
                  <a:path w="241" h="142">
                    <a:moveTo>
                      <a:pt x="54" y="142"/>
                    </a:moveTo>
                    <a:lnTo>
                      <a:pt x="52" y="131"/>
                    </a:lnTo>
                    <a:lnTo>
                      <a:pt x="45" y="130"/>
                    </a:lnTo>
                    <a:lnTo>
                      <a:pt x="42" y="119"/>
                    </a:lnTo>
                    <a:lnTo>
                      <a:pt x="42" y="101"/>
                    </a:lnTo>
                    <a:lnTo>
                      <a:pt x="38" y="100"/>
                    </a:lnTo>
                    <a:lnTo>
                      <a:pt x="21" y="100"/>
                    </a:lnTo>
                    <a:lnTo>
                      <a:pt x="10" y="117"/>
                    </a:lnTo>
                    <a:lnTo>
                      <a:pt x="4" y="121"/>
                    </a:lnTo>
                    <a:lnTo>
                      <a:pt x="0" y="119"/>
                    </a:lnTo>
                    <a:lnTo>
                      <a:pt x="2" y="97"/>
                    </a:lnTo>
                    <a:lnTo>
                      <a:pt x="5" y="84"/>
                    </a:lnTo>
                    <a:lnTo>
                      <a:pt x="9" y="81"/>
                    </a:lnTo>
                    <a:lnTo>
                      <a:pt x="13" y="74"/>
                    </a:lnTo>
                    <a:lnTo>
                      <a:pt x="20" y="70"/>
                    </a:lnTo>
                    <a:lnTo>
                      <a:pt x="21" y="67"/>
                    </a:lnTo>
                    <a:lnTo>
                      <a:pt x="24" y="57"/>
                    </a:lnTo>
                    <a:lnTo>
                      <a:pt x="30" y="49"/>
                    </a:lnTo>
                    <a:lnTo>
                      <a:pt x="53" y="23"/>
                    </a:lnTo>
                    <a:lnTo>
                      <a:pt x="50" y="18"/>
                    </a:lnTo>
                    <a:lnTo>
                      <a:pt x="53" y="11"/>
                    </a:lnTo>
                    <a:lnTo>
                      <a:pt x="70" y="13"/>
                    </a:lnTo>
                    <a:lnTo>
                      <a:pt x="78" y="9"/>
                    </a:lnTo>
                    <a:lnTo>
                      <a:pt x="85" y="3"/>
                    </a:lnTo>
                    <a:lnTo>
                      <a:pt x="91" y="9"/>
                    </a:lnTo>
                    <a:lnTo>
                      <a:pt x="127" y="6"/>
                    </a:lnTo>
                    <a:lnTo>
                      <a:pt x="153" y="0"/>
                    </a:lnTo>
                    <a:lnTo>
                      <a:pt x="172" y="6"/>
                    </a:lnTo>
                    <a:lnTo>
                      <a:pt x="190" y="13"/>
                    </a:lnTo>
                    <a:lnTo>
                      <a:pt x="197" y="22"/>
                    </a:lnTo>
                    <a:lnTo>
                      <a:pt x="195" y="30"/>
                    </a:lnTo>
                    <a:lnTo>
                      <a:pt x="193" y="40"/>
                    </a:lnTo>
                    <a:lnTo>
                      <a:pt x="201" y="52"/>
                    </a:lnTo>
                    <a:lnTo>
                      <a:pt x="207" y="57"/>
                    </a:lnTo>
                    <a:lnTo>
                      <a:pt x="217" y="62"/>
                    </a:lnTo>
                    <a:lnTo>
                      <a:pt x="226" y="63"/>
                    </a:lnTo>
                    <a:lnTo>
                      <a:pt x="234" y="58"/>
                    </a:lnTo>
                    <a:lnTo>
                      <a:pt x="241" y="63"/>
                    </a:lnTo>
                    <a:lnTo>
                      <a:pt x="239" y="74"/>
                    </a:lnTo>
                    <a:lnTo>
                      <a:pt x="239" y="82"/>
                    </a:lnTo>
                    <a:lnTo>
                      <a:pt x="235" y="84"/>
                    </a:lnTo>
                    <a:lnTo>
                      <a:pt x="224" y="86"/>
                    </a:lnTo>
                    <a:lnTo>
                      <a:pt x="223" y="92"/>
                    </a:lnTo>
                    <a:lnTo>
                      <a:pt x="224" y="99"/>
                    </a:lnTo>
                    <a:lnTo>
                      <a:pt x="226" y="105"/>
                    </a:lnTo>
                    <a:lnTo>
                      <a:pt x="225" y="109"/>
                    </a:lnTo>
                    <a:lnTo>
                      <a:pt x="204" y="105"/>
                    </a:lnTo>
                    <a:lnTo>
                      <a:pt x="193" y="104"/>
                    </a:lnTo>
                    <a:lnTo>
                      <a:pt x="187" y="99"/>
                    </a:lnTo>
                    <a:lnTo>
                      <a:pt x="180" y="95"/>
                    </a:lnTo>
                    <a:lnTo>
                      <a:pt x="177" y="106"/>
                    </a:lnTo>
                    <a:lnTo>
                      <a:pt x="166" y="126"/>
                    </a:lnTo>
                    <a:lnTo>
                      <a:pt x="165" y="135"/>
                    </a:lnTo>
                    <a:lnTo>
                      <a:pt x="163" y="140"/>
                    </a:lnTo>
                    <a:lnTo>
                      <a:pt x="155" y="135"/>
                    </a:lnTo>
                    <a:lnTo>
                      <a:pt x="149" y="127"/>
                    </a:lnTo>
                    <a:lnTo>
                      <a:pt x="138" y="119"/>
                    </a:lnTo>
                    <a:lnTo>
                      <a:pt x="132" y="99"/>
                    </a:lnTo>
                    <a:lnTo>
                      <a:pt x="121" y="105"/>
                    </a:lnTo>
                    <a:lnTo>
                      <a:pt x="115" y="114"/>
                    </a:lnTo>
                    <a:lnTo>
                      <a:pt x="115" y="122"/>
                    </a:lnTo>
                    <a:lnTo>
                      <a:pt x="111" y="127"/>
                    </a:lnTo>
                    <a:lnTo>
                      <a:pt x="100" y="136"/>
                    </a:lnTo>
                    <a:lnTo>
                      <a:pt x="88" y="136"/>
                    </a:lnTo>
                    <a:lnTo>
                      <a:pt x="63" y="142"/>
                    </a:lnTo>
                    <a:lnTo>
                      <a:pt x="54" y="14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77" name="Freeform 176"/>
              <p:cNvSpPr>
                <a:spLocks noChangeAspect="1"/>
              </p:cNvSpPr>
              <p:nvPr/>
            </p:nvSpPr>
            <p:spPr bwMode="gray">
              <a:xfrm>
                <a:off x="4809331" y="2649885"/>
                <a:ext cx="58738" cy="50800"/>
              </a:xfrm>
              <a:custGeom>
                <a:avLst/>
                <a:gdLst/>
                <a:ahLst/>
                <a:cxnLst>
                  <a:cxn ang="0">
                    <a:pos x="158" y="160"/>
                  </a:cxn>
                  <a:cxn ang="0">
                    <a:pos x="150" y="161"/>
                  </a:cxn>
                  <a:cxn ang="0">
                    <a:pos x="140" y="159"/>
                  </a:cxn>
                  <a:cxn ang="0">
                    <a:pos x="131" y="152"/>
                  </a:cxn>
                  <a:cxn ang="0">
                    <a:pos x="120" y="146"/>
                  </a:cxn>
                  <a:cxn ang="0">
                    <a:pos x="123" y="140"/>
                  </a:cxn>
                  <a:cxn ang="0">
                    <a:pos x="118" y="138"/>
                  </a:cxn>
                  <a:cxn ang="0">
                    <a:pos x="118" y="114"/>
                  </a:cxn>
                  <a:cxn ang="0">
                    <a:pos x="112" y="114"/>
                  </a:cxn>
                  <a:cxn ang="0">
                    <a:pos x="106" y="122"/>
                  </a:cxn>
                  <a:cxn ang="0">
                    <a:pos x="101" y="129"/>
                  </a:cxn>
                  <a:cxn ang="0">
                    <a:pos x="91" y="129"/>
                  </a:cxn>
                  <a:cxn ang="0">
                    <a:pos x="81" y="125"/>
                  </a:cxn>
                  <a:cxn ang="0">
                    <a:pos x="79" y="110"/>
                  </a:cxn>
                  <a:cxn ang="0">
                    <a:pos x="76" y="101"/>
                  </a:cxn>
                  <a:cxn ang="0">
                    <a:pos x="70" y="96"/>
                  </a:cxn>
                  <a:cxn ang="0">
                    <a:pos x="58" y="92"/>
                  </a:cxn>
                  <a:cxn ang="0">
                    <a:pos x="44" y="84"/>
                  </a:cxn>
                  <a:cxn ang="0">
                    <a:pos x="34" y="80"/>
                  </a:cxn>
                  <a:cxn ang="0">
                    <a:pos x="25" y="62"/>
                  </a:cxn>
                  <a:cxn ang="0">
                    <a:pos x="13" y="63"/>
                  </a:cxn>
                  <a:cxn ang="0">
                    <a:pos x="2" y="58"/>
                  </a:cxn>
                  <a:cxn ang="0">
                    <a:pos x="0" y="48"/>
                  </a:cxn>
                  <a:cxn ang="0">
                    <a:pos x="0" y="32"/>
                  </a:cxn>
                  <a:cxn ang="0">
                    <a:pos x="0" y="28"/>
                  </a:cxn>
                  <a:cxn ang="0">
                    <a:pos x="23" y="15"/>
                  </a:cxn>
                  <a:cxn ang="0">
                    <a:pos x="33" y="11"/>
                  </a:cxn>
                  <a:cxn ang="0">
                    <a:pos x="39" y="10"/>
                  </a:cxn>
                  <a:cxn ang="0">
                    <a:pos x="39" y="11"/>
                  </a:cxn>
                  <a:cxn ang="0">
                    <a:pos x="56" y="20"/>
                  </a:cxn>
                  <a:cxn ang="0">
                    <a:pos x="76" y="14"/>
                  </a:cxn>
                  <a:cxn ang="0">
                    <a:pos x="91" y="4"/>
                  </a:cxn>
                  <a:cxn ang="0">
                    <a:pos x="103" y="1"/>
                  </a:cxn>
                  <a:cxn ang="0">
                    <a:pos x="118" y="0"/>
                  </a:cxn>
                  <a:cxn ang="0">
                    <a:pos x="124" y="6"/>
                  </a:cxn>
                  <a:cxn ang="0">
                    <a:pos x="127" y="6"/>
                  </a:cxn>
                  <a:cxn ang="0">
                    <a:pos x="129" y="14"/>
                  </a:cxn>
                  <a:cxn ang="0">
                    <a:pos x="138" y="17"/>
                  </a:cxn>
                  <a:cxn ang="0">
                    <a:pos x="146" y="19"/>
                  </a:cxn>
                  <a:cxn ang="0">
                    <a:pos x="155" y="24"/>
                  </a:cxn>
                  <a:cxn ang="0">
                    <a:pos x="155" y="35"/>
                  </a:cxn>
                  <a:cxn ang="0">
                    <a:pos x="154" y="44"/>
                  </a:cxn>
                  <a:cxn ang="0">
                    <a:pos x="156" y="55"/>
                  </a:cxn>
                  <a:cxn ang="0">
                    <a:pos x="163" y="62"/>
                  </a:cxn>
                  <a:cxn ang="0">
                    <a:pos x="176" y="62"/>
                  </a:cxn>
                  <a:cxn ang="0">
                    <a:pos x="181" y="68"/>
                  </a:cxn>
                  <a:cxn ang="0">
                    <a:pos x="182" y="79"/>
                  </a:cxn>
                  <a:cxn ang="0">
                    <a:pos x="188" y="87"/>
                  </a:cxn>
                  <a:cxn ang="0">
                    <a:pos x="188" y="96"/>
                  </a:cxn>
                  <a:cxn ang="0">
                    <a:pos x="177" y="112"/>
                  </a:cxn>
                  <a:cxn ang="0">
                    <a:pos x="171" y="112"/>
                  </a:cxn>
                  <a:cxn ang="0">
                    <a:pos x="161" y="119"/>
                  </a:cxn>
                  <a:cxn ang="0">
                    <a:pos x="155" y="132"/>
                  </a:cxn>
                  <a:cxn ang="0">
                    <a:pos x="158" y="145"/>
                  </a:cxn>
                  <a:cxn ang="0">
                    <a:pos x="158" y="160"/>
                  </a:cxn>
                </a:cxnLst>
                <a:rect l="0" t="0" r="r" b="b"/>
                <a:pathLst>
                  <a:path w="188" h="161">
                    <a:moveTo>
                      <a:pt x="158" y="160"/>
                    </a:moveTo>
                    <a:lnTo>
                      <a:pt x="150" y="161"/>
                    </a:lnTo>
                    <a:lnTo>
                      <a:pt x="140" y="159"/>
                    </a:lnTo>
                    <a:lnTo>
                      <a:pt x="131" y="152"/>
                    </a:lnTo>
                    <a:lnTo>
                      <a:pt x="120" y="146"/>
                    </a:lnTo>
                    <a:lnTo>
                      <a:pt x="123" y="140"/>
                    </a:lnTo>
                    <a:lnTo>
                      <a:pt x="118" y="138"/>
                    </a:lnTo>
                    <a:lnTo>
                      <a:pt x="118" y="114"/>
                    </a:lnTo>
                    <a:lnTo>
                      <a:pt x="112" y="114"/>
                    </a:lnTo>
                    <a:lnTo>
                      <a:pt x="106" y="122"/>
                    </a:lnTo>
                    <a:lnTo>
                      <a:pt x="101" y="129"/>
                    </a:lnTo>
                    <a:lnTo>
                      <a:pt x="91" y="129"/>
                    </a:lnTo>
                    <a:lnTo>
                      <a:pt x="81" y="125"/>
                    </a:lnTo>
                    <a:lnTo>
                      <a:pt x="79" y="110"/>
                    </a:lnTo>
                    <a:lnTo>
                      <a:pt x="76" y="101"/>
                    </a:lnTo>
                    <a:lnTo>
                      <a:pt x="70" y="96"/>
                    </a:lnTo>
                    <a:lnTo>
                      <a:pt x="58" y="92"/>
                    </a:lnTo>
                    <a:lnTo>
                      <a:pt x="44" y="84"/>
                    </a:lnTo>
                    <a:lnTo>
                      <a:pt x="34" y="80"/>
                    </a:lnTo>
                    <a:lnTo>
                      <a:pt x="25" y="62"/>
                    </a:lnTo>
                    <a:lnTo>
                      <a:pt x="13" y="63"/>
                    </a:lnTo>
                    <a:lnTo>
                      <a:pt x="2" y="58"/>
                    </a:lnTo>
                    <a:lnTo>
                      <a:pt x="0" y="48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23" y="15"/>
                    </a:lnTo>
                    <a:lnTo>
                      <a:pt x="33" y="11"/>
                    </a:lnTo>
                    <a:lnTo>
                      <a:pt x="39" y="10"/>
                    </a:lnTo>
                    <a:lnTo>
                      <a:pt x="39" y="11"/>
                    </a:lnTo>
                    <a:lnTo>
                      <a:pt x="56" y="20"/>
                    </a:lnTo>
                    <a:lnTo>
                      <a:pt x="76" y="14"/>
                    </a:lnTo>
                    <a:lnTo>
                      <a:pt x="91" y="4"/>
                    </a:lnTo>
                    <a:lnTo>
                      <a:pt x="103" y="1"/>
                    </a:lnTo>
                    <a:lnTo>
                      <a:pt x="118" y="0"/>
                    </a:lnTo>
                    <a:lnTo>
                      <a:pt x="124" y="6"/>
                    </a:lnTo>
                    <a:lnTo>
                      <a:pt x="127" y="6"/>
                    </a:lnTo>
                    <a:lnTo>
                      <a:pt x="129" y="14"/>
                    </a:lnTo>
                    <a:lnTo>
                      <a:pt x="138" y="17"/>
                    </a:lnTo>
                    <a:lnTo>
                      <a:pt x="146" y="19"/>
                    </a:lnTo>
                    <a:lnTo>
                      <a:pt x="155" y="24"/>
                    </a:lnTo>
                    <a:lnTo>
                      <a:pt x="155" y="35"/>
                    </a:lnTo>
                    <a:lnTo>
                      <a:pt x="154" y="44"/>
                    </a:lnTo>
                    <a:lnTo>
                      <a:pt x="156" y="55"/>
                    </a:lnTo>
                    <a:lnTo>
                      <a:pt x="163" y="62"/>
                    </a:lnTo>
                    <a:lnTo>
                      <a:pt x="176" y="62"/>
                    </a:lnTo>
                    <a:lnTo>
                      <a:pt x="181" y="68"/>
                    </a:lnTo>
                    <a:lnTo>
                      <a:pt x="182" y="79"/>
                    </a:lnTo>
                    <a:lnTo>
                      <a:pt x="188" y="87"/>
                    </a:lnTo>
                    <a:lnTo>
                      <a:pt x="188" y="96"/>
                    </a:lnTo>
                    <a:lnTo>
                      <a:pt x="177" y="112"/>
                    </a:lnTo>
                    <a:lnTo>
                      <a:pt x="171" y="112"/>
                    </a:lnTo>
                    <a:lnTo>
                      <a:pt x="161" y="119"/>
                    </a:lnTo>
                    <a:lnTo>
                      <a:pt x="155" y="132"/>
                    </a:lnTo>
                    <a:lnTo>
                      <a:pt x="158" y="145"/>
                    </a:lnTo>
                    <a:lnTo>
                      <a:pt x="158" y="16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78" name="Freeform 177"/>
              <p:cNvSpPr>
                <a:spLocks noChangeAspect="1"/>
              </p:cNvSpPr>
              <p:nvPr/>
            </p:nvSpPr>
            <p:spPr bwMode="gray">
              <a:xfrm>
                <a:off x="4601369" y="2848322"/>
                <a:ext cx="217488" cy="173038"/>
              </a:xfrm>
              <a:custGeom>
                <a:avLst/>
                <a:gdLst/>
                <a:ahLst/>
                <a:cxnLst>
                  <a:cxn ang="0">
                    <a:pos x="100" y="440"/>
                  </a:cxn>
                  <a:cxn ang="0">
                    <a:pos x="128" y="410"/>
                  </a:cxn>
                  <a:cxn ang="0">
                    <a:pos x="112" y="376"/>
                  </a:cxn>
                  <a:cxn ang="0">
                    <a:pos x="124" y="340"/>
                  </a:cxn>
                  <a:cxn ang="0">
                    <a:pos x="106" y="301"/>
                  </a:cxn>
                  <a:cxn ang="0">
                    <a:pos x="135" y="280"/>
                  </a:cxn>
                  <a:cxn ang="0">
                    <a:pos x="129" y="253"/>
                  </a:cxn>
                  <a:cxn ang="0">
                    <a:pos x="138" y="210"/>
                  </a:cxn>
                  <a:cxn ang="0">
                    <a:pos x="169" y="165"/>
                  </a:cxn>
                  <a:cxn ang="0">
                    <a:pos x="155" y="138"/>
                  </a:cxn>
                  <a:cxn ang="0">
                    <a:pos x="110" y="140"/>
                  </a:cxn>
                  <a:cxn ang="0">
                    <a:pos x="65" y="135"/>
                  </a:cxn>
                  <a:cxn ang="0">
                    <a:pos x="36" y="131"/>
                  </a:cxn>
                  <a:cxn ang="0">
                    <a:pos x="25" y="128"/>
                  </a:cxn>
                  <a:cxn ang="0">
                    <a:pos x="26" y="108"/>
                  </a:cxn>
                  <a:cxn ang="0">
                    <a:pos x="27" y="82"/>
                  </a:cxn>
                  <a:cxn ang="0">
                    <a:pos x="16" y="70"/>
                  </a:cxn>
                  <a:cxn ang="0">
                    <a:pos x="17" y="34"/>
                  </a:cxn>
                  <a:cxn ang="0">
                    <a:pos x="56" y="22"/>
                  </a:cxn>
                  <a:cxn ang="0">
                    <a:pos x="84" y="0"/>
                  </a:cxn>
                  <a:cxn ang="0">
                    <a:pos x="129" y="14"/>
                  </a:cxn>
                  <a:cxn ang="0">
                    <a:pos x="192" y="9"/>
                  </a:cxn>
                  <a:cxn ang="0">
                    <a:pos x="256" y="22"/>
                  </a:cxn>
                  <a:cxn ang="0">
                    <a:pos x="306" y="18"/>
                  </a:cxn>
                  <a:cxn ang="0">
                    <a:pos x="366" y="23"/>
                  </a:cxn>
                  <a:cxn ang="0">
                    <a:pos x="408" y="27"/>
                  </a:cxn>
                  <a:cxn ang="0">
                    <a:pos x="440" y="54"/>
                  </a:cxn>
                  <a:cxn ang="0">
                    <a:pos x="469" y="69"/>
                  </a:cxn>
                  <a:cxn ang="0">
                    <a:pos x="537" y="81"/>
                  </a:cxn>
                  <a:cxn ang="0">
                    <a:pos x="564" y="75"/>
                  </a:cxn>
                  <a:cxn ang="0">
                    <a:pos x="589" y="97"/>
                  </a:cxn>
                  <a:cxn ang="0">
                    <a:pos x="597" y="92"/>
                  </a:cxn>
                  <a:cxn ang="0">
                    <a:pos x="644" y="101"/>
                  </a:cxn>
                  <a:cxn ang="0">
                    <a:pos x="678" y="100"/>
                  </a:cxn>
                  <a:cxn ang="0">
                    <a:pos x="678" y="114"/>
                  </a:cxn>
                  <a:cxn ang="0">
                    <a:pos x="675" y="144"/>
                  </a:cxn>
                  <a:cxn ang="0">
                    <a:pos x="564" y="203"/>
                  </a:cxn>
                  <a:cxn ang="0">
                    <a:pos x="543" y="232"/>
                  </a:cxn>
                  <a:cxn ang="0">
                    <a:pos x="495" y="300"/>
                  </a:cxn>
                  <a:cxn ang="0">
                    <a:pos x="489" y="321"/>
                  </a:cxn>
                  <a:cxn ang="0">
                    <a:pos x="497" y="343"/>
                  </a:cxn>
                  <a:cxn ang="0">
                    <a:pos x="515" y="354"/>
                  </a:cxn>
                  <a:cxn ang="0">
                    <a:pos x="500" y="378"/>
                  </a:cxn>
                  <a:cxn ang="0">
                    <a:pos x="474" y="409"/>
                  </a:cxn>
                  <a:cxn ang="0">
                    <a:pos x="465" y="435"/>
                  </a:cxn>
                  <a:cxn ang="0">
                    <a:pos x="415" y="463"/>
                  </a:cxn>
                  <a:cxn ang="0">
                    <a:pos x="398" y="496"/>
                  </a:cxn>
                  <a:cxn ang="0">
                    <a:pos x="364" y="501"/>
                  </a:cxn>
                  <a:cxn ang="0">
                    <a:pos x="318" y="500"/>
                  </a:cxn>
                  <a:cxn ang="0">
                    <a:pos x="258" y="515"/>
                  </a:cxn>
                  <a:cxn ang="0">
                    <a:pos x="226" y="529"/>
                  </a:cxn>
                  <a:cxn ang="0">
                    <a:pos x="210" y="545"/>
                  </a:cxn>
                  <a:cxn ang="0">
                    <a:pos x="170" y="517"/>
                  </a:cxn>
                  <a:cxn ang="0">
                    <a:pos x="161" y="491"/>
                  </a:cxn>
                  <a:cxn ang="0">
                    <a:pos x="148" y="477"/>
                  </a:cxn>
                  <a:cxn ang="0">
                    <a:pos x="105" y="468"/>
                  </a:cxn>
                </a:cxnLst>
                <a:rect l="0" t="0" r="r" b="b"/>
                <a:pathLst>
                  <a:path w="687" h="545">
                    <a:moveTo>
                      <a:pt x="105" y="468"/>
                    </a:moveTo>
                    <a:lnTo>
                      <a:pt x="101" y="451"/>
                    </a:lnTo>
                    <a:lnTo>
                      <a:pt x="100" y="440"/>
                    </a:lnTo>
                    <a:lnTo>
                      <a:pt x="107" y="430"/>
                    </a:lnTo>
                    <a:lnTo>
                      <a:pt x="122" y="419"/>
                    </a:lnTo>
                    <a:lnTo>
                      <a:pt x="128" y="410"/>
                    </a:lnTo>
                    <a:lnTo>
                      <a:pt x="126" y="399"/>
                    </a:lnTo>
                    <a:lnTo>
                      <a:pt x="116" y="388"/>
                    </a:lnTo>
                    <a:lnTo>
                      <a:pt x="112" y="376"/>
                    </a:lnTo>
                    <a:lnTo>
                      <a:pt x="113" y="361"/>
                    </a:lnTo>
                    <a:lnTo>
                      <a:pt x="121" y="349"/>
                    </a:lnTo>
                    <a:lnTo>
                      <a:pt x="124" y="340"/>
                    </a:lnTo>
                    <a:lnTo>
                      <a:pt x="122" y="335"/>
                    </a:lnTo>
                    <a:lnTo>
                      <a:pt x="110" y="317"/>
                    </a:lnTo>
                    <a:lnTo>
                      <a:pt x="106" y="301"/>
                    </a:lnTo>
                    <a:lnTo>
                      <a:pt x="114" y="295"/>
                    </a:lnTo>
                    <a:lnTo>
                      <a:pt x="126" y="291"/>
                    </a:lnTo>
                    <a:lnTo>
                      <a:pt x="135" y="280"/>
                    </a:lnTo>
                    <a:lnTo>
                      <a:pt x="137" y="270"/>
                    </a:lnTo>
                    <a:lnTo>
                      <a:pt x="129" y="260"/>
                    </a:lnTo>
                    <a:lnTo>
                      <a:pt x="129" y="253"/>
                    </a:lnTo>
                    <a:lnTo>
                      <a:pt x="135" y="238"/>
                    </a:lnTo>
                    <a:lnTo>
                      <a:pt x="138" y="224"/>
                    </a:lnTo>
                    <a:lnTo>
                      <a:pt x="138" y="210"/>
                    </a:lnTo>
                    <a:lnTo>
                      <a:pt x="139" y="200"/>
                    </a:lnTo>
                    <a:lnTo>
                      <a:pt x="161" y="178"/>
                    </a:lnTo>
                    <a:lnTo>
                      <a:pt x="169" y="165"/>
                    </a:lnTo>
                    <a:lnTo>
                      <a:pt x="169" y="156"/>
                    </a:lnTo>
                    <a:lnTo>
                      <a:pt x="161" y="147"/>
                    </a:lnTo>
                    <a:lnTo>
                      <a:pt x="155" y="138"/>
                    </a:lnTo>
                    <a:lnTo>
                      <a:pt x="140" y="134"/>
                    </a:lnTo>
                    <a:lnTo>
                      <a:pt x="123" y="134"/>
                    </a:lnTo>
                    <a:lnTo>
                      <a:pt x="110" y="140"/>
                    </a:lnTo>
                    <a:lnTo>
                      <a:pt x="86" y="138"/>
                    </a:lnTo>
                    <a:lnTo>
                      <a:pt x="73" y="140"/>
                    </a:lnTo>
                    <a:lnTo>
                      <a:pt x="65" y="135"/>
                    </a:lnTo>
                    <a:lnTo>
                      <a:pt x="64" y="123"/>
                    </a:lnTo>
                    <a:lnTo>
                      <a:pt x="51" y="125"/>
                    </a:lnTo>
                    <a:lnTo>
                      <a:pt x="36" y="131"/>
                    </a:lnTo>
                    <a:lnTo>
                      <a:pt x="27" y="141"/>
                    </a:lnTo>
                    <a:lnTo>
                      <a:pt x="25" y="136"/>
                    </a:lnTo>
                    <a:lnTo>
                      <a:pt x="25" y="128"/>
                    </a:lnTo>
                    <a:lnTo>
                      <a:pt x="28" y="116"/>
                    </a:lnTo>
                    <a:lnTo>
                      <a:pt x="35" y="107"/>
                    </a:lnTo>
                    <a:lnTo>
                      <a:pt x="26" y="108"/>
                    </a:lnTo>
                    <a:lnTo>
                      <a:pt x="30" y="100"/>
                    </a:lnTo>
                    <a:lnTo>
                      <a:pt x="20" y="95"/>
                    </a:lnTo>
                    <a:lnTo>
                      <a:pt x="27" y="82"/>
                    </a:lnTo>
                    <a:lnTo>
                      <a:pt x="22" y="82"/>
                    </a:lnTo>
                    <a:lnTo>
                      <a:pt x="15" y="79"/>
                    </a:lnTo>
                    <a:lnTo>
                      <a:pt x="16" y="70"/>
                    </a:lnTo>
                    <a:lnTo>
                      <a:pt x="0" y="57"/>
                    </a:lnTo>
                    <a:lnTo>
                      <a:pt x="5" y="43"/>
                    </a:lnTo>
                    <a:lnTo>
                      <a:pt x="17" y="34"/>
                    </a:lnTo>
                    <a:lnTo>
                      <a:pt x="28" y="31"/>
                    </a:lnTo>
                    <a:lnTo>
                      <a:pt x="47" y="31"/>
                    </a:lnTo>
                    <a:lnTo>
                      <a:pt x="56" y="22"/>
                    </a:lnTo>
                    <a:lnTo>
                      <a:pt x="54" y="16"/>
                    </a:lnTo>
                    <a:lnTo>
                      <a:pt x="62" y="5"/>
                    </a:lnTo>
                    <a:lnTo>
                      <a:pt x="84" y="0"/>
                    </a:lnTo>
                    <a:lnTo>
                      <a:pt x="95" y="3"/>
                    </a:lnTo>
                    <a:lnTo>
                      <a:pt x="110" y="10"/>
                    </a:lnTo>
                    <a:lnTo>
                      <a:pt x="129" y="14"/>
                    </a:lnTo>
                    <a:lnTo>
                      <a:pt x="170" y="12"/>
                    </a:lnTo>
                    <a:lnTo>
                      <a:pt x="180" y="7"/>
                    </a:lnTo>
                    <a:lnTo>
                      <a:pt x="192" y="9"/>
                    </a:lnTo>
                    <a:lnTo>
                      <a:pt x="212" y="15"/>
                    </a:lnTo>
                    <a:lnTo>
                      <a:pt x="223" y="15"/>
                    </a:lnTo>
                    <a:lnTo>
                      <a:pt x="256" y="22"/>
                    </a:lnTo>
                    <a:lnTo>
                      <a:pt x="273" y="23"/>
                    </a:lnTo>
                    <a:lnTo>
                      <a:pt x="293" y="22"/>
                    </a:lnTo>
                    <a:lnTo>
                      <a:pt x="306" y="18"/>
                    </a:lnTo>
                    <a:lnTo>
                      <a:pt x="317" y="22"/>
                    </a:lnTo>
                    <a:lnTo>
                      <a:pt x="337" y="25"/>
                    </a:lnTo>
                    <a:lnTo>
                      <a:pt x="366" y="23"/>
                    </a:lnTo>
                    <a:lnTo>
                      <a:pt x="381" y="28"/>
                    </a:lnTo>
                    <a:lnTo>
                      <a:pt x="398" y="30"/>
                    </a:lnTo>
                    <a:lnTo>
                      <a:pt x="408" y="27"/>
                    </a:lnTo>
                    <a:lnTo>
                      <a:pt x="409" y="31"/>
                    </a:lnTo>
                    <a:lnTo>
                      <a:pt x="431" y="49"/>
                    </a:lnTo>
                    <a:lnTo>
                      <a:pt x="440" y="54"/>
                    </a:lnTo>
                    <a:lnTo>
                      <a:pt x="451" y="57"/>
                    </a:lnTo>
                    <a:lnTo>
                      <a:pt x="462" y="63"/>
                    </a:lnTo>
                    <a:lnTo>
                      <a:pt x="469" y="69"/>
                    </a:lnTo>
                    <a:lnTo>
                      <a:pt x="515" y="81"/>
                    </a:lnTo>
                    <a:lnTo>
                      <a:pt x="531" y="82"/>
                    </a:lnTo>
                    <a:lnTo>
                      <a:pt x="537" y="81"/>
                    </a:lnTo>
                    <a:lnTo>
                      <a:pt x="547" y="74"/>
                    </a:lnTo>
                    <a:lnTo>
                      <a:pt x="555" y="73"/>
                    </a:lnTo>
                    <a:lnTo>
                      <a:pt x="564" y="75"/>
                    </a:lnTo>
                    <a:lnTo>
                      <a:pt x="579" y="85"/>
                    </a:lnTo>
                    <a:lnTo>
                      <a:pt x="585" y="92"/>
                    </a:lnTo>
                    <a:lnTo>
                      <a:pt x="589" y="97"/>
                    </a:lnTo>
                    <a:lnTo>
                      <a:pt x="595" y="98"/>
                    </a:lnTo>
                    <a:lnTo>
                      <a:pt x="600" y="96"/>
                    </a:lnTo>
                    <a:lnTo>
                      <a:pt x="597" y="92"/>
                    </a:lnTo>
                    <a:lnTo>
                      <a:pt x="608" y="101"/>
                    </a:lnTo>
                    <a:lnTo>
                      <a:pt x="616" y="103"/>
                    </a:lnTo>
                    <a:lnTo>
                      <a:pt x="644" y="101"/>
                    </a:lnTo>
                    <a:lnTo>
                      <a:pt x="657" y="98"/>
                    </a:lnTo>
                    <a:lnTo>
                      <a:pt x="671" y="98"/>
                    </a:lnTo>
                    <a:lnTo>
                      <a:pt x="678" y="100"/>
                    </a:lnTo>
                    <a:lnTo>
                      <a:pt x="686" y="102"/>
                    </a:lnTo>
                    <a:lnTo>
                      <a:pt x="687" y="109"/>
                    </a:lnTo>
                    <a:lnTo>
                      <a:pt x="678" y="114"/>
                    </a:lnTo>
                    <a:lnTo>
                      <a:pt x="680" y="124"/>
                    </a:lnTo>
                    <a:lnTo>
                      <a:pt x="683" y="133"/>
                    </a:lnTo>
                    <a:lnTo>
                      <a:pt x="675" y="144"/>
                    </a:lnTo>
                    <a:lnTo>
                      <a:pt x="637" y="167"/>
                    </a:lnTo>
                    <a:lnTo>
                      <a:pt x="623" y="181"/>
                    </a:lnTo>
                    <a:lnTo>
                      <a:pt x="564" y="203"/>
                    </a:lnTo>
                    <a:lnTo>
                      <a:pt x="552" y="217"/>
                    </a:lnTo>
                    <a:lnTo>
                      <a:pt x="552" y="224"/>
                    </a:lnTo>
                    <a:lnTo>
                      <a:pt x="543" y="232"/>
                    </a:lnTo>
                    <a:lnTo>
                      <a:pt x="531" y="247"/>
                    </a:lnTo>
                    <a:lnTo>
                      <a:pt x="515" y="274"/>
                    </a:lnTo>
                    <a:lnTo>
                      <a:pt x="495" y="300"/>
                    </a:lnTo>
                    <a:lnTo>
                      <a:pt x="492" y="312"/>
                    </a:lnTo>
                    <a:lnTo>
                      <a:pt x="489" y="318"/>
                    </a:lnTo>
                    <a:lnTo>
                      <a:pt x="489" y="321"/>
                    </a:lnTo>
                    <a:lnTo>
                      <a:pt x="492" y="327"/>
                    </a:lnTo>
                    <a:lnTo>
                      <a:pt x="494" y="337"/>
                    </a:lnTo>
                    <a:lnTo>
                      <a:pt x="497" y="343"/>
                    </a:lnTo>
                    <a:lnTo>
                      <a:pt x="501" y="349"/>
                    </a:lnTo>
                    <a:lnTo>
                      <a:pt x="506" y="351"/>
                    </a:lnTo>
                    <a:lnTo>
                      <a:pt x="515" y="354"/>
                    </a:lnTo>
                    <a:lnTo>
                      <a:pt x="519" y="360"/>
                    </a:lnTo>
                    <a:lnTo>
                      <a:pt x="514" y="369"/>
                    </a:lnTo>
                    <a:lnTo>
                      <a:pt x="500" y="378"/>
                    </a:lnTo>
                    <a:lnTo>
                      <a:pt x="492" y="385"/>
                    </a:lnTo>
                    <a:lnTo>
                      <a:pt x="484" y="392"/>
                    </a:lnTo>
                    <a:lnTo>
                      <a:pt x="474" y="409"/>
                    </a:lnTo>
                    <a:lnTo>
                      <a:pt x="472" y="418"/>
                    </a:lnTo>
                    <a:lnTo>
                      <a:pt x="467" y="426"/>
                    </a:lnTo>
                    <a:lnTo>
                      <a:pt x="465" y="435"/>
                    </a:lnTo>
                    <a:lnTo>
                      <a:pt x="467" y="441"/>
                    </a:lnTo>
                    <a:lnTo>
                      <a:pt x="435" y="445"/>
                    </a:lnTo>
                    <a:lnTo>
                      <a:pt x="415" y="463"/>
                    </a:lnTo>
                    <a:lnTo>
                      <a:pt x="408" y="482"/>
                    </a:lnTo>
                    <a:lnTo>
                      <a:pt x="404" y="490"/>
                    </a:lnTo>
                    <a:lnTo>
                      <a:pt x="398" y="496"/>
                    </a:lnTo>
                    <a:lnTo>
                      <a:pt x="391" y="498"/>
                    </a:lnTo>
                    <a:lnTo>
                      <a:pt x="379" y="495"/>
                    </a:lnTo>
                    <a:lnTo>
                      <a:pt x="364" y="501"/>
                    </a:lnTo>
                    <a:lnTo>
                      <a:pt x="350" y="501"/>
                    </a:lnTo>
                    <a:lnTo>
                      <a:pt x="334" y="498"/>
                    </a:lnTo>
                    <a:lnTo>
                      <a:pt x="318" y="500"/>
                    </a:lnTo>
                    <a:lnTo>
                      <a:pt x="306" y="498"/>
                    </a:lnTo>
                    <a:lnTo>
                      <a:pt x="269" y="502"/>
                    </a:lnTo>
                    <a:lnTo>
                      <a:pt x="258" y="515"/>
                    </a:lnTo>
                    <a:lnTo>
                      <a:pt x="246" y="516"/>
                    </a:lnTo>
                    <a:lnTo>
                      <a:pt x="234" y="521"/>
                    </a:lnTo>
                    <a:lnTo>
                      <a:pt x="226" y="529"/>
                    </a:lnTo>
                    <a:lnTo>
                      <a:pt x="223" y="536"/>
                    </a:lnTo>
                    <a:lnTo>
                      <a:pt x="218" y="541"/>
                    </a:lnTo>
                    <a:lnTo>
                      <a:pt x="210" y="545"/>
                    </a:lnTo>
                    <a:lnTo>
                      <a:pt x="193" y="542"/>
                    </a:lnTo>
                    <a:lnTo>
                      <a:pt x="181" y="533"/>
                    </a:lnTo>
                    <a:lnTo>
                      <a:pt x="170" y="517"/>
                    </a:lnTo>
                    <a:lnTo>
                      <a:pt x="169" y="509"/>
                    </a:lnTo>
                    <a:lnTo>
                      <a:pt x="161" y="502"/>
                    </a:lnTo>
                    <a:lnTo>
                      <a:pt x="161" y="491"/>
                    </a:lnTo>
                    <a:lnTo>
                      <a:pt x="160" y="488"/>
                    </a:lnTo>
                    <a:lnTo>
                      <a:pt x="156" y="484"/>
                    </a:lnTo>
                    <a:lnTo>
                      <a:pt x="148" y="477"/>
                    </a:lnTo>
                    <a:lnTo>
                      <a:pt x="133" y="468"/>
                    </a:lnTo>
                    <a:lnTo>
                      <a:pt x="126" y="467"/>
                    </a:lnTo>
                    <a:lnTo>
                      <a:pt x="105" y="46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79" name="Freeform 178"/>
              <p:cNvSpPr>
                <a:spLocks noChangeAspect="1"/>
              </p:cNvSpPr>
              <p:nvPr/>
            </p:nvSpPr>
            <p:spPr bwMode="gray">
              <a:xfrm>
                <a:off x="4820444" y="2592735"/>
                <a:ext cx="63500" cy="76200"/>
              </a:xfrm>
              <a:custGeom>
                <a:avLst/>
                <a:gdLst/>
                <a:ahLst/>
                <a:cxnLst>
                  <a:cxn ang="0">
                    <a:pos x="124" y="239"/>
                  </a:cxn>
                  <a:cxn ang="0">
                    <a:pos x="116" y="221"/>
                  </a:cxn>
                  <a:cxn ang="0">
                    <a:pos x="116" y="201"/>
                  </a:cxn>
                  <a:cxn ang="0">
                    <a:pos x="99" y="194"/>
                  </a:cxn>
                  <a:cxn ang="0">
                    <a:pos x="88" y="183"/>
                  </a:cxn>
                  <a:cxn ang="0">
                    <a:pos x="79" y="177"/>
                  </a:cxn>
                  <a:cxn ang="0">
                    <a:pos x="52" y="181"/>
                  </a:cxn>
                  <a:cxn ang="0">
                    <a:pos x="17" y="197"/>
                  </a:cxn>
                  <a:cxn ang="0">
                    <a:pos x="0" y="187"/>
                  </a:cxn>
                  <a:cxn ang="0">
                    <a:pos x="10" y="185"/>
                  </a:cxn>
                  <a:cxn ang="0">
                    <a:pos x="30" y="186"/>
                  </a:cxn>
                  <a:cxn ang="0">
                    <a:pos x="42" y="182"/>
                  </a:cxn>
                  <a:cxn ang="0">
                    <a:pos x="25" y="182"/>
                  </a:cxn>
                  <a:cxn ang="0">
                    <a:pos x="24" y="172"/>
                  </a:cxn>
                  <a:cxn ang="0">
                    <a:pos x="54" y="162"/>
                  </a:cxn>
                  <a:cxn ang="0">
                    <a:pos x="78" y="155"/>
                  </a:cxn>
                  <a:cxn ang="0">
                    <a:pos x="62" y="156"/>
                  </a:cxn>
                  <a:cxn ang="0">
                    <a:pos x="45" y="153"/>
                  </a:cxn>
                  <a:cxn ang="0">
                    <a:pos x="38" y="138"/>
                  </a:cxn>
                  <a:cxn ang="0">
                    <a:pos x="62" y="106"/>
                  </a:cxn>
                  <a:cxn ang="0">
                    <a:pos x="74" y="52"/>
                  </a:cxn>
                  <a:cxn ang="0">
                    <a:pos x="88" y="57"/>
                  </a:cxn>
                  <a:cxn ang="0">
                    <a:pos x="94" y="65"/>
                  </a:cxn>
                  <a:cxn ang="0">
                    <a:pos x="85" y="69"/>
                  </a:cxn>
                  <a:cxn ang="0">
                    <a:pos x="83" y="79"/>
                  </a:cxn>
                  <a:cxn ang="0">
                    <a:pos x="84" y="94"/>
                  </a:cxn>
                  <a:cxn ang="0">
                    <a:pos x="100" y="103"/>
                  </a:cxn>
                  <a:cxn ang="0">
                    <a:pos x="106" y="101"/>
                  </a:cxn>
                  <a:cxn ang="0">
                    <a:pos x="101" y="88"/>
                  </a:cxn>
                  <a:cxn ang="0">
                    <a:pos x="103" y="81"/>
                  </a:cxn>
                  <a:cxn ang="0">
                    <a:pos x="111" y="65"/>
                  </a:cxn>
                  <a:cxn ang="0">
                    <a:pos x="112" y="51"/>
                  </a:cxn>
                  <a:cxn ang="0">
                    <a:pos x="105" y="48"/>
                  </a:cxn>
                  <a:cxn ang="0">
                    <a:pos x="103" y="26"/>
                  </a:cxn>
                  <a:cxn ang="0">
                    <a:pos x="117" y="11"/>
                  </a:cxn>
                  <a:cxn ang="0">
                    <a:pos x="138" y="4"/>
                  </a:cxn>
                  <a:cxn ang="0">
                    <a:pos x="161" y="2"/>
                  </a:cxn>
                  <a:cxn ang="0">
                    <a:pos x="182" y="3"/>
                  </a:cxn>
                  <a:cxn ang="0">
                    <a:pos x="196" y="16"/>
                  </a:cxn>
                  <a:cxn ang="0">
                    <a:pos x="170" y="73"/>
                  </a:cxn>
                  <a:cxn ang="0">
                    <a:pos x="191" y="90"/>
                  </a:cxn>
                  <a:cxn ang="0">
                    <a:pos x="182" y="111"/>
                  </a:cxn>
                  <a:cxn ang="0">
                    <a:pos x="171" y="129"/>
                  </a:cxn>
                  <a:cxn ang="0">
                    <a:pos x="158" y="142"/>
                  </a:cxn>
                  <a:cxn ang="0">
                    <a:pos x="135" y="137"/>
                  </a:cxn>
                  <a:cxn ang="0">
                    <a:pos x="138" y="160"/>
                  </a:cxn>
                  <a:cxn ang="0">
                    <a:pos x="138" y="182"/>
                  </a:cxn>
                  <a:cxn ang="0">
                    <a:pos x="132" y="208"/>
                  </a:cxn>
                  <a:cxn ang="0">
                    <a:pos x="137" y="232"/>
                  </a:cxn>
                </a:cxnLst>
                <a:rect l="0" t="0" r="r" b="b"/>
                <a:pathLst>
                  <a:path w="196" h="239">
                    <a:moveTo>
                      <a:pt x="137" y="239"/>
                    </a:moveTo>
                    <a:lnTo>
                      <a:pt x="124" y="239"/>
                    </a:lnTo>
                    <a:lnTo>
                      <a:pt x="117" y="232"/>
                    </a:lnTo>
                    <a:lnTo>
                      <a:pt x="116" y="221"/>
                    </a:lnTo>
                    <a:lnTo>
                      <a:pt x="117" y="212"/>
                    </a:lnTo>
                    <a:lnTo>
                      <a:pt x="116" y="201"/>
                    </a:lnTo>
                    <a:lnTo>
                      <a:pt x="107" y="196"/>
                    </a:lnTo>
                    <a:lnTo>
                      <a:pt x="99" y="194"/>
                    </a:lnTo>
                    <a:lnTo>
                      <a:pt x="90" y="189"/>
                    </a:lnTo>
                    <a:lnTo>
                      <a:pt x="88" y="183"/>
                    </a:lnTo>
                    <a:lnTo>
                      <a:pt x="85" y="183"/>
                    </a:lnTo>
                    <a:lnTo>
                      <a:pt x="79" y="177"/>
                    </a:lnTo>
                    <a:lnTo>
                      <a:pt x="64" y="178"/>
                    </a:lnTo>
                    <a:lnTo>
                      <a:pt x="52" y="181"/>
                    </a:lnTo>
                    <a:lnTo>
                      <a:pt x="37" y="191"/>
                    </a:lnTo>
                    <a:lnTo>
                      <a:pt x="17" y="197"/>
                    </a:lnTo>
                    <a:lnTo>
                      <a:pt x="0" y="188"/>
                    </a:lnTo>
                    <a:lnTo>
                      <a:pt x="0" y="187"/>
                    </a:lnTo>
                    <a:lnTo>
                      <a:pt x="3" y="185"/>
                    </a:lnTo>
                    <a:lnTo>
                      <a:pt x="10" y="185"/>
                    </a:lnTo>
                    <a:lnTo>
                      <a:pt x="21" y="191"/>
                    </a:lnTo>
                    <a:lnTo>
                      <a:pt x="30" y="186"/>
                    </a:lnTo>
                    <a:lnTo>
                      <a:pt x="38" y="186"/>
                    </a:lnTo>
                    <a:lnTo>
                      <a:pt x="42" y="182"/>
                    </a:lnTo>
                    <a:lnTo>
                      <a:pt x="35" y="181"/>
                    </a:lnTo>
                    <a:lnTo>
                      <a:pt x="25" y="182"/>
                    </a:lnTo>
                    <a:lnTo>
                      <a:pt x="20" y="181"/>
                    </a:lnTo>
                    <a:lnTo>
                      <a:pt x="24" y="172"/>
                    </a:lnTo>
                    <a:lnTo>
                      <a:pt x="43" y="169"/>
                    </a:lnTo>
                    <a:lnTo>
                      <a:pt x="54" y="162"/>
                    </a:lnTo>
                    <a:lnTo>
                      <a:pt x="72" y="159"/>
                    </a:lnTo>
                    <a:lnTo>
                      <a:pt x="78" y="155"/>
                    </a:lnTo>
                    <a:lnTo>
                      <a:pt x="73" y="151"/>
                    </a:lnTo>
                    <a:lnTo>
                      <a:pt x="62" y="156"/>
                    </a:lnTo>
                    <a:lnTo>
                      <a:pt x="52" y="155"/>
                    </a:lnTo>
                    <a:lnTo>
                      <a:pt x="45" y="153"/>
                    </a:lnTo>
                    <a:lnTo>
                      <a:pt x="38" y="146"/>
                    </a:lnTo>
                    <a:lnTo>
                      <a:pt x="38" y="138"/>
                    </a:lnTo>
                    <a:lnTo>
                      <a:pt x="40" y="133"/>
                    </a:lnTo>
                    <a:lnTo>
                      <a:pt x="62" y="106"/>
                    </a:lnTo>
                    <a:lnTo>
                      <a:pt x="68" y="69"/>
                    </a:lnTo>
                    <a:lnTo>
                      <a:pt x="74" y="52"/>
                    </a:lnTo>
                    <a:lnTo>
                      <a:pt x="84" y="48"/>
                    </a:lnTo>
                    <a:lnTo>
                      <a:pt x="88" y="57"/>
                    </a:lnTo>
                    <a:lnTo>
                      <a:pt x="94" y="62"/>
                    </a:lnTo>
                    <a:lnTo>
                      <a:pt x="94" y="65"/>
                    </a:lnTo>
                    <a:lnTo>
                      <a:pt x="94" y="67"/>
                    </a:lnTo>
                    <a:lnTo>
                      <a:pt x="85" y="69"/>
                    </a:lnTo>
                    <a:lnTo>
                      <a:pt x="84" y="73"/>
                    </a:lnTo>
                    <a:lnTo>
                      <a:pt x="83" y="79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9" y="100"/>
                    </a:lnTo>
                    <a:lnTo>
                      <a:pt x="100" y="103"/>
                    </a:lnTo>
                    <a:lnTo>
                      <a:pt x="105" y="103"/>
                    </a:lnTo>
                    <a:lnTo>
                      <a:pt x="106" y="101"/>
                    </a:lnTo>
                    <a:lnTo>
                      <a:pt x="105" y="94"/>
                    </a:lnTo>
                    <a:lnTo>
                      <a:pt x="101" y="88"/>
                    </a:lnTo>
                    <a:lnTo>
                      <a:pt x="100" y="83"/>
                    </a:lnTo>
                    <a:lnTo>
                      <a:pt x="103" y="81"/>
                    </a:lnTo>
                    <a:lnTo>
                      <a:pt x="110" y="76"/>
                    </a:lnTo>
                    <a:lnTo>
                      <a:pt x="111" y="65"/>
                    </a:lnTo>
                    <a:lnTo>
                      <a:pt x="116" y="53"/>
                    </a:lnTo>
                    <a:lnTo>
                      <a:pt x="112" y="51"/>
                    </a:lnTo>
                    <a:lnTo>
                      <a:pt x="106" y="51"/>
                    </a:lnTo>
                    <a:lnTo>
                      <a:pt x="105" y="48"/>
                    </a:lnTo>
                    <a:lnTo>
                      <a:pt x="102" y="31"/>
                    </a:lnTo>
                    <a:lnTo>
                      <a:pt x="103" y="26"/>
                    </a:lnTo>
                    <a:lnTo>
                      <a:pt x="108" y="19"/>
                    </a:lnTo>
                    <a:lnTo>
                      <a:pt x="117" y="11"/>
                    </a:lnTo>
                    <a:lnTo>
                      <a:pt x="128" y="6"/>
                    </a:lnTo>
                    <a:lnTo>
                      <a:pt x="138" y="4"/>
                    </a:lnTo>
                    <a:lnTo>
                      <a:pt x="151" y="6"/>
                    </a:lnTo>
                    <a:lnTo>
                      <a:pt x="161" y="2"/>
                    </a:lnTo>
                    <a:lnTo>
                      <a:pt x="173" y="0"/>
                    </a:lnTo>
                    <a:lnTo>
                      <a:pt x="182" y="3"/>
                    </a:lnTo>
                    <a:lnTo>
                      <a:pt x="191" y="10"/>
                    </a:lnTo>
                    <a:lnTo>
                      <a:pt x="196" y="16"/>
                    </a:lnTo>
                    <a:lnTo>
                      <a:pt x="186" y="62"/>
                    </a:lnTo>
                    <a:lnTo>
                      <a:pt x="170" y="73"/>
                    </a:lnTo>
                    <a:lnTo>
                      <a:pt x="172" y="81"/>
                    </a:lnTo>
                    <a:lnTo>
                      <a:pt x="191" y="90"/>
                    </a:lnTo>
                    <a:lnTo>
                      <a:pt x="189" y="101"/>
                    </a:lnTo>
                    <a:lnTo>
                      <a:pt x="182" y="111"/>
                    </a:lnTo>
                    <a:lnTo>
                      <a:pt x="172" y="118"/>
                    </a:lnTo>
                    <a:lnTo>
                      <a:pt x="171" y="129"/>
                    </a:lnTo>
                    <a:lnTo>
                      <a:pt x="166" y="140"/>
                    </a:lnTo>
                    <a:lnTo>
                      <a:pt x="158" y="142"/>
                    </a:lnTo>
                    <a:lnTo>
                      <a:pt x="145" y="137"/>
                    </a:lnTo>
                    <a:lnTo>
                      <a:pt x="135" y="137"/>
                    </a:lnTo>
                    <a:lnTo>
                      <a:pt x="134" y="145"/>
                    </a:lnTo>
                    <a:lnTo>
                      <a:pt x="138" y="160"/>
                    </a:lnTo>
                    <a:lnTo>
                      <a:pt x="139" y="170"/>
                    </a:lnTo>
                    <a:lnTo>
                      <a:pt x="138" y="182"/>
                    </a:lnTo>
                    <a:lnTo>
                      <a:pt x="138" y="201"/>
                    </a:lnTo>
                    <a:lnTo>
                      <a:pt x="132" y="208"/>
                    </a:lnTo>
                    <a:lnTo>
                      <a:pt x="132" y="215"/>
                    </a:lnTo>
                    <a:lnTo>
                      <a:pt x="137" y="232"/>
                    </a:lnTo>
                    <a:lnTo>
                      <a:pt x="137" y="23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80" name="Freeform 179"/>
              <p:cNvSpPr>
                <a:spLocks noChangeAspect="1"/>
              </p:cNvSpPr>
              <p:nvPr/>
            </p:nvSpPr>
            <p:spPr bwMode="gray">
              <a:xfrm>
                <a:off x="4598194" y="2888010"/>
                <a:ext cx="55563" cy="112713"/>
              </a:xfrm>
              <a:custGeom>
                <a:avLst/>
                <a:gdLst/>
                <a:ahLst/>
                <a:cxnLst>
                  <a:cxn ang="0">
                    <a:pos x="109" y="328"/>
                  </a:cxn>
                  <a:cxn ang="0">
                    <a:pos x="115" y="307"/>
                  </a:cxn>
                  <a:cxn ang="0">
                    <a:pos x="136" y="287"/>
                  </a:cxn>
                  <a:cxn ang="0">
                    <a:pos x="124" y="265"/>
                  </a:cxn>
                  <a:cxn ang="0">
                    <a:pos x="121" y="238"/>
                  </a:cxn>
                  <a:cxn ang="0">
                    <a:pos x="132" y="217"/>
                  </a:cxn>
                  <a:cxn ang="0">
                    <a:pos x="118" y="194"/>
                  </a:cxn>
                  <a:cxn ang="0">
                    <a:pos x="122" y="172"/>
                  </a:cxn>
                  <a:cxn ang="0">
                    <a:pos x="143" y="157"/>
                  </a:cxn>
                  <a:cxn ang="0">
                    <a:pos x="137" y="137"/>
                  </a:cxn>
                  <a:cxn ang="0">
                    <a:pos x="143" y="115"/>
                  </a:cxn>
                  <a:cxn ang="0">
                    <a:pos x="146" y="87"/>
                  </a:cxn>
                  <a:cxn ang="0">
                    <a:pos x="169" y="55"/>
                  </a:cxn>
                  <a:cxn ang="0">
                    <a:pos x="177" y="33"/>
                  </a:cxn>
                  <a:cxn ang="0">
                    <a:pos x="163" y="15"/>
                  </a:cxn>
                  <a:cxn ang="0">
                    <a:pos x="131" y="11"/>
                  </a:cxn>
                  <a:cxn ang="0">
                    <a:pos x="94" y="15"/>
                  </a:cxn>
                  <a:cxn ang="0">
                    <a:pos x="73" y="12"/>
                  </a:cxn>
                  <a:cxn ang="0">
                    <a:pos x="59" y="2"/>
                  </a:cxn>
                  <a:cxn ang="0">
                    <a:pos x="35" y="18"/>
                  </a:cxn>
                  <a:cxn ang="0">
                    <a:pos x="45" y="74"/>
                  </a:cxn>
                  <a:cxn ang="0">
                    <a:pos x="38" y="104"/>
                  </a:cxn>
                  <a:cxn ang="0">
                    <a:pos x="32" y="129"/>
                  </a:cxn>
                  <a:cxn ang="0">
                    <a:pos x="28" y="155"/>
                  </a:cxn>
                  <a:cxn ang="0">
                    <a:pos x="16" y="184"/>
                  </a:cxn>
                  <a:cxn ang="0">
                    <a:pos x="3" y="220"/>
                  </a:cxn>
                  <a:cxn ang="0">
                    <a:pos x="1" y="238"/>
                  </a:cxn>
                  <a:cxn ang="0">
                    <a:pos x="18" y="259"/>
                  </a:cxn>
                  <a:cxn ang="0">
                    <a:pos x="40" y="253"/>
                  </a:cxn>
                  <a:cxn ang="0">
                    <a:pos x="36" y="262"/>
                  </a:cxn>
                  <a:cxn ang="0">
                    <a:pos x="35" y="290"/>
                  </a:cxn>
                  <a:cxn ang="0">
                    <a:pos x="36" y="319"/>
                  </a:cxn>
                  <a:cxn ang="0">
                    <a:pos x="29" y="340"/>
                  </a:cxn>
                  <a:cxn ang="0">
                    <a:pos x="32" y="355"/>
                  </a:cxn>
                  <a:cxn ang="0">
                    <a:pos x="55" y="352"/>
                  </a:cxn>
                  <a:cxn ang="0">
                    <a:pos x="76" y="356"/>
                  </a:cxn>
                  <a:cxn ang="0">
                    <a:pos x="97" y="352"/>
                  </a:cxn>
                  <a:cxn ang="0">
                    <a:pos x="113" y="345"/>
                  </a:cxn>
                </a:cxnLst>
                <a:rect l="0" t="0" r="r" b="b"/>
                <a:pathLst>
                  <a:path w="177" h="356">
                    <a:moveTo>
                      <a:pt x="113" y="345"/>
                    </a:moveTo>
                    <a:lnTo>
                      <a:pt x="109" y="328"/>
                    </a:lnTo>
                    <a:lnTo>
                      <a:pt x="108" y="317"/>
                    </a:lnTo>
                    <a:lnTo>
                      <a:pt x="115" y="307"/>
                    </a:lnTo>
                    <a:lnTo>
                      <a:pt x="130" y="296"/>
                    </a:lnTo>
                    <a:lnTo>
                      <a:pt x="136" y="287"/>
                    </a:lnTo>
                    <a:lnTo>
                      <a:pt x="134" y="275"/>
                    </a:lnTo>
                    <a:lnTo>
                      <a:pt x="124" y="265"/>
                    </a:lnTo>
                    <a:lnTo>
                      <a:pt x="120" y="253"/>
                    </a:lnTo>
                    <a:lnTo>
                      <a:pt x="121" y="238"/>
                    </a:lnTo>
                    <a:lnTo>
                      <a:pt x="129" y="226"/>
                    </a:lnTo>
                    <a:lnTo>
                      <a:pt x="132" y="217"/>
                    </a:lnTo>
                    <a:lnTo>
                      <a:pt x="130" y="212"/>
                    </a:lnTo>
                    <a:lnTo>
                      <a:pt x="118" y="194"/>
                    </a:lnTo>
                    <a:lnTo>
                      <a:pt x="114" y="178"/>
                    </a:lnTo>
                    <a:lnTo>
                      <a:pt x="122" y="172"/>
                    </a:lnTo>
                    <a:lnTo>
                      <a:pt x="134" y="168"/>
                    </a:lnTo>
                    <a:lnTo>
                      <a:pt x="143" y="157"/>
                    </a:lnTo>
                    <a:lnTo>
                      <a:pt x="145" y="147"/>
                    </a:lnTo>
                    <a:lnTo>
                      <a:pt x="137" y="137"/>
                    </a:lnTo>
                    <a:lnTo>
                      <a:pt x="137" y="130"/>
                    </a:lnTo>
                    <a:lnTo>
                      <a:pt x="143" y="115"/>
                    </a:lnTo>
                    <a:lnTo>
                      <a:pt x="146" y="101"/>
                    </a:lnTo>
                    <a:lnTo>
                      <a:pt x="146" y="87"/>
                    </a:lnTo>
                    <a:lnTo>
                      <a:pt x="147" y="77"/>
                    </a:lnTo>
                    <a:lnTo>
                      <a:pt x="169" y="55"/>
                    </a:lnTo>
                    <a:lnTo>
                      <a:pt x="177" y="42"/>
                    </a:lnTo>
                    <a:lnTo>
                      <a:pt x="177" y="33"/>
                    </a:lnTo>
                    <a:lnTo>
                      <a:pt x="169" y="24"/>
                    </a:lnTo>
                    <a:lnTo>
                      <a:pt x="163" y="15"/>
                    </a:lnTo>
                    <a:lnTo>
                      <a:pt x="148" y="11"/>
                    </a:lnTo>
                    <a:lnTo>
                      <a:pt x="131" y="11"/>
                    </a:lnTo>
                    <a:lnTo>
                      <a:pt x="118" y="17"/>
                    </a:lnTo>
                    <a:lnTo>
                      <a:pt x="94" y="15"/>
                    </a:lnTo>
                    <a:lnTo>
                      <a:pt x="81" y="17"/>
                    </a:lnTo>
                    <a:lnTo>
                      <a:pt x="73" y="12"/>
                    </a:lnTo>
                    <a:lnTo>
                      <a:pt x="72" y="0"/>
                    </a:lnTo>
                    <a:lnTo>
                      <a:pt x="59" y="2"/>
                    </a:lnTo>
                    <a:lnTo>
                      <a:pt x="44" y="8"/>
                    </a:lnTo>
                    <a:lnTo>
                      <a:pt x="35" y="18"/>
                    </a:lnTo>
                    <a:lnTo>
                      <a:pt x="44" y="63"/>
                    </a:lnTo>
                    <a:lnTo>
                      <a:pt x="45" y="74"/>
                    </a:lnTo>
                    <a:lnTo>
                      <a:pt x="41" y="81"/>
                    </a:lnTo>
                    <a:lnTo>
                      <a:pt x="38" y="104"/>
                    </a:lnTo>
                    <a:lnTo>
                      <a:pt x="35" y="113"/>
                    </a:lnTo>
                    <a:lnTo>
                      <a:pt x="32" y="129"/>
                    </a:lnTo>
                    <a:lnTo>
                      <a:pt x="30" y="144"/>
                    </a:lnTo>
                    <a:lnTo>
                      <a:pt x="28" y="155"/>
                    </a:lnTo>
                    <a:lnTo>
                      <a:pt x="22" y="173"/>
                    </a:lnTo>
                    <a:lnTo>
                      <a:pt x="16" y="184"/>
                    </a:lnTo>
                    <a:lnTo>
                      <a:pt x="3" y="203"/>
                    </a:lnTo>
                    <a:lnTo>
                      <a:pt x="3" y="220"/>
                    </a:lnTo>
                    <a:lnTo>
                      <a:pt x="0" y="235"/>
                    </a:lnTo>
                    <a:lnTo>
                      <a:pt x="1" y="238"/>
                    </a:lnTo>
                    <a:lnTo>
                      <a:pt x="8" y="243"/>
                    </a:lnTo>
                    <a:lnTo>
                      <a:pt x="18" y="259"/>
                    </a:lnTo>
                    <a:lnTo>
                      <a:pt x="25" y="255"/>
                    </a:lnTo>
                    <a:lnTo>
                      <a:pt x="40" y="253"/>
                    </a:lnTo>
                    <a:lnTo>
                      <a:pt x="39" y="258"/>
                    </a:lnTo>
                    <a:lnTo>
                      <a:pt x="36" y="262"/>
                    </a:lnTo>
                    <a:lnTo>
                      <a:pt x="38" y="277"/>
                    </a:lnTo>
                    <a:lnTo>
                      <a:pt x="35" y="290"/>
                    </a:lnTo>
                    <a:lnTo>
                      <a:pt x="36" y="296"/>
                    </a:lnTo>
                    <a:lnTo>
                      <a:pt x="36" y="319"/>
                    </a:lnTo>
                    <a:lnTo>
                      <a:pt x="35" y="328"/>
                    </a:lnTo>
                    <a:lnTo>
                      <a:pt x="29" y="340"/>
                    </a:lnTo>
                    <a:lnTo>
                      <a:pt x="29" y="351"/>
                    </a:lnTo>
                    <a:lnTo>
                      <a:pt x="32" y="355"/>
                    </a:lnTo>
                    <a:lnTo>
                      <a:pt x="43" y="352"/>
                    </a:lnTo>
                    <a:lnTo>
                      <a:pt x="55" y="352"/>
                    </a:lnTo>
                    <a:lnTo>
                      <a:pt x="67" y="352"/>
                    </a:lnTo>
                    <a:lnTo>
                      <a:pt x="76" y="356"/>
                    </a:lnTo>
                    <a:lnTo>
                      <a:pt x="87" y="356"/>
                    </a:lnTo>
                    <a:lnTo>
                      <a:pt x="97" y="352"/>
                    </a:lnTo>
                    <a:lnTo>
                      <a:pt x="104" y="348"/>
                    </a:lnTo>
                    <a:lnTo>
                      <a:pt x="113" y="34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81" name="Freeform 180"/>
              <p:cNvSpPr>
                <a:spLocks noChangeAspect="1"/>
              </p:cNvSpPr>
              <p:nvPr/>
            </p:nvSpPr>
            <p:spPr bwMode="gray">
              <a:xfrm>
                <a:off x="4863306" y="2549872"/>
                <a:ext cx="155575" cy="207963"/>
              </a:xfrm>
              <a:custGeom>
                <a:avLst/>
                <a:gdLst/>
                <a:ahLst/>
                <a:cxnLst>
                  <a:cxn ang="0">
                    <a:pos x="271" y="68"/>
                  </a:cxn>
                  <a:cxn ang="0">
                    <a:pos x="255" y="55"/>
                  </a:cxn>
                  <a:cxn ang="0">
                    <a:pos x="228" y="50"/>
                  </a:cxn>
                  <a:cxn ang="0">
                    <a:pos x="211" y="39"/>
                  </a:cxn>
                  <a:cxn ang="0">
                    <a:pos x="196" y="6"/>
                  </a:cxn>
                  <a:cxn ang="0">
                    <a:pos x="158" y="0"/>
                  </a:cxn>
                  <a:cxn ang="0">
                    <a:pos x="164" y="31"/>
                  </a:cxn>
                  <a:cxn ang="0">
                    <a:pos x="148" y="55"/>
                  </a:cxn>
                  <a:cxn ang="0">
                    <a:pos x="161" y="71"/>
                  </a:cxn>
                  <a:cxn ang="0">
                    <a:pos x="159" y="87"/>
                  </a:cxn>
                  <a:cxn ang="0">
                    <a:pos x="145" y="106"/>
                  </a:cxn>
                  <a:cxn ang="0">
                    <a:pos x="142" y="142"/>
                  </a:cxn>
                  <a:cxn ang="0">
                    <a:pos x="123" y="137"/>
                  </a:cxn>
                  <a:cxn ang="0">
                    <a:pos x="72" y="117"/>
                  </a:cxn>
                  <a:cxn ang="0">
                    <a:pos x="62" y="140"/>
                  </a:cxn>
                  <a:cxn ang="0">
                    <a:pos x="86" y="160"/>
                  </a:cxn>
                  <a:cxn ang="0">
                    <a:pos x="54" y="200"/>
                  </a:cxn>
                  <a:cxn ang="0">
                    <a:pos x="57" y="239"/>
                  </a:cxn>
                  <a:cxn ang="0">
                    <a:pos x="34" y="278"/>
                  </a:cxn>
                  <a:cxn ang="0">
                    <a:pos x="2" y="283"/>
                  </a:cxn>
                  <a:cxn ang="0">
                    <a:pos x="6" y="339"/>
                  </a:cxn>
                  <a:cxn ang="0">
                    <a:pos x="5" y="377"/>
                  </a:cxn>
                  <a:cxn ang="0">
                    <a:pos x="17" y="410"/>
                  </a:cxn>
                  <a:cxn ang="0">
                    <a:pos x="12" y="445"/>
                  </a:cxn>
                  <a:cxn ang="0">
                    <a:pos x="17" y="479"/>
                  </a:cxn>
                  <a:cxn ang="0">
                    <a:pos x="61" y="508"/>
                  </a:cxn>
                  <a:cxn ang="0">
                    <a:pos x="96" y="561"/>
                  </a:cxn>
                  <a:cxn ang="0">
                    <a:pos x="86" y="636"/>
                  </a:cxn>
                  <a:cxn ang="0">
                    <a:pos x="156" y="635"/>
                  </a:cxn>
                  <a:cxn ang="0">
                    <a:pos x="212" y="644"/>
                  </a:cxn>
                  <a:cxn ang="0">
                    <a:pos x="242" y="657"/>
                  </a:cxn>
                  <a:cxn ang="0">
                    <a:pos x="276" y="652"/>
                  </a:cxn>
                  <a:cxn ang="0">
                    <a:pos x="346" y="631"/>
                  </a:cxn>
                  <a:cxn ang="0">
                    <a:pos x="384" y="638"/>
                  </a:cxn>
                  <a:cxn ang="0">
                    <a:pos x="381" y="587"/>
                  </a:cxn>
                  <a:cxn ang="0">
                    <a:pos x="427" y="552"/>
                  </a:cxn>
                  <a:cxn ang="0">
                    <a:pos x="389" y="506"/>
                  </a:cxn>
                  <a:cxn ang="0">
                    <a:pos x="349" y="440"/>
                  </a:cxn>
                  <a:cxn ang="0">
                    <a:pos x="329" y="411"/>
                  </a:cxn>
                  <a:cxn ang="0">
                    <a:pos x="368" y="405"/>
                  </a:cxn>
                  <a:cxn ang="0">
                    <a:pos x="447" y="366"/>
                  </a:cxn>
                  <a:cxn ang="0">
                    <a:pos x="474" y="367"/>
                  </a:cxn>
                  <a:cxn ang="0">
                    <a:pos x="490" y="320"/>
                  </a:cxn>
                  <a:cxn ang="0">
                    <a:pos x="470" y="262"/>
                  </a:cxn>
                  <a:cxn ang="0">
                    <a:pos x="463" y="205"/>
                  </a:cxn>
                  <a:cxn ang="0">
                    <a:pos x="458" y="162"/>
                  </a:cxn>
                  <a:cxn ang="0">
                    <a:pos x="448" y="106"/>
                  </a:cxn>
                  <a:cxn ang="0">
                    <a:pos x="405" y="73"/>
                  </a:cxn>
                  <a:cxn ang="0">
                    <a:pos x="387" y="55"/>
                  </a:cxn>
                  <a:cxn ang="0">
                    <a:pos x="351" y="60"/>
                  </a:cxn>
                  <a:cxn ang="0">
                    <a:pos x="361" y="41"/>
                  </a:cxn>
                  <a:cxn ang="0">
                    <a:pos x="330" y="72"/>
                  </a:cxn>
                  <a:cxn ang="0">
                    <a:pos x="299" y="88"/>
                  </a:cxn>
                  <a:cxn ang="0">
                    <a:pos x="261" y="88"/>
                  </a:cxn>
                </a:cxnLst>
                <a:rect l="0" t="0" r="r" b="b"/>
                <a:pathLst>
                  <a:path w="490" h="659">
                    <a:moveTo>
                      <a:pt x="261" y="88"/>
                    </a:moveTo>
                    <a:lnTo>
                      <a:pt x="260" y="83"/>
                    </a:lnTo>
                    <a:lnTo>
                      <a:pt x="264" y="73"/>
                    </a:lnTo>
                    <a:lnTo>
                      <a:pt x="271" y="68"/>
                    </a:lnTo>
                    <a:lnTo>
                      <a:pt x="276" y="62"/>
                    </a:lnTo>
                    <a:lnTo>
                      <a:pt x="276" y="52"/>
                    </a:lnTo>
                    <a:lnTo>
                      <a:pt x="272" y="49"/>
                    </a:lnTo>
                    <a:lnTo>
                      <a:pt x="255" y="55"/>
                    </a:lnTo>
                    <a:lnTo>
                      <a:pt x="249" y="55"/>
                    </a:lnTo>
                    <a:lnTo>
                      <a:pt x="244" y="49"/>
                    </a:lnTo>
                    <a:lnTo>
                      <a:pt x="233" y="44"/>
                    </a:lnTo>
                    <a:lnTo>
                      <a:pt x="228" y="50"/>
                    </a:lnTo>
                    <a:lnTo>
                      <a:pt x="223" y="50"/>
                    </a:lnTo>
                    <a:lnTo>
                      <a:pt x="222" y="42"/>
                    </a:lnTo>
                    <a:lnTo>
                      <a:pt x="215" y="42"/>
                    </a:lnTo>
                    <a:lnTo>
                      <a:pt x="211" y="39"/>
                    </a:lnTo>
                    <a:lnTo>
                      <a:pt x="217" y="31"/>
                    </a:lnTo>
                    <a:lnTo>
                      <a:pt x="217" y="22"/>
                    </a:lnTo>
                    <a:lnTo>
                      <a:pt x="212" y="11"/>
                    </a:lnTo>
                    <a:lnTo>
                      <a:pt x="196" y="6"/>
                    </a:lnTo>
                    <a:lnTo>
                      <a:pt x="189" y="7"/>
                    </a:lnTo>
                    <a:lnTo>
                      <a:pt x="190" y="2"/>
                    </a:lnTo>
                    <a:lnTo>
                      <a:pt x="182" y="6"/>
                    </a:lnTo>
                    <a:lnTo>
                      <a:pt x="158" y="0"/>
                    </a:lnTo>
                    <a:lnTo>
                      <a:pt x="150" y="1"/>
                    </a:lnTo>
                    <a:lnTo>
                      <a:pt x="150" y="11"/>
                    </a:lnTo>
                    <a:lnTo>
                      <a:pt x="158" y="25"/>
                    </a:lnTo>
                    <a:lnTo>
                      <a:pt x="164" y="31"/>
                    </a:lnTo>
                    <a:lnTo>
                      <a:pt x="167" y="38"/>
                    </a:lnTo>
                    <a:lnTo>
                      <a:pt x="153" y="46"/>
                    </a:lnTo>
                    <a:lnTo>
                      <a:pt x="152" y="50"/>
                    </a:lnTo>
                    <a:lnTo>
                      <a:pt x="148" y="55"/>
                    </a:lnTo>
                    <a:lnTo>
                      <a:pt x="155" y="55"/>
                    </a:lnTo>
                    <a:lnTo>
                      <a:pt x="159" y="58"/>
                    </a:lnTo>
                    <a:lnTo>
                      <a:pt x="157" y="65"/>
                    </a:lnTo>
                    <a:lnTo>
                      <a:pt x="161" y="71"/>
                    </a:lnTo>
                    <a:lnTo>
                      <a:pt x="166" y="74"/>
                    </a:lnTo>
                    <a:lnTo>
                      <a:pt x="164" y="78"/>
                    </a:lnTo>
                    <a:lnTo>
                      <a:pt x="159" y="79"/>
                    </a:lnTo>
                    <a:lnTo>
                      <a:pt x="159" y="87"/>
                    </a:lnTo>
                    <a:lnTo>
                      <a:pt x="172" y="97"/>
                    </a:lnTo>
                    <a:lnTo>
                      <a:pt x="170" y="99"/>
                    </a:lnTo>
                    <a:lnTo>
                      <a:pt x="148" y="99"/>
                    </a:lnTo>
                    <a:lnTo>
                      <a:pt x="145" y="106"/>
                    </a:lnTo>
                    <a:lnTo>
                      <a:pt x="142" y="110"/>
                    </a:lnTo>
                    <a:lnTo>
                      <a:pt x="142" y="128"/>
                    </a:lnTo>
                    <a:lnTo>
                      <a:pt x="148" y="148"/>
                    </a:lnTo>
                    <a:lnTo>
                      <a:pt x="142" y="142"/>
                    </a:lnTo>
                    <a:lnTo>
                      <a:pt x="137" y="128"/>
                    </a:lnTo>
                    <a:lnTo>
                      <a:pt x="130" y="126"/>
                    </a:lnTo>
                    <a:lnTo>
                      <a:pt x="129" y="137"/>
                    </a:lnTo>
                    <a:lnTo>
                      <a:pt x="123" y="137"/>
                    </a:lnTo>
                    <a:lnTo>
                      <a:pt x="120" y="125"/>
                    </a:lnTo>
                    <a:lnTo>
                      <a:pt x="115" y="115"/>
                    </a:lnTo>
                    <a:lnTo>
                      <a:pt x="99" y="113"/>
                    </a:lnTo>
                    <a:lnTo>
                      <a:pt x="72" y="117"/>
                    </a:lnTo>
                    <a:lnTo>
                      <a:pt x="69" y="126"/>
                    </a:lnTo>
                    <a:lnTo>
                      <a:pt x="65" y="130"/>
                    </a:lnTo>
                    <a:lnTo>
                      <a:pt x="61" y="137"/>
                    </a:lnTo>
                    <a:lnTo>
                      <a:pt x="62" y="140"/>
                    </a:lnTo>
                    <a:lnTo>
                      <a:pt x="73" y="142"/>
                    </a:lnTo>
                    <a:lnTo>
                      <a:pt x="78" y="146"/>
                    </a:lnTo>
                    <a:lnTo>
                      <a:pt x="83" y="152"/>
                    </a:lnTo>
                    <a:lnTo>
                      <a:pt x="86" y="160"/>
                    </a:lnTo>
                    <a:lnTo>
                      <a:pt x="83" y="159"/>
                    </a:lnTo>
                    <a:lnTo>
                      <a:pt x="78" y="151"/>
                    </a:lnTo>
                    <a:lnTo>
                      <a:pt x="64" y="154"/>
                    </a:lnTo>
                    <a:lnTo>
                      <a:pt x="54" y="200"/>
                    </a:lnTo>
                    <a:lnTo>
                      <a:pt x="38" y="211"/>
                    </a:lnTo>
                    <a:lnTo>
                      <a:pt x="40" y="219"/>
                    </a:lnTo>
                    <a:lnTo>
                      <a:pt x="59" y="228"/>
                    </a:lnTo>
                    <a:lnTo>
                      <a:pt x="57" y="239"/>
                    </a:lnTo>
                    <a:lnTo>
                      <a:pt x="50" y="249"/>
                    </a:lnTo>
                    <a:lnTo>
                      <a:pt x="40" y="256"/>
                    </a:lnTo>
                    <a:lnTo>
                      <a:pt x="39" y="267"/>
                    </a:lnTo>
                    <a:lnTo>
                      <a:pt x="34" y="278"/>
                    </a:lnTo>
                    <a:lnTo>
                      <a:pt x="26" y="280"/>
                    </a:lnTo>
                    <a:lnTo>
                      <a:pt x="13" y="275"/>
                    </a:lnTo>
                    <a:lnTo>
                      <a:pt x="3" y="275"/>
                    </a:lnTo>
                    <a:lnTo>
                      <a:pt x="2" y="283"/>
                    </a:lnTo>
                    <a:lnTo>
                      <a:pt x="6" y="298"/>
                    </a:lnTo>
                    <a:lnTo>
                      <a:pt x="7" y="308"/>
                    </a:lnTo>
                    <a:lnTo>
                      <a:pt x="6" y="320"/>
                    </a:lnTo>
                    <a:lnTo>
                      <a:pt x="6" y="339"/>
                    </a:lnTo>
                    <a:lnTo>
                      <a:pt x="0" y="346"/>
                    </a:lnTo>
                    <a:lnTo>
                      <a:pt x="0" y="353"/>
                    </a:lnTo>
                    <a:lnTo>
                      <a:pt x="5" y="370"/>
                    </a:lnTo>
                    <a:lnTo>
                      <a:pt x="5" y="377"/>
                    </a:lnTo>
                    <a:lnTo>
                      <a:pt x="10" y="383"/>
                    </a:lnTo>
                    <a:lnTo>
                      <a:pt x="11" y="394"/>
                    </a:lnTo>
                    <a:lnTo>
                      <a:pt x="17" y="402"/>
                    </a:lnTo>
                    <a:lnTo>
                      <a:pt x="17" y="410"/>
                    </a:lnTo>
                    <a:lnTo>
                      <a:pt x="6" y="427"/>
                    </a:lnTo>
                    <a:lnTo>
                      <a:pt x="14" y="431"/>
                    </a:lnTo>
                    <a:lnTo>
                      <a:pt x="12" y="438"/>
                    </a:lnTo>
                    <a:lnTo>
                      <a:pt x="12" y="445"/>
                    </a:lnTo>
                    <a:lnTo>
                      <a:pt x="17" y="453"/>
                    </a:lnTo>
                    <a:lnTo>
                      <a:pt x="21" y="460"/>
                    </a:lnTo>
                    <a:lnTo>
                      <a:pt x="22" y="472"/>
                    </a:lnTo>
                    <a:lnTo>
                      <a:pt x="17" y="479"/>
                    </a:lnTo>
                    <a:lnTo>
                      <a:pt x="29" y="490"/>
                    </a:lnTo>
                    <a:lnTo>
                      <a:pt x="37" y="496"/>
                    </a:lnTo>
                    <a:lnTo>
                      <a:pt x="43" y="507"/>
                    </a:lnTo>
                    <a:lnTo>
                      <a:pt x="61" y="508"/>
                    </a:lnTo>
                    <a:lnTo>
                      <a:pt x="102" y="520"/>
                    </a:lnTo>
                    <a:lnTo>
                      <a:pt x="115" y="526"/>
                    </a:lnTo>
                    <a:lnTo>
                      <a:pt x="113" y="538"/>
                    </a:lnTo>
                    <a:lnTo>
                      <a:pt x="96" y="561"/>
                    </a:lnTo>
                    <a:lnTo>
                      <a:pt x="93" y="573"/>
                    </a:lnTo>
                    <a:lnTo>
                      <a:pt x="86" y="598"/>
                    </a:lnTo>
                    <a:lnTo>
                      <a:pt x="84" y="626"/>
                    </a:lnTo>
                    <a:lnTo>
                      <a:pt x="86" y="636"/>
                    </a:lnTo>
                    <a:lnTo>
                      <a:pt x="88" y="638"/>
                    </a:lnTo>
                    <a:lnTo>
                      <a:pt x="94" y="644"/>
                    </a:lnTo>
                    <a:lnTo>
                      <a:pt x="130" y="639"/>
                    </a:lnTo>
                    <a:lnTo>
                      <a:pt x="156" y="635"/>
                    </a:lnTo>
                    <a:lnTo>
                      <a:pt x="175" y="639"/>
                    </a:lnTo>
                    <a:lnTo>
                      <a:pt x="193" y="648"/>
                    </a:lnTo>
                    <a:lnTo>
                      <a:pt x="204" y="644"/>
                    </a:lnTo>
                    <a:lnTo>
                      <a:pt x="212" y="644"/>
                    </a:lnTo>
                    <a:lnTo>
                      <a:pt x="221" y="646"/>
                    </a:lnTo>
                    <a:lnTo>
                      <a:pt x="227" y="654"/>
                    </a:lnTo>
                    <a:lnTo>
                      <a:pt x="237" y="659"/>
                    </a:lnTo>
                    <a:lnTo>
                      <a:pt x="242" y="657"/>
                    </a:lnTo>
                    <a:lnTo>
                      <a:pt x="244" y="649"/>
                    </a:lnTo>
                    <a:lnTo>
                      <a:pt x="252" y="643"/>
                    </a:lnTo>
                    <a:lnTo>
                      <a:pt x="263" y="644"/>
                    </a:lnTo>
                    <a:lnTo>
                      <a:pt x="276" y="652"/>
                    </a:lnTo>
                    <a:lnTo>
                      <a:pt x="290" y="652"/>
                    </a:lnTo>
                    <a:lnTo>
                      <a:pt x="309" y="639"/>
                    </a:lnTo>
                    <a:lnTo>
                      <a:pt x="342" y="636"/>
                    </a:lnTo>
                    <a:lnTo>
                      <a:pt x="346" y="631"/>
                    </a:lnTo>
                    <a:lnTo>
                      <a:pt x="357" y="635"/>
                    </a:lnTo>
                    <a:lnTo>
                      <a:pt x="372" y="635"/>
                    </a:lnTo>
                    <a:lnTo>
                      <a:pt x="377" y="642"/>
                    </a:lnTo>
                    <a:lnTo>
                      <a:pt x="384" y="638"/>
                    </a:lnTo>
                    <a:lnTo>
                      <a:pt x="384" y="631"/>
                    </a:lnTo>
                    <a:lnTo>
                      <a:pt x="377" y="615"/>
                    </a:lnTo>
                    <a:lnTo>
                      <a:pt x="376" y="599"/>
                    </a:lnTo>
                    <a:lnTo>
                      <a:pt x="381" y="587"/>
                    </a:lnTo>
                    <a:lnTo>
                      <a:pt x="403" y="578"/>
                    </a:lnTo>
                    <a:lnTo>
                      <a:pt x="406" y="568"/>
                    </a:lnTo>
                    <a:lnTo>
                      <a:pt x="410" y="560"/>
                    </a:lnTo>
                    <a:lnTo>
                      <a:pt x="427" y="552"/>
                    </a:lnTo>
                    <a:lnTo>
                      <a:pt x="428" y="545"/>
                    </a:lnTo>
                    <a:lnTo>
                      <a:pt x="425" y="539"/>
                    </a:lnTo>
                    <a:lnTo>
                      <a:pt x="399" y="519"/>
                    </a:lnTo>
                    <a:lnTo>
                      <a:pt x="389" y="506"/>
                    </a:lnTo>
                    <a:lnTo>
                      <a:pt x="361" y="483"/>
                    </a:lnTo>
                    <a:lnTo>
                      <a:pt x="351" y="470"/>
                    </a:lnTo>
                    <a:lnTo>
                      <a:pt x="351" y="453"/>
                    </a:lnTo>
                    <a:lnTo>
                      <a:pt x="349" y="440"/>
                    </a:lnTo>
                    <a:lnTo>
                      <a:pt x="336" y="434"/>
                    </a:lnTo>
                    <a:lnTo>
                      <a:pt x="328" y="425"/>
                    </a:lnTo>
                    <a:lnTo>
                      <a:pt x="328" y="416"/>
                    </a:lnTo>
                    <a:lnTo>
                      <a:pt x="329" y="411"/>
                    </a:lnTo>
                    <a:lnTo>
                      <a:pt x="345" y="426"/>
                    </a:lnTo>
                    <a:lnTo>
                      <a:pt x="347" y="426"/>
                    </a:lnTo>
                    <a:lnTo>
                      <a:pt x="352" y="412"/>
                    </a:lnTo>
                    <a:lnTo>
                      <a:pt x="368" y="405"/>
                    </a:lnTo>
                    <a:lnTo>
                      <a:pt x="385" y="399"/>
                    </a:lnTo>
                    <a:lnTo>
                      <a:pt x="403" y="391"/>
                    </a:lnTo>
                    <a:lnTo>
                      <a:pt x="409" y="379"/>
                    </a:lnTo>
                    <a:lnTo>
                      <a:pt x="447" y="366"/>
                    </a:lnTo>
                    <a:lnTo>
                      <a:pt x="451" y="343"/>
                    </a:lnTo>
                    <a:lnTo>
                      <a:pt x="460" y="346"/>
                    </a:lnTo>
                    <a:lnTo>
                      <a:pt x="468" y="358"/>
                    </a:lnTo>
                    <a:lnTo>
                      <a:pt x="474" y="367"/>
                    </a:lnTo>
                    <a:lnTo>
                      <a:pt x="481" y="367"/>
                    </a:lnTo>
                    <a:lnTo>
                      <a:pt x="485" y="358"/>
                    </a:lnTo>
                    <a:lnTo>
                      <a:pt x="489" y="341"/>
                    </a:lnTo>
                    <a:lnTo>
                      <a:pt x="490" y="320"/>
                    </a:lnTo>
                    <a:lnTo>
                      <a:pt x="489" y="316"/>
                    </a:lnTo>
                    <a:lnTo>
                      <a:pt x="473" y="297"/>
                    </a:lnTo>
                    <a:lnTo>
                      <a:pt x="470" y="273"/>
                    </a:lnTo>
                    <a:lnTo>
                      <a:pt x="470" y="262"/>
                    </a:lnTo>
                    <a:lnTo>
                      <a:pt x="469" y="246"/>
                    </a:lnTo>
                    <a:lnTo>
                      <a:pt x="467" y="237"/>
                    </a:lnTo>
                    <a:lnTo>
                      <a:pt x="464" y="213"/>
                    </a:lnTo>
                    <a:lnTo>
                      <a:pt x="463" y="205"/>
                    </a:lnTo>
                    <a:lnTo>
                      <a:pt x="448" y="194"/>
                    </a:lnTo>
                    <a:lnTo>
                      <a:pt x="447" y="186"/>
                    </a:lnTo>
                    <a:lnTo>
                      <a:pt x="452" y="174"/>
                    </a:lnTo>
                    <a:lnTo>
                      <a:pt x="458" y="162"/>
                    </a:lnTo>
                    <a:lnTo>
                      <a:pt x="459" y="149"/>
                    </a:lnTo>
                    <a:lnTo>
                      <a:pt x="459" y="132"/>
                    </a:lnTo>
                    <a:lnTo>
                      <a:pt x="451" y="115"/>
                    </a:lnTo>
                    <a:lnTo>
                      <a:pt x="448" y="106"/>
                    </a:lnTo>
                    <a:lnTo>
                      <a:pt x="426" y="99"/>
                    </a:lnTo>
                    <a:lnTo>
                      <a:pt x="424" y="85"/>
                    </a:lnTo>
                    <a:lnTo>
                      <a:pt x="415" y="72"/>
                    </a:lnTo>
                    <a:lnTo>
                      <a:pt x="405" y="73"/>
                    </a:lnTo>
                    <a:lnTo>
                      <a:pt x="399" y="68"/>
                    </a:lnTo>
                    <a:lnTo>
                      <a:pt x="397" y="67"/>
                    </a:lnTo>
                    <a:lnTo>
                      <a:pt x="394" y="60"/>
                    </a:lnTo>
                    <a:lnTo>
                      <a:pt x="387" y="55"/>
                    </a:lnTo>
                    <a:lnTo>
                      <a:pt x="381" y="49"/>
                    </a:lnTo>
                    <a:lnTo>
                      <a:pt x="365" y="51"/>
                    </a:lnTo>
                    <a:lnTo>
                      <a:pt x="357" y="55"/>
                    </a:lnTo>
                    <a:lnTo>
                      <a:pt x="351" y="60"/>
                    </a:lnTo>
                    <a:lnTo>
                      <a:pt x="352" y="54"/>
                    </a:lnTo>
                    <a:lnTo>
                      <a:pt x="358" y="49"/>
                    </a:lnTo>
                    <a:lnTo>
                      <a:pt x="368" y="42"/>
                    </a:lnTo>
                    <a:lnTo>
                      <a:pt x="361" y="41"/>
                    </a:lnTo>
                    <a:lnTo>
                      <a:pt x="352" y="42"/>
                    </a:lnTo>
                    <a:lnTo>
                      <a:pt x="339" y="60"/>
                    </a:lnTo>
                    <a:lnTo>
                      <a:pt x="335" y="70"/>
                    </a:lnTo>
                    <a:lnTo>
                      <a:pt x="330" y="72"/>
                    </a:lnTo>
                    <a:lnTo>
                      <a:pt x="330" y="66"/>
                    </a:lnTo>
                    <a:lnTo>
                      <a:pt x="312" y="71"/>
                    </a:lnTo>
                    <a:lnTo>
                      <a:pt x="296" y="83"/>
                    </a:lnTo>
                    <a:lnTo>
                      <a:pt x="299" y="88"/>
                    </a:lnTo>
                    <a:lnTo>
                      <a:pt x="290" y="88"/>
                    </a:lnTo>
                    <a:lnTo>
                      <a:pt x="277" y="84"/>
                    </a:lnTo>
                    <a:lnTo>
                      <a:pt x="264" y="94"/>
                    </a:lnTo>
                    <a:lnTo>
                      <a:pt x="261" y="8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grpSp>
            <p:nvGrpSpPr>
              <p:cNvPr id="182" name="Group 181"/>
              <p:cNvGrpSpPr>
                <a:grpSpLocks noChangeAspect="1"/>
              </p:cNvGrpSpPr>
              <p:nvPr/>
            </p:nvGrpSpPr>
            <p:grpSpPr bwMode="gray">
              <a:xfrm>
                <a:off x="4679156" y="2659410"/>
                <a:ext cx="247650" cy="244475"/>
                <a:chOff x="2465" y="1836"/>
                <a:chExt cx="156" cy="154"/>
              </a:xfrm>
              <a:grpFill/>
            </p:grpSpPr>
            <p:sp>
              <p:nvSpPr>
                <p:cNvPr id="215" name="Freeform 190"/>
                <p:cNvSpPr>
                  <a:spLocks noChangeAspect="1"/>
                </p:cNvSpPr>
                <p:nvPr/>
              </p:nvSpPr>
              <p:spPr bwMode="gray">
                <a:xfrm>
                  <a:off x="2610" y="1966"/>
                  <a:ext cx="11" cy="24"/>
                </a:xfrm>
                <a:custGeom>
                  <a:avLst/>
                  <a:gdLst/>
                  <a:ahLst/>
                  <a:cxnLst>
                    <a:cxn ang="0">
                      <a:pos x="41" y="0"/>
                    </a:cxn>
                    <a:cxn ang="0">
                      <a:pos x="46" y="2"/>
                    </a:cxn>
                    <a:cxn ang="0">
                      <a:pos x="47" y="32"/>
                    </a:cxn>
                    <a:cxn ang="0">
                      <a:pos x="52" y="59"/>
                    </a:cxn>
                    <a:cxn ang="0">
                      <a:pos x="51" y="70"/>
                    </a:cxn>
                    <a:cxn ang="0">
                      <a:pos x="47" y="79"/>
                    </a:cxn>
                    <a:cxn ang="0">
                      <a:pos x="44" y="89"/>
                    </a:cxn>
                    <a:cxn ang="0">
                      <a:pos x="41" y="103"/>
                    </a:cxn>
                    <a:cxn ang="0">
                      <a:pos x="33" y="115"/>
                    </a:cxn>
                    <a:cxn ang="0">
                      <a:pos x="33" y="121"/>
                    </a:cxn>
                    <a:cxn ang="0">
                      <a:pos x="28" y="114"/>
                    </a:cxn>
                    <a:cxn ang="0">
                      <a:pos x="22" y="113"/>
                    </a:cxn>
                    <a:cxn ang="0">
                      <a:pos x="16" y="109"/>
                    </a:cxn>
                    <a:cxn ang="0">
                      <a:pos x="14" y="103"/>
                    </a:cxn>
                    <a:cxn ang="0">
                      <a:pos x="14" y="95"/>
                    </a:cxn>
                    <a:cxn ang="0">
                      <a:pos x="8" y="93"/>
                    </a:cxn>
                    <a:cxn ang="0">
                      <a:pos x="5" y="87"/>
                    </a:cxn>
                    <a:cxn ang="0">
                      <a:pos x="4" y="65"/>
                    </a:cxn>
                    <a:cxn ang="0">
                      <a:pos x="0" y="60"/>
                    </a:cxn>
                    <a:cxn ang="0">
                      <a:pos x="0" y="44"/>
                    </a:cxn>
                    <a:cxn ang="0">
                      <a:pos x="5" y="30"/>
                    </a:cxn>
                    <a:cxn ang="0">
                      <a:pos x="10" y="32"/>
                    </a:cxn>
                    <a:cxn ang="0">
                      <a:pos x="16" y="29"/>
                    </a:cxn>
                    <a:cxn ang="0">
                      <a:pos x="27" y="22"/>
                    </a:cxn>
                    <a:cxn ang="0">
                      <a:pos x="36" y="18"/>
                    </a:cxn>
                    <a:cxn ang="0">
                      <a:pos x="38" y="14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52" h="121">
                      <a:moveTo>
                        <a:pt x="41" y="0"/>
                      </a:moveTo>
                      <a:lnTo>
                        <a:pt x="46" y="2"/>
                      </a:lnTo>
                      <a:lnTo>
                        <a:pt x="47" y="32"/>
                      </a:lnTo>
                      <a:lnTo>
                        <a:pt x="52" y="59"/>
                      </a:lnTo>
                      <a:lnTo>
                        <a:pt x="51" y="70"/>
                      </a:lnTo>
                      <a:lnTo>
                        <a:pt x="47" y="79"/>
                      </a:lnTo>
                      <a:lnTo>
                        <a:pt x="44" y="89"/>
                      </a:lnTo>
                      <a:lnTo>
                        <a:pt x="41" y="103"/>
                      </a:lnTo>
                      <a:lnTo>
                        <a:pt x="33" y="115"/>
                      </a:lnTo>
                      <a:lnTo>
                        <a:pt x="33" y="121"/>
                      </a:lnTo>
                      <a:lnTo>
                        <a:pt x="28" y="114"/>
                      </a:lnTo>
                      <a:lnTo>
                        <a:pt x="22" y="113"/>
                      </a:lnTo>
                      <a:lnTo>
                        <a:pt x="16" y="109"/>
                      </a:lnTo>
                      <a:lnTo>
                        <a:pt x="14" y="103"/>
                      </a:lnTo>
                      <a:lnTo>
                        <a:pt x="14" y="95"/>
                      </a:lnTo>
                      <a:lnTo>
                        <a:pt x="8" y="93"/>
                      </a:lnTo>
                      <a:lnTo>
                        <a:pt x="5" y="87"/>
                      </a:lnTo>
                      <a:lnTo>
                        <a:pt x="4" y="65"/>
                      </a:lnTo>
                      <a:lnTo>
                        <a:pt x="0" y="60"/>
                      </a:lnTo>
                      <a:lnTo>
                        <a:pt x="0" y="44"/>
                      </a:lnTo>
                      <a:lnTo>
                        <a:pt x="5" y="30"/>
                      </a:lnTo>
                      <a:lnTo>
                        <a:pt x="10" y="32"/>
                      </a:lnTo>
                      <a:lnTo>
                        <a:pt x="16" y="29"/>
                      </a:lnTo>
                      <a:lnTo>
                        <a:pt x="27" y="22"/>
                      </a:lnTo>
                      <a:lnTo>
                        <a:pt x="36" y="18"/>
                      </a:lnTo>
                      <a:lnTo>
                        <a:pt x="38" y="14"/>
                      </a:lnTo>
                      <a:lnTo>
                        <a:pt x="41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16" name="Freeform 191"/>
                <p:cNvSpPr>
                  <a:spLocks noChangeAspect="1"/>
                </p:cNvSpPr>
                <p:nvPr/>
              </p:nvSpPr>
              <p:spPr bwMode="gray">
                <a:xfrm>
                  <a:off x="2465" y="1836"/>
                  <a:ext cx="139" cy="140"/>
                </a:xfrm>
                <a:custGeom>
                  <a:avLst/>
                  <a:gdLst/>
                  <a:ahLst/>
                  <a:cxnLst>
                    <a:cxn ang="0">
                      <a:pos x="349" y="36"/>
                    </a:cxn>
                    <a:cxn ang="0">
                      <a:pos x="322" y="100"/>
                    </a:cxn>
                    <a:cxn ang="0">
                      <a:pos x="284" y="138"/>
                    </a:cxn>
                    <a:cxn ang="0">
                      <a:pos x="248" y="154"/>
                    </a:cxn>
                    <a:cxn ang="0">
                      <a:pos x="191" y="133"/>
                    </a:cxn>
                    <a:cxn ang="0">
                      <a:pos x="159" y="140"/>
                    </a:cxn>
                    <a:cxn ang="0">
                      <a:pos x="177" y="202"/>
                    </a:cxn>
                    <a:cxn ang="0">
                      <a:pos x="160" y="205"/>
                    </a:cxn>
                    <a:cxn ang="0">
                      <a:pos x="93" y="194"/>
                    </a:cxn>
                    <a:cxn ang="0">
                      <a:pos x="51" y="206"/>
                    </a:cxn>
                    <a:cxn ang="0">
                      <a:pos x="0" y="235"/>
                    </a:cxn>
                    <a:cxn ang="0">
                      <a:pos x="11" y="248"/>
                    </a:cxn>
                    <a:cxn ang="0">
                      <a:pos x="10" y="263"/>
                    </a:cxn>
                    <a:cxn ang="0">
                      <a:pos x="43" y="273"/>
                    </a:cxn>
                    <a:cxn ang="0">
                      <a:pos x="103" y="294"/>
                    </a:cxn>
                    <a:cxn ang="0">
                      <a:pos x="128" y="302"/>
                    </a:cxn>
                    <a:cxn ang="0">
                      <a:pos x="148" y="328"/>
                    </a:cxn>
                    <a:cxn ang="0">
                      <a:pos x="144" y="351"/>
                    </a:cxn>
                    <a:cxn ang="0">
                      <a:pos x="188" y="397"/>
                    </a:cxn>
                    <a:cxn ang="0">
                      <a:pos x="199" y="440"/>
                    </a:cxn>
                    <a:cxn ang="0">
                      <a:pos x="220" y="475"/>
                    </a:cxn>
                    <a:cxn ang="0">
                      <a:pos x="197" y="527"/>
                    </a:cxn>
                    <a:cxn ang="0">
                      <a:pos x="197" y="547"/>
                    </a:cxn>
                    <a:cxn ang="0">
                      <a:pos x="162" y="628"/>
                    </a:cxn>
                    <a:cxn ang="0">
                      <a:pos x="222" y="666"/>
                    </a:cxn>
                    <a:cxn ang="0">
                      <a:pos x="308" y="670"/>
                    </a:cxn>
                    <a:cxn ang="0">
                      <a:pos x="361" y="698"/>
                    </a:cxn>
                    <a:cxn ang="0">
                      <a:pos x="431" y="697"/>
                    </a:cxn>
                    <a:cxn ang="0">
                      <a:pos x="452" y="629"/>
                    </a:cxn>
                    <a:cxn ang="0">
                      <a:pos x="487" y="615"/>
                    </a:cxn>
                    <a:cxn ang="0">
                      <a:pos x="525" y="625"/>
                    </a:cxn>
                    <a:cxn ang="0">
                      <a:pos x="552" y="628"/>
                    </a:cxn>
                    <a:cxn ang="0">
                      <a:pos x="593" y="645"/>
                    </a:cxn>
                    <a:cxn ang="0">
                      <a:pos x="640" y="608"/>
                    </a:cxn>
                    <a:cxn ang="0">
                      <a:pos x="667" y="585"/>
                    </a:cxn>
                    <a:cxn ang="0">
                      <a:pos x="635" y="550"/>
                    </a:cxn>
                    <a:cxn ang="0">
                      <a:pos x="624" y="509"/>
                    </a:cxn>
                    <a:cxn ang="0">
                      <a:pos x="640" y="477"/>
                    </a:cxn>
                    <a:cxn ang="0">
                      <a:pos x="636" y="430"/>
                    </a:cxn>
                    <a:cxn ang="0">
                      <a:pos x="620" y="388"/>
                    </a:cxn>
                    <a:cxn ang="0">
                      <a:pos x="584" y="385"/>
                    </a:cxn>
                    <a:cxn ang="0">
                      <a:pos x="603" y="355"/>
                    </a:cxn>
                    <a:cxn ang="0">
                      <a:pos x="635" y="299"/>
                    </a:cxn>
                    <a:cxn ang="0">
                      <a:pos x="663" y="279"/>
                    </a:cxn>
                    <a:cxn ang="0">
                      <a:pos x="694" y="179"/>
                    </a:cxn>
                    <a:cxn ang="0">
                      <a:pos x="608" y="143"/>
                    </a:cxn>
                    <a:cxn ang="0">
                      <a:pos x="548" y="127"/>
                    </a:cxn>
                    <a:cxn ang="0">
                      <a:pos x="526" y="82"/>
                    </a:cxn>
                    <a:cxn ang="0">
                      <a:pos x="489" y="93"/>
                    </a:cxn>
                    <a:cxn ang="0">
                      <a:pos x="452" y="52"/>
                    </a:cxn>
                    <a:cxn ang="0">
                      <a:pos x="408" y="16"/>
                    </a:cxn>
                  </a:cxnLst>
                  <a:rect l="0" t="0" r="r" b="b"/>
                  <a:pathLst>
                    <a:path w="694" h="700">
                      <a:moveTo>
                        <a:pt x="408" y="0"/>
                      </a:moveTo>
                      <a:lnTo>
                        <a:pt x="403" y="4"/>
                      </a:lnTo>
                      <a:lnTo>
                        <a:pt x="381" y="7"/>
                      </a:lnTo>
                      <a:lnTo>
                        <a:pt x="355" y="17"/>
                      </a:lnTo>
                      <a:lnTo>
                        <a:pt x="349" y="36"/>
                      </a:lnTo>
                      <a:lnTo>
                        <a:pt x="345" y="66"/>
                      </a:lnTo>
                      <a:lnTo>
                        <a:pt x="349" y="70"/>
                      </a:lnTo>
                      <a:lnTo>
                        <a:pt x="348" y="76"/>
                      </a:lnTo>
                      <a:lnTo>
                        <a:pt x="336" y="90"/>
                      </a:lnTo>
                      <a:lnTo>
                        <a:pt x="322" y="100"/>
                      </a:lnTo>
                      <a:lnTo>
                        <a:pt x="290" y="109"/>
                      </a:lnTo>
                      <a:lnTo>
                        <a:pt x="275" y="119"/>
                      </a:lnTo>
                      <a:lnTo>
                        <a:pt x="268" y="132"/>
                      </a:lnTo>
                      <a:lnTo>
                        <a:pt x="269" y="138"/>
                      </a:lnTo>
                      <a:lnTo>
                        <a:pt x="284" y="138"/>
                      </a:lnTo>
                      <a:lnTo>
                        <a:pt x="289" y="139"/>
                      </a:lnTo>
                      <a:lnTo>
                        <a:pt x="288" y="143"/>
                      </a:lnTo>
                      <a:lnTo>
                        <a:pt x="267" y="145"/>
                      </a:lnTo>
                      <a:lnTo>
                        <a:pt x="257" y="152"/>
                      </a:lnTo>
                      <a:lnTo>
                        <a:pt x="248" y="154"/>
                      </a:lnTo>
                      <a:lnTo>
                        <a:pt x="237" y="154"/>
                      </a:lnTo>
                      <a:lnTo>
                        <a:pt x="224" y="150"/>
                      </a:lnTo>
                      <a:lnTo>
                        <a:pt x="208" y="148"/>
                      </a:lnTo>
                      <a:lnTo>
                        <a:pt x="203" y="149"/>
                      </a:lnTo>
                      <a:lnTo>
                        <a:pt x="191" y="133"/>
                      </a:lnTo>
                      <a:lnTo>
                        <a:pt x="192" y="124"/>
                      </a:lnTo>
                      <a:lnTo>
                        <a:pt x="188" y="122"/>
                      </a:lnTo>
                      <a:lnTo>
                        <a:pt x="167" y="123"/>
                      </a:lnTo>
                      <a:lnTo>
                        <a:pt x="157" y="120"/>
                      </a:lnTo>
                      <a:lnTo>
                        <a:pt x="159" y="140"/>
                      </a:lnTo>
                      <a:lnTo>
                        <a:pt x="162" y="149"/>
                      </a:lnTo>
                      <a:lnTo>
                        <a:pt x="168" y="154"/>
                      </a:lnTo>
                      <a:lnTo>
                        <a:pt x="175" y="177"/>
                      </a:lnTo>
                      <a:lnTo>
                        <a:pt x="175" y="189"/>
                      </a:lnTo>
                      <a:lnTo>
                        <a:pt x="177" y="202"/>
                      </a:lnTo>
                      <a:lnTo>
                        <a:pt x="183" y="206"/>
                      </a:lnTo>
                      <a:lnTo>
                        <a:pt x="179" y="210"/>
                      </a:lnTo>
                      <a:lnTo>
                        <a:pt x="168" y="211"/>
                      </a:lnTo>
                      <a:lnTo>
                        <a:pt x="165" y="208"/>
                      </a:lnTo>
                      <a:lnTo>
                        <a:pt x="160" y="205"/>
                      </a:lnTo>
                      <a:lnTo>
                        <a:pt x="152" y="208"/>
                      </a:lnTo>
                      <a:lnTo>
                        <a:pt x="145" y="210"/>
                      </a:lnTo>
                      <a:lnTo>
                        <a:pt x="136" y="209"/>
                      </a:lnTo>
                      <a:lnTo>
                        <a:pt x="118" y="215"/>
                      </a:lnTo>
                      <a:lnTo>
                        <a:pt x="93" y="194"/>
                      </a:lnTo>
                      <a:lnTo>
                        <a:pt x="76" y="195"/>
                      </a:lnTo>
                      <a:lnTo>
                        <a:pt x="71" y="193"/>
                      </a:lnTo>
                      <a:lnTo>
                        <a:pt x="66" y="197"/>
                      </a:lnTo>
                      <a:lnTo>
                        <a:pt x="65" y="202"/>
                      </a:lnTo>
                      <a:lnTo>
                        <a:pt x="51" y="206"/>
                      </a:lnTo>
                      <a:lnTo>
                        <a:pt x="42" y="206"/>
                      </a:lnTo>
                      <a:lnTo>
                        <a:pt x="26" y="209"/>
                      </a:lnTo>
                      <a:lnTo>
                        <a:pt x="4" y="219"/>
                      </a:lnTo>
                      <a:lnTo>
                        <a:pt x="0" y="229"/>
                      </a:lnTo>
                      <a:lnTo>
                        <a:pt x="0" y="235"/>
                      </a:lnTo>
                      <a:lnTo>
                        <a:pt x="20" y="232"/>
                      </a:lnTo>
                      <a:lnTo>
                        <a:pt x="19" y="237"/>
                      </a:lnTo>
                      <a:lnTo>
                        <a:pt x="14" y="237"/>
                      </a:lnTo>
                      <a:lnTo>
                        <a:pt x="9" y="243"/>
                      </a:lnTo>
                      <a:lnTo>
                        <a:pt x="11" y="248"/>
                      </a:lnTo>
                      <a:lnTo>
                        <a:pt x="19" y="247"/>
                      </a:lnTo>
                      <a:lnTo>
                        <a:pt x="28" y="247"/>
                      </a:lnTo>
                      <a:lnTo>
                        <a:pt x="26" y="254"/>
                      </a:lnTo>
                      <a:lnTo>
                        <a:pt x="5" y="258"/>
                      </a:lnTo>
                      <a:lnTo>
                        <a:pt x="10" y="263"/>
                      </a:lnTo>
                      <a:lnTo>
                        <a:pt x="23" y="268"/>
                      </a:lnTo>
                      <a:lnTo>
                        <a:pt x="23" y="279"/>
                      </a:lnTo>
                      <a:lnTo>
                        <a:pt x="35" y="280"/>
                      </a:lnTo>
                      <a:lnTo>
                        <a:pt x="35" y="274"/>
                      </a:lnTo>
                      <a:lnTo>
                        <a:pt x="43" y="273"/>
                      </a:lnTo>
                      <a:lnTo>
                        <a:pt x="74" y="284"/>
                      </a:lnTo>
                      <a:lnTo>
                        <a:pt x="84" y="291"/>
                      </a:lnTo>
                      <a:lnTo>
                        <a:pt x="86" y="296"/>
                      </a:lnTo>
                      <a:lnTo>
                        <a:pt x="91" y="299"/>
                      </a:lnTo>
                      <a:lnTo>
                        <a:pt x="103" y="294"/>
                      </a:lnTo>
                      <a:lnTo>
                        <a:pt x="111" y="296"/>
                      </a:lnTo>
                      <a:lnTo>
                        <a:pt x="106" y="300"/>
                      </a:lnTo>
                      <a:lnTo>
                        <a:pt x="118" y="305"/>
                      </a:lnTo>
                      <a:lnTo>
                        <a:pt x="124" y="300"/>
                      </a:lnTo>
                      <a:lnTo>
                        <a:pt x="128" y="302"/>
                      </a:lnTo>
                      <a:lnTo>
                        <a:pt x="125" y="318"/>
                      </a:lnTo>
                      <a:lnTo>
                        <a:pt x="140" y="322"/>
                      </a:lnTo>
                      <a:lnTo>
                        <a:pt x="155" y="318"/>
                      </a:lnTo>
                      <a:lnTo>
                        <a:pt x="165" y="323"/>
                      </a:lnTo>
                      <a:lnTo>
                        <a:pt x="148" y="328"/>
                      </a:lnTo>
                      <a:lnTo>
                        <a:pt x="148" y="334"/>
                      </a:lnTo>
                      <a:lnTo>
                        <a:pt x="155" y="342"/>
                      </a:lnTo>
                      <a:lnTo>
                        <a:pt x="150" y="349"/>
                      </a:lnTo>
                      <a:lnTo>
                        <a:pt x="144" y="344"/>
                      </a:lnTo>
                      <a:lnTo>
                        <a:pt x="144" y="351"/>
                      </a:lnTo>
                      <a:lnTo>
                        <a:pt x="155" y="364"/>
                      </a:lnTo>
                      <a:lnTo>
                        <a:pt x="161" y="374"/>
                      </a:lnTo>
                      <a:lnTo>
                        <a:pt x="164" y="381"/>
                      </a:lnTo>
                      <a:lnTo>
                        <a:pt x="176" y="389"/>
                      </a:lnTo>
                      <a:lnTo>
                        <a:pt x="188" y="397"/>
                      </a:lnTo>
                      <a:lnTo>
                        <a:pt x="203" y="401"/>
                      </a:lnTo>
                      <a:lnTo>
                        <a:pt x="200" y="408"/>
                      </a:lnTo>
                      <a:lnTo>
                        <a:pt x="204" y="417"/>
                      </a:lnTo>
                      <a:lnTo>
                        <a:pt x="204" y="429"/>
                      </a:lnTo>
                      <a:lnTo>
                        <a:pt x="199" y="440"/>
                      </a:lnTo>
                      <a:lnTo>
                        <a:pt x="203" y="450"/>
                      </a:lnTo>
                      <a:lnTo>
                        <a:pt x="213" y="457"/>
                      </a:lnTo>
                      <a:lnTo>
                        <a:pt x="220" y="467"/>
                      </a:lnTo>
                      <a:lnTo>
                        <a:pt x="224" y="480"/>
                      </a:lnTo>
                      <a:lnTo>
                        <a:pt x="220" y="475"/>
                      </a:lnTo>
                      <a:lnTo>
                        <a:pt x="207" y="460"/>
                      </a:lnTo>
                      <a:lnTo>
                        <a:pt x="203" y="467"/>
                      </a:lnTo>
                      <a:lnTo>
                        <a:pt x="203" y="484"/>
                      </a:lnTo>
                      <a:lnTo>
                        <a:pt x="198" y="517"/>
                      </a:lnTo>
                      <a:lnTo>
                        <a:pt x="197" y="527"/>
                      </a:lnTo>
                      <a:lnTo>
                        <a:pt x="203" y="518"/>
                      </a:lnTo>
                      <a:lnTo>
                        <a:pt x="207" y="526"/>
                      </a:lnTo>
                      <a:lnTo>
                        <a:pt x="204" y="530"/>
                      </a:lnTo>
                      <a:lnTo>
                        <a:pt x="197" y="534"/>
                      </a:lnTo>
                      <a:lnTo>
                        <a:pt x="197" y="547"/>
                      </a:lnTo>
                      <a:lnTo>
                        <a:pt x="186" y="607"/>
                      </a:lnTo>
                      <a:lnTo>
                        <a:pt x="181" y="618"/>
                      </a:lnTo>
                      <a:lnTo>
                        <a:pt x="171" y="624"/>
                      </a:lnTo>
                      <a:lnTo>
                        <a:pt x="161" y="624"/>
                      </a:lnTo>
                      <a:lnTo>
                        <a:pt x="162" y="628"/>
                      </a:lnTo>
                      <a:lnTo>
                        <a:pt x="184" y="646"/>
                      </a:lnTo>
                      <a:lnTo>
                        <a:pt x="193" y="650"/>
                      </a:lnTo>
                      <a:lnTo>
                        <a:pt x="204" y="652"/>
                      </a:lnTo>
                      <a:lnTo>
                        <a:pt x="215" y="660"/>
                      </a:lnTo>
                      <a:lnTo>
                        <a:pt x="222" y="666"/>
                      </a:lnTo>
                      <a:lnTo>
                        <a:pt x="268" y="678"/>
                      </a:lnTo>
                      <a:lnTo>
                        <a:pt x="284" y="679"/>
                      </a:lnTo>
                      <a:lnTo>
                        <a:pt x="290" y="678"/>
                      </a:lnTo>
                      <a:lnTo>
                        <a:pt x="300" y="671"/>
                      </a:lnTo>
                      <a:lnTo>
                        <a:pt x="308" y="670"/>
                      </a:lnTo>
                      <a:lnTo>
                        <a:pt x="317" y="672"/>
                      </a:lnTo>
                      <a:lnTo>
                        <a:pt x="332" y="682"/>
                      </a:lnTo>
                      <a:lnTo>
                        <a:pt x="345" y="683"/>
                      </a:lnTo>
                      <a:lnTo>
                        <a:pt x="350" y="689"/>
                      </a:lnTo>
                      <a:lnTo>
                        <a:pt x="361" y="698"/>
                      </a:lnTo>
                      <a:lnTo>
                        <a:pt x="369" y="700"/>
                      </a:lnTo>
                      <a:lnTo>
                        <a:pt x="397" y="698"/>
                      </a:lnTo>
                      <a:lnTo>
                        <a:pt x="410" y="695"/>
                      </a:lnTo>
                      <a:lnTo>
                        <a:pt x="424" y="695"/>
                      </a:lnTo>
                      <a:lnTo>
                        <a:pt x="431" y="697"/>
                      </a:lnTo>
                      <a:lnTo>
                        <a:pt x="429" y="667"/>
                      </a:lnTo>
                      <a:lnTo>
                        <a:pt x="425" y="663"/>
                      </a:lnTo>
                      <a:lnTo>
                        <a:pt x="428" y="649"/>
                      </a:lnTo>
                      <a:lnTo>
                        <a:pt x="434" y="638"/>
                      </a:lnTo>
                      <a:lnTo>
                        <a:pt x="452" y="629"/>
                      </a:lnTo>
                      <a:lnTo>
                        <a:pt x="463" y="622"/>
                      </a:lnTo>
                      <a:lnTo>
                        <a:pt x="469" y="617"/>
                      </a:lnTo>
                      <a:lnTo>
                        <a:pt x="478" y="612"/>
                      </a:lnTo>
                      <a:lnTo>
                        <a:pt x="483" y="612"/>
                      </a:lnTo>
                      <a:lnTo>
                        <a:pt x="487" y="615"/>
                      </a:lnTo>
                      <a:lnTo>
                        <a:pt x="503" y="618"/>
                      </a:lnTo>
                      <a:lnTo>
                        <a:pt x="505" y="619"/>
                      </a:lnTo>
                      <a:lnTo>
                        <a:pt x="507" y="623"/>
                      </a:lnTo>
                      <a:lnTo>
                        <a:pt x="512" y="624"/>
                      </a:lnTo>
                      <a:lnTo>
                        <a:pt x="525" y="625"/>
                      </a:lnTo>
                      <a:lnTo>
                        <a:pt x="526" y="622"/>
                      </a:lnTo>
                      <a:lnTo>
                        <a:pt x="536" y="623"/>
                      </a:lnTo>
                      <a:lnTo>
                        <a:pt x="538" y="625"/>
                      </a:lnTo>
                      <a:lnTo>
                        <a:pt x="546" y="625"/>
                      </a:lnTo>
                      <a:lnTo>
                        <a:pt x="552" y="628"/>
                      </a:lnTo>
                      <a:lnTo>
                        <a:pt x="553" y="633"/>
                      </a:lnTo>
                      <a:lnTo>
                        <a:pt x="557" y="634"/>
                      </a:lnTo>
                      <a:lnTo>
                        <a:pt x="569" y="635"/>
                      </a:lnTo>
                      <a:lnTo>
                        <a:pt x="578" y="644"/>
                      </a:lnTo>
                      <a:lnTo>
                        <a:pt x="593" y="645"/>
                      </a:lnTo>
                      <a:lnTo>
                        <a:pt x="617" y="634"/>
                      </a:lnTo>
                      <a:lnTo>
                        <a:pt x="619" y="631"/>
                      </a:lnTo>
                      <a:lnTo>
                        <a:pt x="620" y="625"/>
                      </a:lnTo>
                      <a:lnTo>
                        <a:pt x="629" y="619"/>
                      </a:lnTo>
                      <a:lnTo>
                        <a:pt x="640" y="608"/>
                      </a:lnTo>
                      <a:lnTo>
                        <a:pt x="646" y="604"/>
                      </a:lnTo>
                      <a:lnTo>
                        <a:pt x="648" y="600"/>
                      </a:lnTo>
                      <a:lnTo>
                        <a:pt x="667" y="590"/>
                      </a:lnTo>
                      <a:lnTo>
                        <a:pt x="668" y="588"/>
                      </a:lnTo>
                      <a:lnTo>
                        <a:pt x="667" y="585"/>
                      </a:lnTo>
                      <a:lnTo>
                        <a:pt x="670" y="579"/>
                      </a:lnTo>
                      <a:lnTo>
                        <a:pt x="670" y="570"/>
                      </a:lnTo>
                      <a:lnTo>
                        <a:pt x="666" y="561"/>
                      </a:lnTo>
                      <a:lnTo>
                        <a:pt x="641" y="559"/>
                      </a:lnTo>
                      <a:lnTo>
                        <a:pt x="635" y="550"/>
                      </a:lnTo>
                      <a:lnTo>
                        <a:pt x="633" y="539"/>
                      </a:lnTo>
                      <a:lnTo>
                        <a:pt x="632" y="528"/>
                      </a:lnTo>
                      <a:lnTo>
                        <a:pt x="634" y="520"/>
                      </a:lnTo>
                      <a:lnTo>
                        <a:pt x="633" y="511"/>
                      </a:lnTo>
                      <a:lnTo>
                        <a:pt x="624" y="509"/>
                      </a:lnTo>
                      <a:lnTo>
                        <a:pt x="623" y="504"/>
                      </a:lnTo>
                      <a:lnTo>
                        <a:pt x="622" y="499"/>
                      </a:lnTo>
                      <a:lnTo>
                        <a:pt x="624" y="490"/>
                      </a:lnTo>
                      <a:lnTo>
                        <a:pt x="629" y="484"/>
                      </a:lnTo>
                      <a:lnTo>
                        <a:pt x="640" y="477"/>
                      </a:lnTo>
                      <a:lnTo>
                        <a:pt x="638" y="467"/>
                      </a:lnTo>
                      <a:lnTo>
                        <a:pt x="627" y="441"/>
                      </a:lnTo>
                      <a:lnTo>
                        <a:pt x="625" y="436"/>
                      </a:lnTo>
                      <a:lnTo>
                        <a:pt x="627" y="431"/>
                      </a:lnTo>
                      <a:lnTo>
                        <a:pt x="636" y="430"/>
                      </a:lnTo>
                      <a:lnTo>
                        <a:pt x="634" y="419"/>
                      </a:lnTo>
                      <a:lnTo>
                        <a:pt x="627" y="418"/>
                      </a:lnTo>
                      <a:lnTo>
                        <a:pt x="624" y="407"/>
                      </a:lnTo>
                      <a:lnTo>
                        <a:pt x="624" y="389"/>
                      </a:lnTo>
                      <a:lnTo>
                        <a:pt x="620" y="388"/>
                      </a:lnTo>
                      <a:lnTo>
                        <a:pt x="603" y="388"/>
                      </a:lnTo>
                      <a:lnTo>
                        <a:pt x="592" y="404"/>
                      </a:lnTo>
                      <a:lnTo>
                        <a:pt x="586" y="409"/>
                      </a:lnTo>
                      <a:lnTo>
                        <a:pt x="582" y="407"/>
                      </a:lnTo>
                      <a:lnTo>
                        <a:pt x="584" y="385"/>
                      </a:lnTo>
                      <a:lnTo>
                        <a:pt x="587" y="372"/>
                      </a:lnTo>
                      <a:lnTo>
                        <a:pt x="591" y="369"/>
                      </a:lnTo>
                      <a:lnTo>
                        <a:pt x="595" y="362"/>
                      </a:lnTo>
                      <a:lnTo>
                        <a:pt x="602" y="358"/>
                      </a:lnTo>
                      <a:lnTo>
                        <a:pt x="603" y="355"/>
                      </a:lnTo>
                      <a:lnTo>
                        <a:pt x="606" y="345"/>
                      </a:lnTo>
                      <a:lnTo>
                        <a:pt x="612" y="337"/>
                      </a:lnTo>
                      <a:lnTo>
                        <a:pt x="635" y="311"/>
                      </a:lnTo>
                      <a:lnTo>
                        <a:pt x="632" y="306"/>
                      </a:lnTo>
                      <a:lnTo>
                        <a:pt x="635" y="299"/>
                      </a:lnTo>
                      <a:lnTo>
                        <a:pt x="652" y="300"/>
                      </a:lnTo>
                      <a:lnTo>
                        <a:pt x="660" y="297"/>
                      </a:lnTo>
                      <a:lnTo>
                        <a:pt x="667" y="291"/>
                      </a:lnTo>
                      <a:lnTo>
                        <a:pt x="665" y="289"/>
                      </a:lnTo>
                      <a:lnTo>
                        <a:pt x="663" y="279"/>
                      </a:lnTo>
                      <a:lnTo>
                        <a:pt x="665" y="251"/>
                      </a:lnTo>
                      <a:lnTo>
                        <a:pt x="672" y="226"/>
                      </a:lnTo>
                      <a:lnTo>
                        <a:pt x="675" y="214"/>
                      </a:lnTo>
                      <a:lnTo>
                        <a:pt x="692" y="191"/>
                      </a:lnTo>
                      <a:lnTo>
                        <a:pt x="694" y="179"/>
                      </a:lnTo>
                      <a:lnTo>
                        <a:pt x="681" y="173"/>
                      </a:lnTo>
                      <a:lnTo>
                        <a:pt x="640" y="161"/>
                      </a:lnTo>
                      <a:lnTo>
                        <a:pt x="622" y="160"/>
                      </a:lnTo>
                      <a:lnTo>
                        <a:pt x="616" y="149"/>
                      </a:lnTo>
                      <a:lnTo>
                        <a:pt x="608" y="143"/>
                      </a:lnTo>
                      <a:lnTo>
                        <a:pt x="596" y="132"/>
                      </a:lnTo>
                      <a:lnTo>
                        <a:pt x="584" y="133"/>
                      </a:lnTo>
                      <a:lnTo>
                        <a:pt x="566" y="128"/>
                      </a:lnTo>
                      <a:lnTo>
                        <a:pt x="558" y="129"/>
                      </a:lnTo>
                      <a:lnTo>
                        <a:pt x="548" y="127"/>
                      </a:lnTo>
                      <a:lnTo>
                        <a:pt x="539" y="119"/>
                      </a:lnTo>
                      <a:lnTo>
                        <a:pt x="528" y="114"/>
                      </a:lnTo>
                      <a:lnTo>
                        <a:pt x="531" y="108"/>
                      </a:lnTo>
                      <a:lnTo>
                        <a:pt x="526" y="106"/>
                      </a:lnTo>
                      <a:lnTo>
                        <a:pt x="526" y="82"/>
                      </a:lnTo>
                      <a:lnTo>
                        <a:pt x="520" y="82"/>
                      </a:lnTo>
                      <a:lnTo>
                        <a:pt x="514" y="90"/>
                      </a:lnTo>
                      <a:lnTo>
                        <a:pt x="509" y="97"/>
                      </a:lnTo>
                      <a:lnTo>
                        <a:pt x="499" y="97"/>
                      </a:lnTo>
                      <a:lnTo>
                        <a:pt x="489" y="93"/>
                      </a:lnTo>
                      <a:lnTo>
                        <a:pt x="487" y="78"/>
                      </a:lnTo>
                      <a:lnTo>
                        <a:pt x="484" y="69"/>
                      </a:lnTo>
                      <a:lnTo>
                        <a:pt x="478" y="64"/>
                      </a:lnTo>
                      <a:lnTo>
                        <a:pt x="466" y="60"/>
                      </a:lnTo>
                      <a:lnTo>
                        <a:pt x="452" y="52"/>
                      </a:lnTo>
                      <a:lnTo>
                        <a:pt x="442" y="48"/>
                      </a:lnTo>
                      <a:lnTo>
                        <a:pt x="433" y="30"/>
                      </a:lnTo>
                      <a:lnTo>
                        <a:pt x="421" y="31"/>
                      </a:lnTo>
                      <a:lnTo>
                        <a:pt x="410" y="26"/>
                      </a:lnTo>
                      <a:lnTo>
                        <a:pt x="408" y="16"/>
                      </a:lnTo>
                      <a:lnTo>
                        <a:pt x="408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  <p:grpSp>
            <p:nvGrpSpPr>
              <p:cNvPr id="183" name="Group 192"/>
              <p:cNvGrpSpPr>
                <a:grpSpLocks noChangeAspect="1"/>
              </p:cNvGrpSpPr>
              <p:nvPr/>
            </p:nvGrpSpPr>
            <p:grpSpPr bwMode="gray">
              <a:xfrm>
                <a:off x="4620419" y="2430810"/>
                <a:ext cx="171450" cy="258763"/>
                <a:chOff x="2428" y="1692"/>
                <a:chExt cx="108" cy="163"/>
              </a:xfrm>
              <a:grpFill/>
            </p:grpSpPr>
            <p:sp>
              <p:nvSpPr>
                <p:cNvPr id="213" name="Freeform 193"/>
                <p:cNvSpPr>
                  <a:spLocks noChangeAspect="1"/>
                </p:cNvSpPr>
                <p:nvPr/>
              </p:nvSpPr>
              <p:spPr bwMode="gray">
                <a:xfrm>
                  <a:off x="2450" y="1692"/>
                  <a:ext cx="86" cy="163"/>
                </a:xfrm>
                <a:custGeom>
                  <a:avLst/>
                  <a:gdLst/>
                  <a:ahLst/>
                  <a:cxnLst>
                    <a:cxn ang="0">
                      <a:pos x="227" y="761"/>
                    </a:cxn>
                    <a:cxn ang="0">
                      <a:pos x="260" y="737"/>
                    </a:cxn>
                    <a:cxn ang="0">
                      <a:pos x="328" y="744"/>
                    </a:cxn>
                    <a:cxn ang="0">
                      <a:pos x="410" y="698"/>
                    </a:cxn>
                    <a:cxn ang="0">
                      <a:pos x="381" y="674"/>
                    </a:cxn>
                    <a:cxn ang="0">
                      <a:pos x="394" y="659"/>
                    </a:cxn>
                    <a:cxn ang="0">
                      <a:pos x="423" y="628"/>
                    </a:cxn>
                    <a:cxn ang="0">
                      <a:pos x="399" y="554"/>
                    </a:cxn>
                    <a:cxn ang="0">
                      <a:pos x="337" y="565"/>
                    </a:cxn>
                    <a:cxn ang="0">
                      <a:pos x="339" y="507"/>
                    </a:cxn>
                    <a:cxn ang="0">
                      <a:pos x="344" y="495"/>
                    </a:cxn>
                    <a:cxn ang="0">
                      <a:pos x="316" y="433"/>
                    </a:cxn>
                    <a:cxn ang="0">
                      <a:pos x="268" y="385"/>
                    </a:cxn>
                    <a:cxn ang="0">
                      <a:pos x="228" y="293"/>
                    </a:cxn>
                    <a:cxn ang="0">
                      <a:pos x="155" y="265"/>
                    </a:cxn>
                    <a:cxn ang="0">
                      <a:pos x="181" y="229"/>
                    </a:cxn>
                    <a:cxn ang="0">
                      <a:pos x="198" y="202"/>
                    </a:cxn>
                    <a:cxn ang="0">
                      <a:pos x="233" y="109"/>
                    </a:cxn>
                    <a:cxn ang="0">
                      <a:pos x="154" y="97"/>
                    </a:cxn>
                    <a:cxn ang="0">
                      <a:pos x="99" y="104"/>
                    </a:cxn>
                    <a:cxn ang="0">
                      <a:pos x="109" y="78"/>
                    </a:cxn>
                    <a:cxn ang="0">
                      <a:pos x="151" y="0"/>
                    </a:cxn>
                    <a:cxn ang="0">
                      <a:pos x="75" y="6"/>
                    </a:cxn>
                    <a:cxn ang="0">
                      <a:pos x="37" y="60"/>
                    </a:cxn>
                    <a:cxn ang="0">
                      <a:pos x="25" y="115"/>
                    </a:cxn>
                    <a:cxn ang="0">
                      <a:pos x="33" y="133"/>
                    </a:cxn>
                    <a:cxn ang="0">
                      <a:pos x="26" y="158"/>
                    </a:cxn>
                    <a:cxn ang="0">
                      <a:pos x="5" y="195"/>
                    </a:cxn>
                    <a:cxn ang="0">
                      <a:pos x="33" y="215"/>
                    </a:cxn>
                    <a:cxn ang="0">
                      <a:pos x="31" y="254"/>
                    </a:cxn>
                    <a:cxn ang="0">
                      <a:pos x="34" y="286"/>
                    </a:cxn>
                    <a:cxn ang="0">
                      <a:pos x="28" y="330"/>
                    </a:cxn>
                    <a:cxn ang="0">
                      <a:pos x="54" y="248"/>
                    </a:cxn>
                    <a:cxn ang="0">
                      <a:pos x="53" y="273"/>
                    </a:cxn>
                    <a:cxn ang="0">
                      <a:pos x="79" y="272"/>
                    </a:cxn>
                    <a:cxn ang="0">
                      <a:pos x="77" y="308"/>
                    </a:cxn>
                    <a:cxn ang="0">
                      <a:pos x="60" y="372"/>
                    </a:cxn>
                    <a:cxn ang="0">
                      <a:pos x="65" y="384"/>
                    </a:cxn>
                    <a:cxn ang="0">
                      <a:pos x="95" y="380"/>
                    </a:cxn>
                    <a:cxn ang="0">
                      <a:pos x="162" y="373"/>
                    </a:cxn>
                    <a:cxn ang="0">
                      <a:pos x="145" y="431"/>
                    </a:cxn>
                    <a:cxn ang="0">
                      <a:pos x="181" y="437"/>
                    </a:cxn>
                    <a:cxn ang="0">
                      <a:pos x="179" y="481"/>
                    </a:cxn>
                    <a:cxn ang="0">
                      <a:pos x="168" y="523"/>
                    </a:cxn>
                    <a:cxn ang="0">
                      <a:pos x="98" y="558"/>
                    </a:cxn>
                    <a:cxn ang="0">
                      <a:pos x="108" y="615"/>
                    </a:cxn>
                    <a:cxn ang="0">
                      <a:pos x="59" y="674"/>
                    </a:cxn>
                    <a:cxn ang="0">
                      <a:pos x="97" y="674"/>
                    </a:cxn>
                    <a:cxn ang="0">
                      <a:pos x="141" y="692"/>
                    </a:cxn>
                    <a:cxn ang="0">
                      <a:pos x="194" y="663"/>
                    </a:cxn>
                    <a:cxn ang="0">
                      <a:pos x="156" y="711"/>
                    </a:cxn>
                    <a:cxn ang="0">
                      <a:pos x="47" y="791"/>
                    </a:cxn>
                    <a:cxn ang="0">
                      <a:pos x="45" y="810"/>
                    </a:cxn>
                    <a:cxn ang="0">
                      <a:pos x="77" y="784"/>
                    </a:cxn>
                    <a:cxn ang="0">
                      <a:pos x="149" y="759"/>
                    </a:cxn>
                  </a:cxnLst>
                  <a:rect l="0" t="0" r="r" b="b"/>
                  <a:pathLst>
                    <a:path w="430" h="814">
                      <a:moveTo>
                        <a:pt x="199" y="767"/>
                      </a:moveTo>
                      <a:lnTo>
                        <a:pt x="200" y="768"/>
                      </a:lnTo>
                      <a:lnTo>
                        <a:pt x="203" y="762"/>
                      </a:lnTo>
                      <a:lnTo>
                        <a:pt x="212" y="760"/>
                      </a:lnTo>
                      <a:lnTo>
                        <a:pt x="222" y="764"/>
                      </a:lnTo>
                      <a:lnTo>
                        <a:pt x="227" y="761"/>
                      </a:lnTo>
                      <a:lnTo>
                        <a:pt x="225" y="754"/>
                      </a:lnTo>
                      <a:lnTo>
                        <a:pt x="251" y="754"/>
                      </a:lnTo>
                      <a:lnTo>
                        <a:pt x="253" y="750"/>
                      </a:lnTo>
                      <a:lnTo>
                        <a:pt x="259" y="748"/>
                      </a:lnTo>
                      <a:lnTo>
                        <a:pt x="260" y="743"/>
                      </a:lnTo>
                      <a:lnTo>
                        <a:pt x="260" y="737"/>
                      </a:lnTo>
                      <a:lnTo>
                        <a:pt x="267" y="741"/>
                      </a:lnTo>
                      <a:lnTo>
                        <a:pt x="274" y="744"/>
                      </a:lnTo>
                      <a:lnTo>
                        <a:pt x="283" y="741"/>
                      </a:lnTo>
                      <a:lnTo>
                        <a:pt x="285" y="745"/>
                      </a:lnTo>
                      <a:lnTo>
                        <a:pt x="290" y="750"/>
                      </a:lnTo>
                      <a:lnTo>
                        <a:pt x="328" y="744"/>
                      </a:lnTo>
                      <a:lnTo>
                        <a:pt x="339" y="746"/>
                      </a:lnTo>
                      <a:lnTo>
                        <a:pt x="388" y="733"/>
                      </a:lnTo>
                      <a:lnTo>
                        <a:pt x="389" y="729"/>
                      </a:lnTo>
                      <a:lnTo>
                        <a:pt x="410" y="713"/>
                      </a:lnTo>
                      <a:lnTo>
                        <a:pt x="413" y="702"/>
                      </a:lnTo>
                      <a:lnTo>
                        <a:pt x="410" y="698"/>
                      </a:lnTo>
                      <a:lnTo>
                        <a:pt x="386" y="698"/>
                      </a:lnTo>
                      <a:lnTo>
                        <a:pt x="373" y="697"/>
                      </a:lnTo>
                      <a:lnTo>
                        <a:pt x="373" y="689"/>
                      </a:lnTo>
                      <a:lnTo>
                        <a:pt x="369" y="682"/>
                      </a:lnTo>
                      <a:lnTo>
                        <a:pt x="378" y="679"/>
                      </a:lnTo>
                      <a:lnTo>
                        <a:pt x="381" y="674"/>
                      </a:lnTo>
                      <a:lnTo>
                        <a:pt x="386" y="668"/>
                      </a:lnTo>
                      <a:lnTo>
                        <a:pt x="383" y="665"/>
                      </a:lnTo>
                      <a:lnTo>
                        <a:pt x="377" y="663"/>
                      </a:lnTo>
                      <a:lnTo>
                        <a:pt x="383" y="658"/>
                      </a:lnTo>
                      <a:lnTo>
                        <a:pt x="391" y="655"/>
                      </a:lnTo>
                      <a:lnTo>
                        <a:pt x="394" y="659"/>
                      </a:lnTo>
                      <a:lnTo>
                        <a:pt x="403" y="657"/>
                      </a:lnTo>
                      <a:lnTo>
                        <a:pt x="404" y="651"/>
                      </a:lnTo>
                      <a:lnTo>
                        <a:pt x="403" y="642"/>
                      </a:lnTo>
                      <a:lnTo>
                        <a:pt x="408" y="642"/>
                      </a:lnTo>
                      <a:lnTo>
                        <a:pt x="415" y="638"/>
                      </a:lnTo>
                      <a:lnTo>
                        <a:pt x="423" y="628"/>
                      </a:lnTo>
                      <a:lnTo>
                        <a:pt x="429" y="608"/>
                      </a:lnTo>
                      <a:lnTo>
                        <a:pt x="430" y="593"/>
                      </a:lnTo>
                      <a:lnTo>
                        <a:pt x="426" y="577"/>
                      </a:lnTo>
                      <a:lnTo>
                        <a:pt x="418" y="563"/>
                      </a:lnTo>
                      <a:lnTo>
                        <a:pt x="408" y="557"/>
                      </a:lnTo>
                      <a:lnTo>
                        <a:pt x="399" y="554"/>
                      </a:lnTo>
                      <a:lnTo>
                        <a:pt x="387" y="554"/>
                      </a:lnTo>
                      <a:lnTo>
                        <a:pt x="365" y="557"/>
                      </a:lnTo>
                      <a:lnTo>
                        <a:pt x="355" y="572"/>
                      </a:lnTo>
                      <a:lnTo>
                        <a:pt x="350" y="567"/>
                      </a:lnTo>
                      <a:lnTo>
                        <a:pt x="340" y="566"/>
                      </a:lnTo>
                      <a:lnTo>
                        <a:pt x="337" y="565"/>
                      </a:lnTo>
                      <a:lnTo>
                        <a:pt x="340" y="555"/>
                      </a:lnTo>
                      <a:lnTo>
                        <a:pt x="353" y="540"/>
                      </a:lnTo>
                      <a:lnTo>
                        <a:pt x="355" y="534"/>
                      </a:lnTo>
                      <a:lnTo>
                        <a:pt x="355" y="525"/>
                      </a:lnTo>
                      <a:lnTo>
                        <a:pt x="345" y="512"/>
                      </a:lnTo>
                      <a:lnTo>
                        <a:pt x="339" y="507"/>
                      </a:lnTo>
                      <a:lnTo>
                        <a:pt x="335" y="501"/>
                      </a:lnTo>
                      <a:lnTo>
                        <a:pt x="330" y="498"/>
                      </a:lnTo>
                      <a:lnTo>
                        <a:pt x="317" y="485"/>
                      </a:lnTo>
                      <a:lnTo>
                        <a:pt x="321" y="482"/>
                      </a:lnTo>
                      <a:lnTo>
                        <a:pt x="332" y="492"/>
                      </a:lnTo>
                      <a:lnTo>
                        <a:pt x="344" y="495"/>
                      </a:lnTo>
                      <a:lnTo>
                        <a:pt x="345" y="493"/>
                      </a:lnTo>
                      <a:lnTo>
                        <a:pt x="343" y="477"/>
                      </a:lnTo>
                      <a:lnTo>
                        <a:pt x="335" y="471"/>
                      </a:lnTo>
                      <a:lnTo>
                        <a:pt x="326" y="459"/>
                      </a:lnTo>
                      <a:lnTo>
                        <a:pt x="323" y="444"/>
                      </a:lnTo>
                      <a:lnTo>
                        <a:pt x="316" y="433"/>
                      </a:lnTo>
                      <a:lnTo>
                        <a:pt x="311" y="423"/>
                      </a:lnTo>
                      <a:lnTo>
                        <a:pt x="301" y="410"/>
                      </a:lnTo>
                      <a:lnTo>
                        <a:pt x="290" y="405"/>
                      </a:lnTo>
                      <a:lnTo>
                        <a:pt x="276" y="402"/>
                      </a:lnTo>
                      <a:lnTo>
                        <a:pt x="273" y="399"/>
                      </a:lnTo>
                      <a:lnTo>
                        <a:pt x="268" y="385"/>
                      </a:lnTo>
                      <a:lnTo>
                        <a:pt x="260" y="374"/>
                      </a:lnTo>
                      <a:lnTo>
                        <a:pt x="254" y="361"/>
                      </a:lnTo>
                      <a:lnTo>
                        <a:pt x="252" y="350"/>
                      </a:lnTo>
                      <a:lnTo>
                        <a:pt x="248" y="312"/>
                      </a:lnTo>
                      <a:lnTo>
                        <a:pt x="240" y="305"/>
                      </a:lnTo>
                      <a:lnTo>
                        <a:pt x="228" y="293"/>
                      </a:lnTo>
                      <a:lnTo>
                        <a:pt x="221" y="282"/>
                      </a:lnTo>
                      <a:lnTo>
                        <a:pt x="193" y="266"/>
                      </a:lnTo>
                      <a:lnTo>
                        <a:pt x="188" y="265"/>
                      </a:lnTo>
                      <a:lnTo>
                        <a:pt x="171" y="271"/>
                      </a:lnTo>
                      <a:lnTo>
                        <a:pt x="156" y="267"/>
                      </a:lnTo>
                      <a:lnTo>
                        <a:pt x="155" y="265"/>
                      </a:lnTo>
                      <a:lnTo>
                        <a:pt x="157" y="258"/>
                      </a:lnTo>
                      <a:lnTo>
                        <a:pt x="163" y="251"/>
                      </a:lnTo>
                      <a:lnTo>
                        <a:pt x="172" y="249"/>
                      </a:lnTo>
                      <a:lnTo>
                        <a:pt x="182" y="249"/>
                      </a:lnTo>
                      <a:lnTo>
                        <a:pt x="192" y="244"/>
                      </a:lnTo>
                      <a:lnTo>
                        <a:pt x="181" y="229"/>
                      </a:lnTo>
                      <a:lnTo>
                        <a:pt x="176" y="228"/>
                      </a:lnTo>
                      <a:lnTo>
                        <a:pt x="174" y="222"/>
                      </a:lnTo>
                      <a:lnTo>
                        <a:pt x="183" y="223"/>
                      </a:lnTo>
                      <a:lnTo>
                        <a:pt x="189" y="218"/>
                      </a:lnTo>
                      <a:lnTo>
                        <a:pt x="195" y="210"/>
                      </a:lnTo>
                      <a:lnTo>
                        <a:pt x="198" y="202"/>
                      </a:lnTo>
                      <a:lnTo>
                        <a:pt x="211" y="183"/>
                      </a:lnTo>
                      <a:lnTo>
                        <a:pt x="212" y="173"/>
                      </a:lnTo>
                      <a:lnTo>
                        <a:pt x="216" y="160"/>
                      </a:lnTo>
                      <a:lnTo>
                        <a:pt x="220" y="145"/>
                      </a:lnTo>
                      <a:lnTo>
                        <a:pt x="233" y="129"/>
                      </a:lnTo>
                      <a:lnTo>
                        <a:pt x="233" y="109"/>
                      </a:lnTo>
                      <a:lnTo>
                        <a:pt x="230" y="100"/>
                      </a:lnTo>
                      <a:lnTo>
                        <a:pt x="214" y="99"/>
                      </a:lnTo>
                      <a:lnTo>
                        <a:pt x="200" y="102"/>
                      </a:lnTo>
                      <a:lnTo>
                        <a:pt x="178" y="98"/>
                      </a:lnTo>
                      <a:lnTo>
                        <a:pt x="166" y="100"/>
                      </a:lnTo>
                      <a:lnTo>
                        <a:pt x="154" y="97"/>
                      </a:lnTo>
                      <a:lnTo>
                        <a:pt x="118" y="109"/>
                      </a:lnTo>
                      <a:lnTo>
                        <a:pt x="111" y="116"/>
                      </a:lnTo>
                      <a:lnTo>
                        <a:pt x="106" y="113"/>
                      </a:lnTo>
                      <a:lnTo>
                        <a:pt x="108" y="105"/>
                      </a:lnTo>
                      <a:lnTo>
                        <a:pt x="108" y="102"/>
                      </a:lnTo>
                      <a:lnTo>
                        <a:pt x="99" y="104"/>
                      </a:lnTo>
                      <a:lnTo>
                        <a:pt x="99" y="99"/>
                      </a:lnTo>
                      <a:lnTo>
                        <a:pt x="114" y="95"/>
                      </a:lnTo>
                      <a:lnTo>
                        <a:pt x="124" y="86"/>
                      </a:lnTo>
                      <a:lnTo>
                        <a:pt x="107" y="84"/>
                      </a:lnTo>
                      <a:lnTo>
                        <a:pt x="108" y="77"/>
                      </a:lnTo>
                      <a:lnTo>
                        <a:pt x="109" y="78"/>
                      </a:lnTo>
                      <a:lnTo>
                        <a:pt x="119" y="66"/>
                      </a:lnTo>
                      <a:lnTo>
                        <a:pt x="139" y="54"/>
                      </a:lnTo>
                      <a:lnTo>
                        <a:pt x="147" y="39"/>
                      </a:lnTo>
                      <a:lnTo>
                        <a:pt x="161" y="30"/>
                      </a:lnTo>
                      <a:lnTo>
                        <a:pt x="163" y="4"/>
                      </a:lnTo>
                      <a:lnTo>
                        <a:pt x="151" y="0"/>
                      </a:lnTo>
                      <a:lnTo>
                        <a:pt x="138" y="4"/>
                      </a:lnTo>
                      <a:lnTo>
                        <a:pt x="124" y="8"/>
                      </a:lnTo>
                      <a:lnTo>
                        <a:pt x="112" y="8"/>
                      </a:lnTo>
                      <a:lnTo>
                        <a:pt x="96" y="12"/>
                      </a:lnTo>
                      <a:lnTo>
                        <a:pt x="95" y="11"/>
                      </a:lnTo>
                      <a:lnTo>
                        <a:pt x="75" y="6"/>
                      </a:lnTo>
                      <a:lnTo>
                        <a:pt x="64" y="9"/>
                      </a:lnTo>
                      <a:lnTo>
                        <a:pt x="54" y="27"/>
                      </a:lnTo>
                      <a:lnTo>
                        <a:pt x="54" y="41"/>
                      </a:lnTo>
                      <a:lnTo>
                        <a:pt x="42" y="43"/>
                      </a:lnTo>
                      <a:lnTo>
                        <a:pt x="43" y="57"/>
                      </a:lnTo>
                      <a:lnTo>
                        <a:pt x="37" y="60"/>
                      </a:lnTo>
                      <a:lnTo>
                        <a:pt x="39" y="65"/>
                      </a:lnTo>
                      <a:lnTo>
                        <a:pt x="47" y="73"/>
                      </a:lnTo>
                      <a:lnTo>
                        <a:pt x="20" y="88"/>
                      </a:lnTo>
                      <a:lnTo>
                        <a:pt x="20" y="109"/>
                      </a:lnTo>
                      <a:lnTo>
                        <a:pt x="27" y="113"/>
                      </a:lnTo>
                      <a:lnTo>
                        <a:pt x="25" y="115"/>
                      </a:lnTo>
                      <a:lnTo>
                        <a:pt x="18" y="114"/>
                      </a:lnTo>
                      <a:lnTo>
                        <a:pt x="16" y="115"/>
                      </a:lnTo>
                      <a:lnTo>
                        <a:pt x="16" y="130"/>
                      </a:lnTo>
                      <a:lnTo>
                        <a:pt x="22" y="131"/>
                      </a:lnTo>
                      <a:lnTo>
                        <a:pt x="34" y="129"/>
                      </a:lnTo>
                      <a:lnTo>
                        <a:pt x="33" y="133"/>
                      </a:lnTo>
                      <a:lnTo>
                        <a:pt x="27" y="136"/>
                      </a:lnTo>
                      <a:lnTo>
                        <a:pt x="33" y="138"/>
                      </a:lnTo>
                      <a:lnTo>
                        <a:pt x="28" y="147"/>
                      </a:lnTo>
                      <a:lnTo>
                        <a:pt x="27" y="151"/>
                      </a:lnTo>
                      <a:lnTo>
                        <a:pt x="28" y="157"/>
                      </a:lnTo>
                      <a:lnTo>
                        <a:pt x="26" y="158"/>
                      </a:lnTo>
                      <a:lnTo>
                        <a:pt x="22" y="163"/>
                      </a:lnTo>
                      <a:lnTo>
                        <a:pt x="22" y="167"/>
                      </a:lnTo>
                      <a:lnTo>
                        <a:pt x="18" y="170"/>
                      </a:lnTo>
                      <a:lnTo>
                        <a:pt x="16" y="178"/>
                      </a:lnTo>
                      <a:lnTo>
                        <a:pt x="16" y="192"/>
                      </a:lnTo>
                      <a:lnTo>
                        <a:pt x="5" y="195"/>
                      </a:lnTo>
                      <a:lnTo>
                        <a:pt x="0" y="197"/>
                      </a:lnTo>
                      <a:lnTo>
                        <a:pt x="0" y="201"/>
                      </a:lnTo>
                      <a:lnTo>
                        <a:pt x="10" y="202"/>
                      </a:lnTo>
                      <a:lnTo>
                        <a:pt x="11" y="211"/>
                      </a:lnTo>
                      <a:lnTo>
                        <a:pt x="23" y="222"/>
                      </a:lnTo>
                      <a:lnTo>
                        <a:pt x="33" y="215"/>
                      </a:lnTo>
                      <a:lnTo>
                        <a:pt x="43" y="206"/>
                      </a:lnTo>
                      <a:lnTo>
                        <a:pt x="44" y="205"/>
                      </a:lnTo>
                      <a:lnTo>
                        <a:pt x="45" y="206"/>
                      </a:lnTo>
                      <a:lnTo>
                        <a:pt x="45" y="212"/>
                      </a:lnTo>
                      <a:lnTo>
                        <a:pt x="33" y="243"/>
                      </a:lnTo>
                      <a:lnTo>
                        <a:pt x="31" y="254"/>
                      </a:lnTo>
                      <a:lnTo>
                        <a:pt x="31" y="259"/>
                      </a:lnTo>
                      <a:lnTo>
                        <a:pt x="28" y="264"/>
                      </a:lnTo>
                      <a:lnTo>
                        <a:pt x="26" y="275"/>
                      </a:lnTo>
                      <a:lnTo>
                        <a:pt x="26" y="283"/>
                      </a:lnTo>
                      <a:lnTo>
                        <a:pt x="32" y="282"/>
                      </a:lnTo>
                      <a:lnTo>
                        <a:pt x="34" y="286"/>
                      </a:lnTo>
                      <a:lnTo>
                        <a:pt x="33" y="292"/>
                      </a:lnTo>
                      <a:lnTo>
                        <a:pt x="25" y="307"/>
                      </a:lnTo>
                      <a:lnTo>
                        <a:pt x="20" y="331"/>
                      </a:lnTo>
                      <a:lnTo>
                        <a:pt x="20" y="334"/>
                      </a:lnTo>
                      <a:lnTo>
                        <a:pt x="26" y="334"/>
                      </a:lnTo>
                      <a:lnTo>
                        <a:pt x="28" y="330"/>
                      </a:lnTo>
                      <a:lnTo>
                        <a:pt x="32" y="318"/>
                      </a:lnTo>
                      <a:lnTo>
                        <a:pt x="43" y="291"/>
                      </a:lnTo>
                      <a:lnTo>
                        <a:pt x="42" y="277"/>
                      </a:lnTo>
                      <a:lnTo>
                        <a:pt x="39" y="270"/>
                      </a:lnTo>
                      <a:lnTo>
                        <a:pt x="38" y="266"/>
                      </a:lnTo>
                      <a:lnTo>
                        <a:pt x="54" y="248"/>
                      </a:lnTo>
                      <a:lnTo>
                        <a:pt x="54" y="254"/>
                      </a:lnTo>
                      <a:lnTo>
                        <a:pt x="47" y="271"/>
                      </a:lnTo>
                      <a:lnTo>
                        <a:pt x="47" y="282"/>
                      </a:lnTo>
                      <a:lnTo>
                        <a:pt x="49" y="278"/>
                      </a:lnTo>
                      <a:lnTo>
                        <a:pt x="52" y="277"/>
                      </a:lnTo>
                      <a:lnTo>
                        <a:pt x="53" y="273"/>
                      </a:lnTo>
                      <a:lnTo>
                        <a:pt x="55" y="271"/>
                      </a:lnTo>
                      <a:lnTo>
                        <a:pt x="61" y="276"/>
                      </a:lnTo>
                      <a:lnTo>
                        <a:pt x="64" y="275"/>
                      </a:lnTo>
                      <a:lnTo>
                        <a:pt x="64" y="261"/>
                      </a:lnTo>
                      <a:lnTo>
                        <a:pt x="72" y="266"/>
                      </a:lnTo>
                      <a:lnTo>
                        <a:pt x="79" y="272"/>
                      </a:lnTo>
                      <a:lnTo>
                        <a:pt x="74" y="273"/>
                      </a:lnTo>
                      <a:lnTo>
                        <a:pt x="71" y="278"/>
                      </a:lnTo>
                      <a:lnTo>
                        <a:pt x="69" y="283"/>
                      </a:lnTo>
                      <a:lnTo>
                        <a:pt x="68" y="298"/>
                      </a:lnTo>
                      <a:lnTo>
                        <a:pt x="71" y="303"/>
                      </a:lnTo>
                      <a:lnTo>
                        <a:pt x="77" y="308"/>
                      </a:lnTo>
                      <a:lnTo>
                        <a:pt x="79" y="319"/>
                      </a:lnTo>
                      <a:lnTo>
                        <a:pt x="74" y="328"/>
                      </a:lnTo>
                      <a:lnTo>
                        <a:pt x="69" y="341"/>
                      </a:lnTo>
                      <a:lnTo>
                        <a:pt x="61" y="355"/>
                      </a:lnTo>
                      <a:lnTo>
                        <a:pt x="59" y="363"/>
                      </a:lnTo>
                      <a:lnTo>
                        <a:pt x="60" y="372"/>
                      </a:lnTo>
                      <a:lnTo>
                        <a:pt x="54" y="367"/>
                      </a:lnTo>
                      <a:lnTo>
                        <a:pt x="52" y="372"/>
                      </a:lnTo>
                      <a:lnTo>
                        <a:pt x="59" y="395"/>
                      </a:lnTo>
                      <a:lnTo>
                        <a:pt x="64" y="399"/>
                      </a:lnTo>
                      <a:lnTo>
                        <a:pt x="66" y="398"/>
                      </a:lnTo>
                      <a:lnTo>
                        <a:pt x="65" y="384"/>
                      </a:lnTo>
                      <a:lnTo>
                        <a:pt x="66" y="380"/>
                      </a:lnTo>
                      <a:lnTo>
                        <a:pt x="70" y="379"/>
                      </a:lnTo>
                      <a:lnTo>
                        <a:pt x="87" y="391"/>
                      </a:lnTo>
                      <a:lnTo>
                        <a:pt x="92" y="394"/>
                      </a:lnTo>
                      <a:lnTo>
                        <a:pt x="95" y="388"/>
                      </a:lnTo>
                      <a:lnTo>
                        <a:pt x="95" y="380"/>
                      </a:lnTo>
                      <a:lnTo>
                        <a:pt x="119" y="383"/>
                      </a:lnTo>
                      <a:lnTo>
                        <a:pt x="135" y="374"/>
                      </a:lnTo>
                      <a:lnTo>
                        <a:pt x="136" y="372"/>
                      </a:lnTo>
                      <a:lnTo>
                        <a:pt x="144" y="368"/>
                      </a:lnTo>
                      <a:lnTo>
                        <a:pt x="165" y="371"/>
                      </a:lnTo>
                      <a:lnTo>
                        <a:pt x="162" y="373"/>
                      </a:lnTo>
                      <a:lnTo>
                        <a:pt x="158" y="373"/>
                      </a:lnTo>
                      <a:lnTo>
                        <a:pt x="150" y="380"/>
                      </a:lnTo>
                      <a:lnTo>
                        <a:pt x="138" y="406"/>
                      </a:lnTo>
                      <a:lnTo>
                        <a:pt x="135" y="413"/>
                      </a:lnTo>
                      <a:lnTo>
                        <a:pt x="138" y="421"/>
                      </a:lnTo>
                      <a:lnTo>
                        <a:pt x="145" y="431"/>
                      </a:lnTo>
                      <a:lnTo>
                        <a:pt x="149" y="438"/>
                      </a:lnTo>
                      <a:lnTo>
                        <a:pt x="150" y="439"/>
                      </a:lnTo>
                      <a:lnTo>
                        <a:pt x="151" y="437"/>
                      </a:lnTo>
                      <a:lnTo>
                        <a:pt x="158" y="449"/>
                      </a:lnTo>
                      <a:lnTo>
                        <a:pt x="172" y="444"/>
                      </a:lnTo>
                      <a:lnTo>
                        <a:pt x="181" y="437"/>
                      </a:lnTo>
                      <a:lnTo>
                        <a:pt x="184" y="438"/>
                      </a:lnTo>
                      <a:lnTo>
                        <a:pt x="181" y="444"/>
                      </a:lnTo>
                      <a:lnTo>
                        <a:pt x="179" y="461"/>
                      </a:lnTo>
                      <a:lnTo>
                        <a:pt x="174" y="468"/>
                      </a:lnTo>
                      <a:lnTo>
                        <a:pt x="169" y="479"/>
                      </a:lnTo>
                      <a:lnTo>
                        <a:pt x="179" y="481"/>
                      </a:lnTo>
                      <a:lnTo>
                        <a:pt x="174" y="490"/>
                      </a:lnTo>
                      <a:lnTo>
                        <a:pt x="168" y="506"/>
                      </a:lnTo>
                      <a:lnTo>
                        <a:pt x="172" y="509"/>
                      </a:lnTo>
                      <a:lnTo>
                        <a:pt x="177" y="513"/>
                      </a:lnTo>
                      <a:lnTo>
                        <a:pt x="173" y="514"/>
                      </a:lnTo>
                      <a:lnTo>
                        <a:pt x="168" y="523"/>
                      </a:lnTo>
                      <a:lnTo>
                        <a:pt x="128" y="522"/>
                      </a:lnTo>
                      <a:lnTo>
                        <a:pt x="115" y="529"/>
                      </a:lnTo>
                      <a:lnTo>
                        <a:pt x="102" y="540"/>
                      </a:lnTo>
                      <a:lnTo>
                        <a:pt x="79" y="565"/>
                      </a:lnTo>
                      <a:lnTo>
                        <a:pt x="84" y="568"/>
                      </a:lnTo>
                      <a:lnTo>
                        <a:pt x="98" y="558"/>
                      </a:lnTo>
                      <a:lnTo>
                        <a:pt x="109" y="556"/>
                      </a:lnTo>
                      <a:lnTo>
                        <a:pt x="111" y="565"/>
                      </a:lnTo>
                      <a:lnTo>
                        <a:pt x="112" y="585"/>
                      </a:lnTo>
                      <a:lnTo>
                        <a:pt x="113" y="589"/>
                      </a:lnTo>
                      <a:lnTo>
                        <a:pt x="119" y="593"/>
                      </a:lnTo>
                      <a:lnTo>
                        <a:pt x="108" y="615"/>
                      </a:lnTo>
                      <a:lnTo>
                        <a:pt x="79" y="636"/>
                      </a:lnTo>
                      <a:lnTo>
                        <a:pt x="48" y="652"/>
                      </a:lnTo>
                      <a:lnTo>
                        <a:pt x="50" y="654"/>
                      </a:lnTo>
                      <a:lnTo>
                        <a:pt x="52" y="660"/>
                      </a:lnTo>
                      <a:lnTo>
                        <a:pt x="56" y="671"/>
                      </a:lnTo>
                      <a:lnTo>
                        <a:pt x="59" y="674"/>
                      </a:lnTo>
                      <a:lnTo>
                        <a:pt x="65" y="675"/>
                      </a:lnTo>
                      <a:lnTo>
                        <a:pt x="72" y="671"/>
                      </a:lnTo>
                      <a:lnTo>
                        <a:pt x="82" y="663"/>
                      </a:lnTo>
                      <a:lnTo>
                        <a:pt x="91" y="659"/>
                      </a:lnTo>
                      <a:lnTo>
                        <a:pt x="95" y="660"/>
                      </a:lnTo>
                      <a:lnTo>
                        <a:pt x="97" y="674"/>
                      </a:lnTo>
                      <a:lnTo>
                        <a:pt x="101" y="678"/>
                      </a:lnTo>
                      <a:lnTo>
                        <a:pt x="113" y="678"/>
                      </a:lnTo>
                      <a:lnTo>
                        <a:pt x="120" y="671"/>
                      </a:lnTo>
                      <a:lnTo>
                        <a:pt x="123" y="670"/>
                      </a:lnTo>
                      <a:lnTo>
                        <a:pt x="127" y="673"/>
                      </a:lnTo>
                      <a:lnTo>
                        <a:pt x="141" y="692"/>
                      </a:lnTo>
                      <a:lnTo>
                        <a:pt x="147" y="694"/>
                      </a:lnTo>
                      <a:lnTo>
                        <a:pt x="156" y="694"/>
                      </a:lnTo>
                      <a:lnTo>
                        <a:pt x="162" y="689"/>
                      </a:lnTo>
                      <a:lnTo>
                        <a:pt x="166" y="682"/>
                      </a:lnTo>
                      <a:lnTo>
                        <a:pt x="179" y="675"/>
                      </a:lnTo>
                      <a:lnTo>
                        <a:pt x="194" y="663"/>
                      </a:lnTo>
                      <a:lnTo>
                        <a:pt x="195" y="670"/>
                      </a:lnTo>
                      <a:lnTo>
                        <a:pt x="190" y="678"/>
                      </a:lnTo>
                      <a:lnTo>
                        <a:pt x="174" y="697"/>
                      </a:lnTo>
                      <a:lnTo>
                        <a:pt x="172" y="705"/>
                      </a:lnTo>
                      <a:lnTo>
                        <a:pt x="168" y="708"/>
                      </a:lnTo>
                      <a:lnTo>
                        <a:pt x="156" y="711"/>
                      </a:lnTo>
                      <a:lnTo>
                        <a:pt x="124" y="711"/>
                      </a:lnTo>
                      <a:lnTo>
                        <a:pt x="109" y="713"/>
                      </a:lnTo>
                      <a:lnTo>
                        <a:pt x="104" y="724"/>
                      </a:lnTo>
                      <a:lnTo>
                        <a:pt x="95" y="730"/>
                      </a:lnTo>
                      <a:lnTo>
                        <a:pt x="88" y="745"/>
                      </a:lnTo>
                      <a:lnTo>
                        <a:pt x="47" y="791"/>
                      </a:lnTo>
                      <a:lnTo>
                        <a:pt x="31" y="800"/>
                      </a:lnTo>
                      <a:lnTo>
                        <a:pt x="28" y="809"/>
                      </a:lnTo>
                      <a:lnTo>
                        <a:pt x="28" y="813"/>
                      </a:lnTo>
                      <a:lnTo>
                        <a:pt x="31" y="807"/>
                      </a:lnTo>
                      <a:lnTo>
                        <a:pt x="34" y="804"/>
                      </a:lnTo>
                      <a:lnTo>
                        <a:pt x="45" y="810"/>
                      </a:lnTo>
                      <a:lnTo>
                        <a:pt x="50" y="809"/>
                      </a:lnTo>
                      <a:lnTo>
                        <a:pt x="54" y="814"/>
                      </a:lnTo>
                      <a:lnTo>
                        <a:pt x="58" y="809"/>
                      </a:lnTo>
                      <a:lnTo>
                        <a:pt x="60" y="800"/>
                      </a:lnTo>
                      <a:lnTo>
                        <a:pt x="71" y="796"/>
                      </a:lnTo>
                      <a:lnTo>
                        <a:pt x="77" y="784"/>
                      </a:lnTo>
                      <a:lnTo>
                        <a:pt x="107" y="783"/>
                      </a:lnTo>
                      <a:lnTo>
                        <a:pt x="127" y="791"/>
                      </a:lnTo>
                      <a:lnTo>
                        <a:pt x="134" y="791"/>
                      </a:lnTo>
                      <a:lnTo>
                        <a:pt x="141" y="782"/>
                      </a:lnTo>
                      <a:lnTo>
                        <a:pt x="145" y="760"/>
                      </a:lnTo>
                      <a:lnTo>
                        <a:pt x="149" y="759"/>
                      </a:lnTo>
                      <a:lnTo>
                        <a:pt x="156" y="759"/>
                      </a:lnTo>
                      <a:lnTo>
                        <a:pt x="166" y="754"/>
                      </a:lnTo>
                      <a:lnTo>
                        <a:pt x="182" y="750"/>
                      </a:lnTo>
                      <a:lnTo>
                        <a:pt x="199" y="76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14" name="Freeform 194"/>
                <p:cNvSpPr>
                  <a:spLocks noChangeAspect="1"/>
                </p:cNvSpPr>
                <p:nvPr/>
              </p:nvSpPr>
              <p:spPr bwMode="gray">
                <a:xfrm>
                  <a:off x="2428" y="1759"/>
                  <a:ext cx="28" cy="25"/>
                </a:xfrm>
                <a:custGeom>
                  <a:avLst/>
                  <a:gdLst/>
                  <a:ahLst/>
                  <a:cxnLst>
                    <a:cxn ang="0">
                      <a:pos x="28" y="36"/>
                    </a:cxn>
                    <a:cxn ang="0">
                      <a:pos x="27" y="48"/>
                    </a:cxn>
                    <a:cxn ang="0">
                      <a:pos x="21" y="58"/>
                    </a:cxn>
                    <a:cxn ang="0">
                      <a:pos x="11" y="59"/>
                    </a:cxn>
                    <a:cxn ang="0">
                      <a:pos x="11" y="72"/>
                    </a:cxn>
                    <a:cxn ang="0">
                      <a:pos x="0" y="80"/>
                    </a:cxn>
                    <a:cxn ang="0">
                      <a:pos x="16" y="91"/>
                    </a:cxn>
                    <a:cxn ang="0">
                      <a:pos x="23" y="110"/>
                    </a:cxn>
                    <a:cxn ang="0">
                      <a:pos x="34" y="115"/>
                    </a:cxn>
                    <a:cxn ang="0">
                      <a:pos x="47" y="104"/>
                    </a:cxn>
                    <a:cxn ang="0">
                      <a:pos x="53" y="93"/>
                    </a:cxn>
                    <a:cxn ang="0">
                      <a:pos x="82" y="85"/>
                    </a:cxn>
                    <a:cxn ang="0">
                      <a:pos x="97" y="99"/>
                    </a:cxn>
                    <a:cxn ang="0">
                      <a:pos x="98" y="106"/>
                    </a:cxn>
                    <a:cxn ang="0">
                      <a:pos x="98" y="121"/>
                    </a:cxn>
                    <a:cxn ang="0">
                      <a:pos x="101" y="126"/>
                    </a:cxn>
                    <a:cxn ang="0">
                      <a:pos x="103" y="126"/>
                    </a:cxn>
                    <a:cxn ang="0">
                      <a:pos x="117" y="117"/>
                    </a:cxn>
                    <a:cxn ang="0">
                      <a:pos x="119" y="107"/>
                    </a:cxn>
                    <a:cxn ang="0">
                      <a:pos x="132" y="105"/>
                    </a:cxn>
                    <a:cxn ang="0">
                      <a:pos x="138" y="97"/>
                    </a:cxn>
                    <a:cxn ang="0">
                      <a:pos x="132" y="85"/>
                    </a:cxn>
                    <a:cxn ang="0">
                      <a:pos x="130" y="78"/>
                    </a:cxn>
                    <a:cxn ang="0">
                      <a:pos x="138" y="90"/>
                    </a:cxn>
                    <a:cxn ang="0">
                      <a:pos x="140" y="79"/>
                    </a:cxn>
                    <a:cxn ang="0">
                      <a:pos x="135" y="68"/>
                    </a:cxn>
                    <a:cxn ang="0">
                      <a:pos x="130" y="66"/>
                    </a:cxn>
                    <a:cxn ang="0">
                      <a:pos x="116" y="68"/>
                    </a:cxn>
                    <a:cxn ang="0">
                      <a:pos x="122" y="57"/>
                    </a:cxn>
                    <a:cxn ang="0">
                      <a:pos x="120" y="39"/>
                    </a:cxn>
                    <a:cxn ang="0">
                      <a:pos x="112" y="27"/>
                    </a:cxn>
                    <a:cxn ang="0">
                      <a:pos x="106" y="16"/>
                    </a:cxn>
                    <a:cxn ang="0">
                      <a:pos x="89" y="10"/>
                    </a:cxn>
                    <a:cxn ang="0">
                      <a:pos x="64" y="18"/>
                    </a:cxn>
                    <a:cxn ang="0">
                      <a:pos x="58" y="24"/>
                    </a:cxn>
                    <a:cxn ang="0">
                      <a:pos x="50" y="27"/>
                    </a:cxn>
                    <a:cxn ang="0">
                      <a:pos x="48" y="24"/>
                    </a:cxn>
                    <a:cxn ang="0">
                      <a:pos x="59" y="10"/>
                    </a:cxn>
                    <a:cxn ang="0">
                      <a:pos x="57" y="7"/>
                    </a:cxn>
                    <a:cxn ang="0">
                      <a:pos x="48" y="2"/>
                    </a:cxn>
                    <a:cxn ang="0">
                      <a:pos x="39" y="0"/>
                    </a:cxn>
                    <a:cxn ang="0">
                      <a:pos x="38" y="5"/>
                    </a:cxn>
                    <a:cxn ang="0">
                      <a:pos x="36" y="8"/>
                    </a:cxn>
                    <a:cxn ang="0">
                      <a:pos x="33" y="14"/>
                    </a:cxn>
                    <a:cxn ang="0">
                      <a:pos x="34" y="20"/>
                    </a:cxn>
                    <a:cxn ang="0">
                      <a:pos x="34" y="27"/>
                    </a:cxn>
                    <a:cxn ang="0">
                      <a:pos x="33" y="34"/>
                    </a:cxn>
                    <a:cxn ang="0">
                      <a:pos x="28" y="36"/>
                    </a:cxn>
                  </a:cxnLst>
                  <a:rect l="0" t="0" r="r" b="b"/>
                  <a:pathLst>
                    <a:path w="140" h="126">
                      <a:moveTo>
                        <a:pt x="28" y="36"/>
                      </a:moveTo>
                      <a:lnTo>
                        <a:pt x="27" y="48"/>
                      </a:lnTo>
                      <a:lnTo>
                        <a:pt x="21" y="58"/>
                      </a:lnTo>
                      <a:lnTo>
                        <a:pt x="11" y="59"/>
                      </a:lnTo>
                      <a:lnTo>
                        <a:pt x="11" y="72"/>
                      </a:lnTo>
                      <a:lnTo>
                        <a:pt x="0" y="80"/>
                      </a:lnTo>
                      <a:lnTo>
                        <a:pt x="16" y="91"/>
                      </a:lnTo>
                      <a:lnTo>
                        <a:pt x="23" y="110"/>
                      </a:lnTo>
                      <a:lnTo>
                        <a:pt x="34" y="115"/>
                      </a:lnTo>
                      <a:lnTo>
                        <a:pt x="47" y="104"/>
                      </a:lnTo>
                      <a:lnTo>
                        <a:pt x="53" y="93"/>
                      </a:lnTo>
                      <a:lnTo>
                        <a:pt x="82" y="85"/>
                      </a:lnTo>
                      <a:lnTo>
                        <a:pt x="97" y="99"/>
                      </a:lnTo>
                      <a:lnTo>
                        <a:pt x="98" y="106"/>
                      </a:lnTo>
                      <a:lnTo>
                        <a:pt x="98" y="121"/>
                      </a:lnTo>
                      <a:lnTo>
                        <a:pt x="101" y="126"/>
                      </a:lnTo>
                      <a:lnTo>
                        <a:pt x="103" y="126"/>
                      </a:lnTo>
                      <a:lnTo>
                        <a:pt x="117" y="117"/>
                      </a:lnTo>
                      <a:lnTo>
                        <a:pt x="119" y="107"/>
                      </a:lnTo>
                      <a:lnTo>
                        <a:pt x="132" y="105"/>
                      </a:lnTo>
                      <a:lnTo>
                        <a:pt x="138" y="97"/>
                      </a:lnTo>
                      <a:lnTo>
                        <a:pt x="132" y="85"/>
                      </a:lnTo>
                      <a:lnTo>
                        <a:pt x="130" y="78"/>
                      </a:lnTo>
                      <a:lnTo>
                        <a:pt x="138" y="90"/>
                      </a:lnTo>
                      <a:lnTo>
                        <a:pt x="140" y="79"/>
                      </a:lnTo>
                      <a:lnTo>
                        <a:pt x="135" y="68"/>
                      </a:lnTo>
                      <a:lnTo>
                        <a:pt x="130" y="66"/>
                      </a:lnTo>
                      <a:lnTo>
                        <a:pt x="116" y="68"/>
                      </a:lnTo>
                      <a:lnTo>
                        <a:pt x="122" y="57"/>
                      </a:lnTo>
                      <a:lnTo>
                        <a:pt x="120" y="39"/>
                      </a:lnTo>
                      <a:lnTo>
                        <a:pt x="112" y="27"/>
                      </a:lnTo>
                      <a:lnTo>
                        <a:pt x="106" y="16"/>
                      </a:lnTo>
                      <a:lnTo>
                        <a:pt x="89" y="10"/>
                      </a:lnTo>
                      <a:lnTo>
                        <a:pt x="64" y="18"/>
                      </a:lnTo>
                      <a:lnTo>
                        <a:pt x="58" y="24"/>
                      </a:lnTo>
                      <a:lnTo>
                        <a:pt x="50" y="27"/>
                      </a:lnTo>
                      <a:lnTo>
                        <a:pt x="48" y="24"/>
                      </a:lnTo>
                      <a:lnTo>
                        <a:pt x="59" y="10"/>
                      </a:lnTo>
                      <a:lnTo>
                        <a:pt x="57" y="7"/>
                      </a:lnTo>
                      <a:lnTo>
                        <a:pt x="48" y="2"/>
                      </a:lnTo>
                      <a:lnTo>
                        <a:pt x="39" y="0"/>
                      </a:lnTo>
                      <a:lnTo>
                        <a:pt x="38" y="5"/>
                      </a:lnTo>
                      <a:lnTo>
                        <a:pt x="36" y="8"/>
                      </a:lnTo>
                      <a:lnTo>
                        <a:pt x="33" y="14"/>
                      </a:lnTo>
                      <a:lnTo>
                        <a:pt x="34" y="20"/>
                      </a:lnTo>
                      <a:lnTo>
                        <a:pt x="34" y="27"/>
                      </a:lnTo>
                      <a:lnTo>
                        <a:pt x="33" y="34"/>
                      </a:lnTo>
                      <a:lnTo>
                        <a:pt x="28" y="3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184" name="Freeform 195"/>
              <p:cNvSpPr>
                <a:spLocks noChangeAspect="1"/>
              </p:cNvSpPr>
              <p:nvPr/>
            </p:nvSpPr>
            <p:spPr bwMode="gray">
              <a:xfrm>
                <a:off x="4580731" y="2540347"/>
                <a:ext cx="74613" cy="109538"/>
              </a:xfrm>
              <a:custGeom>
                <a:avLst/>
                <a:gdLst/>
                <a:ahLst/>
                <a:cxnLst>
                  <a:cxn ang="0">
                    <a:pos x="223" y="97"/>
                  </a:cxn>
                  <a:cxn ang="0">
                    <a:pos x="178" y="84"/>
                  </a:cxn>
                  <a:cxn ang="0">
                    <a:pos x="148" y="100"/>
                  </a:cxn>
                  <a:cxn ang="0">
                    <a:pos x="136" y="63"/>
                  </a:cxn>
                  <a:cxn ang="0">
                    <a:pos x="152" y="39"/>
                  </a:cxn>
                  <a:cxn ang="0">
                    <a:pos x="152" y="2"/>
                  </a:cxn>
                  <a:cxn ang="0">
                    <a:pos x="135" y="6"/>
                  </a:cxn>
                  <a:cxn ang="0">
                    <a:pos x="113" y="18"/>
                  </a:cxn>
                  <a:cxn ang="0">
                    <a:pos x="108" y="34"/>
                  </a:cxn>
                  <a:cxn ang="0">
                    <a:pos x="88" y="53"/>
                  </a:cxn>
                  <a:cxn ang="0">
                    <a:pos x="104" y="60"/>
                  </a:cxn>
                  <a:cxn ang="0">
                    <a:pos x="120" y="63"/>
                  </a:cxn>
                  <a:cxn ang="0">
                    <a:pos x="99" y="87"/>
                  </a:cxn>
                  <a:cxn ang="0">
                    <a:pos x="65" y="97"/>
                  </a:cxn>
                  <a:cxn ang="0">
                    <a:pos x="31" y="96"/>
                  </a:cxn>
                  <a:cxn ang="0">
                    <a:pos x="23" y="118"/>
                  </a:cxn>
                  <a:cxn ang="0">
                    <a:pos x="43" y="130"/>
                  </a:cxn>
                  <a:cxn ang="0">
                    <a:pos x="24" y="154"/>
                  </a:cxn>
                  <a:cxn ang="0">
                    <a:pos x="23" y="173"/>
                  </a:cxn>
                  <a:cxn ang="0">
                    <a:pos x="40" y="179"/>
                  </a:cxn>
                  <a:cxn ang="0">
                    <a:pos x="78" y="192"/>
                  </a:cxn>
                  <a:cxn ang="0">
                    <a:pos x="54" y="209"/>
                  </a:cxn>
                  <a:cxn ang="0">
                    <a:pos x="32" y="248"/>
                  </a:cxn>
                  <a:cxn ang="0">
                    <a:pos x="81" y="238"/>
                  </a:cxn>
                  <a:cxn ang="0">
                    <a:pos x="56" y="249"/>
                  </a:cxn>
                  <a:cxn ang="0">
                    <a:pos x="29" y="274"/>
                  </a:cxn>
                  <a:cxn ang="0">
                    <a:pos x="15" y="279"/>
                  </a:cxn>
                  <a:cxn ang="0">
                    <a:pos x="0" y="291"/>
                  </a:cxn>
                  <a:cxn ang="0">
                    <a:pos x="13" y="299"/>
                  </a:cxn>
                  <a:cxn ang="0">
                    <a:pos x="11" y="314"/>
                  </a:cxn>
                  <a:cxn ang="0">
                    <a:pos x="38" y="312"/>
                  </a:cxn>
                  <a:cxn ang="0">
                    <a:pos x="16" y="334"/>
                  </a:cxn>
                  <a:cxn ang="0">
                    <a:pos x="48" y="328"/>
                  </a:cxn>
                  <a:cxn ang="0">
                    <a:pos x="33" y="338"/>
                  </a:cxn>
                  <a:cxn ang="0">
                    <a:pos x="44" y="340"/>
                  </a:cxn>
                  <a:cxn ang="0">
                    <a:pos x="60" y="343"/>
                  </a:cxn>
                  <a:cxn ang="0">
                    <a:pos x="102" y="329"/>
                  </a:cxn>
                  <a:cxn ang="0">
                    <a:pos x="109" y="308"/>
                  </a:cxn>
                  <a:cxn ang="0">
                    <a:pos x="119" y="317"/>
                  </a:cxn>
                  <a:cxn ang="0">
                    <a:pos x="145" y="306"/>
                  </a:cxn>
                  <a:cxn ang="0">
                    <a:pos x="153" y="291"/>
                  </a:cxn>
                  <a:cxn ang="0">
                    <a:pos x="201" y="281"/>
                  </a:cxn>
                  <a:cxn ang="0">
                    <a:pos x="218" y="278"/>
                  </a:cxn>
                  <a:cxn ang="0">
                    <a:pos x="225" y="236"/>
                  </a:cxn>
                  <a:cxn ang="0">
                    <a:pos x="231" y="197"/>
                  </a:cxn>
                  <a:cxn ang="0">
                    <a:pos x="233" y="160"/>
                  </a:cxn>
                  <a:cxn ang="0">
                    <a:pos x="226" y="117"/>
                  </a:cxn>
                </a:cxnLst>
                <a:rect l="0" t="0" r="r" b="b"/>
                <a:pathLst>
                  <a:path w="233" h="345">
                    <a:moveTo>
                      <a:pt x="226" y="117"/>
                    </a:moveTo>
                    <a:lnTo>
                      <a:pt x="223" y="112"/>
                    </a:lnTo>
                    <a:lnTo>
                      <a:pt x="223" y="97"/>
                    </a:lnTo>
                    <a:lnTo>
                      <a:pt x="222" y="90"/>
                    </a:lnTo>
                    <a:lnTo>
                      <a:pt x="207" y="76"/>
                    </a:lnTo>
                    <a:lnTo>
                      <a:pt x="178" y="84"/>
                    </a:lnTo>
                    <a:lnTo>
                      <a:pt x="172" y="95"/>
                    </a:lnTo>
                    <a:lnTo>
                      <a:pt x="159" y="106"/>
                    </a:lnTo>
                    <a:lnTo>
                      <a:pt x="148" y="100"/>
                    </a:lnTo>
                    <a:lnTo>
                      <a:pt x="141" y="82"/>
                    </a:lnTo>
                    <a:lnTo>
                      <a:pt x="125" y="71"/>
                    </a:lnTo>
                    <a:lnTo>
                      <a:pt x="136" y="63"/>
                    </a:lnTo>
                    <a:lnTo>
                      <a:pt x="136" y="50"/>
                    </a:lnTo>
                    <a:lnTo>
                      <a:pt x="146" y="49"/>
                    </a:lnTo>
                    <a:lnTo>
                      <a:pt x="152" y="39"/>
                    </a:lnTo>
                    <a:lnTo>
                      <a:pt x="153" y="27"/>
                    </a:lnTo>
                    <a:lnTo>
                      <a:pt x="155" y="22"/>
                    </a:lnTo>
                    <a:lnTo>
                      <a:pt x="152" y="2"/>
                    </a:lnTo>
                    <a:lnTo>
                      <a:pt x="151" y="0"/>
                    </a:lnTo>
                    <a:lnTo>
                      <a:pt x="145" y="1"/>
                    </a:lnTo>
                    <a:lnTo>
                      <a:pt x="135" y="6"/>
                    </a:lnTo>
                    <a:lnTo>
                      <a:pt x="131" y="4"/>
                    </a:lnTo>
                    <a:lnTo>
                      <a:pt x="121" y="11"/>
                    </a:lnTo>
                    <a:lnTo>
                      <a:pt x="113" y="18"/>
                    </a:lnTo>
                    <a:lnTo>
                      <a:pt x="108" y="20"/>
                    </a:lnTo>
                    <a:lnTo>
                      <a:pt x="105" y="30"/>
                    </a:lnTo>
                    <a:lnTo>
                      <a:pt x="108" y="34"/>
                    </a:lnTo>
                    <a:lnTo>
                      <a:pt x="107" y="37"/>
                    </a:lnTo>
                    <a:lnTo>
                      <a:pt x="99" y="45"/>
                    </a:lnTo>
                    <a:lnTo>
                      <a:pt x="88" y="53"/>
                    </a:lnTo>
                    <a:lnTo>
                      <a:pt x="91" y="59"/>
                    </a:lnTo>
                    <a:lnTo>
                      <a:pt x="99" y="59"/>
                    </a:lnTo>
                    <a:lnTo>
                      <a:pt x="104" y="60"/>
                    </a:lnTo>
                    <a:lnTo>
                      <a:pt x="110" y="59"/>
                    </a:lnTo>
                    <a:lnTo>
                      <a:pt x="119" y="59"/>
                    </a:lnTo>
                    <a:lnTo>
                      <a:pt x="120" y="63"/>
                    </a:lnTo>
                    <a:lnTo>
                      <a:pt x="117" y="71"/>
                    </a:lnTo>
                    <a:lnTo>
                      <a:pt x="98" y="84"/>
                    </a:lnTo>
                    <a:lnTo>
                      <a:pt x="99" y="87"/>
                    </a:lnTo>
                    <a:lnTo>
                      <a:pt x="98" y="95"/>
                    </a:lnTo>
                    <a:lnTo>
                      <a:pt x="83" y="93"/>
                    </a:lnTo>
                    <a:lnTo>
                      <a:pt x="65" y="97"/>
                    </a:lnTo>
                    <a:lnTo>
                      <a:pt x="61" y="90"/>
                    </a:lnTo>
                    <a:lnTo>
                      <a:pt x="37" y="87"/>
                    </a:lnTo>
                    <a:lnTo>
                      <a:pt x="31" y="96"/>
                    </a:lnTo>
                    <a:lnTo>
                      <a:pt x="26" y="104"/>
                    </a:lnTo>
                    <a:lnTo>
                      <a:pt x="29" y="120"/>
                    </a:lnTo>
                    <a:lnTo>
                      <a:pt x="23" y="118"/>
                    </a:lnTo>
                    <a:lnTo>
                      <a:pt x="15" y="119"/>
                    </a:lnTo>
                    <a:lnTo>
                      <a:pt x="21" y="128"/>
                    </a:lnTo>
                    <a:lnTo>
                      <a:pt x="43" y="130"/>
                    </a:lnTo>
                    <a:lnTo>
                      <a:pt x="44" y="136"/>
                    </a:lnTo>
                    <a:lnTo>
                      <a:pt x="28" y="146"/>
                    </a:lnTo>
                    <a:lnTo>
                      <a:pt x="24" y="154"/>
                    </a:lnTo>
                    <a:lnTo>
                      <a:pt x="17" y="158"/>
                    </a:lnTo>
                    <a:lnTo>
                      <a:pt x="17" y="166"/>
                    </a:lnTo>
                    <a:lnTo>
                      <a:pt x="23" y="173"/>
                    </a:lnTo>
                    <a:lnTo>
                      <a:pt x="28" y="174"/>
                    </a:lnTo>
                    <a:lnTo>
                      <a:pt x="28" y="179"/>
                    </a:lnTo>
                    <a:lnTo>
                      <a:pt x="40" y="179"/>
                    </a:lnTo>
                    <a:lnTo>
                      <a:pt x="43" y="186"/>
                    </a:lnTo>
                    <a:lnTo>
                      <a:pt x="75" y="187"/>
                    </a:lnTo>
                    <a:lnTo>
                      <a:pt x="78" y="192"/>
                    </a:lnTo>
                    <a:lnTo>
                      <a:pt x="74" y="197"/>
                    </a:lnTo>
                    <a:lnTo>
                      <a:pt x="61" y="201"/>
                    </a:lnTo>
                    <a:lnTo>
                      <a:pt x="54" y="209"/>
                    </a:lnTo>
                    <a:lnTo>
                      <a:pt x="53" y="224"/>
                    </a:lnTo>
                    <a:lnTo>
                      <a:pt x="48" y="233"/>
                    </a:lnTo>
                    <a:lnTo>
                      <a:pt x="32" y="248"/>
                    </a:lnTo>
                    <a:lnTo>
                      <a:pt x="65" y="243"/>
                    </a:lnTo>
                    <a:lnTo>
                      <a:pt x="81" y="227"/>
                    </a:lnTo>
                    <a:lnTo>
                      <a:pt x="81" y="238"/>
                    </a:lnTo>
                    <a:lnTo>
                      <a:pt x="89" y="240"/>
                    </a:lnTo>
                    <a:lnTo>
                      <a:pt x="91" y="241"/>
                    </a:lnTo>
                    <a:lnTo>
                      <a:pt x="56" y="249"/>
                    </a:lnTo>
                    <a:lnTo>
                      <a:pt x="42" y="251"/>
                    </a:lnTo>
                    <a:lnTo>
                      <a:pt x="31" y="268"/>
                    </a:lnTo>
                    <a:lnTo>
                      <a:pt x="29" y="274"/>
                    </a:lnTo>
                    <a:lnTo>
                      <a:pt x="27" y="278"/>
                    </a:lnTo>
                    <a:lnTo>
                      <a:pt x="21" y="276"/>
                    </a:lnTo>
                    <a:lnTo>
                      <a:pt x="15" y="279"/>
                    </a:lnTo>
                    <a:lnTo>
                      <a:pt x="8" y="278"/>
                    </a:lnTo>
                    <a:lnTo>
                      <a:pt x="2" y="283"/>
                    </a:lnTo>
                    <a:lnTo>
                      <a:pt x="0" y="291"/>
                    </a:lnTo>
                    <a:lnTo>
                      <a:pt x="24" y="289"/>
                    </a:lnTo>
                    <a:lnTo>
                      <a:pt x="26" y="294"/>
                    </a:lnTo>
                    <a:lnTo>
                      <a:pt x="13" y="299"/>
                    </a:lnTo>
                    <a:lnTo>
                      <a:pt x="5" y="308"/>
                    </a:lnTo>
                    <a:lnTo>
                      <a:pt x="3" y="314"/>
                    </a:lnTo>
                    <a:lnTo>
                      <a:pt x="11" y="314"/>
                    </a:lnTo>
                    <a:lnTo>
                      <a:pt x="13" y="319"/>
                    </a:lnTo>
                    <a:lnTo>
                      <a:pt x="16" y="319"/>
                    </a:lnTo>
                    <a:lnTo>
                      <a:pt x="38" y="312"/>
                    </a:lnTo>
                    <a:lnTo>
                      <a:pt x="38" y="318"/>
                    </a:lnTo>
                    <a:lnTo>
                      <a:pt x="29" y="323"/>
                    </a:lnTo>
                    <a:lnTo>
                      <a:pt x="16" y="334"/>
                    </a:lnTo>
                    <a:lnTo>
                      <a:pt x="19" y="334"/>
                    </a:lnTo>
                    <a:lnTo>
                      <a:pt x="45" y="326"/>
                    </a:lnTo>
                    <a:lnTo>
                      <a:pt x="48" y="328"/>
                    </a:lnTo>
                    <a:lnTo>
                      <a:pt x="45" y="334"/>
                    </a:lnTo>
                    <a:lnTo>
                      <a:pt x="39" y="334"/>
                    </a:lnTo>
                    <a:lnTo>
                      <a:pt x="33" y="338"/>
                    </a:lnTo>
                    <a:lnTo>
                      <a:pt x="34" y="340"/>
                    </a:lnTo>
                    <a:lnTo>
                      <a:pt x="34" y="345"/>
                    </a:lnTo>
                    <a:lnTo>
                      <a:pt x="44" y="340"/>
                    </a:lnTo>
                    <a:lnTo>
                      <a:pt x="51" y="339"/>
                    </a:lnTo>
                    <a:lnTo>
                      <a:pt x="55" y="341"/>
                    </a:lnTo>
                    <a:lnTo>
                      <a:pt x="60" y="343"/>
                    </a:lnTo>
                    <a:lnTo>
                      <a:pt x="67" y="338"/>
                    </a:lnTo>
                    <a:lnTo>
                      <a:pt x="74" y="338"/>
                    </a:lnTo>
                    <a:lnTo>
                      <a:pt x="102" y="329"/>
                    </a:lnTo>
                    <a:lnTo>
                      <a:pt x="109" y="323"/>
                    </a:lnTo>
                    <a:lnTo>
                      <a:pt x="110" y="316"/>
                    </a:lnTo>
                    <a:lnTo>
                      <a:pt x="109" y="308"/>
                    </a:lnTo>
                    <a:lnTo>
                      <a:pt x="113" y="310"/>
                    </a:lnTo>
                    <a:lnTo>
                      <a:pt x="115" y="316"/>
                    </a:lnTo>
                    <a:lnTo>
                      <a:pt x="119" y="317"/>
                    </a:lnTo>
                    <a:lnTo>
                      <a:pt x="131" y="311"/>
                    </a:lnTo>
                    <a:lnTo>
                      <a:pt x="135" y="305"/>
                    </a:lnTo>
                    <a:lnTo>
                      <a:pt x="145" y="306"/>
                    </a:lnTo>
                    <a:lnTo>
                      <a:pt x="148" y="301"/>
                    </a:lnTo>
                    <a:lnTo>
                      <a:pt x="151" y="295"/>
                    </a:lnTo>
                    <a:lnTo>
                      <a:pt x="153" y="291"/>
                    </a:lnTo>
                    <a:lnTo>
                      <a:pt x="177" y="286"/>
                    </a:lnTo>
                    <a:lnTo>
                      <a:pt x="189" y="281"/>
                    </a:lnTo>
                    <a:lnTo>
                      <a:pt x="201" y="281"/>
                    </a:lnTo>
                    <a:lnTo>
                      <a:pt x="209" y="285"/>
                    </a:lnTo>
                    <a:lnTo>
                      <a:pt x="216" y="285"/>
                    </a:lnTo>
                    <a:lnTo>
                      <a:pt x="218" y="278"/>
                    </a:lnTo>
                    <a:lnTo>
                      <a:pt x="215" y="269"/>
                    </a:lnTo>
                    <a:lnTo>
                      <a:pt x="222" y="251"/>
                    </a:lnTo>
                    <a:lnTo>
                      <a:pt x="225" y="236"/>
                    </a:lnTo>
                    <a:lnTo>
                      <a:pt x="231" y="225"/>
                    </a:lnTo>
                    <a:lnTo>
                      <a:pt x="233" y="216"/>
                    </a:lnTo>
                    <a:lnTo>
                      <a:pt x="231" y="197"/>
                    </a:lnTo>
                    <a:lnTo>
                      <a:pt x="227" y="178"/>
                    </a:lnTo>
                    <a:lnTo>
                      <a:pt x="231" y="176"/>
                    </a:lnTo>
                    <a:lnTo>
                      <a:pt x="233" y="160"/>
                    </a:lnTo>
                    <a:lnTo>
                      <a:pt x="220" y="128"/>
                    </a:lnTo>
                    <a:lnTo>
                      <a:pt x="220" y="119"/>
                    </a:lnTo>
                    <a:lnTo>
                      <a:pt x="226" y="1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85" name="Freeform 196"/>
              <p:cNvSpPr>
                <a:spLocks noChangeAspect="1"/>
              </p:cNvSpPr>
              <p:nvPr/>
            </p:nvSpPr>
            <p:spPr bwMode="gray">
              <a:xfrm>
                <a:off x="5144294" y="2622897"/>
                <a:ext cx="315913" cy="209550"/>
              </a:xfrm>
              <a:custGeom>
                <a:avLst/>
                <a:gdLst/>
                <a:ahLst/>
                <a:cxnLst>
                  <a:cxn ang="0">
                    <a:pos x="148" y="384"/>
                  </a:cxn>
                  <a:cxn ang="0">
                    <a:pos x="40" y="377"/>
                  </a:cxn>
                  <a:cxn ang="0">
                    <a:pos x="19" y="282"/>
                  </a:cxn>
                  <a:cxn ang="0">
                    <a:pos x="85" y="184"/>
                  </a:cxn>
                  <a:cxn ang="0">
                    <a:pos x="84" y="95"/>
                  </a:cxn>
                  <a:cxn ang="0">
                    <a:pos x="121" y="51"/>
                  </a:cxn>
                  <a:cxn ang="0">
                    <a:pos x="219" y="44"/>
                  </a:cxn>
                  <a:cxn ang="0">
                    <a:pos x="275" y="67"/>
                  </a:cxn>
                  <a:cxn ang="0">
                    <a:pos x="328" y="77"/>
                  </a:cxn>
                  <a:cxn ang="0">
                    <a:pos x="386" y="70"/>
                  </a:cxn>
                  <a:cxn ang="0">
                    <a:pos x="449" y="86"/>
                  </a:cxn>
                  <a:cxn ang="0">
                    <a:pos x="473" y="52"/>
                  </a:cxn>
                  <a:cxn ang="0">
                    <a:pos x="537" y="18"/>
                  </a:cxn>
                  <a:cxn ang="0">
                    <a:pos x="589" y="6"/>
                  </a:cxn>
                  <a:cxn ang="0">
                    <a:pos x="662" y="25"/>
                  </a:cxn>
                  <a:cxn ang="0">
                    <a:pos x="667" y="72"/>
                  </a:cxn>
                  <a:cxn ang="0">
                    <a:pos x="720" y="105"/>
                  </a:cxn>
                  <a:cxn ang="0">
                    <a:pos x="759" y="165"/>
                  </a:cxn>
                  <a:cxn ang="0">
                    <a:pos x="842" y="163"/>
                  </a:cxn>
                  <a:cxn ang="0">
                    <a:pos x="896" y="199"/>
                  </a:cxn>
                  <a:cxn ang="0">
                    <a:pos x="958" y="223"/>
                  </a:cxn>
                  <a:cxn ang="0">
                    <a:pos x="987" y="282"/>
                  </a:cxn>
                  <a:cxn ang="0">
                    <a:pos x="968" y="320"/>
                  </a:cxn>
                  <a:cxn ang="0">
                    <a:pos x="963" y="389"/>
                  </a:cxn>
                  <a:cxn ang="0">
                    <a:pos x="888" y="419"/>
                  </a:cxn>
                  <a:cxn ang="0">
                    <a:pos x="817" y="465"/>
                  </a:cxn>
                  <a:cxn ang="0">
                    <a:pos x="757" y="485"/>
                  </a:cxn>
                  <a:cxn ang="0">
                    <a:pos x="725" y="517"/>
                  </a:cxn>
                  <a:cxn ang="0">
                    <a:pos x="709" y="545"/>
                  </a:cxn>
                  <a:cxn ang="0">
                    <a:pos x="687" y="534"/>
                  </a:cxn>
                  <a:cxn ang="0">
                    <a:pos x="666" y="507"/>
                  </a:cxn>
                  <a:cxn ang="0">
                    <a:pos x="660" y="527"/>
                  </a:cxn>
                  <a:cxn ang="0">
                    <a:pos x="684" y="539"/>
                  </a:cxn>
                  <a:cxn ang="0">
                    <a:pos x="708" y="559"/>
                  </a:cxn>
                  <a:cxn ang="0">
                    <a:pos x="750" y="590"/>
                  </a:cxn>
                  <a:cxn ang="0">
                    <a:pos x="799" y="584"/>
                  </a:cxn>
                  <a:cxn ang="0">
                    <a:pos x="723" y="619"/>
                  </a:cxn>
                  <a:cxn ang="0">
                    <a:pos x="680" y="646"/>
                  </a:cxn>
                  <a:cxn ang="0">
                    <a:pos x="632" y="638"/>
                  </a:cxn>
                  <a:cxn ang="0">
                    <a:pos x="607" y="590"/>
                  </a:cxn>
                  <a:cxn ang="0">
                    <a:pos x="613" y="550"/>
                  </a:cxn>
                  <a:cxn ang="0">
                    <a:pos x="618" y="524"/>
                  </a:cxn>
                  <a:cxn ang="0">
                    <a:pos x="557" y="518"/>
                  </a:cxn>
                  <a:cxn ang="0">
                    <a:pos x="528" y="496"/>
                  </a:cxn>
                  <a:cxn ang="0">
                    <a:pos x="543" y="471"/>
                  </a:cxn>
                  <a:cxn ang="0">
                    <a:pos x="492" y="489"/>
                  </a:cxn>
                  <a:cxn ang="0">
                    <a:pos x="450" y="509"/>
                  </a:cxn>
                  <a:cxn ang="0">
                    <a:pos x="434" y="547"/>
                  </a:cxn>
                  <a:cxn ang="0">
                    <a:pos x="418" y="566"/>
                  </a:cxn>
                  <a:cxn ang="0">
                    <a:pos x="368" y="592"/>
                  </a:cxn>
                  <a:cxn ang="0">
                    <a:pos x="352" y="560"/>
                  </a:cxn>
                  <a:cxn ang="0">
                    <a:pos x="382" y="498"/>
                  </a:cxn>
                  <a:cxn ang="0">
                    <a:pos x="431" y="484"/>
                  </a:cxn>
                  <a:cxn ang="0">
                    <a:pos x="406" y="423"/>
                  </a:cxn>
                  <a:cxn ang="0">
                    <a:pos x="387" y="369"/>
                  </a:cxn>
                  <a:cxn ang="0">
                    <a:pos x="310" y="339"/>
                  </a:cxn>
                </a:cxnLst>
                <a:rect l="0" t="0" r="r" b="b"/>
                <a:pathLst>
                  <a:path w="995" h="658">
                    <a:moveTo>
                      <a:pt x="248" y="353"/>
                    </a:moveTo>
                    <a:lnTo>
                      <a:pt x="242" y="352"/>
                    </a:lnTo>
                    <a:lnTo>
                      <a:pt x="208" y="373"/>
                    </a:lnTo>
                    <a:lnTo>
                      <a:pt x="189" y="374"/>
                    </a:lnTo>
                    <a:lnTo>
                      <a:pt x="173" y="378"/>
                    </a:lnTo>
                    <a:lnTo>
                      <a:pt x="157" y="389"/>
                    </a:lnTo>
                    <a:lnTo>
                      <a:pt x="148" y="384"/>
                    </a:lnTo>
                    <a:lnTo>
                      <a:pt x="137" y="374"/>
                    </a:lnTo>
                    <a:lnTo>
                      <a:pt x="121" y="376"/>
                    </a:lnTo>
                    <a:lnTo>
                      <a:pt x="106" y="379"/>
                    </a:lnTo>
                    <a:lnTo>
                      <a:pt x="83" y="377"/>
                    </a:lnTo>
                    <a:lnTo>
                      <a:pt x="64" y="374"/>
                    </a:lnTo>
                    <a:lnTo>
                      <a:pt x="47" y="374"/>
                    </a:lnTo>
                    <a:lnTo>
                      <a:pt x="40" y="377"/>
                    </a:lnTo>
                    <a:lnTo>
                      <a:pt x="36" y="367"/>
                    </a:lnTo>
                    <a:lnTo>
                      <a:pt x="27" y="358"/>
                    </a:lnTo>
                    <a:lnTo>
                      <a:pt x="15" y="348"/>
                    </a:lnTo>
                    <a:lnTo>
                      <a:pt x="0" y="341"/>
                    </a:lnTo>
                    <a:lnTo>
                      <a:pt x="6" y="318"/>
                    </a:lnTo>
                    <a:lnTo>
                      <a:pt x="17" y="288"/>
                    </a:lnTo>
                    <a:lnTo>
                      <a:pt x="19" y="282"/>
                    </a:lnTo>
                    <a:lnTo>
                      <a:pt x="24" y="283"/>
                    </a:lnTo>
                    <a:lnTo>
                      <a:pt x="33" y="281"/>
                    </a:lnTo>
                    <a:lnTo>
                      <a:pt x="31" y="269"/>
                    </a:lnTo>
                    <a:lnTo>
                      <a:pt x="33" y="254"/>
                    </a:lnTo>
                    <a:lnTo>
                      <a:pt x="51" y="216"/>
                    </a:lnTo>
                    <a:lnTo>
                      <a:pt x="65" y="197"/>
                    </a:lnTo>
                    <a:lnTo>
                      <a:pt x="85" y="184"/>
                    </a:lnTo>
                    <a:lnTo>
                      <a:pt x="103" y="169"/>
                    </a:lnTo>
                    <a:lnTo>
                      <a:pt x="108" y="156"/>
                    </a:lnTo>
                    <a:lnTo>
                      <a:pt x="102" y="140"/>
                    </a:lnTo>
                    <a:lnTo>
                      <a:pt x="103" y="129"/>
                    </a:lnTo>
                    <a:lnTo>
                      <a:pt x="92" y="118"/>
                    </a:lnTo>
                    <a:lnTo>
                      <a:pt x="91" y="114"/>
                    </a:lnTo>
                    <a:lnTo>
                      <a:pt x="84" y="95"/>
                    </a:lnTo>
                    <a:lnTo>
                      <a:pt x="83" y="83"/>
                    </a:lnTo>
                    <a:lnTo>
                      <a:pt x="76" y="71"/>
                    </a:lnTo>
                    <a:lnTo>
                      <a:pt x="83" y="65"/>
                    </a:lnTo>
                    <a:lnTo>
                      <a:pt x="91" y="64"/>
                    </a:lnTo>
                    <a:lnTo>
                      <a:pt x="100" y="65"/>
                    </a:lnTo>
                    <a:lnTo>
                      <a:pt x="114" y="57"/>
                    </a:lnTo>
                    <a:lnTo>
                      <a:pt x="121" y="51"/>
                    </a:lnTo>
                    <a:lnTo>
                      <a:pt x="123" y="44"/>
                    </a:lnTo>
                    <a:lnTo>
                      <a:pt x="130" y="40"/>
                    </a:lnTo>
                    <a:lnTo>
                      <a:pt x="172" y="34"/>
                    </a:lnTo>
                    <a:lnTo>
                      <a:pt x="180" y="37"/>
                    </a:lnTo>
                    <a:lnTo>
                      <a:pt x="197" y="38"/>
                    </a:lnTo>
                    <a:lnTo>
                      <a:pt x="205" y="35"/>
                    </a:lnTo>
                    <a:lnTo>
                      <a:pt x="219" y="44"/>
                    </a:lnTo>
                    <a:lnTo>
                      <a:pt x="235" y="49"/>
                    </a:lnTo>
                    <a:lnTo>
                      <a:pt x="243" y="50"/>
                    </a:lnTo>
                    <a:lnTo>
                      <a:pt x="252" y="49"/>
                    </a:lnTo>
                    <a:lnTo>
                      <a:pt x="258" y="52"/>
                    </a:lnTo>
                    <a:lnTo>
                      <a:pt x="267" y="55"/>
                    </a:lnTo>
                    <a:lnTo>
                      <a:pt x="274" y="59"/>
                    </a:lnTo>
                    <a:lnTo>
                      <a:pt x="275" y="67"/>
                    </a:lnTo>
                    <a:lnTo>
                      <a:pt x="282" y="72"/>
                    </a:lnTo>
                    <a:lnTo>
                      <a:pt x="297" y="71"/>
                    </a:lnTo>
                    <a:lnTo>
                      <a:pt x="299" y="79"/>
                    </a:lnTo>
                    <a:lnTo>
                      <a:pt x="306" y="86"/>
                    </a:lnTo>
                    <a:lnTo>
                      <a:pt x="312" y="79"/>
                    </a:lnTo>
                    <a:lnTo>
                      <a:pt x="320" y="77"/>
                    </a:lnTo>
                    <a:lnTo>
                      <a:pt x="328" y="77"/>
                    </a:lnTo>
                    <a:lnTo>
                      <a:pt x="334" y="71"/>
                    </a:lnTo>
                    <a:lnTo>
                      <a:pt x="340" y="76"/>
                    </a:lnTo>
                    <a:lnTo>
                      <a:pt x="349" y="78"/>
                    </a:lnTo>
                    <a:lnTo>
                      <a:pt x="356" y="76"/>
                    </a:lnTo>
                    <a:lnTo>
                      <a:pt x="361" y="83"/>
                    </a:lnTo>
                    <a:lnTo>
                      <a:pt x="369" y="88"/>
                    </a:lnTo>
                    <a:lnTo>
                      <a:pt x="386" y="70"/>
                    </a:lnTo>
                    <a:lnTo>
                      <a:pt x="398" y="79"/>
                    </a:lnTo>
                    <a:lnTo>
                      <a:pt x="402" y="87"/>
                    </a:lnTo>
                    <a:lnTo>
                      <a:pt x="408" y="93"/>
                    </a:lnTo>
                    <a:lnTo>
                      <a:pt x="415" y="88"/>
                    </a:lnTo>
                    <a:lnTo>
                      <a:pt x="424" y="88"/>
                    </a:lnTo>
                    <a:lnTo>
                      <a:pt x="440" y="86"/>
                    </a:lnTo>
                    <a:lnTo>
                      <a:pt x="449" y="86"/>
                    </a:lnTo>
                    <a:lnTo>
                      <a:pt x="456" y="89"/>
                    </a:lnTo>
                    <a:lnTo>
                      <a:pt x="461" y="95"/>
                    </a:lnTo>
                    <a:lnTo>
                      <a:pt x="469" y="93"/>
                    </a:lnTo>
                    <a:lnTo>
                      <a:pt x="473" y="86"/>
                    </a:lnTo>
                    <a:lnTo>
                      <a:pt x="471" y="70"/>
                    </a:lnTo>
                    <a:lnTo>
                      <a:pt x="473" y="61"/>
                    </a:lnTo>
                    <a:lnTo>
                      <a:pt x="473" y="52"/>
                    </a:lnTo>
                    <a:lnTo>
                      <a:pt x="476" y="44"/>
                    </a:lnTo>
                    <a:lnTo>
                      <a:pt x="494" y="27"/>
                    </a:lnTo>
                    <a:lnTo>
                      <a:pt x="501" y="23"/>
                    </a:lnTo>
                    <a:lnTo>
                      <a:pt x="510" y="23"/>
                    </a:lnTo>
                    <a:lnTo>
                      <a:pt x="517" y="18"/>
                    </a:lnTo>
                    <a:lnTo>
                      <a:pt x="537" y="18"/>
                    </a:lnTo>
                    <a:lnTo>
                      <a:pt x="537" y="18"/>
                    </a:lnTo>
                    <a:lnTo>
                      <a:pt x="543" y="23"/>
                    </a:lnTo>
                    <a:lnTo>
                      <a:pt x="551" y="25"/>
                    </a:lnTo>
                    <a:lnTo>
                      <a:pt x="558" y="22"/>
                    </a:lnTo>
                    <a:lnTo>
                      <a:pt x="563" y="16"/>
                    </a:lnTo>
                    <a:lnTo>
                      <a:pt x="565" y="7"/>
                    </a:lnTo>
                    <a:lnTo>
                      <a:pt x="573" y="2"/>
                    </a:lnTo>
                    <a:lnTo>
                      <a:pt x="589" y="6"/>
                    </a:lnTo>
                    <a:lnTo>
                      <a:pt x="597" y="6"/>
                    </a:lnTo>
                    <a:lnTo>
                      <a:pt x="613" y="1"/>
                    </a:lnTo>
                    <a:lnTo>
                      <a:pt x="629" y="3"/>
                    </a:lnTo>
                    <a:lnTo>
                      <a:pt x="645" y="0"/>
                    </a:lnTo>
                    <a:lnTo>
                      <a:pt x="657" y="9"/>
                    </a:lnTo>
                    <a:lnTo>
                      <a:pt x="662" y="17"/>
                    </a:lnTo>
                    <a:lnTo>
                      <a:pt x="662" y="25"/>
                    </a:lnTo>
                    <a:lnTo>
                      <a:pt x="675" y="37"/>
                    </a:lnTo>
                    <a:lnTo>
                      <a:pt x="680" y="43"/>
                    </a:lnTo>
                    <a:lnTo>
                      <a:pt x="680" y="52"/>
                    </a:lnTo>
                    <a:lnTo>
                      <a:pt x="671" y="56"/>
                    </a:lnTo>
                    <a:lnTo>
                      <a:pt x="664" y="57"/>
                    </a:lnTo>
                    <a:lnTo>
                      <a:pt x="667" y="65"/>
                    </a:lnTo>
                    <a:lnTo>
                      <a:pt x="667" y="72"/>
                    </a:lnTo>
                    <a:lnTo>
                      <a:pt x="671" y="88"/>
                    </a:lnTo>
                    <a:lnTo>
                      <a:pt x="678" y="93"/>
                    </a:lnTo>
                    <a:lnTo>
                      <a:pt x="686" y="97"/>
                    </a:lnTo>
                    <a:lnTo>
                      <a:pt x="702" y="100"/>
                    </a:lnTo>
                    <a:lnTo>
                      <a:pt x="709" y="97"/>
                    </a:lnTo>
                    <a:lnTo>
                      <a:pt x="718" y="97"/>
                    </a:lnTo>
                    <a:lnTo>
                      <a:pt x="720" y="105"/>
                    </a:lnTo>
                    <a:lnTo>
                      <a:pt x="731" y="116"/>
                    </a:lnTo>
                    <a:lnTo>
                      <a:pt x="738" y="145"/>
                    </a:lnTo>
                    <a:lnTo>
                      <a:pt x="736" y="152"/>
                    </a:lnTo>
                    <a:lnTo>
                      <a:pt x="738" y="159"/>
                    </a:lnTo>
                    <a:lnTo>
                      <a:pt x="745" y="165"/>
                    </a:lnTo>
                    <a:lnTo>
                      <a:pt x="752" y="169"/>
                    </a:lnTo>
                    <a:lnTo>
                      <a:pt x="759" y="165"/>
                    </a:lnTo>
                    <a:lnTo>
                      <a:pt x="767" y="164"/>
                    </a:lnTo>
                    <a:lnTo>
                      <a:pt x="775" y="165"/>
                    </a:lnTo>
                    <a:lnTo>
                      <a:pt x="786" y="177"/>
                    </a:lnTo>
                    <a:lnTo>
                      <a:pt x="795" y="174"/>
                    </a:lnTo>
                    <a:lnTo>
                      <a:pt x="801" y="178"/>
                    </a:lnTo>
                    <a:lnTo>
                      <a:pt x="827" y="170"/>
                    </a:lnTo>
                    <a:lnTo>
                      <a:pt x="842" y="163"/>
                    </a:lnTo>
                    <a:lnTo>
                      <a:pt x="849" y="165"/>
                    </a:lnTo>
                    <a:lnTo>
                      <a:pt x="854" y="173"/>
                    </a:lnTo>
                    <a:lnTo>
                      <a:pt x="865" y="195"/>
                    </a:lnTo>
                    <a:lnTo>
                      <a:pt x="876" y="206"/>
                    </a:lnTo>
                    <a:lnTo>
                      <a:pt x="883" y="206"/>
                    </a:lnTo>
                    <a:lnTo>
                      <a:pt x="887" y="199"/>
                    </a:lnTo>
                    <a:lnTo>
                      <a:pt x="896" y="199"/>
                    </a:lnTo>
                    <a:lnTo>
                      <a:pt x="901" y="205"/>
                    </a:lnTo>
                    <a:lnTo>
                      <a:pt x="908" y="206"/>
                    </a:lnTo>
                    <a:lnTo>
                      <a:pt x="915" y="210"/>
                    </a:lnTo>
                    <a:lnTo>
                      <a:pt x="922" y="216"/>
                    </a:lnTo>
                    <a:lnTo>
                      <a:pt x="938" y="215"/>
                    </a:lnTo>
                    <a:lnTo>
                      <a:pt x="951" y="224"/>
                    </a:lnTo>
                    <a:lnTo>
                      <a:pt x="958" y="223"/>
                    </a:lnTo>
                    <a:lnTo>
                      <a:pt x="971" y="234"/>
                    </a:lnTo>
                    <a:lnTo>
                      <a:pt x="979" y="235"/>
                    </a:lnTo>
                    <a:lnTo>
                      <a:pt x="988" y="235"/>
                    </a:lnTo>
                    <a:lnTo>
                      <a:pt x="994" y="240"/>
                    </a:lnTo>
                    <a:lnTo>
                      <a:pt x="987" y="244"/>
                    </a:lnTo>
                    <a:lnTo>
                      <a:pt x="995" y="267"/>
                    </a:lnTo>
                    <a:lnTo>
                      <a:pt x="987" y="282"/>
                    </a:lnTo>
                    <a:lnTo>
                      <a:pt x="971" y="286"/>
                    </a:lnTo>
                    <a:lnTo>
                      <a:pt x="976" y="292"/>
                    </a:lnTo>
                    <a:lnTo>
                      <a:pt x="984" y="294"/>
                    </a:lnTo>
                    <a:lnTo>
                      <a:pt x="988" y="301"/>
                    </a:lnTo>
                    <a:lnTo>
                      <a:pt x="972" y="306"/>
                    </a:lnTo>
                    <a:lnTo>
                      <a:pt x="969" y="313"/>
                    </a:lnTo>
                    <a:lnTo>
                      <a:pt x="968" y="320"/>
                    </a:lnTo>
                    <a:lnTo>
                      <a:pt x="973" y="326"/>
                    </a:lnTo>
                    <a:lnTo>
                      <a:pt x="976" y="335"/>
                    </a:lnTo>
                    <a:lnTo>
                      <a:pt x="974" y="342"/>
                    </a:lnTo>
                    <a:lnTo>
                      <a:pt x="980" y="346"/>
                    </a:lnTo>
                    <a:lnTo>
                      <a:pt x="978" y="362"/>
                    </a:lnTo>
                    <a:lnTo>
                      <a:pt x="971" y="385"/>
                    </a:lnTo>
                    <a:lnTo>
                      <a:pt x="963" y="389"/>
                    </a:lnTo>
                    <a:lnTo>
                      <a:pt x="947" y="385"/>
                    </a:lnTo>
                    <a:lnTo>
                      <a:pt x="940" y="387"/>
                    </a:lnTo>
                    <a:lnTo>
                      <a:pt x="925" y="379"/>
                    </a:lnTo>
                    <a:lnTo>
                      <a:pt x="919" y="384"/>
                    </a:lnTo>
                    <a:lnTo>
                      <a:pt x="910" y="398"/>
                    </a:lnTo>
                    <a:lnTo>
                      <a:pt x="896" y="404"/>
                    </a:lnTo>
                    <a:lnTo>
                      <a:pt x="888" y="419"/>
                    </a:lnTo>
                    <a:lnTo>
                      <a:pt x="890" y="427"/>
                    </a:lnTo>
                    <a:lnTo>
                      <a:pt x="890" y="442"/>
                    </a:lnTo>
                    <a:lnTo>
                      <a:pt x="866" y="446"/>
                    </a:lnTo>
                    <a:lnTo>
                      <a:pt x="853" y="448"/>
                    </a:lnTo>
                    <a:lnTo>
                      <a:pt x="843" y="459"/>
                    </a:lnTo>
                    <a:lnTo>
                      <a:pt x="836" y="458"/>
                    </a:lnTo>
                    <a:lnTo>
                      <a:pt x="817" y="465"/>
                    </a:lnTo>
                    <a:lnTo>
                      <a:pt x="813" y="477"/>
                    </a:lnTo>
                    <a:lnTo>
                      <a:pt x="801" y="470"/>
                    </a:lnTo>
                    <a:lnTo>
                      <a:pt x="779" y="481"/>
                    </a:lnTo>
                    <a:lnTo>
                      <a:pt x="777" y="486"/>
                    </a:lnTo>
                    <a:lnTo>
                      <a:pt x="775" y="481"/>
                    </a:lnTo>
                    <a:lnTo>
                      <a:pt x="764" y="485"/>
                    </a:lnTo>
                    <a:lnTo>
                      <a:pt x="757" y="485"/>
                    </a:lnTo>
                    <a:lnTo>
                      <a:pt x="741" y="500"/>
                    </a:lnTo>
                    <a:lnTo>
                      <a:pt x="737" y="501"/>
                    </a:lnTo>
                    <a:lnTo>
                      <a:pt x="731" y="511"/>
                    </a:lnTo>
                    <a:lnTo>
                      <a:pt x="724" y="522"/>
                    </a:lnTo>
                    <a:lnTo>
                      <a:pt x="716" y="525"/>
                    </a:lnTo>
                    <a:lnTo>
                      <a:pt x="719" y="520"/>
                    </a:lnTo>
                    <a:lnTo>
                      <a:pt x="725" y="517"/>
                    </a:lnTo>
                    <a:lnTo>
                      <a:pt x="730" y="512"/>
                    </a:lnTo>
                    <a:lnTo>
                      <a:pt x="725" y="497"/>
                    </a:lnTo>
                    <a:lnTo>
                      <a:pt x="721" y="497"/>
                    </a:lnTo>
                    <a:lnTo>
                      <a:pt x="716" y="512"/>
                    </a:lnTo>
                    <a:lnTo>
                      <a:pt x="707" y="522"/>
                    </a:lnTo>
                    <a:lnTo>
                      <a:pt x="709" y="536"/>
                    </a:lnTo>
                    <a:lnTo>
                      <a:pt x="709" y="545"/>
                    </a:lnTo>
                    <a:lnTo>
                      <a:pt x="704" y="545"/>
                    </a:lnTo>
                    <a:lnTo>
                      <a:pt x="704" y="541"/>
                    </a:lnTo>
                    <a:lnTo>
                      <a:pt x="698" y="530"/>
                    </a:lnTo>
                    <a:lnTo>
                      <a:pt x="699" y="527"/>
                    </a:lnTo>
                    <a:lnTo>
                      <a:pt x="697" y="523"/>
                    </a:lnTo>
                    <a:lnTo>
                      <a:pt x="691" y="528"/>
                    </a:lnTo>
                    <a:lnTo>
                      <a:pt x="687" y="534"/>
                    </a:lnTo>
                    <a:lnTo>
                      <a:pt x="684" y="533"/>
                    </a:lnTo>
                    <a:lnTo>
                      <a:pt x="687" y="525"/>
                    </a:lnTo>
                    <a:lnTo>
                      <a:pt x="684" y="523"/>
                    </a:lnTo>
                    <a:lnTo>
                      <a:pt x="671" y="523"/>
                    </a:lnTo>
                    <a:lnTo>
                      <a:pt x="670" y="520"/>
                    </a:lnTo>
                    <a:lnTo>
                      <a:pt x="670" y="512"/>
                    </a:lnTo>
                    <a:lnTo>
                      <a:pt x="666" y="507"/>
                    </a:lnTo>
                    <a:lnTo>
                      <a:pt x="664" y="520"/>
                    </a:lnTo>
                    <a:lnTo>
                      <a:pt x="661" y="522"/>
                    </a:lnTo>
                    <a:lnTo>
                      <a:pt x="644" y="517"/>
                    </a:lnTo>
                    <a:lnTo>
                      <a:pt x="649" y="520"/>
                    </a:lnTo>
                    <a:lnTo>
                      <a:pt x="653" y="525"/>
                    </a:lnTo>
                    <a:lnTo>
                      <a:pt x="657" y="525"/>
                    </a:lnTo>
                    <a:lnTo>
                      <a:pt x="660" y="527"/>
                    </a:lnTo>
                    <a:lnTo>
                      <a:pt x="662" y="533"/>
                    </a:lnTo>
                    <a:lnTo>
                      <a:pt x="664" y="538"/>
                    </a:lnTo>
                    <a:lnTo>
                      <a:pt x="667" y="543"/>
                    </a:lnTo>
                    <a:lnTo>
                      <a:pt x="670" y="540"/>
                    </a:lnTo>
                    <a:lnTo>
                      <a:pt x="670" y="533"/>
                    </a:lnTo>
                    <a:lnTo>
                      <a:pt x="680" y="535"/>
                    </a:lnTo>
                    <a:lnTo>
                      <a:pt x="684" y="539"/>
                    </a:lnTo>
                    <a:lnTo>
                      <a:pt x="689" y="539"/>
                    </a:lnTo>
                    <a:lnTo>
                      <a:pt x="686" y="551"/>
                    </a:lnTo>
                    <a:lnTo>
                      <a:pt x="688" y="552"/>
                    </a:lnTo>
                    <a:lnTo>
                      <a:pt x="694" y="550"/>
                    </a:lnTo>
                    <a:lnTo>
                      <a:pt x="697" y="551"/>
                    </a:lnTo>
                    <a:lnTo>
                      <a:pt x="694" y="560"/>
                    </a:lnTo>
                    <a:lnTo>
                      <a:pt x="708" y="559"/>
                    </a:lnTo>
                    <a:lnTo>
                      <a:pt x="714" y="567"/>
                    </a:lnTo>
                    <a:lnTo>
                      <a:pt x="714" y="578"/>
                    </a:lnTo>
                    <a:lnTo>
                      <a:pt x="716" y="588"/>
                    </a:lnTo>
                    <a:lnTo>
                      <a:pt x="720" y="583"/>
                    </a:lnTo>
                    <a:lnTo>
                      <a:pt x="737" y="588"/>
                    </a:lnTo>
                    <a:lnTo>
                      <a:pt x="738" y="582"/>
                    </a:lnTo>
                    <a:lnTo>
                      <a:pt x="750" y="590"/>
                    </a:lnTo>
                    <a:lnTo>
                      <a:pt x="762" y="577"/>
                    </a:lnTo>
                    <a:lnTo>
                      <a:pt x="766" y="577"/>
                    </a:lnTo>
                    <a:lnTo>
                      <a:pt x="768" y="582"/>
                    </a:lnTo>
                    <a:lnTo>
                      <a:pt x="775" y="578"/>
                    </a:lnTo>
                    <a:lnTo>
                      <a:pt x="789" y="575"/>
                    </a:lnTo>
                    <a:lnTo>
                      <a:pt x="800" y="576"/>
                    </a:lnTo>
                    <a:lnTo>
                      <a:pt x="799" y="584"/>
                    </a:lnTo>
                    <a:lnTo>
                      <a:pt x="795" y="588"/>
                    </a:lnTo>
                    <a:lnTo>
                      <a:pt x="794" y="597"/>
                    </a:lnTo>
                    <a:lnTo>
                      <a:pt x="794" y="608"/>
                    </a:lnTo>
                    <a:lnTo>
                      <a:pt x="775" y="608"/>
                    </a:lnTo>
                    <a:lnTo>
                      <a:pt x="772" y="611"/>
                    </a:lnTo>
                    <a:lnTo>
                      <a:pt x="740" y="602"/>
                    </a:lnTo>
                    <a:lnTo>
                      <a:pt x="723" y="619"/>
                    </a:lnTo>
                    <a:lnTo>
                      <a:pt x="714" y="629"/>
                    </a:lnTo>
                    <a:lnTo>
                      <a:pt x="702" y="626"/>
                    </a:lnTo>
                    <a:lnTo>
                      <a:pt x="687" y="630"/>
                    </a:lnTo>
                    <a:lnTo>
                      <a:pt x="692" y="633"/>
                    </a:lnTo>
                    <a:lnTo>
                      <a:pt x="686" y="635"/>
                    </a:lnTo>
                    <a:lnTo>
                      <a:pt x="681" y="641"/>
                    </a:lnTo>
                    <a:lnTo>
                      <a:pt x="680" y="646"/>
                    </a:lnTo>
                    <a:lnTo>
                      <a:pt x="677" y="649"/>
                    </a:lnTo>
                    <a:lnTo>
                      <a:pt x="670" y="651"/>
                    </a:lnTo>
                    <a:lnTo>
                      <a:pt x="659" y="658"/>
                    </a:lnTo>
                    <a:lnTo>
                      <a:pt x="643" y="657"/>
                    </a:lnTo>
                    <a:lnTo>
                      <a:pt x="639" y="656"/>
                    </a:lnTo>
                    <a:lnTo>
                      <a:pt x="628" y="646"/>
                    </a:lnTo>
                    <a:lnTo>
                      <a:pt x="632" y="638"/>
                    </a:lnTo>
                    <a:lnTo>
                      <a:pt x="632" y="629"/>
                    </a:lnTo>
                    <a:lnTo>
                      <a:pt x="634" y="620"/>
                    </a:lnTo>
                    <a:lnTo>
                      <a:pt x="633" y="610"/>
                    </a:lnTo>
                    <a:lnTo>
                      <a:pt x="628" y="599"/>
                    </a:lnTo>
                    <a:lnTo>
                      <a:pt x="621" y="598"/>
                    </a:lnTo>
                    <a:lnTo>
                      <a:pt x="614" y="598"/>
                    </a:lnTo>
                    <a:lnTo>
                      <a:pt x="607" y="590"/>
                    </a:lnTo>
                    <a:lnTo>
                      <a:pt x="595" y="583"/>
                    </a:lnTo>
                    <a:lnTo>
                      <a:pt x="579" y="583"/>
                    </a:lnTo>
                    <a:lnTo>
                      <a:pt x="579" y="581"/>
                    </a:lnTo>
                    <a:lnTo>
                      <a:pt x="581" y="575"/>
                    </a:lnTo>
                    <a:lnTo>
                      <a:pt x="591" y="570"/>
                    </a:lnTo>
                    <a:lnTo>
                      <a:pt x="605" y="556"/>
                    </a:lnTo>
                    <a:lnTo>
                      <a:pt x="613" y="550"/>
                    </a:lnTo>
                    <a:lnTo>
                      <a:pt x="641" y="541"/>
                    </a:lnTo>
                    <a:lnTo>
                      <a:pt x="645" y="539"/>
                    </a:lnTo>
                    <a:lnTo>
                      <a:pt x="641" y="536"/>
                    </a:lnTo>
                    <a:lnTo>
                      <a:pt x="640" y="529"/>
                    </a:lnTo>
                    <a:lnTo>
                      <a:pt x="634" y="523"/>
                    </a:lnTo>
                    <a:lnTo>
                      <a:pt x="628" y="529"/>
                    </a:lnTo>
                    <a:lnTo>
                      <a:pt x="618" y="524"/>
                    </a:lnTo>
                    <a:lnTo>
                      <a:pt x="618" y="519"/>
                    </a:lnTo>
                    <a:lnTo>
                      <a:pt x="610" y="522"/>
                    </a:lnTo>
                    <a:lnTo>
                      <a:pt x="608" y="525"/>
                    </a:lnTo>
                    <a:lnTo>
                      <a:pt x="601" y="525"/>
                    </a:lnTo>
                    <a:lnTo>
                      <a:pt x="579" y="530"/>
                    </a:lnTo>
                    <a:lnTo>
                      <a:pt x="563" y="524"/>
                    </a:lnTo>
                    <a:lnTo>
                      <a:pt x="557" y="518"/>
                    </a:lnTo>
                    <a:lnTo>
                      <a:pt x="551" y="516"/>
                    </a:lnTo>
                    <a:lnTo>
                      <a:pt x="539" y="517"/>
                    </a:lnTo>
                    <a:lnTo>
                      <a:pt x="538" y="513"/>
                    </a:lnTo>
                    <a:lnTo>
                      <a:pt x="551" y="503"/>
                    </a:lnTo>
                    <a:lnTo>
                      <a:pt x="549" y="501"/>
                    </a:lnTo>
                    <a:lnTo>
                      <a:pt x="533" y="498"/>
                    </a:lnTo>
                    <a:lnTo>
                      <a:pt x="528" y="496"/>
                    </a:lnTo>
                    <a:lnTo>
                      <a:pt x="536" y="492"/>
                    </a:lnTo>
                    <a:lnTo>
                      <a:pt x="560" y="496"/>
                    </a:lnTo>
                    <a:lnTo>
                      <a:pt x="563" y="495"/>
                    </a:lnTo>
                    <a:lnTo>
                      <a:pt x="560" y="491"/>
                    </a:lnTo>
                    <a:lnTo>
                      <a:pt x="554" y="490"/>
                    </a:lnTo>
                    <a:lnTo>
                      <a:pt x="548" y="481"/>
                    </a:lnTo>
                    <a:lnTo>
                      <a:pt x="543" y="471"/>
                    </a:lnTo>
                    <a:lnTo>
                      <a:pt x="541" y="479"/>
                    </a:lnTo>
                    <a:lnTo>
                      <a:pt x="533" y="482"/>
                    </a:lnTo>
                    <a:lnTo>
                      <a:pt x="524" y="485"/>
                    </a:lnTo>
                    <a:lnTo>
                      <a:pt x="526" y="475"/>
                    </a:lnTo>
                    <a:lnTo>
                      <a:pt x="520" y="480"/>
                    </a:lnTo>
                    <a:lnTo>
                      <a:pt x="508" y="486"/>
                    </a:lnTo>
                    <a:lnTo>
                      <a:pt x="492" y="489"/>
                    </a:lnTo>
                    <a:lnTo>
                      <a:pt x="485" y="492"/>
                    </a:lnTo>
                    <a:lnTo>
                      <a:pt x="478" y="495"/>
                    </a:lnTo>
                    <a:lnTo>
                      <a:pt x="477" y="502"/>
                    </a:lnTo>
                    <a:lnTo>
                      <a:pt x="466" y="520"/>
                    </a:lnTo>
                    <a:lnTo>
                      <a:pt x="461" y="519"/>
                    </a:lnTo>
                    <a:lnTo>
                      <a:pt x="457" y="511"/>
                    </a:lnTo>
                    <a:lnTo>
                      <a:pt x="450" y="509"/>
                    </a:lnTo>
                    <a:lnTo>
                      <a:pt x="446" y="504"/>
                    </a:lnTo>
                    <a:lnTo>
                      <a:pt x="449" y="512"/>
                    </a:lnTo>
                    <a:lnTo>
                      <a:pt x="457" y="519"/>
                    </a:lnTo>
                    <a:lnTo>
                      <a:pt x="458" y="530"/>
                    </a:lnTo>
                    <a:lnTo>
                      <a:pt x="453" y="541"/>
                    </a:lnTo>
                    <a:lnTo>
                      <a:pt x="449" y="546"/>
                    </a:lnTo>
                    <a:lnTo>
                      <a:pt x="434" y="547"/>
                    </a:lnTo>
                    <a:lnTo>
                      <a:pt x="431" y="552"/>
                    </a:lnTo>
                    <a:lnTo>
                      <a:pt x="426" y="555"/>
                    </a:lnTo>
                    <a:lnTo>
                      <a:pt x="425" y="562"/>
                    </a:lnTo>
                    <a:lnTo>
                      <a:pt x="420" y="560"/>
                    </a:lnTo>
                    <a:lnTo>
                      <a:pt x="419" y="550"/>
                    </a:lnTo>
                    <a:lnTo>
                      <a:pt x="418" y="546"/>
                    </a:lnTo>
                    <a:lnTo>
                      <a:pt x="418" y="566"/>
                    </a:lnTo>
                    <a:lnTo>
                      <a:pt x="419" y="581"/>
                    </a:lnTo>
                    <a:lnTo>
                      <a:pt x="417" y="582"/>
                    </a:lnTo>
                    <a:lnTo>
                      <a:pt x="411" y="578"/>
                    </a:lnTo>
                    <a:lnTo>
                      <a:pt x="402" y="578"/>
                    </a:lnTo>
                    <a:lnTo>
                      <a:pt x="393" y="582"/>
                    </a:lnTo>
                    <a:lnTo>
                      <a:pt x="379" y="584"/>
                    </a:lnTo>
                    <a:lnTo>
                      <a:pt x="368" y="592"/>
                    </a:lnTo>
                    <a:lnTo>
                      <a:pt x="356" y="593"/>
                    </a:lnTo>
                    <a:lnTo>
                      <a:pt x="344" y="576"/>
                    </a:lnTo>
                    <a:lnTo>
                      <a:pt x="336" y="577"/>
                    </a:lnTo>
                    <a:lnTo>
                      <a:pt x="336" y="573"/>
                    </a:lnTo>
                    <a:lnTo>
                      <a:pt x="345" y="573"/>
                    </a:lnTo>
                    <a:lnTo>
                      <a:pt x="350" y="567"/>
                    </a:lnTo>
                    <a:lnTo>
                      <a:pt x="352" y="560"/>
                    </a:lnTo>
                    <a:lnTo>
                      <a:pt x="354" y="552"/>
                    </a:lnTo>
                    <a:lnTo>
                      <a:pt x="363" y="547"/>
                    </a:lnTo>
                    <a:lnTo>
                      <a:pt x="364" y="539"/>
                    </a:lnTo>
                    <a:lnTo>
                      <a:pt x="369" y="534"/>
                    </a:lnTo>
                    <a:lnTo>
                      <a:pt x="376" y="530"/>
                    </a:lnTo>
                    <a:lnTo>
                      <a:pt x="379" y="506"/>
                    </a:lnTo>
                    <a:lnTo>
                      <a:pt x="382" y="498"/>
                    </a:lnTo>
                    <a:lnTo>
                      <a:pt x="391" y="495"/>
                    </a:lnTo>
                    <a:lnTo>
                      <a:pt x="395" y="501"/>
                    </a:lnTo>
                    <a:lnTo>
                      <a:pt x="402" y="497"/>
                    </a:lnTo>
                    <a:lnTo>
                      <a:pt x="425" y="503"/>
                    </a:lnTo>
                    <a:lnTo>
                      <a:pt x="431" y="498"/>
                    </a:lnTo>
                    <a:lnTo>
                      <a:pt x="435" y="491"/>
                    </a:lnTo>
                    <a:lnTo>
                      <a:pt x="431" y="484"/>
                    </a:lnTo>
                    <a:lnTo>
                      <a:pt x="434" y="476"/>
                    </a:lnTo>
                    <a:lnTo>
                      <a:pt x="433" y="468"/>
                    </a:lnTo>
                    <a:lnTo>
                      <a:pt x="428" y="460"/>
                    </a:lnTo>
                    <a:lnTo>
                      <a:pt x="413" y="453"/>
                    </a:lnTo>
                    <a:lnTo>
                      <a:pt x="407" y="439"/>
                    </a:lnTo>
                    <a:lnTo>
                      <a:pt x="408" y="431"/>
                    </a:lnTo>
                    <a:lnTo>
                      <a:pt x="406" y="423"/>
                    </a:lnTo>
                    <a:lnTo>
                      <a:pt x="398" y="422"/>
                    </a:lnTo>
                    <a:lnTo>
                      <a:pt x="395" y="415"/>
                    </a:lnTo>
                    <a:lnTo>
                      <a:pt x="387" y="409"/>
                    </a:lnTo>
                    <a:lnTo>
                      <a:pt x="391" y="393"/>
                    </a:lnTo>
                    <a:lnTo>
                      <a:pt x="391" y="385"/>
                    </a:lnTo>
                    <a:lnTo>
                      <a:pt x="391" y="377"/>
                    </a:lnTo>
                    <a:lnTo>
                      <a:pt x="387" y="369"/>
                    </a:lnTo>
                    <a:lnTo>
                      <a:pt x="379" y="372"/>
                    </a:lnTo>
                    <a:lnTo>
                      <a:pt x="368" y="360"/>
                    </a:lnTo>
                    <a:lnTo>
                      <a:pt x="359" y="358"/>
                    </a:lnTo>
                    <a:lnTo>
                      <a:pt x="343" y="361"/>
                    </a:lnTo>
                    <a:lnTo>
                      <a:pt x="336" y="358"/>
                    </a:lnTo>
                    <a:lnTo>
                      <a:pt x="317" y="342"/>
                    </a:lnTo>
                    <a:lnTo>
                      <a:pt x="310" y="339"/>
                    </a:lnTo>
                    <a:lnTo>
                      <a:pt x="294" y="334"/>
                    </a:lnTo>
                    <a:lnTo>
                      <a:pt x="278" y="339"/>
                    </a:lnTo>
                    <a:lnTo>
                      <a:pt x="269" y="340"/>
                    </a:lnTo>
                    <a:lnTo>
                      <a:pt x="261" y="339"/>
                    </a:lnTo>
                    <a:lnTo>
                      <a:pt x="254" y="342"/>
                    </a:lnTo>
                    <a:lnTo>
                      <a:pt x="248" y="35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86" name="Freeform 197"/>
              <p:cNvSpPr>
                <a:spLocks noChangeAspect="1"/>
              </p:cNvSpPr>
              <p:nvPr/>
            </p:nvSpPr>
            <p:spPr bwMode="gray">
              <a:xfrm>
                <a:off x="5222081" y="2729260"/>
                <a:ext cx="60325" cy="76200"/>
              </a:xfrm>
              <a:custGeom>
                <a:avLst/>
                <a:gdLst/>
                <a:ahLst/>
                <a:cxnLst>
                  <a:cxn ang="0">
                    <a:pos x="88" y="239"/>
                  </a:cxn>
                  <a:cxn ang="0">
                    <a:pos x="88" y="225"/>
                  </a:cxn>
                  <a:cxn ang="0">
                    <a:pos x="86" y="212"/>
                  </a:cxn>
                  <a:cxn ang="0">
                    <a:pos x="84" y="200"/>
                  </a:cxn>
                  <a:cxn ang="0">
                    <a:pos x="86" y="184"/>
                  </a:cxn>
                  <a:cxn ang="0">
                    <a:pos x="86" y="164"/>
                  </a:cxn>
                  <a:cxn ang="0">
                    <a:pos x="81" y="135"/>
                  </a:cxn>
                  <a:cxn ang="0">
                    <a:pos x="70" y="115"/>
                  </a:cxn>
                  <a:cxn ang="0">
                    <a:pos x="57" y="94"/>
                  </a:cxn>
                  <a:cxn ang="0">
                    <a:pos x="45" y="73"/>
                  </a:cxn>
                  <a:cxn ang="0">
                    <a:pos x="42" y="56"/>
                  </a:cxn>
                  <a:cxn ang="0">
                    <a:pos x="34" y="43"/>
                  </a:cxn>
                  <a:cxn ang="0">
                    <a:pos x="20" y="29"/>
                  </a:cxn>
                  <a:cxn ang="0">
                    <a:pos x="8" y="19"/>
                  </a:cxn>
                  <a:cxn ang="0">
                    <a:pos x="0" y="19"/>
                  </a:cxn>
                  <a:cxn ang="0">
                    <a:pos x="6" y="8"/>
                  </a:cxn>
                  <a:cxn ang="0">
                    <a:pos x="13" y="3"/>
                  </a:cxn>
                  <a:cxn ang="0">
                    <a:pos x="21" y="6"/>
                  </a:cxn>
                  <a:cxn ang="0">
                    <a:pos x="30" y="5"/>
                  </a:cxn>
                  <a:cxn ang="0">
                    <a:pos x="46" y="0"/>
                  </a:cxn>
                  <a:cxn ang="0">
                    <a:pos x="62" y="5"/>
                  </a:cxn>
                  <a:cxn ang="0">
                    <a:pos x="69" y="8"/>
                  </a:cxn>
                  <a:cxn ang="0">
                    <a:pos x="88" y="24"/>
                  </a:cxn>
                  <a:cxn ang="0">
                    <a:pos x="95" y="27"/>
                  </a:cxn>
                  <a:cxn ang="0">
                    <a:pos x="111" y="24"/>
                  </a:cxn>
                  <a:cxn ang="0">
                    <a:pos x="120" y="26"/>
                  </a:cxn>
                  <a:cxn ang="0">
                    <a:pos x="131" y="38"/>
                  </a:cxn>
                  <a:cxn ang="0">
                    <a:pos x="139" y="35"/>
                  </a:cxn>
                  <a:cxn ang="0">
                    <a:pos x="143" y="43"/>
                  </a:cxn>
                  <a:cxn ang="0">
                    <a:pos x="143" y="51"/>
                  </a:cxn>
                  <a:cxn ang="0">
                    <a:pos x="143" y="59"/>
                  </a:cxn>
                  <a:cxn ang="0">
                    <a:pos x="139" y="75"/>
                  </a:cxn>
                  <a:cxn ang="0">
                    <a:pos x="147" y="81"/>
                  </a:cxn>
                  <a:cxn ang="0">
                    <a:pos x="150" y="87"/>
                  </a:cxn>
                  <a:cxn ang="0">
                    <a:pos x="158" y="89"/>
                  </a:cxn>
                  <a:cxn ang="0">
                    <a:pos x="160" y="97"/>
                  </a:cxn>
                  <a:cxn ang="0">
                    <a:pos x="159" y="104"/>
                  </a:cxn>
                  <a:cxn ang="0">
                    <a:pos x="165" y="119"/>
                  </a:cxn>
                  <a:cxn ang="0">
                    <a:pos x="180" y="126"/>
                  </a:cxn>
                  <a:cxn ang="0">
                    <a:pos x="185" y="134"/>
                  </a:cxn>
                  <a:cxn ang="0">
                    <a:pos x="186" y="141"/>
                  </a:cxn>
                  <a:cxn ang="0">
                    <a:pos x="183" y="150"/>
                  </a:cxn>
                  <a:cxn ang="0">
                    <a:pos x="187" y="157"/>
                  </a:cxn>
                  <a:cxn ang="0">
                    <a:pos x="183" y="164"/>
                  </a:cxn>
                  <a:cxn ang="0">
                    <a:pos x="177" y="169"/>
                  </a:cxn>
                  <a:cxn ang="0">
                    <a:pos x="154" y="163"/>
                  </a:cxn>
                  <a:cxn ang="0">
                    <a:pos x="147" y="167"/>
                  </a:cxn>
                  <a:cxn ang="0">
                    <a:pos x="143" y="161"/>
                  </a:cxn>
                  <a:cxn ang="0">
                    <a:pos x="134" y="164"/>
                  </a:cxn>
                  <a:cxn ang="0">
                    <a:pos x="131" y="172"/>
                  </a:cxn>
                  <a:cxn ang="0">
                    <a:pos x="128" y="196"/>
                  </a:cxn>
                  <a:cxn ang="0">
                    <a:pos x="121" y="200"/>
                  </a:cxn>
                  <a:cxn ang="0">
                    <a:pos x="116" y="205"/>
                  </a:cxn>
                  <a:cxn ang="0">
                    <a:pos x="115" y="213"/>
                  </a:cxn>
                  <a:cxn ang="0">
                    <a:pos x="107" y="218"/>
                  </a:cxn>
                  <a:cxn ang="0">
                    <a:pos x="104" y="226"/>
                  </a:cxn>
                  <a:cxn ang="0">
                    <a:pos x="104" y="233"/>
                  </a:cxn>
                  <a:cxn ang="0">
                    <a:pos x="97" y="239"/>
                  </a:cxn>
                  <a:cxn ang="0">
                    <a:pos x="88" y="239"/>
                  </a:cxn>
                </a:cxnLst>
                <a:rect l="0" t="0" r="r" b="b"/>
                <a:pathLst>
                  <a:path w="187" h="239">
                    <a:moveTo>
                      <a:pt x="88" y="239"/>
                    </a:moveTo>
                    <a:lnTo>
                      <a:pt x="88" y="225"/>
                    </a:lnTo>
                    <a:lnTo>
                      <a:pt x="86" y="212"/>
                    </a:lnTo>
                    <a:lnTo>
                      <a:pt x="84" y="200"/>
                    </a:lnTo>
                    <a:lnTo>
                      <a:pt x="86" y="184"/>
                    </a:lnTo>
                    <a:lnTo>
                      <a:pt x="86" y="164"/>
                    </a:lnTo>
                    <a:lnTo>
                      <a:pt x="81" y="135"/>
                    </a:lnTo>
                    <a:lnTo>
                      <a:pt x="70" y="115"/>
                    </a:lnTo>
                    <a:lnTo>
                      <a:pt x="57" y="94"/>
                    </a:lnTo>
                    <a:lnTo>
                      <a:pt x="45" y="73"/>
                    </a:lnTo>
                    <a:lnTo>
                      <a:pt x="42" y="56"/>
                    </a:lnTo>
                    <a:lnTo>
                      <a:pt x="34" y="43"/>
                    </a:lnTo>
                    <a:lnTo>
                      <a:pt x="20" y="29"/>
                    </a:lnTo>
                    <a:lnTo>
                      <a:pt x="8" y="19"/>
                    </a:lnTo>
                    <a:lnTo>
                      <a:pt x="0" y="19"/>
                    </a:lnTo>
                    <a:lnTo>
                      <a:pt x="6" y="8"/>
                    </a:lnTo>
                    <a:lnTo>
                      <a:pt x="13" y="3"/>
                    </a:lnTo>
                    <a:lnTo>
                      <a:pt x="21" y="6"/>
                    </a:lnTo>
                    <a:lnTo>
                      <a:pt x="30" y="5"/>
                    </a:lnTo>
                    <a:lnTo>
                      <a:pt x="46" y="0"/>
                    </a:lnTo>
                    <a:lnTo>
                      <a:pt x="62" y="5"/>
                    </a:lnTo>
                    <a:lnTo>
                      <a:pt x="69" y="8"/>
                    </a:lnTo>
                    <a:lnTo>
                      <a:pt x="88" y="24"/>
                    </a:lnTo>
                    <a:lnTo>
                      <a:pt x="95" y="27"/>
                    </a:lnTo>
                    <a:lnTo>
                      <a:pt x="111" y="24"/>
                    </a:lnTo>
                    <a:lnTo>
                      <a:pt x="120" y="26"/>
                    </a:lnTo>
                    <a:lnTo>
                      <a:pt x="131" y="38"/>
                    </a:lnTo>
                    <a:lnTo>
                      <a:pt x="139" y="35"/>
                    </a:lnTo>
                    <a:lnTo>
                      <a:pt x="143" y="43"/>
                    </a:lnTo>
                    <a:lnTo>
                      <a:pt x="143" y="51"/>
                    </a:lnTo>
                    <a:lnTo>
                      <a:pt x="143" y="59"/>
                    </a:lnTo>
                    <a:lnTo>
                      <a:pt x="139" y="75"/>
                    </a:lnTo>
                    <a:lnTo>
                      <a:pt x="147" y="81"/>
                    </a:lnTo>
                    <a:lnTo>
                      <a:pt x="150" y="87"/>
                    </a:lnTo>
                    <a:lnTo>
                      <a:pt x="158" y="89"/>
                    </a:lnTo>
                    <a:lnTo>
                      <a:pt x="160" y="97"/>
                    </a:lnTo>
                    <a:lnTo>
                      <a:pt x="159" y="104"/>
                    </a:lnTo>
                    <a:lnTo>
                      <a:pt x="165" y="119"/>
                    </a:lnTo>
                    <a:lnTo>
                      <a:pt x="180" y="126"/>
                    </a:lnTo>
                    <a:lnTo>
                      <a:pt x="185" y="134"/>
                    </a:lnTo>
                    <a:lnTo>
                      <a:pt x="186" y="141"/>
                    </a:lnTo>
                    <a:lnTo>
                      <a:pt x="183" y="150"/>
                    </a:lnTo>
                    <a:lnTo>
                      <a:pt x="187" y="157"/>
                    </a:lnTo>
                    <a:lnTo>
                      <a:pt x="183" y="164"/>
                    </a:lnTo>
                    <a:lnTo>
                      <a:pt x="177" y="169"/>
                    </a:lnTo>
                    <a:lnTo>
                      <a:pt x="154" y="163"/>
                    </a:lnTo>
                    <a:lnTo>
                      <a:pt x="147" y="167"/>
                    </a:lnTo>
                    <a:lnTo>
                      <a:pt x="143" y="161"/>
                    </a:lnTo>
                    <a:lnTo>
                      <a:pt x="134" y="164"/>
                    </a:lnTo>
                    <a:lnTo>
                      <a:pt x="131" y="172"/>
                    </a:lnTo>
                    <a:lnTo>
                      <a:pt x="128" y="196"/>
                    </a:lnTo>
                    <a:lnTo>
                      <a:pt x="121" y="200"/>
                    </a:lnTo>
                    <a:lnTo>
                      <a:pt x="116" y="205"/>
                    </a:lnTo>
                    <a:lnTo>
                      <a:pt x="115" y="213"/>
                    </a:lnTo>
                    <a:lnTo>
                      <a:pt x="107" y="218"/>
                    </a:lnTo>
                    <a:lnTo>
                      <a:pt x="104" y="226"/>
                    </a:lnTo>
                    <a:lnTo>
                      <a:pt x="104" y="233"/>
                    </a:lnTo>
                    <a:lnTo>
                      <a:pt x="97" y="239"/>
                    </a:lnTo>
                    <a:lnTo>
                      <a:pt x="88" y="23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87" name="Freeform 198"/>
              <p:cNvSpPr>
                <a:spLocks noChangeAspect="1"/>
              </p:cNvSpPr>
              <p:nvPr/>
            </p:nvSpPr>
            <p:spPr bwMode="gray">
              <a:xfrm>
                <a:off x="5161756" y="2510185"/>
                <a:ext cx="169863" cy="142875"/>
              </a:xfrm>
              <a:custGeom>
                <a:avLst/>
                <a:gdLst/>
                <a:ahLst/>
                <a:cxnLst>
                  <a:cxn ang="0">
                    <a:pos x="6" y="374"/>
                  </a:cxn>
                  <a:cxn ang="0">
                    <a:pos x="26" y="342"/>
                  </a:cxn>
                  <a:cxn ang="0">
                    <a:pos x="38" y="292"/>
                  </a:cxn>
                  <a:cxn ang="0">
                    <a:pos x="33" y="214"/>
                  </a:cxn>
                  <a:cxn ang="0">
                    <a:pos x="73" y="210"/>
                  </a:cxn>
                  <a:cxn ang="0">
                    <a:pos x="94" y="207"/>
                  </a:cxn>
                  <a:cxn ang="0">
                    <a:pos x="106" y="190"/>
                  </a:cxn>
                  <a:cxn ang="0">
                    <a:pos x="125" y="182"/>
                  </a:cxn>
                  <a:cxn ang="0">
                    <a:pos x="145" y="190"/>
                  </a:cxn>
                  <a:cxn ang="0">
                    <a:pos x="135" y="167"/>
                  </a:cxn>
                  <a:cxn ang="0">
                    <a:pos x="145" y="138"/>
                  </a:cxn>
                  <a:cxn ang="0">
                    <a:pos x="149" y="113"/>
                  </a:cxn>
                  <a:cxn ang="0">
                    <a:pos x="170" y="102"/>
                  </a:cxn>
                  <a:cxn ang="0">
                    <a:pos x="199" y="80"/>
                  </a:cxn>
                  <a:cxn ang="0">
                    <a:pos x="183" y="69"/>
                  </a:cxn>
                  <a:cxn ang="0">
                    <a:pos x="197" y="51"/>
                  </a:cxn>
                  <a:cxn ang="0">
                    <a:pos x="204" y="50"/>
                  </a:cxn>
                  <a:cxn ang="0">
                    <a:pos x="219" y="32"/>
                  </a:cxn>
                  <a:cxn ang="0">
                    <a:pos x="253" y="25"/>
                  </a:cxn>
                  <a:cxn ang="0">
                    <a:pos x="273" y="0"/>
                  </a:cxn>
                  <a:cxn ang="0">
                    <a:pos x="302" y="5"/>
                  </a:cxn>
                  <a:cxn ang="0">
                    <a:pos x="329" y="13"/>
                  </a:cxn>
                  <a:cxn ang="0">
                    <a:pos x="348" y="43"/>
                  </a:cxn>
                  <a:cxn ang="0">
                    <a:pos x="376" y="29"/>
                  </a:cxn>
                  <a:cxn ang="0">
                    <a:pos x="407" y="34"/>
                  </a:cxn>
                  <a:cxn ang="0">
                    <a:pos x="430" y="53"/>
                  </a:cxn>
                  <a:cxn ang="0">
                    <a:pos x="429" y="80"/>
                  </a:cxn>
                  <a:cxn ang="0">
                    <a:pos x="435" y="102"/>
                  </a:cxn>
                  <a:cxn ang="0">
                    <a:pos x="424" y="123"/>
                  </a:cxn>
                  <a:cxn ang="0">
                    <a:pos x="442" y="158"/>
                  </a:cxn>
                  <a:cxn ang="0">
                    <a:pos x="473" y="195"/>
                  </a:cxn>
                  <a:cxn ang="0">
                    <a:pos x="478" y="217"/>
                  </a:cxn>
                  <a:cxn ang="0">
                    <a:pos x="511" y="226"/>
                  </a:cxn>
                  <a:cxn ang="0">
                    <a:pos x="521" y="242"/>
                  </a:cxn>
                  <a:cxn ang="0">
                    <a:pos x="525" y="263"/>
                  </a:cxn>
                  <a:cxn ang="0">
                    <a:pos x="501" y="284"/>
                  </a:cxn>
                  <a:cxn ang="0">
                    <a:pos x="465" y="271"/>
                  </a:cxn>
                  <a:cxn ang="0">
                    <a:pos x="449" y="285"/>
                  </a:cxn>
                  <a:cxn ang="0">
                    <a:pos x="463" y="311"/>
                  </a:cxn>
                  <a:cxn ang="0">
                    <a:pos x="465" y="333"/>
                  </a:cxn>
                  <a:cxn ang="0">
                    <a:pos x="473" y="353"/>
                  </a:cxn>
                  <a:cxn ang="0">
                    <a:pos x="451" y="380"/>
                  </a:cxn>
                  <a:cxn ang="0">
                    <a:pos x="417" y="401"/>
                  </a:cxn>
                  <a:cxn ang="0">
                    <a:pos x="412" y="427"/>
                  </a:cxn>
                  <a:cxn ang="0">
                    <a:pos x="402" y="452"/>
                  </a:cxn>
                  <a:cxn ang="0">
                    <a:pos x="381" y="443"/>
                  </a:cxn>
                  <a:cxn ang="0">
                    <a:pos x="349" y="450"/>
                  </a:cxn>
                  <a:cxn ang="0">
                    <a:pos x="327" y="427"/>
                  </a:cxn>
                  <a:cxn ang="0">
                    <a:pos x="297" y="433"/>
                  </a:cxn>
                  <a:cxn ang="0">
                    <a:pos x="275" y="428"/>
                  </a:cxn>
                  <a:cxn ang="0">
                    <a:pos x="253" y="436"/>
                  </a:cxn>
                  <a:cxn ang="0">
                    <a:pos x="238" y="428"/>
                  </a:cxn>
                  <a:cxn ang="0">
                    <a:pos x="215" y="416"/>
                  </a:cxn>
                  <a:cxn ang="0">
                    <a:pos x="193" y="406"/>
                  </a:cxn>
                  <a:cxn ang="0">
                    <a:pos x="160" y="401"/>
                  </a:cxn>
                  <a:cxn ang="0">
                    <a:pos x="121" y="394"/>
                  </a:cxn>
                  <a:cxn ang="0">
                    <a:pos x="64" y="401"/>
                  </a:cxn>
                  <a:cxn ang="0">
                    <a:pos x="41" y="422"/>
                  </a:cxn>
                  <a:cxn ang="0">
                    <a:pos x="17" y="428"/>
                  </a:cxn>
                </a:cxnLst>
                <a:rect l="0" t="0" r="r" b="b"/>
                <a:pathLst>
                  <a:path w="532" h="452">
                    <a:moveTo>
                      <a:pt x="17" y="428"/>
                    </a:moveTo>
                    <a:lnTo>
                      <a:pt x="21" y="387"/>
                    </a:lnTo>
                    <a:lnTo>
                      <a:pt x="6" y="374"/>
                    </a:lnTo>
                    <a:lnTo>
                      <a:pt x="0" y="363"/>
                    </a:lnTo>
                    <a:lnTo>
                      <a:pt x="11" y="351"/>
                    </a:lnTo>
                    <a:lnTo>
                      <a:pt x="26" y="342"/>
                    </a:lnTo>
                    <a:lnTo>
                      <a:pt x="37" y="325"/>
                    </a:lnTo>
                    <a:lnTo>
                      <a:pt x="38" y="308"/>
                    </a:lnTo>
                    <a:lnTo>
                      <a:pt x="38" y="292"/>
                    </a:lnTo>
                    <a:lnTo>
                      <a:pt x="20" y="220"/>
                    </a:lnTo>
                    <a:lnTo>
                      <a:pt x="19" y="210"/>
                    </a:lnTo>
                    <a:lnTo>
                      <a:pt x="33" y="214"/>
                    </a:lnTo>
                    <a:lnTo>
                      <a:pt x="49" y="210"/>
                    </a:lnTo>
                    <a:lnTo>
                      <a:pt x="65" y="213"/>
                    </a:lnTo>
                    <a:lnTo>
                      <a:pt x="73" y="210"/>
                    </a:lnTo>
                    <a:lnTo>
                      <a:pt x="79" y="204"/>
                    </a:lnTo>
                    <a:lnTo>
                      <a:pt x="86" y="208"/>
                    </a:lnTo>
                    <a:lnTo>
                      <a:pt x="94" y="207"/>
                    </a:lnTo>
                    <a:lnTo>
                      <a:pt x="91" y="193"/>
                    </a:lnTo>
                    <a:lnTo>
                      <a:pt x="97" y="190"/>
                    </a:lnTo>
                    <a:lnTo>
                      <a:pt x="106" y="190"/>
                    </a:lnTo>
                    <a:lnTo>
                      <a:pt x="111" y="183"/>
                    </a:lnTo>
                    <a:lnTo>
                      <a:pt x="118" y="179"/>
                    </a:lnTo>
                    <a:lnTo>
                      <a:pt x="125" y="182"/>
                    </a:lnTo>
                    <a:lnTo>
                      <a:pt x="130" y="188"/>
                    </a:lnTo>
                    <a:lnTo>
                      <a:pt x="138" y="192"/>
                    </a:lnTo>
                    <a:lnTo>
                      <a:pt x="145" y="190"/>
                    </a:lnTo>
                    <a:lnTo>
                      <a:pt x="144" y="181"/>
                    </a:lnTo>
                    <a:lnTo>
                      <a:pt x="139" y="175"/>
                    </a:lnTo>
                    <a:lnTo>
                      <a:pt x="135" y="167"/>
                    </a:lnTo>
                    <a:lnTo>
                      <a:pt x="137" y="160"/>
                    </a:lnTo>
                    <a:lnTo>
                      <a:pt x="145" y="147"/>
                    </a:lnTo>
                    <a:lnTo>
                      <a:pt x="145" y="138"/>
                    </a:lnTo>
                    <a:lnTo>
                      <a:pt x="148" y="129"/>
                    </a:lnTo>
                    <a:lnTo>
                      <a:pt x="148" y="122"/>
                    </a:lnTo>
                    <a:lnTo>
                      <a:pt x="149" y="113"/>
                    </a:lnTo>
                    <a:lnTo>
                      <a:pt x="156" y="110"/>
                    </a:lnTo>
                    <a:lnTo>
                      <a:pt x="165" y="107"/>
                    </a:lnTo>
                    <a:lnTo>
                      <a:pt x="170" y="102"/>
                    </a:lnTo>
                    <a:lnTo>
                      <a:pt x="177" y="99"/>
                    </a:lnTo>
                    <a:lnTo>
                      <a:pt x="191" y="99"/>
                    </a:lnTo>
                    <a:lnTo>
                      <a:pt x="199" y="80"/>
                    </a:lnTo>
                    <a:lnTo>
                      <a:pt x="192" y="77"/>
                    </a:lnTo>
                    <a:lnTo>
                      <a:pt x="183" y="77"/>
                    </a:lnTo>
                    <a:lnTo>
                      <a:pt x="183" y="69"/>
                    </a:lnTo>
                    <a:lnTo>
                      <a:pt x="183" y="61"/>
                    </a:lnTo>
                    <a:lnTo>
                      <a:pt x="191" y="57"/>
                    </a:lnTo>
                    <a:lnTo>
                      <a:pt x="197" y="51"/>
                    </a:lnTo>
                    <a:lnTo>
                      <a:pt x="195" y="50"/>
                    </a:lnTo>
                    <a:lnTo>
                      <a:pt x="195" y="48"/>
                    </a:lnTo>
                    <a:lnTo>
                      <a:pt x="204" y="50"/>
                    </a:lnTo>
                    <a:lnTo>
                      <a:pt x="210" y="46"/>
                    </a:lnTo>
                    <a:lnTo>
                      <a:pt x="213" y="37"/>
                    </a:lnTo>
                    <a:lnTo>
                      <a:pt x="219" y="32"/>
                    </a:lnTo>
                    <a:lnTo>
                      <a:pt x="235" y="39"/>
                    </a:lnTo>
                    <a:lnTo>
                      <a:pt x="242" y="37"/>
                    </a:lnTo>
                    <a:lnTo>
                      <a:pt x="253" y="25"/>
                    </a:lnTo>
                    <a:lnTo>
                      <a:pt x="254" y="16"/>
                    </a:lnTo>
                    <a:lnTo>
                      <a:pt x="267" y="5"/>
                    </a:lnTo>
                    <a:lnTo>
                      <a:pt x="273" y="0"/>
                    </a:lnTo>
                    <a:lnTo>
                      <a:pt x="284" y="0"/>
                    </a:lnTo>
                    <a:lnTo>
                      <a:pt x="286" y="8"/>
                    </a:lnTo>
                    <a:lnTo>
                      <a:pt x="302" y="5"/>
                    </a:lnTo>
                    <a:lnTo>
                      <a:pt x="310" y="8"/>
                    </a:lnTo>
                    <a:lnTo>
                      <a:pt x="313" y="15"/>
                    </a:lnTo>
                    <a:lnTo>
                      <a:pt x="329" y="13"/>
                    </a:lnTo>
                    <a:lnTo>
                      <a:pt x="338" y="14"/>
                    </a:lnTo>
                    <a:lnTo>
                      <a:pt x="350" y="24"/>
                    </a:lnTo>
                    <a:lnTo>
                      <a:pt x="348" y="43"/>
                    </a:lnTo>
                    <a:lnTo>
                      <a:pt x="363" y="35"/>
                    </a:lnTo>
                    <a:lnTo>
                      <a:pt x="370" y="34"/>
                    </a:lnTo>
                    <a:lnTo>
                      <a:pt x="376" y="29"/>
                    </a:lnTo>
                    <a:lnTo>
                      <a:pt x="392" y="27"/>
                    </a:lnTo>
                    <a:lnTo>
                      <a:pt x="399" y="29"/>
                    </a:lnTo>
                    <a:lnTo>
                      <a:pt x="407" y="34"/>
                    </a:lnTo>
                    <a:lnTo>
                      <a:pt x="413" y="39"/>
                    </a:lnTo>
                    <a:lnTo>
                      <a:pt x="422" y="52"/>
                    </a:lnTo>
                    <a:lnTo>
                      <a:pt x="430" y="53"/>
                    </a:lnTo>
                    <a:lnTo>
                      <a:pt x="431" y="64"/>
                    </a:lnTo>
                    <a:lnTo>
                      <a:pt x="429" y="73"/>
                    </a:lnTo>
                    <a:lnTo>
                      <a:pt x="429" y="80"/>
                    </a:lnTo>
                    <a:lnTo>
                      <a:pt x="434" y="88"/>
                    </a:lnTo>
                    <a:lnTo>
                      <a:pt x="436" y="95"/>
                    </a:lnTo>
                    <a:lnTo>
                      <a:pt x="435" y="102"/>
                    </a:lnTo>
                    <a:lnTo>
                      <a:pt x="433" y="110"/>
                    </a:lnTo>
                    <a:lnTo>
                      <a:pt x="426" y="116"/>
                    </a:lnTo>
                    <a:lnTo>
                      <a:pt x="424" y="123"/>
                    </a:lnTo>
                    <a:lnTo>
                      <a:pt x="426" y="131"/>
                    </a:lnTo>
                    <a:lnTo>
                      <a:pt x="437" y="143"/>
                    </a:lnTo>
                    <a:lnTo>
                      <a:pt x="442" y="158"/>
                    </a:lnTo>
                    <a:lnTo>
                      <a:pt x="453" y="180"/>
                    </a:lnTo>
                    <a:lnTo>
                      <a:pt x="458" y="186"/>
                    </a:lnTo>
                    <a:lnTo>
                      <a:pt x="473" y="195"/>
                    </a:lnTo>
                    <a:lnTo>
                      <a:pt x="478" y="201"/>
                    </a:lnTo>
                    <a:lnTo>
                      <a:pt x="479" y="209"/>
                    </a:lnTo>
                    <a:lnTo>
                      <a:pt x="478" y="217"/>
                    </a:lnTo>
                    <a:lnTo>
                      <a:pt x="482" y="224"/>
                    </a:lnTo>
                    <a:lnTo>
                      <a:pt x="505" y="222"/>
                    </a:lnTo>
                    <a:lnTo>
                      <a:pt x="511" y="226"/>
                    </a:lnTo>
                    <a:lnTo>
                      <a:pt x="519" y="229"/>
                    </a:lnTo>
                    <a:lnTo>
                      <a:pt x="516" y="236"/>
                    </a:lnTo>
                    <a:lnTo>
                      <a:pt x="521" y="242"/>
                    </a:lnTo>
                    <a:lnTo>
                      <a:pt x="531" y="244"/>
                    </a:lnTo>
                    <a:lnTo>
                      <a:pt x="532" y="257"/>
                    </a:lnTo>
                    <a:lnTo>
                      <a:pt x="525" y="263"/>
                    </a:lnTo>
                    <a:lnTo>
                      <a:pt x="521" y="269"/>
                    </a:lnTo>
                    <a:lnTo>
                      <a:pt x="509" y="279"/>
                    </a:lnTo>
                    <a:lnTo>
                      <a:pt x="501" y="284"/>
                    </a:lnTo>
                    <a:lnTo>
                      <a:pt x="484" y="282"/>
                    </a:lnTo>
                    <a:lnTo>
                      <a:pt x="472" y="272"/>
                    </a:lnTo>
                    <a:lnTo>
                      <a:pt x="465" y="271"/>
                    </a:lnTo>
                    <a:lnTo>
                      <a:pt x="457" y="274"/>
                    </a:lnTo>
                    <a:lnTo>
                      <a:pt x="456" y="282"/>
                    </a:lnTo>
                    <a:lnTo>
                      <a:pt x="449" y="285"/>
                    </a:lnTo>
                    <a:lnTo>
                      <a:pt x="450" y="294"/>
                    </a:lnTo>
                    <a:lnTo>
                      <a:pt x="461" y="304"/>
                    </a:lnTo>
                    <a:lnTo>
                      <a:pt x="463" y="311"/>
                    </a:lnTo>
                    <a:lnTo>
                      <a:pt x="461" y="320"/>
                    </a:lnTo>
                    <a:lnTo>
                      <a:pt x="466" y="325"/>
                    </a:lnTo>
                    <a:lnTo>
                      <a:pt x="465" y="333"/>
                    </a:lnTo>
                    <a:lnTo>
                      <a:pt x="472" y="337"/>
                    </a:lnTo>
                    <a:lnTo>
                      <a:pt x="474" y="344"/>
                    </a:lnTo>
                    <a:lnTo>
                      <a:pt x="473" y="353"/>
                    </a:lnTo>
                    <a:lnTo>
                      <a:pt x="478" y="375"/>
                    </a:lnTo>
                    <a:lnTo>
                      <a:pt x="458" y="375"/>
                    </a:lnTo>
                    <a:lnTo>
                      <a:pt x="451" y="380"/>
                    </a:lnTo>
                    <a:lnTo>
                      <a:pt x="442" y="380"/>
                    </a:lnTo>
                    <a:lnTo>
                      <a:pt x="435" y="384"/>
                    </a:lnTo>
                    <a:lnTo>
                      <a:pt x="417" y="401"/>
                    </a:lnTo>
                    <a:lnTo>
                      <a:pt x="414" y="409"/>
                    </a:lnTo>
                    <a:lnTo>
                      <a:pt x="414" y="418"/>
                    </a:lnTo>
                    <a:lnTo>
                      <a:pt x="412" y="427"/>
                    </a:lnTo>
                    <a:lnTo>
                      <a:pt x="414" y="443"/>
                    </a:lnTo>
                    <a:lnTo>
                      <a:pt x="410" y="450"/>
                    </a:lnTo>
                    <a:lnTo>
                      <a:pt x="402" y="452"/>
                    </a:lnTo>
                    <a:lnTo>
                      <a:pt x="397" y="446"/>
                    </a:lnTo>
                    <a:lnTo>
                      <a:pt x="390" y="443"/>
                    </a:lnTo>
                    <a:lnTo>
                      <a:pt x="381" y="443"/>
                    </a:lnTo>
                    <a:lnTo>
                      <a:pt x="365" y="445"/>
                    </a:lnTo>
                    <a:lnTo>
                      <a:pt x="356" y="445"/>
                    </a:lnTo>
                    <a:lnTo>
                      <a:pt x="349" y="450"/>
                    </a:lnTo>
                    <a:lnTo>
                      <a:pt x="343" y="444"/>
                    </a:lnTo>
                    <a:lnTo>
                      <a:pt x="339" y="436"/>
                    </a:lnTo>
                    <a:lnTo>
                      <a:pt x="327" y="427"/>
                    </a:lnTo>
                    <a:lnTo>
                      <a:pt x="310" y="445"/>
                    </a:lnTo>
                    <a:lnTo>
                      <a:pt x="302" y="440"/>
                    </a:lnTo>
                    <a:lnTo>
                      <a:pt x="297" y="433"/>
                    </a:lnTo>
                    <a:lnTo>
                      <a:pt x="290" y="435"/>
                    </a:lnTo>
                    <a:lnTo>
                      <a:pt x="281" y="433"/>
                    </a:lnTo>
                    <a:lnTo>
                      <a:pt x="275" y="428"/>
                    </a:lnTo>
                    <a:lnTo>
                      <a:pt x="269" y="434"/>
                    </a:lnTo>
                    <a:lnTo>
                      <a:pt x="261" y="434"/>
                    </a:lnTo>
                    <a:lnTo>
                      <a:pt x="253" y="436"/>
                    </a:lnTo>
                    <a:lnTo>
                      <a:pt x="247" y="443"/>
                    </a:lnTo>
                    <a:lnTo>
                      <a:pt x="240" y="436"/>
                    </a:lnTo>
                    <a:lnTo>
                      <a:pt x="238" y="428"/>
                    </a:lnTo>
                    <a:lnTo>
                      <a:pt x="223" y="429"/>
                    </a:lnTo>
                    <a:lnTo>
                      <a:pt x="216" y="424"/>
                    </a:lnTo>
                    <a:lnTo>
                      <a:pt x="215" y="416"/>
                    </a:lnTo>
                    <a:lnTo>
                      <a:pt x="208" y="412"/>
                    </a:lnTo>
                    <a:lnTo>
                      <a:pt x="199" y="409"/>
                    </a:lnTo>
                    <a:lnTo>
                      <a:pt x="193" y="406"/>
                    </a:lnTo>
                    <a:lnTo>
                      <a:pt x="184" y="407"/>
                    </a:lnTo>
                    <a:lnTo>
                      <a:pt x="176" y="406"/>
                    </a:lnTo>
                    <a:lnTo>
                      <a:pt x="160" y="401"/>
                    </a:lnTo>
                    <a:lnTo>
                      <a:pt x="146" y="392"/>
                    </a:lnTo>
                    <a:lnTo>
                      <a:pt x="138" y="395"/>
                    </a:lnTo>
                    <a:lnTo>
                      <a:pt x="121" y="394"/>
                    </a:lnTo>
                    <a:lnTo>
                      <a:pt x="113" y="391"/>
                    </a:lnTo>
                    <a:lnTo>
                      <a:pt x="71" y="397"/>
                    </a:lnTo>
                    <a:lnTo>
                      <a:pt x="64" y="401"/>
                    </a:lnTo>
                    <a:lnTo>
                      <a:pt x="62" y="408"/>
                    </a:lnTo>
                    <a:lnTo>
                      <a:pt x="55" y="414"/>
                    </a:lnTo>
                    <a:lnTo>
                      <a:pt x="41" y="422"/>
                    </a:lnTo>
                    <a:lnTo>
                      <a:pt x="32" y="421"/>
                    </a:lnTo>
                    <a:lnTo>
                      <a:pt x="24" y="422"/>
                    </a:lnTo>
                    <a:lnTo>
                      <a:pt x="17" y="42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grpSp>
            <p:nvGrpSpPr>
              <p:cNvPr id="188" name="Group 199"/>
              <p:cNvGrpSpPr>
                <a:grpSpLocks noChangeAspect="1"/>
              </p:cNvGrpSpPr>
              <p:nvPr/>
            </p:nvGrpSpPr>
            <p:grpSpPr bwMode="gray">
              <a:xfrm>
                <a:off x="5033169" y="2808635"/>
                <a:ext cx="68263" cy="68263"/>
                <a:chOff x="2688" y="1930"/>
                <a:chExt cx="43" cy="43"/>
              </a:xfrm>
              <a:grpFill/>
            </p:grpSpPr>
            <p:sp>
              <p:nvSpPr>
                <p:cNvPr id="211" name="Freeform 200"/>
                <p:cNvSpPr>
                  <a:spLocks noChangeAspect="1"/>
                </p:cNvSpPr>
                <p:nvPr/>
              </p:nvSpPr>
              <p:spPr bwMode="gray">
                <a:xfrm>
                  <a:off x="2688" y="1930"/>
                  <a:ext cx="43" cy="43"/>
                </a:xfrm>
                <a:custGeom>
                  <a:avLst/>
                  <a:gdLst/>
                  <a:ahLst/>
                  <a:cxnLst>
                    <a:cxn ang="0">
                      <a:pos x="145" y="208"/>
                    </a:cxn>
                    <a:cxn ang="0">
                      <a:pos x="129" y="192"/>
                    </a:cxn>
                    <a:cxn ang="0">
                      <a:pos x="114" y="180"/>
                    </a:cxn>
                    <a:cxn ang="0">
                      <a:pos x="98" y="179"/>
                    </a:cxn>
                    <a:cxn ang="0">
                      <a:pos x="82" y="140"/>
                    </a:cxn>
                    <a:cxn ang="0">
                      <a:pos x="52" y="114"/>
                    </a:cxn>
                    <a:cxn ang="0">
                      <a:pos x="35" y="93"/>
                    </a:cxn>
                    <a:cxn ang="0">
                      <a:pos x="23" y="73"/>
                    </a:cxn>
                    <a:cxn ang="0">
                      <a:pos x="22" y="60"/>
                    </a:cxn>
                    <a:cxn ang="0">
                      <a:pos x="7" y="40"/>
                    </a:cxn>
                    <a:cxn ang="0">
                      <a:pos x="3" y="29"/>
                    </a:cxn>
                    <a:cxn ang="0">
                      <a:pos x="8" y="0"/>
                    </a:cxn>
                    <a:cxn ang="0">
                      <a:pos x="30" y="19"/>
                    </a:cxn>
                    <a:cxn ang="0">
                      <a:pos x="61" y="4"/>
                    </a:cxn>
                    <a:cxn ang="0">
                      <a:pos x="79" y="8"/>
                    </a:cxn>
                    <a:cxn ang="0">
                      <a:pos x="89" y="9"/>
                    </a:cxn>
                    <a:cxn ang="0">
                      <a:pos x="108" y="9"/>
                    </a:cxn>
                    <a:cxn ang="0">
                      <a:pos x="125" y="9"/>
                    </a:cxn>
                    <a:cxn ang="0">
                      <a:pos x="135" y="16"/>
                    </a:cxn>
                    <a:cxn ang="0">
                      <a:pos x="152" y="18"/>
                    </a:cxn>
                    <a:cxn ang="0">
                      <a:pos x="162" y="14"/>
                    </a:cxn>
                    <a:cxn ang="0">
                      <a:pos x="167" y="28"/>
                    </a:cxn>
                    <a:cxn ang="0">
                      <a:pos x="186" y="28"/>
                    </a:cxn>
                    <a:cxn ang="0">
                      <a:pos x="200" y="35"/>
                    </a:cxn>
                    <a:cxn ang="0">
                      <a:pos x="190" y="57"/>
                    </a:cxn>
                    <a:cxn ang="0">
                      <a:pos x="189" y="63"/>
                    </a:cxn>
                    <a:cxn ang="0">
                      <a:pos x="191" y="76"/>
                    </a:cxn>
                    <a:cxn ang="0">
                      <a:pos x="199" y="79"/>
                    </a:cxn>
                    <a:cxn ang="0">
                      <a:pos x="207" y="87"/>
                    </a:cxn>
                    <a:cxn ang="0">
                      <a:pos x="212" y="93"/>
                    </a:cxn>
                    <a:cxn ang="0">
                      <a:pos x="211" y="102"/>
                    </a:cxn>
                    <a:cxn ang="0">
                      <a:pos x="195" y="98"/>
                    </a:cxn>
                    <a:cxn ang="0">
                      <a:pos x="201" y="109"/>
                    </a:cxn>
                    <a:cxn ang="0">
                      <a:pos x="208" y="126"/>
                    </a:cxn>
                    <a:cxn ang="0">
                      <a:pos x="202" y="129"/>
                    </a:cxn>
                    <a:cxn ang="0">
                      <a:pos x="192" y="135"/>
                    </a:cxn>
                    <a:cxn ang="0">
                      <a:pos x="184" y="136"/>
                    </a:cxn>
                    <a:cxn ang="0">
                      <a:pos x="176" y="137"/>
                    </a:cxn>
                    <a:cxn ang="0">
                      <a:pos x="183" y="146"/>
                    </a:cxn>
                    <a:cxn ang="0">
                      <a:pos x="183" y="157"/>
                    </a:cxn>
                    <a:cxn ang="0">
                      <a:pos x="178" y="149"/>
                    </a:cxn>
                    <a:cxn ang="0">
                      <a:pos x="163" y="156"/>
                    </a:cxn>
                    <a:cxn ang="0">
                      <a:pos x="160" y="170"/>
                    </a:cxn>
                    <a:cxn ang="0">
                      <a:pos x="151" y="175"/>
                    </a:cxn>
                    <a:cxn ang="0">
                      <a:pos x="149" y="189"/>
                    </a:cxn>
                    <a:cxn ang="0">
                      <a:pos x="154" y="201"/>
                    </a:cxn>
                  </a:cxnLst>
                  <a:rect l="0" t="0" r="r" b="b"/>
                  <a:pathLst>
                    <a:path w="215" h="216">
                      <a:moveTo>
                        <a:pt x="149" y="216"/>
                      </a:moveTo>
                      <a:lnTo>
                        <a:pt x="149" y="208"/>
                      </a:lnTo>
                      <a:lnTo>
                        <a:pt x="145" y="208"/>
                      </a:lnTo>
                      <a:lnTo>
                        <a:pt x="146" y="203"/>
                      </a:lnTo>
                      <a:lnTo>
                        <a:pt x="137" y="202"/>
                      </a:lnTo>
                      <a:lnTo>
                        <a:pt x="129" y="192"/>
                      </a:lnTo>
                      <a:lnTo>
                        <a:pt x="122" y="191"/>
                      </a:lnTo>
                      <a:lnTo>
                        <a:pt x="114" y="185"/>
                      </a:lnTo>
                      <a:lnTo>
                        <a:pt x="114" y="180"/>
                      </a:lnTo>
                      <a:lnTo>
                        <a:pt x="106" y="179"/>
                      </a:lnTo>
                      <a:lnTo>
                        <a:pt x="99" y="184"/>
                      </a:lnTo>
                      <a:lnTo>
                        <a:pt x="98" y="179"/>
                      </a:lnTo>
                      <a:lnTo>
                        <a:pt x="105" y="175"/>
                      </a:lnTo>
                      <a:lnTo>
                        <a:pt x="83" y="151"/>
                      </a:lnTo>
                      <a:lnTo>
                        <a:pt x="82" y="140"/>
                      </a:lnTo>
                      <a:lnTo>
                        <a:pt x="77" y="136"/>
                      </a:lnTo>
                      <a:lnTo>
                        <a:pt x="72" y="133"/>
                      </a:lnTo>
                      <a:lnTo>
                        <a:pt x="52" y="114"/>
                      </a:lnTo>
                      <a:lnTo>
                        <a:pt x="51" y="109"/>
                      </a:lnTo>
                      <a:lnTo>
                        <a:pt x="41" y="95"/>
                      </a:lnTo>
                      <a:lnTo>
                        <a:pt x="35" y="93"/>
                      </a:lnTo>
                      <a:lnTo>
                        <a:pt x="27" y="81"/>
                      </a:lnTo>
                      <a:lnTo>
                        <a:pt x="22" y="79"/>
                      </a:lnTo>
                      <a:lnTo>
                        <a:pt x="23" y="73"/>
                      </a:lnTo>
                      <a:lnTo>
                        <a:pt x="25" y="71"/>
                      </a:lnTo>
                      <a:lnTo>
                        <a:pt x="22" y="65"/>
                      </a:lnTo>
                      <a:lnTo>
                        <a:pt x="22" y="60"/>
                      </a:lnTo>
                      <a:lnTo>
                        <a:pt x="16" y="54"/>
                      </a:lnTo>
                      <a:lnTo>
                        <a:pt x="12" y="41"/>
                      </a:lnTo>
                      <a:lnTo>
                        <a:pt x="7" y="40"/>
                      </a:lnTo>
                      <a:lnTo>
                        <a:pt x="0" y="34"/>
                      </a:lnTo>
                      <a:lnTo>
                        <a:pt x="0" y="31"/>
                      </a:lnTo>
                      <a:lnTo>
                        <a:pt x="3" y="29"/>
                      </a:lnTo>
                      <a:lnTo>
                        <a:pt x="2" y="25"/>
                      </a:lnTo>
                      <a:lnTo>
                        <a:pt x="2" y="6"/>
                      </a:lnTo>
                      <a:lnTo>
                        <a:pt x="8" y="0"/>
                      </a:lnTo>
                      <a:lnTo>
                        <a:pt x="17" y="2"/>
                      </a:lnTo>
                      <a:lnTo>
                        <a:pt x="17" y="4"/>
                      </a:lnTo>
                      <a:lnTo>
                        <a:pt x="30" y="19"/>
                      </a:lnTo>
                      <a:lnTo>
                        <a:pt x="34" y="19"/>
                      </a:lnTo>
                      <a:lnTo>
                        <a:pt x="43" y="2"/>
                      </a:lnTo>
                      <a:lnTo>
                        <a:pt x="61" y="4"/>
                      </a:lnTo>
                      <a:lnTo>
                        <a:pt x="65" y="0"/>
                      </a:lnTo>
                      <a:lnTo>
                        <a:pt x="67" y="0"/>
                      </a:lnTo>
                      <a:lnTo>
                        <a:pt x="79" y="8"/>
                      </a:lnTo>
                      <a:lnTo>
                        <a:pt x="83" y="8"/>
                      </a:lnTo>
                      <a:lnTo>
                        <a:pt x="86" y="6"/>
                      </a:lnTo>
                      <a:lnTo>
                        <a:pt x="89" y="9"/>
                      </a:lnTo>
                      <a:lnTo>
                        <a:pt x="104" y="12"/>
                      </a:lnTo>
                      <a:lnTo>
                        <a:pt x="105" y="9"/>
                      </a:lnTo>
                      <a:lnTo>
                        <a:pt x="108" y="9"/>
                      </a:lnTo>
                      <a:lnTo>
                        <a:pt x="116" y="17"/>
                      </a:lnTo>
                      <a:lnTo>
                        <a:pt x="119" y="17"/>
                      </a:lnTo>
                      <a:lnTo>
                        <a:pt x="125" y="9"/>
                      </a:lnTo>
                      <a:lnTo>
                        <a:pt x="129" y="9"/>
                      </a:lnTo>
                      <a:lnTo>
                        <a:pt x="132" y="14"/>
                      </a:lnTo>
                      <a:lnTo>
                        <a:pt x="135" y="16"/>
                      </a:lnTo>
                      <a:lnTo>
                        <a:pt x="137" y="11"/>
                      </a:lnTo>
                      <a:lnTo>
                        <a:pt x="148" y="12"/>
                      </a:lnTo>
                      <a:lnTo>
                        <a:pt x="152" y="18"/>
                      </a:lnTo>
                      <a:lnTo>
                        <a:pt x="154" y="17"/>
                      </a:lnTo>
                      <a:lnTo>
                        <a:pt x="154" y="14"/>
                      </a:lnTo>
                      <a:lnTo>
                        <a:pt x="162" y="14"/>
                      </a:lnTo>
                      <a:lnTo>
                        <a:pt x="168" y="22"/>
                      </a:lnTo>
                      <a:lnTo>
                        <a:pt x="167" y="27"/>
                      </a:lnTo>
                      <a:lnTo>
                        <a:pt x="167" y="28"/>
                      </a:lnTo>
                      <a:lnTo>
                        <a:pt x="173" y="33"/>
                      </a:lnTo>
                      <a:lnTo>
                        <a:pt x="180" y="33"/>
                      </a:lnTo>
                      <a:lnTo>
                        <a:pt x="186" y="28"/>
                      </a:lnTo>
                      <a:lnTo>
                        <a:pt x="199" y="28"/>
                      </a:lnTo>
                      <a:lnTo>
                        <a:pt x="201" y="31"/>
                      </a:lnTo>
                      <a:lnTo>
                        <a:pt x="200" y="35"/>
                      </a:lnTo>
                      <a:lnTo>
                        <a:pt x="200" y="39"/>
                      </a:lnTo>
                      <a:lnTo>
                        <a:pt x="195" y="46"/>
                      </a:lnTo>
                      <a:lnTo>
                        <a:pt x="190" y="57"/>
                      </a:lnTo>
                      <a:lnTo>
                        <a:pt x="188" y="59"/>
                      </a:lnTo>
                      <a:lnTo>
                        <a:pt x="188" y="61"/>
                      </a:lnTo>
                      <a:lnTo>
                        <a:pt x="189" y="63"/>
                      </a:lnTo>
                      <a:lnTo>
                        <a:pt x="185" y="68"/>
                      </a:lnTo>
                      <a:lnTo>
                        <a:pt x="188" y="76"/>
                      </a:lnTo>
                      <a:lnTo>
                        <a:pt x="191" y="76"/>
                      </a:lnTo>
                      <a:lnTo>
                        <a:pt x="194" y="78"/>
                      </a:lnTo>
                      <a:lnTo>
                        <a:pt x="197" y="77"/>
                      </a:lnTo>
                      <a:lnTo>
                        <a:pt x="199" y="79"/>
                      </a:lnTo>
                      <a:lnTo>
                        <a:pt x="200" y="83"/>
                      </a:lnTo>
                      <a:lnTo>
                        <a:pt x="203" y="87"/>
                      </a:lnTo>
                      <a:lnTo>
                        <a:pt x="207" y="87"/>
                      </a:lnTo>
                      <a:lnTo>
                        <a:pt x="207" y="88"/>
                      </a:lnTo>
                      <a:lnTo>
                        <a:pt x="207" y="90"/>
                      </a:lnTo>
                      <a:lnTo>
                        <a:pt x="212" y="93"/>
                      </a:lnTo>
                      <a:lnTo>
                        <a:pt x="215" y="94"/>
                      </a:lnTo>
                      <a:lnTo>
                        <a:pt x="215" y="97"/>
                      </a:lnTo>
                      <a:lnTo>
                        <a:pt x="211" y="102"/>
                      </a:lnTo>
                      <a:lnTo>
                        <a:pt x="202" y="102"/>
                      </a:lnTo>
                      <a:lnTo>
                        <a:pt x="197" y="98"/>
                      </a:lnTo>
                      <a:lnTo>
                        <a:pt x="195" y="98"/>
                      </a:lnTo>
                      <a:lnTo>
                        <a:pt x="194" y="100"/>
                      </a:lnTo>
                      <a:lnTo>
                        <a:pt x="195" y="102"/>
                      </a:lnTo>
                      <a:lnTo>
                        <a:pt x="201" y="109"/>
                      </a:lnTo>
                      <a:lnTo>
                        <a:pt x="207" y="117"/>
                      </a:lnTo>
                      <a:lnTo>
                        <a:pt x="210" y="119"/>
                      </a:lnTo>
                      <a:lnTo>
                        <a:pt x="208" y="126"/>
                      </a:lnTo>
                      <a:lnTo>
                        <a:pt x="207" y="129"/>
                      </a:lnTo>
                      <a:lnTo>
                        <a:pt x="205" y="130"/>
                      </a:lnTo>
                      <a:lnTo>
                        <a:pt x="202" y="129"/>
                      </a:lnTo>
                      <a:lnTo>
                        <a:pt x="200" y="129"/>
                      </a:lnTo>
                      <a:lnTo>
                        <a:pt x="197" y="132"/>
                      </a:lnTo>
                      <a:lnTo>
                        <a:pt x="192" y="135"/>
                      </a:lnTo>
                      <a:lnTo>
                        <a:pt x="189" y="135"/>
                      </a:lnTo>
                      <a:lnTo>
                        <a:pt x="186" y="136"/>
                      </a:lnTo>
                      <a:lnTo>
                        <a:pt x="184" y="136"/>
                      </a:lnTo>
                      <a:lnTo>
                        <a:pt x="183" y="133"/>
                      </a:lnTo>
                      <a:lnTo>
                        <a:pt x="180" y="133"/>
                      </a:lnTo>
                      <a:lnTo>
                        <a:pt x="176" y="137"/>
                      </a:lnTo>
                      <a:lnTo>
                        <a:pt x="178" y="140"/>
                      </a:lnTo>
                      <a:lnTo>
                        <a:pt x="181" y="141"/>
                      </a:lnTo>
                      <a:lnTo>
                        <a:pt x="183" y="146"/>
                      </a:lnTo>
                      <a:lnTo>
                        <a:pt x="184" y="149"/>
                      </a:lnTo>
                      <a:lnTo>
                        <a:pt x="184" y="154"/>
                      </a:lnTo>
                      <a:lnTo>
                        <a:pt x="183" y="157"/>
                      </a:lnTo>
                      <a:lnTo>
                        <a:pt x="180" y="157"/>
                      </a:lnTo>
                      <a:lnTo>
                        <a:pt x="179" y="154"/>
                      </a:lnTo>
                      <a:lnTo>
                        <a:pt x="178" y="149"/>
                      </a:lnTo>
                      <a:lnTo>
                        <a:pt x="175" y="148"/>
                      </a:lnTo>
                      <a:lnTo>
                        <a:pt x="172" y="148"/>
                      </a:lnTo>
                      <a:lnTo>
                        <a:pt x="163" y="156"/>
                      </a:lnTo>
                      <a:lnTo>
                        <a:pt x="162" y="160"/>
                      </a:lnTo>
                      <a:lnTo>
                        <a:pt x="160" y="163"/>
                      </a:lnTo>
                      <a:lnTo>
                        <a:pt x="160" y="170"/>
                      </a:lnTo>
                      <a:lnTo>
                        <a:pt x="158" y="173"/>
                      </a:lnTo>
                      <a:lnTo>
                        <a:pt x="153" y="173"/>
                      </a:lnTo>
                      <a:lnTo>
                        <a:pt x="151" y="175"/>
                      </a:lnTo>
                      <a:lnTo>
                        <a:pt x="151" y="184"/>
                      </a:lnTo>
                      <a:lnTo>
                        <a:pt x="149" y="185"/>
                      </a:lnTo>
                      <a:lnTo>
                        <a:pt x="149" y="189"/>
                      </a:lnTo>
                      <a:lnTo>
                        <a:pt x="152" y="194"/>
                      </a:lnTo>
                      <a:lnTo>
                        <a:pt x="154" y="196"/>
                      </a:lnTo>
                      <a:lnTo>
                        <a:pt x="154" y="201"/>
                      </a:lnTo>
                      <a:lnTo>
                        <a:pt x="149" y="208"/>
                      </a:lnTo>
                      <a:lnTo>
                        <a:pt x="149" y="21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12" name="Freeform 201"/>
                <p:cNvSpPr>
                  <a:spLocks noChangeAspect="1"/>
                </p:cNvSpPr>
                <p:nvPr/>
              </p:nvSpPr>
              <p:spPr bwMode="gray">
                <a:xfrm>
                  <a:off x="2703" y="1965"/>
                  <a:ext cx="15" cy="8"/>
                </a:xfrm>
                <a:custGeom>
                  <a:avLst/>
                  <a:gdLst/>
                  <a:ahLst/>
                  <a:cxnLst>
                    <a:cxn ang="0">
                      <a:pos x="75" y="42"/>
                    </a:cxn>
                    <a:cxn ang="0">
                      <a:pos x="45" y="20"/>
                    </a:cxn>
                    <a:cxn ang="0">
                      <a:pos x="29" y="17"/>
                    </a:cxn>
                    <a:cxn ang="0">
                      <a:pos x="13" y="7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15" y="2"/>
                    </a:cxn>
                    <a:cxn ang="0">
                      <a:pos x="20" y="10"/>
                    </a:cxn>
                    <a:cxn ang="0">
                      <a:pos x="25" y="10"/>
                    </a:cxn>
                    <a:cxn ang="0">
                      <a:pos x="32" y="5"/>
                    </a:cxn>
                    <a:cxn ang="0">
                      <a:pos x="40" y="6"/>
                    </a:cxn>
                    <a:cxn ang="0">
                      <a:pos x="40" y="11"/>
                    </a:cxn>
                    <a:cxn ang="0">
                      <a:pos x="48" y="17"/>
                    </a:cxn>
                    <a:cxn ang="0">
                      <a:pos x="55" y="18"/>
                    </a:cxn>
                    <a:cxn ang="0">
                      <a:pos x="63" y="28"/>
                    </a:cxn>
                    <a:cxn ang="0">
                      <a:pos x="72" y="29"/>
                    </a:cxn>
                    <a:cxn ang="0">
                      <a:pos x="71" y="34"/>
                    </a:cxn>
                    <a:cxn ang="0">
                      <a:pos x="75" y="34"/>
                    </a:cxn>
                    <a:cxn ang="0">
                      <a:pos x="75" y="42"/>
                    </a:cxn>
                  </a:cxnLst>
                  <a:rect l="0" t="0" r="r" b="b"/>
                  <a:pathLst>
                    <a:path w="75" h="42">
                      <a:moveTo>
                        <a:pt x="75" y="42"/>
                      </a:moveTo>
                      <a:lnTo>
                        <a:pt x="45" y="20"/>
                      </a:lnTo>
                      <a:lnTo>
                        <a:pt x="29" y="17"/>
                      </a:lnTo>
                      <a:lnTo>
                        <a:pt x="13" y="7"/>
                      </a:lnTo>
                      <a:lnTo>
                        <a:pt x="0" y="5"/>
                      </a:lnTo>
                      <a:lnTo>
                        <a:pt x="4" y="0"/>
                      </a:lnTo>
                      <a:lnTo>
                        <a:pt x="15" y="2"/>
                      </a:lnTo>
                      <a:lnTo>
                        <a:pt x="20" y="10"/>
                      </a:lnTo>
                      <a:lnTo>
                        <a:pt x="25" y="10"/>
                      </a:lnTo>
                      <a:lnTo>
                        <a:pt x="32" y="5"/>
                      </a:lnTo>
                      <a:lnTo>
                        <a:pt x="40" y="6"/>
                      </a:lnTo>
                      <a:lnTo>
                        <a:pt x="40" y="11"/>
                      </a:lnTo>
                      <a:lnTo>
                        <a:pt x="48" y="17"/>
                      </a:lnTo>
                      <a:lnTo>
                        <a:pt x="55" y="18"/>
                      </a:lnTo>
                      <a:lnTo>
                        <a:pt x="63" y="28"/>
                      </a:lnTo>
                      <a:lnTo>
                        <a:pt x="72" y="29"/>
                      </a:lnTo>
                      <a:lnTo>
                        <a:pt x="71" y="34"/>
                      </a:lnTo>
                      <a:lnTo>
                        <a:pt x="75" y="34"/>
                      </a:lnTo>
                      <a:lnTo>
                        <a:pt x="75" y="4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189" name="Freeform 202"/>
              <p:cNvSpPr>
                <a:spLocks noChangeAspect="1"/>
              </p:cNvSpPr>
              <p:nvPr/>
            </p:nvSpPr>
            <p:spPr bwMode="gray">
              <a:xfrm>
                <a:off x="5128419" y="2973735"/>
                <a:ext cx="39688" cy="41275"/>
              </a:xfrm>
              <a:custGeom>
                <a:avLst/>
                <a:gdLst/>
                <a:ahLst/>
                <a:cxnLst>
                  <a:cxn ang="0">
                    <a:pos x="49" y="0"/>
                  </a:cxn>
                  <a:cxn ang="0">
                    <a:pos x="35" y="2"/>
                  </a:cxn>
                  <a:cxn ang="0">
                    <a:pos x="21" y="12"/>
                  </a:cxn>
                  <a:cxn ang="0">
                    <a:pos x="13" y="8"/>
                  </a:cxn>
                  <a:cxn ang="0">
                    <a:pos x="2" y="28"/>
                  </a:cxn>
                  <a:cxn ang="0">
                    <a:pos x="0" y="37"/>
                  </a:cxn>
                  <a:cxn ang="0">
                    <a:pos x="6" y="50"/>
                  </a:cxn>
                  <a:cxn ang="0">
                    <a:pos x="21" y="58"/>
                  </a:cxn>
                  <a:cxn ang="0">
                    <a:pos x="28" y="70"/>
                  </a:cxn>
                  <a:cxn ang="0">
                    <a:pos x="23" y="86"/>
                  </a:cxn>
                  <a:cxn ang="0">
                    <a:pos x="26" y="99"/>
                  </a:cxn>
                  <a:cxn ang="0">
                    <a:pos x="32" y="106"/>
                  </a:cxn>
                  <a:cxn ang="0">
                    <a:pos x="39" y="108"/>
                  </a:cxn>
                  <a:cxn ang="0">
                    <a:pos x="42" y="98"/>
                  </a:cxn>
                  <a:cxn ang="0">
                    <a:pos x="49" y="90"/>
                  </a:cxn>
                  <a:cxn ang="0">
                    <a:pos x="53" y="96"/>
                  </a:cxn>
                  <a:cxn ang="0">
                    <a:pos x="60" y="103"/>
                  </a:cxn>
                  <a:cxn ang="0">
                    <a:pos x="65" y="119"/>
                  </a:cxn>
                  <a:cxn ang="0">
                    <a:pos x="66" y="130"/>
                  </a:cxn>
                  <a:cxn ang="0">
                    <a:pos x="71" y="131"/>
                  </a:cxn>
                  <a:cxn ang="0">
                    <a:pos x="76" y="110"/>
                  </a:cxn>
                  <a:cxn ang="0">
                    <a:pos x="85" y="107"/>
                  </a:cxn>
                  <a:cxn ang="0">
                    <a:pos x="91" y="117"/>
                  </a:cxn>
                  <a:cxn ang="0">
                    <a:pos x="98" y="124"/>
                  </a:cxn>
                  <a:cxn ang="0">
                    <a:pos x="107" y="129"/>
                  </a:cxn>
                  <a:cxn ang="0">
                    <a:pos x="105" y="107"/>
                  </a:cxn>
                  <a:cxn ang="0">
                    <a:pos x="98" y="77"/>
                  </a:cxn>
                  <a:cxn ang="0">
                    <a:pos x="91" y="66"/>
                  </a:cxn>
                  <a:cxn ang="0">
                    <a:pos x="88" y="54"/>
                  </a:cxn>
                  <a:cxn ang="0">
                    <a:pos x="105" y="66"/>
                  </a:cxn>
                  <a:cxn ang="0">
                    <a:pos x="108" y="71"/>
                  </a:cxn>
                  <a:cxn ang="0">
                    <a:pos x="113" y="71"/>
                  </a:cxn>
                  <a:cxn ang="0">
                    <a:pos x="119" y="65"/>
                  </a:cxn>
                  <a:cxn ang="0">
                    <a:pos x="128" y="64"/>
                  </a:cxn>
                  <a:cxn ang="0">
                    <a:pos x="126" y="56"/>
                  </a:cxn>
                  <a:cxn ang="0">
                    <a:pos x="114" y="48"/>
                  </a:cxn>
                  <a:cxn ang="0">
                    <a:pos x="107" y="33"/>
                  </a:cxn>
                  <a:cxn ang="0">
                    <a:pos x="107" y="26"/>
                  </a:cxn>
                  <a:cxn ang="0">
                    <a:pos x="98" y="21"/>
                  </a:cxn>
                  <a:cxn ang="0">
                    <a:pos x="74" y="12"/>
                  </a:cxn>
                  <a:cxn ang="0">
                    <a:pos x="61" y="8"/>
                  </a:cxn>
                  <a:cxn ang="0">
                    <a:pos x="55" y="8"/>
                  </a:cxn>
                  <a:cxn ang="0">
                    <a:pos x="49" y="0"/>
                  </a:cxn>
                </a:cxnLst>
                <a:rect l="0" t="0" r="r" b="b"/>
                <a:pathLst>
                  <a:path w="128" h="131">
                    <a:moveTo>
                      <a:pt x="49" y="0"/>
                    </a:moveTo>
                    <a:lnTo>
                      <a:pt x="35" y="2"/>
                    </a:lnTo>
                    <a:lnTo>
                      <a:pt x="21" y="12"/>
                    </a:lnTo>
                    <a:lnTo>
                      <a:pt x="13" y="8"/>
                    </a:lnTo>
                    <a:lnTo>
                      <a:pt x="2" y="28"/>
                    </a:lnTo>
                    <a:lnTo>
                      <a:pt x="0" y="37"/>
                    </a:lnTo>
                    <a:lnTo>
                      <a:pt x="6" y="50"/>
                    </a:lnTo>
                    <a:lnTo>
                      <a:pt x="21" y="58"/>
                    </a:lnTo>
                    <a:lnTo>
                      <a:pt x="28" y="70"/>
                    </a:lnTo>
                    <a:lnTo>
                      <a:pt x="23" y="86"/>
                    </a:lnTo>
                    <a:lnTo>
                      <a:pt x="26" y="99"/>
                    </a:lnTo>
                    <a:lnTo>
                      <a:pt x="32" y="106"/>
                    </a:lnTo>
                    <a:lnTo>
                      <a:pt x="39" y="108"/>
                    </a:lnTo>
                    <a:lnTo>
                      <a:pt x="42" y="98"/>
                    </a:lnTo>
                    <a:lnTo>
                      <a:pt x="49" y="90"/>
                    </a:lnTo>
                    <a:lnTo>
                      <a:pt x="53" y="96"/>
                    </a:lnTo>
                    <a:lnTo>
                      <a:pt x="60" y="103"/>
                    </a:lnTo>
                    <a:lnTo>
                      <a:pt x="65" y="119"/>
                    </a:lnTo>
                    <a:lnTo>
                      <a:pt x="66" y="130"/>
                    </a:lnTo>
                    <a:lnTo>
                      <a:pt x="71" y="131"/>
                    </a:lnTo>
                    <a:lnTo>
                      <a:pt x="76" y="110"/>
                    </a:lnTo>
                    <a:lnTo>
                      <a:pt x="85" y="107"/>
                    </a:lnTo>
                    <a:lnTo>
                      <a:pt x="91" y="117"/>
                    </a:lnTo>
                    <a:lnTo>
                      <a:pt x="98" y="124"/>
                    </a:lnTo>
                    <a:lnTo>
                      <a:pt x="107" y="129"/>
                    </a:lnTo>
                    <a:lnTo>
                      <a:pt x="105" y="107"/>
                    </a:lnTo>
                    <a:lnTo>
                      <a:pt x="98" y="77"/>
                    </a:lnTo>
                    <a:lnTo>
                      <a:pt x="91" y="66"/>
                    </a:lnTo>
                    <a:lnTo>
                      <a:pt x="88" y="54"/>
                    </a:lnTo>
                    <a:lnTo>
                      <a:pt x="105" y="66"/>
                    </a:lnTo>
                    <a:lnTo>
                      <a:pt x="108" y="71"/>
                    </a:lnTo>
                    <a:lnTo>
                      <a:pt x="113" y="71"/>
                    </a:lnTo>
                    <a:lnTo>
                      <a:pt x="119" y="65"/>
                    </a:lnTo>
                    <a:lnTo>
                      <a:pt x="128" y="64"/>
                    </a:lnTo>
                    <a:lnTo>
                      <a:pt x="126" y="56"/>
                    </a:lnTo>
                    <a:lnTo>
                      <a:pt x="114" y="48"/>
                    </a:lnTo>
                    <a:lnTo>
                      <a:pt x="107" y="33"/>
                    </a:lnTo>
                    <a:lnTo>
                      <a:pt x="107" y="26"/>
                    </a:lnTo>
                    <a:lnTo>
                      <a:pt x="98" y="21"/>
                    </a:lnTo>
                    <a:lnTo>
                      <a:pt x="74" y="12"/>
                    </a:lnTo>
                    <a:lnTo>
                      <a:pt x="61" y="8"/>
                    </a:lnTo>
                    <a:lnTo>
                      <a:pt x="55" y="8"/>
                    </a:lnTo>
                    <a:lnTo>
                      <a:pt x="4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90" name="Freeform 203"/>
              <p:cNvSpPr>
                <a:spLocks noChangeAspect="1"/>
              </p:cNvSpPr>
              <p:nvPr/>
            </p:nvSpPr>
            <p:spPr bwMode="gray">
              <a:xfrm>
                <a:off x="5110956" y="2894360"/>
                <a:ext cx="111125" cy="93663"/>
              </a:xfrm>
              <a:custGeom>
                <a:avLst/>
                <a:gdLst/>
                <a:ahLst/>
                <a:cxnLst>
                  <a:cxn ang="0">
                    <a:pos x="314" y="70"/>
                  </a:cxn>
                  <a:cxn ang="0">
                    <a:pos x="258" y="65"/>
                  </a:cxn>
                  <a:cxn ang="0">
                    <a:pos x="245" y="66"/>
                  </a:cxn>
                  <a:cxn ang="0">
                    <a:pos x="223" y="73"/>
                  </a:cxn>
                  <a:cxn ang="0">
                    <a:pos x="193" y="86"/>
                  </a:cxn>
                  <a:cxn ang="0">
                    <a:pos x="216" y="100"/>
                  </a:cxn>
                  <a:cxn ang="0">
                    <a:pos x="227" y="116"/>
                  </a:cxn>
                  <a:cxn ang="0">
                    <a:pos x="201" y="103"/>
                  </a:cxn>
                  <a:cxn ang="0">
                    <a:pos x="207" y="120"/>
                  </a:cxn>
                  <a:cxn ang="0">
                    <a:pos x="201" y="125"/>
                  </a:cxn>
                  <a:cxn ang="0">
                    <a:pos x="185" y="111"/>
                  </a:cxn>
                  <a:cxn ang="0">
                    <a:pos x="184" y="124"/>
                  </a:cxn>
                  <a:cxn ang="0">
                    <a:pos x="188" y="135"/>
                  </a:cxn>
                  <a:cxn ang="0">
                    <a:pos x="172" y="111"/>
                  </a:cxn>
                  <a:cxn ang="0">
                    <a:pos x="148" y="93"/>
                  </a:cxn>
                  <a:cxn ang="0">
                    <a:pos x="137" y="90"/>
                  </a:cxn>
                  <a:cxn ang="0">
                    <a:pos x="135" y="120"/>
                  </a:cxn>
                  <a:cxn ang="0">
                    <a:pos x="144" y="140"/>
                  </a:cxn>
                  <a:cxn ang="0">
                    <a:pos x="164" y="172"/>
                  </a:cxn>
                  <a:cxn ang="0">
                    <a:pos x="172" y="190"/>
                  </a:cxn>
                  <a:cxn ang="0">
                    <a:pos x="163" y="191"/>
                  </a:cxn>
                  <a:cxn ang="0">
                    <a:pos x="161" y="179"/>
                  </a:cxn>
                  <a:cxn ang="0">
                    <a:pos x="150" y="186"/>
                  </a:cxn>
                  <a:cxn ang="0">
                    <a:pos x="151" y="203"/>
                  </a:cxn>
                  <a:cxn ang="0">
                    <a:pos x="141" y="203"/>
                  </a:cxn>
                  <a:cxn ang="0">
                    <a:pos x="135" y="212"/>
                  </a:cxn>
                  <a:cxn ang="0">
                    <a:pos x="156" y="219"/>
                  </a:cxn>
                  <a:cxn ang="0">
                    <a:pos x="172" y="224"/>
                  </a:cxn>
                  <a:cxn ang="0">
                    <a:pos x="184" y="237"/>
                  </a:cxn>
                  <a:cxn ang="0">
                    <a:pos x="199" y="250"/>
                  </a:cxn>
                  <a:cxn ang="0">
                    <a:pos x="211" y="255"/>
                  </a:cxn>
                  <a:cxn ang="0">
                    <a:pos x="199" y="285"/>
                  </a:cxn>
                  <a:cxn ang="0">
                    <a:pos x="175" y="275"/>
                  </a:cxn>
                  <a:cxn ang="0">
                    <a:pos x="152" y="270"/>
                  </a:cxn>
                  <a:cxn ang="0">
                    <a:pos x="164" y="259"/>
                  </a:cxn>
                  <a:cxn ang="0">
                    <a:pos x="139" y="243"/>
                  </a:cxn>
                  <a:cxn ang="0">
                    <a:pos x="123" y="245"/>
                  </a:cxn>
                  <a:cxn ang="0">
                    <a:pos x="98" y="245"/>
                  </a:cxn>
                  <a:cxn ang="0">
                    <a:pos x="67" y="242"/>
                  </a:cxn>
                  <a:cxn ang="0">
                    <a:pos x="61" y="245"/>
                  </a:cxn>
                  <a:cxn ang="0">
                    <a:pos x="51" y="240"/>
                  </a:cxn>
                  <a:cxn ang="0">
                    <a:pos x="33" y="208"/>
                  </a:cxn>
                  <a:cxn ang="0">
                    <a:pos x="53" y="208"/>
                  </a:cxn>
                  <a:cxn ang="0">
                    <a:pos x="35" y="194"/>
                  </a:cxn>
                  <a:cxn ang="0">
                    <a:pos x="17" y="178"/>
                  </a:cxn>
                  <a:cxn ang="0">
                    <a:pos x="3" y="154"/>
                  </a:cxn>
                  <a:cxn ang="0">
                    <a:pos x="0" y="152"/>
                  </a:cxn>
                  <a:cxn ang="0">
                    <a:pos x="10" y="146"/>
                  </a:cxn>
                  <a:cxn ang="0">
                    <a:pos x="17" y="127"/>
                  </a:cxn>
                  <a:cxn ang="0">
                    <a:pos x="35" y="103"/>
                  </a:cxn>
                  <a:cxn ang="0">
                    <a:pos x="49" y="77"/>
                  </a:cxn>
                  <a:cxn ang="0">
                    <a:pos x="82" y="62"/>
                  </a:cxn>
                  <a:cxn ang="0">
                    <a:pos x="112" y="45"/>
                  </a:cxn>
                  <a:cxn ang="0">
                    <a:pos x="147" y="31"/>
                  </a:cxn>
                  <a:cxn ang="0">
                    <a:pos x="166" y="29"/>
                  </a:cxn>
                  <a:cxn ang="0">
                    <a:pos x="205" y="25"/>
                  </a:cxn>
                  <a:cxn ang="0">
                    <a:pos x="248" y="16"/>
                  </a:cxn>
                  <a:cxn ang="0">
                    <a:pos x="293" y="36"/>
                  </a:cxn>
                  <a:cxn ang="0">
                    <a:pos x="327" y="20"/>
                  </a:cxn>
                  <a:cxn ang="0">
                    <a:pos x="340" y="0"/>
                  </a:cxn>
                  <a:cxn ang="0">
                    <a:pos x="352" y="13"/>
                  </a:cxn>
                  <a:cxn ang="0">
                    <a:pos x="340" y="33"/>
                  </a:cxn>
                  <a:cxn ang="0">
                    <a:pos x="334" y="63"/>
                  </a:cxn>
                </a:cxnLst>
                <a:rect l="0" t="0" r="r" b="b"/>
                <a:pathLst>
                  <a:path w="352" h="293">
                    <a:moveTo>
                      <a:pt x="324" y="78"/>
                    </a:moveTo>
                    <a:lnTo>
                      <a:pt x="314" y="70"/>
                    </a:lnTo>
                    <a:lnTo>
                      <a:pt x="268" y="57"/>
                    </a:lnTo>
                    <a:lnTo>
                      <a:pt x="258" y="65"/>
                    </a:lnTo>
                    <a:lnTo>
                      <a:pt x="253" y="66"/>
                    </a:lnTo>
                    <a:lnTo>
                      <a:pt x="245" y="66"/>
                    </a:lnTo>
                    <a:lnTo>
                      <a:pt x="234" y="62"/>
                    </a:lnTo>
                    <a:lnTo>
                      <a:pt x="223" y="73"/>
                    </a:lnTo>
                    <a:lnTo>
                      <a:pt x="207" y="76"/>
                    </a:lnTo>
                    <a:lnTo>
                      <a:pt x="193" y="86"/>
                    </a:lnTo>
                    <a:lnTo>
                      <a:pt x="201" y="94"/>
                    </a:lnTo>
                    <a:lnTo>
                      <a:pt x="216" y="100"/>
                    </a:lnTo>
                    <a:lnTo>
                      <a:pt x="225" y="110"/>
                    </a:lnTo>
                    <a:lnTo>
                      <a:pt x="227" y="116"/>
                    </a:lnTo>
                    <a:lnTo>
                      <a:pt x="217" y="106"/>
                    </a:lnTo>
                    <a:lnTo>
                      <a:pt x="201" y="103"/>
                    </a:lnTo>
                    <a:lnTo>
                      <a:pt x="196" y="113"/>
                    </a:lnTo>
                    <a:lnTo>
                      <a:pt x="207" y="120"/>
                    </a:lnTo>
                    <a:lnTo>
                      <a:pt x="209" y="133"/>
                    </a:lnTo>
                    <a:lnTo>
                      <a:pt x="201" y="125"/>
                    </a:lnTo>
                    <a:lnTo>
                      <a:pt x="195" y="115"/>
                    </a:lnTo>
                    <a:lnTo>
                      <a:pt x="185" y="111"/>
                    </a:lnTo>
                    <a:lnTo>
                      <a:pt x="182" y="113"/>
                    </a:lnTo>
                    <a:lnTo>
                      <a:pt x="184" y="124"/>
                    </a:lnTo>
                    <a:lnTo>
                      <a:pt x="193" y="131"/>
                    </a:lnTo>
                    <a:lnTo>
                      <a:pt x="188" y="135"/>
                    </a:lnTo>
                    <a:lnTo>
                      <a:pt x="177" y="125"/>
                    </a:lnTo>
                    <a:lnTo>
                      <a:pt x="172" y="111"/>
                    </a:lnTo>
                    <a:lnTo>
                      <a:pt x="148" y="97"/>
                    </a:lnTo>
                    <a:lnTo>
                      <a:pt x="148" y="93"/>
                    </a:lnTo>
                    <a:lnTo>
                      <a:pt x="151" y="86"/>
                    </a:lnTo>
                    <a:lnTo>
                      <a:pt x="137" y="90"/>
                    </a:lnTo>
                    <a:lnTo>
                      <a:pt x="135" y="105"/>
                    </a:lnTo>
                    <a:lnTo>
                      <a:pt x="135" y="120"/>
                    </a:lnTo>
                    <a:lnTo>
                      <a:pt x="136" y="132"/>
                    </a:lnTo>
                    <a:lnTo>
                      <a:pt x="144" y="140"/>
                    </a:lnTo>
                    <a:lnTo>
                      <a:pt x="147" y="154"/>
                    </a:lnTo>
                    <a:lnTo>
                      <a:pt x="164" y="172"/>
                    </a:lnTo>
                    <a:lnTo>
                      <a:pt x="169" y="181"/>
                    </a:lnTo>
                    <a:lnTo>
                      <a:pt x="172" y="190"/>
                    </a:lnTo>
                    <a:lnTo>
                      <a:pt x="167" y="192"/>
                    </a:lnTo>
                    <a:lnTo>
                      <a:pt x="163" y="191"/>
                    </a:lnTo>
                    <a:lnTo>
                      <a:pt x="164" y="185"/>
                    </a:lnTo>
                    <a:lnTo>
                      <a:pt x="161" y="179"/>
                    </a:lnTo>
                    <a:lnTo>
                      <a:pt x="151" y="178"/>
                    </a:lnTo>
                    <a:lnTo>
                      <a:pt x="150" y="186"/>
                    </a:lnTo>
                    <a:lnTo>
                      <a:pt x="155" y="200"/>
                    </a:lnTo>
                    <a:lnTo>
                      <a:pt x="151" y="203"/>
                    </a:lnTo>
                    <a:lnTo>
                      <a:pt x="147" y="203"/>
                    </a:lnTo>
                    <a:lnTo>
                      <a:pt x="141" y="203"/>
                    </a:lnTo>
                    <a:lnTo>
                      <a:pt x="131" y="206"/>
                    </a:lnTo>
                    <a:lnTo>
                      <a:pt x="135" y="212"/>
                    </a:lnTo>
                    <a:lnTo>
                      <a:pt x="147" y="217"/>
                    </a:lnTo>
                    <a:lnTo>
                      <a:pt x="156" y="219"/>
                    </a:lnTo>
                    <a:lnTo>
                      <a:pt x="163" y="224"/>
                    </a:lnTo>
                    <a:lnTo>
                      <a:pt x="172" y="224"/>
                    </a:lnTo>
                    <a:lnTo>
                      <a:pt x="177" y="237"/>
                    </a:lnTo>
                    <a:lnTo>
                      <a:pt x="184" y="237"/>
                    </a:lnTo>
                    <a:lnTo>
                      <a:pt x="190" y="244"/>
                    </a:lnTo>
                    <a:lnTo>
                      <a:pt x="199" y="250"/>
                    </a:lnTo>
                    <a:lnTo>
                      <a:pt x="204" y="250"/>
                    </a:lnTo>
                    <a:lnTo>
                      <a:pt x="211" y="255"/>
                    </a:lnTo>
                    <a:lnTo>
                      <a:pt x="212" y="293"/>
                    </a:lnTo>
                    <a:lnTo>
                      <a:pt x="199" y="285"/>
                    </a:lnTo>
                    <a:lnTo>
                      <a:pt x="189" y="272"/>
                    </a:lnTo>
                    <a:lnTo>
                      <a:pt x="175" y="275"/>
                    </a:lnTo>
                    <a:lnTo>
                      <a:pt x="161" y="275"/>
                    </a:lnTo>
                    <a:lnTo>
                      <a:pt x="152" y="270"/>
                    </a:lnTo>
                    <a:lnTo>
                      <a:pt x="162" y="266"/>
                    </a:lnTo>
                    <a:lnTo>
                      <a:pt x="164" y="259"/>
                    </a:lnTo>
                    <a:lnTo>
                      <a:pt x="152" y="256"/>
                    </a:lnTo>
                    <a:lnTo>
                      <a:pt x="139" y="243"/>
                    </a:lnTo>
                    <a:lnTo>
                      <a:pt x="132" y="249"/>
                    </a:lnTo>
                    <a:lnTo>
                      <a:pt x="123" y="245"/>
                    </a:lnTo>
                    <a:lnTo>
                      <a:pt x="110" y="248"/>
                    </a:lnTo>
                    <a:lnTo>
                      <a:pt x="98" y="245"/>
                    </a:lnTo>
                    <a:lnTo>
                      <a:pt x="81" y="248"/>
                    </a:lnTo>
                    <a:lnTo>
                      <a:pt x="67" y="242"/>
                    </a:lnTo>
                    <a:lnTo>
                      <a:pt x="64" y="242"/>
                    </a:lnTo>
                    <a:lnTo>
                      <a:pt x="61" y="245"/>
                    </a:lnTo>
                    <a:lnTo>
                      <a:pt x="55" y="248"/>
                    </a:lnTo>
                    <a:lnTo>
                      <a:pt x="51" y="240"/>
                    </a:lnTo>
                    <a:lnTo>
                      <a:pt x="45" y="228"/>
                    </a:lnTo>
                    <a:lnTo>
                      <a:pt x="33" y="208"/>
                    </a:lnTo>
                    <a:lnTo>
                      <a:pt x="43" y="210"/>
                    </a:lnTo>
                    <a:lnTo>
                      <a:pt x="53" y="208"/>
                    </a:lnTo>
                    <a:lnTo>
                      <a:pt x="49" y="200"/>
                    </a:lnTo>
                    <a:lnTo>
                      <a:pt x="35" y="194"/>
                    </a:lnTo>
                    <a:lnTo>
                      <a:pt x="33" y="203"/>
                    </a:lnTo>
                    <a:lnTo>
                      <a:pt x="17" y="178"/>
                    </a:lnTo>
                    <a:lnTo>
                      <a:pt x="7" y="170"/>
                    </a:lnTo>
                    <a:lnTo>
                      <a:pt x="3" y="154"/>
                    </a:lnTo>
                    <a:lnTo>
                      <a:pt x="1" y="152"/>
                    </a:lnTo>
                    <a:lnTo>
                      <a:pt x="0" y="152"/>
                    </a:lnTo>
                    <a:lnTo>
                      <a:pt x="1" y="152"/>
                    </a:lnTo>
                    <a:lnTo>
                      <a:pt x="10" y="146"/>
                    </a:lnTo>
                    <a:lnTo>
                      <a:pt x="15" y="140"/>
                    </a:lnTo>
                    <a:lnTo>
                      <a:pt x="17" y="127"/>
                    </a:lnTo>
                    <a:lnTo>
                      <a:pt x="27" y="120"/>
                    </a:lnTo>
                    <a:lnTo>
                      <a:pt x="35" y="103"/>
                    </a:lnTo>
                    <a:lnTo>
                      <a:pt x="49" y="92"/>
                    </a:lnTo>
                    <a:lnTo>
                      <a:pt x="49" y="77"/>
                    </a:lnTo>
                    <a:lnTo>
                      <a:pt x="46" y="67"/>
                    </a:lnTo>
                    <a:lnTo>
                      <a:pt x="82" y="62"/>
                    </a:lnTo>
                    <a:lnTo>
                      <a:pt x="93" y="52"/>
                    </a:lnTo>
                    <a:lnTo>
                      <a:pt x="112" y="45"/>
                    </a:lnTo>
                    <a:lnTo>
                      <a:pt x="132" y="45"/>
                    </a:lnTo>
                    <a:lnTo>
                      <a:pt x="147" y="31"/>
                    </a:lnTo>
                    <a:lnTo>
                      <a:pt x="153" y="29"/>
                    </a:lnTo>
                    <a:lnTo>
                      <a:pt x="166" y="29"/>
                    </a:lnTo>
                    <a:lnTo>
                      <a:pt x="183" y="25"/>
                    </a:lnTo>
                    <a:lnTo>
                      <a:pt x="205" y="25"/>
                    </a:lnTo>
                    <a:lnTo>
                      <a:pt x="236" y="16"/>
                    </a:lnTo>
                    <a:lnTo>
                      <a:pt x="248" y="16"/>
                    </a:lnTo>
                    <a:lnTo>
                      <a:pt x="258" y="24"/>
                    </a:lnTo>
                    <a:lnTo>
                      <a:pt x="293" y="36"/>
                    </a:lnTo>
                    <a:lnTo>
                      <a:pt x="313" y="33"/>
                    </a:lnTo>
                    <a:lnTo>
                      <a:pt x="327" y="20"/>
                    </a:lnTo>
                    <a:lnTo>
                      <a:pt x="329" y="1"/>
                    </a:lnTo>
                    <a:lnTo>
                      <a:pt x="340" y="0"/>
                    </a:lnTo>
                    <a:lnTo>
                      <a:pt x="343" y="6"/>
                    </a:lnTo>
                    <a:lnTo>
                      <a:pt x="352" y="13"/>
                    </a:lnTo>
                    <a:lnTo>
                      <a:pt x="351" y="24"/>
                    </a:lnTo>
                    <a:lnTo>
                      <a:pt x="340" y="33"/>
                    </a:lnTo>
                    <a:lnTo>
                      <a:pt x="338" y="49"/>
                    </a:lnTo>
                    <a:lnTo>
                      <a:pt x="334" y="63"/>
                    </a:lnTo>
                    <a:lnTo>
                      <a:pt x="324" y="7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91" name="Freeform 204"/>
              <p:cNvSpPr>
                <a:spLocks noChangeAspect="1"/>
              </p:cNvSpPr>
              <p:nvPr/>
            </p:nvSpPr>
            <p:spPr bwMode="gray">
              <a:xfrm>
                <a:off x="5039519" y="2727672"/>
                <a:ext cx="117475" cy="69850"/>
              </a:xfrm>
              <a:custGeom>
                <a:avLst/>
                <a:gdLst/>
                <a:ahLst/>
                <a:cxnLst>
                  <a:cxn ang="0">
                    <a:pos x="71" y="47"/>
                  </a:cxn>
                  <a:cxn ang="0">
                    <a:pos x="128" y="64"/>
                  </a:cxn>
                  <a:cxn ang="0">
                    <a:pos x="147" y="44"/>
                  </a:cxn>
                  <a:cxn ang="0">
                    <a:pos x="194" y="26"/>
                  </a:cxn>
                  <a:cxn ang="0">
                    <a:pos x="225" y="24"/>
                  </a:cxn>
                  <a:cxn ang="0">
                    <a:pos x="240" y="10"/>
                  </a:cxn>
                  <a:cxn ang="0">
                    <a:pos x="273" y="2"/>
                  </a:cxn>
                  <a:cxn ang="0">
                    <a:pos x="300" y="5"/>
                  </a:cxn>
                  <a:cxn ang="0">
                    <a:pos x="329" y="12"/>
                  </a:cxn>
                  <a:cxn ang="0">
                    <a:pos x="356" y="29"/>
                  </a:cxn>
                  <a:cxn ang="0">
                    <a:pos x="369" y="48"/>
                  </a:cxn>
                  <a:cxn ang="0">
                    <a:pos x="357" y="62"/>
                  </a:cxn>
                  <a:cxn ang="0">
                    <a:pos x="335" y="69"/>
                  </a:cxn>
                  <a:cxn ang="0">
                    <a:pos x="324" y="86"/>
                  </a:cxn>
                  <a:cxn ang="0">
                    <a:pos x="316" y="108"/>
                  </a:cxn>
                  <a:cxn ang="0">
                    <a:pos x="298" y="135"/>
                  </a:cxn>
                  <a:cxn ang="0">
                    <a:pos x="284" y="161"/>
                  </a:cxn>
                  <a:cxn ang="0">
                    <a:pos x="260" y="185"/>
                  </a:cxn>
                  <a:cxn ang="0">
                    <a:pos x="225" y="195"/>
                  </a:cxn>
                  <a:cxn ang="0">
                    <a:pos x="209" y="193"/>
                  </a:cxn>
                  <a:cxn ang="0">
                    <a:pos x="181" y="204"/>
                  </a:cxn>
                  <a:cxn ang="0">
                    <a:pos x="160" y="209"/>
                  </a:cxn>
                  <a:cxn ang="0">
                    <a:pos x="133" y="218"/>
                  </a:cxn>
                  <a:cxn ang="0">
                    <a:pos x="102" y="223"/>
                  </a:cxn>
                  <a:cxn ang="0">
                    <a:pos x="76" y="210"/>
                  </a:cxn>
                  <a:cxn ang="0">
                    <a:pos x="50" y="188"/>
                  </a:cxn>
                  <a:cxn ang="0">
                    <a:pos x="28" y="167"/>
                  </a:cxn>
                  <a:cxn ang="0">
                    <a:pos x="15" y="140"/>
                  </a:cxn>
                  <a:cxn ang="0">
                    <a:pos x="0" y="136"/>
                  </a:cxn>
                  <a:cxn ang="0">
                    <a:pos x="21" y="123"/>
                  </a:cxn>
                  <a:cxn ang="0">
                    <a:pos x="20" y="102"/>
                  </a:cxn>
                  <a:cxn ang="0">
                    <a:pos x="22" y="75"/>
                  </a:cxn>
                  <a:cxn ang="0">
                    <a:pos x="53" y="67"/>
                  </a:cxn>
                  <a:cxn ang="0">
                    <a:pos x="58" y="39"/>
                  </a:cxn>
                </a:cxnLst>
                <a:rect l="0" t="0" r="r" b="b"/>
                <a:pathLst>
                  <a:path w="369" h="223">
                    <a:moveTo>
                      <a:pt x="58" y="39"/>
                    </a:moveTo>
                    <a:lnTo>
                      <a:pt x="71" y="47"/>
                    </a:lnTo>
                    <a:lnTo>
                      <a:pt x="95" y="65"/>
                    </a:lnTo>
                    <a:lnTo>
                      <a:pt x="128" y="64"/>
                    </a:lnTo>
                    <a:lnTo>
                      <a:pt x="134" y="64"/>
                    </a:lnTo>
                    <a:lnTo>
                      <a:pt x="147" y="44"/>
                    </a:lnTo>
                    <a:lnTo>
                      <a:pt x="178" y="35"/>
                    </a:lnTo>
                    <a:lnTo>
                      <a:pt x="194" y="26"/>
                    </a:lnTo>
                    <a:lnTo>
                      <a:pt x="211" y="32"/>
                    </a:lnTo>
                    <a:lnTo>
                      <a:pt x="225" y="24"/>
                    </a:lnTo>
                    <a:lnTo>
                      <a:pt x="235" y="22"/>
                    </a:lnTo>
                    <a:lnTo>
                      <a:pt x="240" y="10"/>
                    </a:lnTo>
                    <a:lnTo>
                      <a:pt x="255" y="1"/>
                    </a:lnTo>
                    <a:lnTo>
                      <a:pt x="273" y="2"/>
                    </a:lnTo>
                    <a:lnTo>
                      <a:pt x="285" y="0"/>
                    </a:lnTo>
                    <a:lnTo>
                      <a:pt x="300" y="5"/>
                    </a:lnTo>
                    <a:lnTo>
                      <a:pt x="317" y="15"/>
                    </a:lnTo>
                    <a:lnTo>
                      <a:pt x="329" y="12"/>
                    </a:lnTo>
                    <a:lnTo>
                      <a:pt x="344" y="19"/>
                    </a:lnTo>
                    <a:lnTo>
                      <a:pt x="356" y="29"/>
                    </a:lnTo>
                    <a:lnTo>
                      <a:pt x="365" y="38"/>
                    </a:lnTo>
                    <a:lnTo>
                      <a:pt x="369" y="48"/>
                    </a:lnTo>
                    <a:lnTo>
                      <a:pt x="365" y="55"/>
                    </a:lnTo>
                    <a:lnTo>
                      <a:pt x="357" y="62"/>
                    </a:lnTo>
                    <a:lnTo>
                      <a:pt x="350" y="62"/>
                    </a:lnTo>
                    <a:lnTo>
                      <a:pt x="335" y="69"/>
                    </a:lnTo>
                    <a:lnTo>
                      <a:pt x="326" y="78"/>
                    </a:lnTo>
                    <a:lnTo>
                      <a:pt x="324" y="86"/>
                    </a:lnTo>
                    <a:lnTo>
                      <a:pt x="318" y="97"/>
                    </a:lnTo>
                    <a:lnTo>
                      <a:pt x="316" y="108"/>
                    </a:lnTo>
                    <a:lnTo>
                      <a:pt x="303" y="121"/>
                    </a:lnTo>
                    <a:lnTo>
                      <a:pt x="298" y="135"/>
                    </a:lnTo>
                    <a:lnTo>
                      <a:pt x="291" y="151"/>
                    </a:lnTo>
                    <a:lnTo>
                      <a:pt x="284" y="161"/>
                    </a:lnTo>
                    <a:lnTo>
                      <a:pt x="276" y="178"/>
                    </a:lnTo>
                    <a:lnTo>
                      <a:pt x="260" y="185"/>
                    </a:lnTo>
                    <a:lnTo>
                      <a:pt x="228" y="195"/>
                    </a:lnTo>
                    <a:lnTo>
                      <a:pt x="225" y="195"/>
                    </a:lnTo>
                    <a:lnTo>
                      <a:pt x="221" y="188"/>
                    </a:lnTo>
                    <a:lnTo>
                      <a:pt x="209" y="193"/>
                    </a:lnTo>
                    <a:lnTo>
                      <a:pt x="197" y="193"/>
                    </a:lnTo>
                    <a:lnTo>
                      <a:pt x="181" y="204"/>
                    </a:lnTo>
                    <a:lnTo>
                      <a:pt x="166" y="204"/>
                    </a:lnTo>
                    <a:lnTo>
                      <a:pt x="160" y="209"/>
                    </a:lnTo>
                    <a:lnTo>
                      <a:pt x="145" y="210"/>
                    </a:lnTo>
                    <a:lnTo>
                      <a:pt x="133" y="218"/>
                    </a:lnTo>
                    <a:lnTo>
                      <a:pt x="119" y="222"/>
                    </a:lnTo>
                    <a:lnTo>
                      <a:pt x="102" y="223"/>
                    </a:lnTo>
                    <a:lnTo>
                      <a:pt x="87" y="214"/>
                    </a:lnTo>
                    <a:lnTo>
                      <a:pt x="76" y="210"/>
                    </a:lnTo>
                    <a:lnTo>
                      <a:pt x="65" y="195"/>
                    </a:lnTo>
                    <a:lnTo>
                      <a:pt x="50" y="188"/>
                    </a:lnTo>
                    <a:lnTo>
                      <a:pt x="41" y="172"/>
                    </a:lnTo>
                    <a:lnTo>
                      <a:pt x="28" y="167"/>
                    </a:lnTo>
                    <a:lnTo>
                      <a:pt x="20" y="153"/>
                    </a:lnTo>
                    <a:lnTo>
                      <a:pt x="15" y="140"/>
                    </a:lnTo>
                    <a:lnTo>
                      <a:pt x="7" y="136"/>
                    </a:lnTo>
                    <a:lnTo>
                      <a:pt x="0" y="136"/>
                    </a:lnTo>
                    <a:lnTo>
                      <a:pt x="10" y="125"/>
                    </a:lnTo>
                    <a:lnTo>
                      <a:pt x="21" y="123"/>
                    </a:lnTo>
                    <a:lnTo>
                      <a:pt x="20" y="112"/>
                    </a:lnTo>
                    <a:lnTo>
                      <a:pt x="20" y="102"/>
                    </a:lnTo>
                    <a:lnTo>
                      <a:pt x="28" y="83"/>
                    </a:lnTo>
                    <a:lnTo>
                      <a:pt x="22" y="75"/>
                    </a:lnTo>
                    <a:lnTo>
                      <a:pt x="26" y="67"/>
                    </a:lnTo>
                    <a:lnTo>
                      <a:pt x="53" y="67"/>
                    </a:lnTo>
                    <a:lnTo>
                      <a:pt x="58" y="59"/>
                    </a:lnTo>
                    <a:lnTo>
                      <a:pt x="58" y="3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92" name="Freeform 205"/>
              <p:cNvSpPr>
                <a:spLocks noChangeAspect="1"/>
              </p:cNvSpPr>
              <p:nvPr/>
            </p:nvSpPr>
            <p:spPr bwMode="gray">
              <a:xfrm>
                <a:off x="5004594" y="2549872"/>
                <a:ext cx="173038" cy="163513"/>
              </a:xfrm>
              <a:custGeom>
                <a:avLst/>
                <a:gdLst/>
                <a:ahLst/>
                <a:cxnLst>
                  <a:cxn ang="0">
                    <a:pos x="521" y="323"/>
                  </a:cxn>
                  <a:cxn ang="0">
                    <a:pos x="540" y="357"/>
                  </a:cxn>
                  <a:cxn ang="0">
                    <a:pos x="540" y="397"/>
                  </a:cxn>
                  <a:cxn ang="0">
                    <a:pos x="488" y="444"/>
                  </a:cxn>
                  <a:cxn ang="0">
                    <a:pos x="470" y="509"/>
                  </a:cxn>
                  <a:cxn ang="0">
                    <a:pos x="446" y="506"/>
                  </a:cxn>
                  <a:cxn ang="0">
                    <a:pos x="416" y="483"/>
                  </a:cxn>
                  <a:cxn ang="0">
                    <a:pos x="379" y="488"/>
                  </a:cxn>
                  <a:cxn ang="0">
                    <a:pos x="343" y="487"/>
                  </a:cxn>
                  <a:cxn ang="0">
                    <a:pos x="317" y="498"/>
                  </a:cxn>
                  <a:cxn ang="0">
                    <a:pos x="291" y="473"/>
                  </a:cxn>
                  <a:cxn ang="0">
                    <a:pos x="259" y="475"/>
                  </a:cxn>
                  <a:cxn ang="0">
                    <a:pos x="212" y="433"/>
                  </a:cxn>
                  <a:cxn ang="0">
                    <a:pos x="198" y="412"/>
                  </a:cxn>
                  <a:cxn ang="0">
                    <a:pos x="152" y="407"/>
                  </a:cxn>
                  <a:cxn ang="0">
                    <a:pos x="136" y="418"/>
                  </a:cxn>
                  <a:cxn ang="0">
                    <a:pos x="121" y="386"/>
                  </a:cxn>
                  <a:cxn ang="0">
                    <a:pos x="99" y="370"/>
                  </a:cxn>
                  <a:cxn ang="0">
                    <a:pos x="65" y="357"/>
                  </a:cxn>
                  <a:cxn ang="0">
                    <a:pos x="34" y="363"/>
                  </a:cxn>
                  <a:cxn ang="0">
                    <a:pos x="43" y="316"/>
                  </a:cxn>
                  <a:cxn ang="0">
                    <a:pos x="23" y="269"/>
                  </a:cxn>
                  <a:cxn ang="0">
                    <a:pos x="20" y="233"/>
                  </a:cxn>
                  <a:cxn ang="0">
                    <a:pos x="1" y="190"/>
                  </a:cxn>
                  <a:cxn ang="0">
                    <a:pos x="11" y="158"/>
                  </a:cxn>
                  <a:cxn ang="0">
                    <a:pos x="4" y="111"/>
                  </a:cxn>
                  <a:cxn ang="0">
                    <a:pos x="21" y="105"/>
                  </a:cxn>
                  <a:cxn ang="0">
                    <a:pos x="16" y="86"/>
                  </a:cxn>
                  <a:cxn ang="0">
                    <a:pos x="38" y="74"/>
                  </a:cxn>
                  <a:cxn ang="0">
                    <a:pos x="102" y="53"/>
                  </a:cxn>
                  <a:cxn ang="0">
                    <a:pos x="172" y="9"/>
                  </a:cxn>
                  <a:cxn ang="0">
                    <a:pos x="239" y="3"/>
                  </a:cxn>
                  <a:cxn ang="0">
                    <a:pos x="254" y="21"/>
                  </a:cxn>
                  <a:cxn ang="0">
                    <a:pos x="250" y="50"/>
                  </a:cxn>
                  <a:cxn ang="0">
                    <a:pos x="262" y="45"/>
                  </a:cxn>
                  <a:cxn ang="0">
                    <a:pos x="290" y="42"/>
                  </a:cxn>
                  <a:cxn ang="0">
                    <a:pos x="378" y="52"/>
                  </a:cxn>
                  <a:cxn ang="0">
                    <a:pos x="477" y="42"/>
                  </a:cxn>
                  <a:cxn ang="0">
                    <a:pos x="515" y="74"/>
                  </a:cxn>
                  <a:cxn ang="0">
                    <a:pos x="534" y="163"/>
                  </a:cxn>
                  <a:cxn ang="0">
                    <a:pos x="522" y="212"/>
                  </a:cxn>
                  <a:cxn ang="0">
                    <a:pos x="502" y="245"/>
                  </a:cxn>
                </a:cxnLst>
                <a:rect l="0" t="0" r="r" b="b"/>
                <a:pathLst>
                  <a:path w="545" h="511">
                    <a:moveTo>
                      <a:pt x="513" y="298"/>
                    </a:moveTo>
                    <a:lnTo>
                      <a:pt x="520" y="311"/>
                    </a:lnTo>
                    <a:lnTo>
                      <a:pt x="521" y="323"/>
                    </a:lnTo>
                    <a:lnTo>
                      <a:pt x="528" y="342"/>
                    </a:lnTo>
                    <a:lnTo>
                      <a:pt x="529" y="346"/>
                    </a:lnTo>
                    <a:lnTo>
                      <a:pt x="540" y="357"/>
                    </a:lnTo>
                    <a:lnTo>
                      <a:pt x="539" y="368"/>
                    </a:lnTo>
                    <a:lnTo>
                      <a:pt x="545" y="382"/>
                    </a:lnTo>
                    <a:lnTo>
                      <a:pt x="540" y="397"/>
                    </a:lnTo>
                    <a:lnTo>
                      <a:pt x="522" y="412"/>
                    </a:lnTo>
                    <a:lnTo>
                      <a:pt x="502" y="425"/>
                    </a:lnTo>
                    <a:lnTo>
                      <a:pt x="488" y="444"/>
                    </a:lnTo>
                    <a:lnTo>
                      <a:pt x="470" y="482"/>
                    </a:lnTo>
                    <a:lnTo>
                      <a:pt x="468" y="497"/>
                    </a:lnTo>
                    <a:lnTo>
                      <a:pt x="470" y="509"/>
                    </a:lnTo>
                    <a:lnTo>
                      <a:pt x="461" y="511"/>
                    </a:lnTo>
                    <a:lnTo>
                      <a:pt x="456" y="510"/>
                    </a:lnTo>
                    <a:lnTo>
                      <a:pt x="446" y="506"/>
                    </a:lnTo>
                    <a:lnTo>
                      <a:pt x="435" y="498"/>
                    </a:lnTo>
                    <a:lnTo>
                      <a:pt x="426" y="491"/>
                    </a:lnTo>
                    <a:lnTo>
                      <a:pt x="416" y="483"/>
                    </a:lnTo>
                    <a:lnTo>
                      <a:pt x="403" y="482"/>
                    </a:lnTo>
                    <a:lnTo>
                      <a:pt x="391" y="483"/>
                    </a:lnTo>
                    <a:lnTo>
                      <a:pt x="379" y="488"/>
                    </a:lnTo>
                    <a:lnTo>
                      <a:pt x="372" y="494"/>
                    </a:lnTo>
                    <a:lnTo>
                      <a:pt x="362" y="487"/>
                    </a:lnTo>
                    <a:lnTo>
                      <a:pt x="343" y="487"/>
                    </a:lnTo>
                    <a:lnTo>
                      <a:pt x="334" y="495"/>
                    </a:lnTo>
                    <a:lnTo>
                      <a:pt x="324" y="500"/>
                    </a:lnTo>
                    <a:lnTo>
                      <a:pt x="317" y="498"/>
                    </a:lnTo>
                    <a:lnTo>
                      <a:pt x="309" y="489"/>
                    </a:lnTo>
                    <a:lnTo>
                      <a:pt x="300" y="479"/>
                    </a:lnTo>
                    <a:lnTo>
                      <a:pt x="291" y="473"/>
                    </a:lnTo>
                    <a:lnTo>
                      <a:pt x="281" y="478"/>
                    </a:lnTo>
                    <a:lnTo>
                      <a:pt x="270" y="481"/>
                    </a:lnTo>
                    <a:lnTo>
                      <a:pt x="259" y="475"/>
                    </a:lnTo>
                    <a:lnTo>
                      <a:pt x="241" y="466"/>
                    </a:lnTo>
                    <a:lnTo>
                      <a:pt x="221" y="438"/>
                    </a:lnTo>
                    <a:lnTo>
                      <a:pt x="212" y="433"/>
                    </a:lnTo>
                    <a:lnTo>
                      <a:pt x="207" y="435"/>
                    </a:lnTo>
                    <a:lnTo>
                      <a:pt x="198" y="428"/>
                    </a:lnTo>
                    <a:lnTo>
                      <a:pt x="198" y="412"/>
                    </a:lnTo>
                    <a:lnTo>
                      <a:pt x="178" y="409"/>
                    </a:lnTo>
                    <a:lnTo>
                      <a:pt x="153" y="401"/>
                    </a:lnTo>
                    <a:lnTo>
                      <a:pt x="152" y="407"/>
                    </a:lnTo>
                    <a:lnTo>
                      <a:pt x="155" y="413"/>
                    </a:lnTo>
                    <a:lnTo>
                      <a:pt x="144" y="421"/>
                    </a:lnTo>
                    <a:lnTo>
                      <a:pt x="136" y="418"/>
                    </a:lnTo>
                    <a:lnTo>
                      <a:pt x="117" y="400"/>
                    </a:lnTo>
                    <a:lnTo>
                      <a:pt x="121" y="389"/>
                    </a:lnTo>
                    <a:lnTo>
                      <a:pt x="121" y="386"/>
                    </a:lnTo>
                    <a:lnTo>
                      <a:pt x="120" y="384"/>
                    </a:lnTo>
                    <a:lnTo>
                      <a:pt x="109" y="382"/>
                    </a:lnTo>
                    <a:lnTo>
                      <a:pt x="99" y="370"/>
                    </a:lnTo>
                    <a:lnTo>
                      <a:pt x="79" y="365"/>
                    </a:lnTo>
                    <a:lnTo>
                      <a:pt x="71" y="366"/>
                    </a:lnTo>
                    <a:lnTo>
                      <a:pt x="65" y="357"/>
                    </a:lnTo>
                    <a:lnTo>
                      <a:pt x="55" y="352"/>
                    </a:lnTo>
                    <a:lnTo>
                      <a:pt x="40" y="366"/>
                    </a:lnTo>
                    <a:lnTo>
                      <a:pt x="34" y="363"/>
                    </a:lnTo>
                    <a:lnTo>
                      <a:pt x="38" y="354"/>
                    </a:lnTo>
                    <a:lnTo>
                      <a:pt x="42" y="337"/>
                    </a:lnTo>
                    <a:lnTo>
                      <a:pt x="43" y="316"/>
                    </a:lnTo>
                    <a:lnTo>
                      <a:pt x="42" y="312"/>
                    </a:lnTo>
                    <a:lnTo>
                      <a:pt x="26" y="293"/>
                    </a:lnTo>
                    <a:lnTo>
                      <a:pt x="23" y="269"/>
                    </a:lnTo>
                    <a:lnTo>
                      <a:pt x="23" y="258"/>
                    </a:lnTo>
                    <a:lnTo>
                      <a:pt x="22" y="242"/>
                    </a:lnTo>
                    <a:lnTo>
                      <a:pt x="20" y="233"/>
                    </a:lnTo>
                    <a:lnTo>
                      <a:pt x="17" y="209"/>
                    </a:lnTo>
                    <a:lnTo>
                      <a:pt x="16" y="201"/>
                    </a:lnTo>
                    <a:lnTo>
                      <a:pt x="1" y="190"/>
                    </a:lnTo>
                    <a:lnTo>
                      <a:pt x="0" y="182"/>
                    </a:lnTo>
                    <a:lnTo>
                      <a:pt x="5" y="170"/>
                    </a:lnTo>
                    <a:lnTo>
                      <a:pt x="11" y="158"/>
                    </a:lnTo>
                    <a:lnTo>
                      <a:pt x="12" y="145"/>
                    </a:lnTo>
                    <a:lnTo>
                      <a:pt x="12" y="128"/>
                    </a:lnTo>
                    <a:lnTo>
                      <a:pt x="4" y="111"/>
                    </a:lnTo>
                    <a:lnTo>
                      <a:pt x="1" y="102"/>
                    </a:lnTo>
                    <a:lnTo>
                      <a:pt x="18" y="110"/>
                    </a:lnTo>
                    <a:lnTo>
                      <a:pt x="21" y="105"/>
                    </a:lnTo>
                    <a:lnTo>
                      <a:pt x="21" y="96"/>
                    </a:lnTo>
                    <a:lnTo>
                      <a:pt x="7" y="93"/>
                    </a:lnTo>
                    <a:lnTo>
                      <a:pt x="16" y="86"/>
                    </a:lnTo>
                    <a:lnTo>
                      <a:pt x="26" y="83"/>
                    </a:lnTo>
                    <a:lnTo>
                      <a:pt x="27" y="86"/>
                    </a:lnTo>
                    <a:lnTo>
                      <a:pt x="38" y="74"/>
                    </a:lnTo>
                    <a:lnTo>
                      <a:pt x="51" y="67"/>
                    </a:lnTo>
                    <a:lnTo>
                      <a:pt x="70" y="63"/>
                    </a:lnTo>
                    <a:lnTo>
                      <a:pt x="102" y="53"/>
                    </a:lnTo>
                    <a:lnTo>
                      <a:pt x="134" y="26"/>
                    </a:lnTo>
                    <a:lnTo>
                      <a:pt x="149" y="21"/>
                    </a:lnTo>
                    <a:lnTo>
                      <a:pt x="172" y="9"/>
                    </a:lnTo>
                    <a:lnTo>
                      <a:pt x="215" y="0"/>
                    </a:lnTo>
                    <a:lnTo>
                      <a:pt x="228" y="0"/>
                    </a:lnTo>
                    <a:lnTo>
                      <a:pt x="239" y="3"/>
                    </a:lnTo>
                    <a:lnTo>
                      <a:pt x="248" y="7"/>
                    </a:lnTo>
                    <a:lnTo>
                      <a:pt x="255" y="15"/>
                    </a:lnTo>
                    <a:lnTo>
                      <a:pt x="254" y="21"/>
                    </a:lnTo>
                    <a:lnTo>
                      <a:pt x="236" y="10"/>
                    </a:lnTo>
                    <a:lnTo>
                      <a:pt x="237" y="16"/>
                    </a:lnTo>
                    <a:lnTo>
                      <a:pt x="250" y="50"/>
                    </a:lnTo>
                    <a:lnTo>
                      <a:pt x="257" y="52"/>
                    </a:lnTo>
                    <a:lnTo>
                      <a:pt x="258" y="48"/>
                    </a:lnTo>
                    <a:lnTo>
                      <a:pt x="262" y="45"/>
                    </a:lnTo>
                    <a:lnTo>
                      <a:pt x="266" y="48"/>
                    </a:lnTo>
                    <a:lnTo>
                      <a:pt x="276" y="45"/>
                    </a:lnTo>
                    <a:lnTo>
                      <a:pt x="290" y="42"/>
                    </a:lnTo>
                    <a:lnTo>
                      <a:pt x="300" y="36"/>
                    </a:lnTo>
                    <a:lnTo>
                      <a:pt x="314" y="41"/>
                    </a:lnTo>
                    <a:lnTo>
                      <a:pt x="378" y="52"/>
                    </a:lnTo>
                    <a:lnTo>
                      <a:pt x="426" y="51"/>
                    </a:lnTo>
                    <a:lnTo>
                      <a:pt x="453" y="45"/>
                    </a:lnTo>
                    <a:lnTo>
                      <a:pt x="477" y="42"/>
                    </a:lnTo>
                    <a:lnTo>
                      <a:pt x="491" y="50"/>
                    </a:lnTo>
                    <a:lnTo>
                      <a:pt x="510" y="63"/>
                    </a:lnTo>
                    <a:lnTo>
                      <a:pt x="515" y="74"/>
                    </a:lnTo>
                    <a:lnTo>
                      <a:pt x="515" y="81"/>
                    </a:lnTo>
                    <a:lnTo>
                      <a:pt x="516" y="91"/>
                    </a:lnTo>
                    <a:lnTo>
                      <a:pt x="534" y="163"/>
                    </a:lnTo>
                    <a:lnTo>
                      <a:pt x="534" y="179"/>
                    </a:lnTo>
                    <a:lnTo>
                      <a:pt x="533" y="196"/>
                    </a:lnTo>
                    <a:lnTo>
                      <a:pt x="522" y="212"/>
                    </a:lnTo>
                    <a:lnTo>
                      <a:pt x="507" y="220"/>
                    </a:lnTo>
                    <a:lnTo>
                      <a:pt x="496" y="234"/>
                    </a:lnTo>
                    <a:lnTo>
                      <a:pt x="502" y="245"/>
                    </a:lnTo>
                    <a:lnTo>
                      <a:pt x="517" y="257"/>
                    </a:lnTo>
                    <a:lnTo>
                      <a:pt x="513" y="2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93" name="Freeform 206"/>
              <p:cNvSpPr>
                <a:spLocks noChangeAspect="1"/>
              </p:cNvSpPr>
              <p:nvPr/>
            </p:nvSpPr>
            <p:spPr bwMode="gray">
              <a:xfrm>
                <a:off x="5123656" y="2449860"/>
                <a:ext cx="128588" cy="76200"/>
              </a:xfrm>
              <a:custGeom>
                <a:avLst/>
                <a:gdLst/>
                <a:ahLst/>
                <a:cxnLst>
                  <a:cxn ang="0">
                    <a:pos x="0" y="184"/>
                  </a:cxn>
                  <a:cxn ang="0">
                    <a:pos x="12" y="118"/>
                  </a:cxn>
                  <a:cxn ang="0">
                    <a:pos x="24" y="93"/>
                  </a:cxn>
                  <a:cxn ang="0">
                    <a:pos x="33" y="64"/>
                  </a:cxn>
                  <a:cxn ang="0">
                    <a:pos x="51" y="44"/>
                  </a:cxn>
                  <a:cxn ang="0">
                    <a:pos x="86" y="33"/>
                  </a:cxn>
                  <a:cxn ang="0">
                    <a:pos x="113" y="68"/>
                  </a:cxn>
                  <a:cxn ang="0">
                    <a:pos x="119" y="86"/>
                  </a:cxn>
                  <a:cxn ang="0">
                    <a:pos x="125" y="92"/>
                  </a:cxn>
                  <a:cxn ang="0">
                    <a:pos x="147" y="108"/>
                  </a:cxn>
                  <a:cxn ang="0">
                    <a:pos x="169" y="102"/>
                  </a:cxn>
                  <a:cxn ang="0">
                    <a:pos x="174" y="113"/>
                  </a:cxn>
                  <a:cxn ang="0">
                    <a:pos x="181" y="92"/>
                  </a:cxn>
                  <a:cxn ang="0">
                    <a:pos x="185" y="21"/>
                  </a:cxn>
                  <a:cxn ang="0">
                    <a:pos x="200" y="14"/>
                  </a:cxn>
                  <a:cxn ang="0">
                    <a:pos x="239" y="0"/>
                  </a:cxn>
                  <a:cxn ang="0">
                    <a:pos x="269" y="15"/>
                  </a:cxn>
                  <a:cxn ang="0">
                    <a:pos x="288" y="30"/>
                  </a:cxn>
                  <a:cxn ang="0">
                    <a:pos x="318" y="49"/>
                  </a:cxn>
                  <a:cxn ang="0">
                    <a:pos x="341" y="44"/>
                  </a:cxn>
                  <a:cxn ang="0">
                    <a:pos x="359" y="49"/>
                  </a:cxn>
                  <a:cxn ang="0">
                    <a:pos x="368" y="63"/>
                  </a:cxn>
                  <a:cxn ang="0">
                    <a:pos x="379" y="74"/>
                  </a:cxn>
                  <a:cxn ang="0">
                    <a:pos x="375" y="106"/>
                  </a:cxn>
                  <a:cxn ang="0">
                    <a:pos x="380" y="116"/>
                  </a:cxn>
                  <a:cxn ang="0">
                    <a:pos x="387" y="128"/>
                  </a:cxn>
                  <a:cxn ang="0">
                    <a:pos x="402" y="159"/>
                  </a:cxn>
                  <a:cxn ang="0">
                    <a:pos x="406" y="182"/>
                  </a:cxn>
                  <a:cxn ang="0">
                    <a:pos x="395" y="190"/>
                  </a:cxn>
                  <a:cxn ang="0">
                    <a:pos x="375" y="206"/>
                  </a:cxn>
                  <a:cxn ang="0">
                    <a:pos x="363" y="227"/>
                  </a:cxn>
                  <a:cxn ang="0">
                    <a:pos x="340" y="222"/>
                  </a:cxn>
                  <a:cxn ang="0">
                    <a:pos x="331" y="236"/>
                  </a:cxn>
                  <a:cxn ang="0">
                    <a:pos x="316" y="238"/>
                  </a:cxn>
                  <a:cxn ang="0">
                    <a:pos x="303" y="231"/>
                  </a:cxn>
                  <a:cxn ang="0">
                    <a:pos x="258" y="189"/>
                  </a:cxn>
                  <a:cxn ang="0">
                    <a:pos x="234" y="188"/>
                  </a:cxn>
                  <a:cxn ang="0">
                    <a:pos x="218" y="160"/>
                  </a:cxn>
                  <a:cxn ang="0">
                    <a:pos x="200" y="173"/>
                  </a:cxn>
                  <a:cxn ang="0">
                    <a:pos x="153" y="166"/>
                  </a:cxn>
                  <a:cxn ang="0">
                    <a:pos x="129" y="163"/>
                  </a:cxn>
                  <a:cxn ang="0">
                    <a:pos x="114" y="163"/>
                  </a:cxn>
                  <a:cxn ang="0">
                    <a:pos x="98" y="167"/>
                  </a:cxn>
                  <a:cxn ang="0">
                    <a:pos x="83" y="162"/>
                  </a:cxn>
                  <a:cxn ang="0">
                    <a:pos x="44" y="171"/>
                  </a:cxn>
                  <a:cxn ang="0">
                    <a:pos x="20" y="193"/>
                  </a:cxn>
                  <a:cxn ang="0">
                    <a:pos x="3" y="195"/>
                  </a:cxn>
                </a:cxnLst>
                <a:rect l="0" t="0" r="r" b="b"/>
                <a:pathLst>
                  <a:path w="406" h="240">
                    <a:moveTo>
                      <a:pt x="3" y="195"/>
                    </a:moveTo>
                    <a:lnTo>
                      <a:pt x="0" y="184"/>
                    </a:lnTo>
                    <a:lnTo>
                      <a:pt x="4" y="134"/>
                    </a:lnTo>
                    <a:lnTo>
                      <a:pt x="12" y="118"/>
                    </a:lnTo>
                    <a:lnTo>
                      <a:pt x="20" y="107"/>
                    </a:lnTo>
                    <a:lnTo>
                      <a:pt x="24" y="93"/>
                    </a:lnTo>
                    <a:lnTo>
                      <a:pt x="27" y="77"/>
                    </a:lnTo>
                    <a:lnTo>
                      <a:pt x="33" y="64"/>
                    </a:lnTo>
                    <a:lnTo>
                      <a:pt x="43" y="52"/>
                    </a:lnTo>
                    <a:lnTo>
                      <a:pt x="51" y="44"/>
                    </a:lnTo>
                    <a:lnTo>
                      <a:pt x="63" y="42"/>
                    </a:lnTo>
                    <a:lnTo>
                      <a:pt x="86" y="33"/>
                    </a:lnTo>
                    <a:lnTo>
                      <a:pt x="94" y="47"/>
                    </a:lnTo>
                    <a:lnTo>
                      <a:pt x="113" y="68"/>
                    </a:lnTo>
                    <a:lnTo>
                      <a:pt x="115" y="79"/>
                    </a:lnTo>
                    <a:lnTo>
                      <a:pt x="119" y="86"/>
                    </a:lnTo>
                    <a:lnTo>
                      <a:pt x="120" y="75"/>
                    </a:lnTo>
                    <a:lnTo>
                      <a:pt x="125" y="92"/>
                    </a:lnTo>
                    <a:lnTo>
                      <a:pt x="131" y="100"/>
                    </a:lnTo>
                    <a:lnTo>
                      <a:pt x="147" y="108"/>
                    </a:lnTo>
                    <a:lnTo>
                      <a:pt x="153" y="108"/>
                    </a:lnTo>
                    <a:lnTo>
                      <a:pt x="169" y="102"/>
                    </a:lnTo>
                    <a:lnTo>
                      <a:pt x="169" y="107"/>
                    </a:lnTo>
                    <a:lnTo>
                      <a:pt x="174" y="113"/>
                    </a:lnTo>
                    <a:lnTo>
                      <a:pt x="175" y="98"/>
                    </a:lnTo>
                    <a:lnTo>
                      <a:pt x="181" y="92"/>
                    </a:lnTo>
                    <a:lnTo>
                      <a:pt x="185" y="85"/>
                    </a:lnTo>
                    <a:lnTo>
                      <a:pt x="185" y="21"/>
                    </a:lnTo>
                    <a:lnTo>
                      <a:pt x="191" y="15"/>
                    </a:lnTo>
                    <a:lnTo>
                      <a:pt x="200" y="14"/>
                    </a:lnTo>
                    <a:lnTo>
                      <a:pt x="213" y="4"/>
                    </a:lnTo>
                    <a:lnTo>
                      <a:pt x="239" y="0"/>
                    </a:lnTo>
                    <a:lnTo>
                      <a:pt x="255" y="4"/>
                    </a:lnTo>
                    <a:lnTo>
                      <a:pt x="269" y="15"/>
                    </a:lnTo>
                    <a:lnTo>
                      <a:pt x="283" y="20"/>
                    </a:lnTo>
                    <a:lnTo>
                      <a:pt x="288" y="30"/>
                    </a:lnTo>
                    <a:lnTo>
                      <a:pt x="310" y="49"/>
                    </a:lnTo>
                    <a:lnTo>
                      <a:pt x="318" y="49"/>
                    </a:lnTo>
                    <a:lnTo>
                      <a:pt x="326" y="46"/>
                    </a:lnTo>
                    <a:lnTo>
                      <a:pt x="341" y="44"/>
                    </a:lnTo>
                    <a:lnTo>
                      <a:pt x="358" y="48"/>
                    </a:lnTo>
                    <a:lnTo>
                      <a:pt x="359" y="49"/>
                    </a:lnTo>
                    <a:lnTo>
                      <a:pt x="364" y="55"/>
                    </a:lnTo>
                    <a:lnTo>
                      <a:pt x="368" y="63"/>
                    </a:lnTo>
                    <a:lnTo>
                      <a:pt x="375" y="66"/>
                    </a:lnTo>
                    <a:lnTo>
                      <a:pt x="379" y="74"/>
                    </a:lnTo>
                    <a:lnTo>
                      <a:pt x="380" y="82"/>
                    </a:lnTo>
                    <a:lnTo>
                      <a:pt x="375" y="106"/>
                    </a:lnTo>
                    <a:lnTo>
                      <a:pt x="372" y="113"/>
                    </a:lnTo>
                    <a:lnTo>
                      <a:pt x="380" y="116"/>
                    </a:lnTo>
                    <a:lnTo>
                      <a:pt x="387" y="120"/>
                    </a:lnTo>
                    <a:lnTo>
                      <a:pt x="387" y="128"/>
                    </a:lnTo>
                    <a:lnTo>
                      <a:pt x="400" y="150"/>
                    </a:lnTo>
                    <a:lnTo>
                      <a:pt x="402" y="159"/>
                    </a:lnTo>
                    <a:lnTo>
                      <a:pt x="406" y="166"/>
                    </a:lnTo>
                    <a:lnTo>
                      <a:pt x="406" y="182"/>
                    </a:lnTo>
                    <a:lnTo>
                      <a:pt x="405" y="189"/>
                    </a:lnTo>
                    <a:lnTo>
                      <a:pt x="395" y="190"/>
                    </a:lnTo>
                    <a:lnTo>
                      <a:pt x="388" y="194"/>
                    </a:lnTo>
                    <a:lnTo>
                      <a:pt x="375" y="206"/>
                    </a:lnTo>
                    <a:lnTo>
                      <a:pt x="374" y="214"/>
                    </a:lnTo>
                    <a:lnTo>
                      <a:pt x="363" y="227"/>
                    </a:lnTo>
                    <a:lnTo>
                      <a:pt x="356" y="229"/>
                    </a:lnTo>
                    <a:lnTo>
                      <a:pt x="340" y="222"/>
                    </a:lnTo>
                    <a:lnTo>
                      <a:pt x="334" y="227"/>
                    </a:lnTo>
                    <a:lnTo>
                      <a:pt x="331" y="236"/>
                    </a:lnTo>
                    <a:lnTo>
                      <a:pt x="325" y="240"/>
                    </a:lnTo>
                    <a:lnTo>
                      <a:pt x="316" y="238"/>
                    </a:lnTo>
                    <a:lnTo>
                      <a:pt x="310" y="233"/>
                    </a:lnTo>
                    <a:lnTo>
                      <a:pt x="303" y="231"/>
                    </a:lnTo>
                    <a:lnTo>
                      <a:pt x="285" y="208"/>
                    </a:lnTo>
                    <a:lnTo>
                      <a:pt x="258" y="189"/>
                    </a:lnTo>
                    <a:lnTo>
                      <a:pt x="242" y="190"/>
                    </a:lnTo>
                    <a:lnTo>
                      <a:pt x="234" y="188"/>
                    </a:lnTo>
                    <a:lnTo>
                      <a:pt x="224" y="165"/>
                    </a:lnTo>
                    <a:lnTo>
                      <a:pt x="218" y="160"/>
                    </a:lnTo>
                    <a:lnTo>
                      <a:pt x="211" y="162"/>
                    </a:lnTo>
                    <a:lnTo>
                      <a:pt x="200" y="173"/>
                    </a:lnTo>
                    <a:lnTo>
                      <a:pt x="184" y="177"/>
                    </a:lnTo>
                    <a:lnTo>
                      <a:pt x="153" y="166"/>
                    </a:lnTo>
                    <a:lnTo>
                      <a:pt x="146" y="166"/>
                    </a:lnTo>
                    <a:lnTo>
                      <a:pt x="129" y="163"/>
                    </a:lnTo>
                    <a:lnTo>
                      <a:pt x="121" y="166"/>
                    </a:lnTo>
                    <a:lnTo>
                      <a:pt x="114" y="163"/>
                    </a:lnTo>
                    <a:lnTo>
                      <a:pt x="106" y="167"/>
                    </a:lnTo>
                    <a:lnTo>
                      <a:pt x="98" y="167"/>
                    </a:lnTo>
                    <a:lnTo>
                      <a:pt x="92" y="163"/>
                    </a:lnTo>
                    <a:lnTo>
                      <a:pt x="83" y="162"/>
                    </a:lnTo>
                    <a:lnTo>
                      <a:pt x="67" y="163"/>
                    </a:lnTo>
                    <a:lnTo>
                      <a:pt x="44" y="171"/>
                    </a:lnTo>
                    <a:lnTo>
                      <a:pt x="29" y="179"/>
                    </a:lnTo>
                    <a:lnTo>
                      <a:pt x="20" y="193"/>
                    </a:lnTo>
                    <a:lnTo>
                      <a:pt x="13" y="198"/>
                    </a:lnTo>
                    <a:lnTo>
                      <a:pt x="3" y="19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94" name="Freeform 207"/>
              <p:cNvSpPr>
                <a:spLocks noChangeAspect="1"/>
              </p:cNvSpPr>
              <p:nvPr/>
            </p:nvSpPr>
            <p:spPr bwMode="gray">
              <a:xfrm>
                <a:off x="4966494" y="2657822"/>
                <a:ext cx="120650" cy="71438"/>
              </a:xfrm>
              <a:custGeom>
                <a:avLst/>
                <a:gdLst/>
                <a:ahLst/>
                <a:cxnLst>
                  <a:cxn ang="0">
                    <a:pos x="371" y="143"/>
                  </a:cxn>
                  <a:cxn ang="0">
                    <a:pos x="355" y="149"/>
                  </a:cxn>
                  <a:cxn ang="0">
                    <a:pos x="341" y="159"/>
                  </a:cxn>
                  <a:cxn ang="0">
                    <a:pos x="338" y="176"/>
                  </a:cxn>
                  <a:cxn ang="0">
                    <a:pos x="324" y="187"/>
                  </a:cxn>
                  <a:cxn ang="0">
                    <a:pos x="311" y="203"/>
                  </a:cxn>
                  <a:cxn ang="0">
                    <a:pos x="291" y="201"/>
                  </a:cxn>
                  <a:cxn ang="0">
                    <a:pos x="276" y="210"/>
                  </a:cxn>
                  <a:cxn ang="0">
                    <a:pos x="271" y="208"/>
                  </a:cxn>
                  <a:cxn ang="0">
                    <a:pos x="227" y="201"/>
                  </a:cxn>
                  <a:cxn ang="0">
                    <a:pos x="205" y="183"/>
                  </a:cxn>
                  <a:cxn ang="0">
                    <a:pos x="166" y="192"/>
                  </a:cxn>
                  <a:cxn ang="0">
                    <a:pos x="152" y="209"/>
                  </a:cxn>
                  <a:cxn ang="0">
                    <a:pos x="132" y="214"/>
                  </a:cxn>
                  <a:cxn ang="0">
                    <a:pos x="114" y="207"/>
                  </a:cxn>
                  <a:cxn ang="0">
                    <a:pos x="97" y="196"/>
                  </a:cxn>
                  <a:cxn ang="0">
                    <a:pos x="61" y="164"/>
                  </a:cxn>
                  <a:cxn ang="0">
                    <a:pos x="23" y="127"/>
                  </a:cxn>
                  <a:cxn ang="0">
                    <a:pos x="21" y="97"/>
                  </a:cxn>
                  <a:cxn ang="0">
                    <a:pos x="0" y="82"/>
                  </a:cxn>
                  <a:cxn ang="0">
                    <a:pos x="1" y="68"/>
                  </a:cxn>
                  <a:cxn ang="0">
                    <a:pos x="19" y="83"/>
                  </a:cxn>
                  <a:cxn ang="0">
                    <a:pos x="40" y="62"/>
                  </a:cxn>
                  <a:cxn ang="0">
                    <a:pos x="75" y="48"/>
                  </a:cxn>
                  <a:cxn ang="0">
                    <a:pos x="119" y="23"/>
                  </a:cxn>
                  <a:cxn ang="0">
                    <a:pos x="132" y="3"/>
                  </a:cxn>
                  <a:cxn ang="0">
                    <a:pos x="146" y="24"/>
                  </a:cxn>
                  <a:cxn ang="0">
                    <a:pos x="159" y="27"/>
                  </a:cxn>
                  <a:cxn ang="0">
                    <a:pos x="184" y="18"/>
                  </a:cxn>
                  <a:cxn ang="0">
                    <a:pos x="198" y="27"/>
                  </a:cxn>
                  <a:cxn ang="0">
                    <a:pos x="228" y="43"/>
                  </a:cxn>
                  <a:cxn ang="0">
                    <a:pos x="240" y="47"/>
                  </a:cxn>
                  <a:cxn ang="0">
                    <a:pos x="236" y="61"/>
                  </a:cxn>
                  <a:cxn ang="0">
                    <a:pos x="263" y="82"/>
                  </a:cxn>
                  <a:cxn ang="0">
                    <a:pos x="271" y="68"/>
                  </a:cxn>
                  <a:cxn ang="0">
                    <a:pos x="297" y="70"/>
                  </a:cxn>
                  <a:cxn ang="0">
                    <a:pos x="317" y="89"/>
                  </a:cxn>
                  <a:cxn ang="0">
                    <a:pos x="331" y="94"/>
                  </a:cxn>
                  <a:cxn ang="0">
                    <a:pos x="360" y="127"/>
                  </a:cxn>
                </a:cxnLst>
                <a:rect l="0" t="0" r="r" b="b"/>
                <a:pathLst>
                  <a:path w="378" h="222">
                    <a:moveTo>
                      <a:pt x="378" y="136"/>
                    </a:moveTo>
                    <a:lnTo>
                      <a:pt x="371" y="143"/>
                    </a:lnTo>
                    <a:lnTo>
                      <a:pt x="360" y="142"/>
                    </a:lnTo>
                    <a:lnTo>
                      <a:pt x="355" y="149"/>
                    </a:lnTo>
                    <a:lnTo>
                      <a:pt x="350" y="156"/>
                    </a:lnTo>
                    <a:lnTo>
                      <a:pt x="341" y="159"/>
                    </a:lnTo>
                    <a:lnTo>
                      <a:pt x="339" y="164"/>
                    </a:lnTo>
                    <a:lnTo>
                      <a:pt x="338" y="176"/>
                    </a:lnTo>
                    <a:lnTo>
                      <a:pt x="333" y="185"/>
                    </a:lnTo>
                    <a:lnTo>
                      <a:pt x="324" y="187"/>
                    </a:lnTo>
                    <a:lnTo>
                      <a:pt x="324" y="193"/>
                    </a:lnTo>
                    <a:lnTo>
                      <a:pt x="311" y="203"/>
                    </a:lnTo>
                    <a:lnTo>
                      <a:pt x="296" y="206"/>
                    </a:lnTo>
                    <a:lnTo>
                      <a:pt x="291" y="201"/>
                    </a:lnTo>
                    <a:lnTo>
                      <a:pt x="283" y="201"/>
                    </a:lnTo>
                    <a:lnTo>
                      <a:pt x="276" y="210"/>
                    </a:lnTo>
                    <a:lnTo>
                      <a:pt x="271" y="222"/>
                    </a:lnTo>
                    <a:lnTo>
                      <a:pt x="271" y="208"/>
                    </a:lnTo>
                    <a:lnTo>
                      <a:pt x="263" y="197"/>
                    </a:lnTo>
                    <a:lnTo>
                      <a:pt x="227" y="201"/>
                    </a:lnTo>
                    <a:lnTo>
                      <a:pt x="213" y="188"/>
                    </a:lnTo>
                    <a:lnTo>
                      <a:pt x="205" y="183"/>
                    </a:lnTo>
                    <a:lnTo>
                      <a:pt x="172" y="182"/>
                    </a:lnTo>
                    <a:lnTo>
                      <a:pt x="166" y="192"/>
                    </a:lnTo>
                    <a:lnTo>
                      <a:pt x="162" y="201"/>
                    </a:lnTo>
                    <a:lnTo>
                      <a:pt x="152" y="209"/>
                    </a:lnTo>
                    <a:lnTo>
                      <a:pt x="143" y="213"/>
                    </a:lnTo>
                    <a:lnTo>
                      <a:pt x="132" y="214"/>
                    </a:lnTo>
                    <a:lnTo>
                      <a:pt x="121" y="213"/>
                    </a:lnTo>
                    <a:lnTo>
                      <a:pt x="114" y="207"/>
                    </a:lnTo>
                    <a:lnTo>
                      <a:pt x="100" y="202"/>
                    </a:lnTo>
                    <a:lnTo>
                      <a:pt x="97" y="196"/>
                    </a:lnTo>
                    <a:lnTo>
                      <a:pt x="71" y="176"/>
                    </a:lnTo>
                    <a:lnTo>
                      <a:pt x="61" y="164"/>
                    </a:lnTo>
                    <a:lnTo>
                      <a:pt x="33" y="140"/>
                    </a:lnTo>
                    <a:lnTo>
                      <a:pt x="23" y="127"/>
                    </a:lnTo>
                    <a:lnTo>
                      <a:pt x="23" y="110"/>
                    </a:lnTo>
                    <a:lnTo>
                      <a:pt x="21" y="97"/>
                    </a:lnTo>
                    <a:lnTo>
                      <a:pt x="8" y="91"/>
                    </a:lnTo>
                    <a:lnTo>
                      <a:pt x="0" y="82"/>
                    </a:lnTo>
                    <a:lnTo>
                      <a:pt x="0" y="73"/>
                    </a:lnTo>
                    <a:lnTo>
                      <a:pt x="1" y="68"/>
                    </a:lnTo>
                    <a:lnTo>
                      <a:pt x="17" y="83"/>
                    </a:lnTo>
                    <a:lnTo>
                      <a:pt x="19" y="83"/>
                    </a:lnTo>
                    <a:lnTo>
                      <a:pt x="24" y="69"/>
                    </a:lnTo>
                    <a:lnTo>
                      <a:pt x="40" y="62"/>
                    </a:lnTo>
                    <a:lnTo>
                      <a:pt x="57" y="57"/>
                    </a:lnTo>
                    <a:lnTo>
                      <a:pt x="75" y="48"/>
                    </a:lnTo>
                    <a:lnTo>
                      <a:pt x="81" y="36"/>
                    </a:lnTo>
                    <a:lnTo>
                      <a:pt x="119" y="23"/>
                    </a:lnTo>
                    <a:lnTo>
                      <a:pt x="123" y="0"/>
                    </a:lnTo>
                    <a:lnTo>
                      <a:pt x="132" y="3"/>
                    </a:lnTo>
                    <a:lnTo>
                      <a:pt x="140" y="15"/>
                    </a:lnTo>
                    <a:lnTo>
                      <a:pt x="146" y="24"/>
                    </a:lnTo>
                    <a:lnTo>
                      <a:pt x="153" y="24"/>
                    </a:lnTo>
                    <a:lnTo>
                      <a:pt x="159" y="27"/>
                    </a:lnTo>
                    <a:lnTo>
                      <a:pt x="174" y="13"/>
                    </a:lnTo>
                    <a:lnTo>
                      <a:pt x="184" y="18"/>
                    </a:lnTo>
                    <a:lnTo>
                      <a:pt x="190" y="27"/>
                    </a:lnTo>
                    <a:lnTo>
                      <a:pt x="198" y="27"/>
                    </a:lnTo>
                    <a:lnTo>
                      <a:pt x="218" y="31"/>
                    </a:lnTo>
                    <a:lnTo>
                      <a:pt x="228" y="43"/>
                    </a:lnTo>
                    <a:lnTo>
                      <a:pt x="239" y="45"/>
                    </a:lnTo>
                    <a:lnTo>
                      <a:pt x="240" y="47"/>
                    </a:lnTo>
                    <a:lnTo>
                      <a:pt x="240" y="50"/>
                    </a:lnTo>
                    <a:lnTo>
                      <a:pt x="236" y="61"/>
                    </a:lnTo>
                    <a:lnTo>
                      <a:pt x="255" y="79"/>
                    </a:lnTo>
                    <a:lnTo>
                      <a:pt x="263" y="82"/>
                    </a:lnTo>
                    <a:lnTo>
                      <a:pt x="274" y="74"/>
                    </a:lnTo>
                    <a:lnTo>
                      <a:pt x="271" y="68"/>
                    </a:lnTo>
                    <a:lnTo>
                      <a:pt x="272" y="62"/>
                    </a:lnTo>
                    <a:lnTo>
                      <a:pt x="297" y="70"/>
                    </a:lnTo>
                    <a:lnTo>
                      <a:pt x="317" y="73"/>
                    </a:lnTo>
                    <a:lnTo>
                      <a:pt x="317" y="89"/>
                    </a:lnTo>
                    <a:lnTo>
                      <a:pt x="326" y="96"/>
                    </a:lnTo>
                    <a:lnTo>
                      <a:pt x="331" y="94"/>
                    </a:lnTo>
                    <a:lnTo>
                      <a:pt x="340" y="99"/>
                    </a:lnTo>
                    <a:lnTo>
                      <a:pt x="360" y="127"/>
                    </a:lnTo>
                    <a:lnTo>
                      <a:pt x="378" y="13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95" name="Freeform 208"/>
              <p:cNvSpPr>
                <a:spLocks noChangeAspect="1"/>
              </p:cNvSpPr>
              <p:nvPr/>
            </p:nvSpPr>
            <p:spPr bwMode="gray">
              <a:xfrm>
                <a:off x="5149056" y="2837210"/>
                <a:ext cx="109538" cy="68263"/>
              </a:xfrm>
              <a:custGeom>
                <a:avLst/>
                <a:gdLst/>
                <a:ahLst/>
                <a:cxnLst>
                  <a:cxn ang="0">
                    <a:pos x="32" y="208"/>
                  </a:cxn>
                  <a:cxn ang="0">
                    <a:pos x="31" y="192"/>
                  </a:cxn>
                  <a:cxn ang="0">
                    <a:pos x="26" y="163"/>
                  </a:cxn>
                  <a:cxn ang="0">
                    <a:pos x="3" y="143"/>
                  </a:cxn>
                  <a:cxn ang="0">
                    <a:pos x="3" y="118"/>
                  </a:cxn>
                  <a:cxn ang="0">
                    <a:pos x="15" y="94"/>
                  </a:cxn>
                  <a:cxn ang="0">
                    <a:pos x="26" y="82"/>
                  </a:cxn>
                  <a:cxn ang="0">
                    <a:pos x="11" y="66"/>
                  </a:cxn>
                  <a:cxn ang="0">
                    <a:pos x="3" y="51"/>
                  </a:cxn>
                  <a:cxn ang="0">
                    <a:pos x="0" y="29"/>
                  </a:cxn>
                  <a:cxn ang="0">
                    <a:pos x="3" y="8"/>
                  </a:cxn>
                  <a:cxn ang="0">
                    <a:pos x="20" y="0"/>
                  </a:cxn>
                  <a:cxn ang="0">
                    <a:pos x="32" y="4"/>
                  </a:cxn>
                  <a:cxn ang="0">
                    <a:pos x="26" y="19"/>
                  </a:cxn>
                  <a:cxn ang="0">
                    <a:pos x="37" y="27"/>
                  </a:cxn>
                  <a:cxn ang="0">
                    <a:pos x="51" y="27"/>
                  </a:cxn>
                  <a:cxn ang="0">
                    <a:pos x="85" y="31"/>
                  </a:cxn>
                  <a:cxn ang="0">
                    <a:pos x="126" y="32"/>
                  </a:cxn>
                  <a:cxn ang="0">
                    <a:pos x="170" y="40"/>
                  </a:cxn>
                  <a:cxn ang="0">
                    <a:pos x="187" y="35"/>
                  </a:cxn>
                  <a:cxn ang="0">
                    <a:pos x="206" y="23"/>
                  </a:cxn>
                  <a:cxn ang="0">
                    <a:pos x="226" y="13"/>
                  </a:cxn>
                  <a:cxn ang="0">
                    <a:pos x="252" y="4"/>
                  </a:cxn>
                  <a:cxn ang="0">
                    <a:pos x="272" y="5"/>
                  </a:cxn>
                  <a:cxn ang="0">
                    <a:pos x="278" y="10"/>
                  </a:cxn>
                  <a:cxn ang="0">
                    <a:pos x="308" y="19"/>
                  </a:cxn>
                  <a:cxn ang="0">
                    <a:pos x="328" y="32"/>
                  </a:cxn>
                  <a:cxn ang="0">
                    <a:pos x="346" y="31"/>
                  </a:cxn>
                  <a:cxn ang="0">
                    <a:pos x="343" y="47"/>
                  </a:cxn>
                  <a:cxn ang="0">
                    <a:pos x="338" y="58"/>
                  </a:cxn>
                  <a:cxn ang="0">
                    <a:pos x="319" y="63"/>
                  </a:cxn>
                  <a:cxn ang="0">
                    <a:pos x="306" y="78"/>
                  </a:cxn>
                  <a:cxn ang="0">
                    <a:pos x="306" y="107"/>
                  </a:cxn>
                  <a:cxn ang="0">
                    <a:pos x="298" y="110"/>
                  </a:cxn>
                  <a:cxn ang="0">
                    <a:pos x="295" y="116"/>
                  </a:cxn>
                  <a:cxn ang="0">
                    <a:pos x="284" y="126"/>
                  </a:cxn>
                  <a:cxn ang="0">
                    <a:pos x="287" y="129"/>
                  </a:cxn>
                  <a:cxn ang="0">
                    <a:pos x="292" y="131"/>
                  </a:cxn>
                  <a:cxn ang="0">
                    <a:pos x="296" y="138"/>
                  </a:cxn>
                  <a:cxn ang="0">
                    <a:pos x="299" y="148"/>
                  </a:cxn>
                  <a:cxn ang="0">
                    <a:pos x="310" y="163"/>
                  </a:cxn>
                  <a:cxn ang="0">
                    <a:pos x="311" y="169"/>
                  </a:cxn>
                  <a:cxn ang="0">
                    <a:pos x="303" y="167"/>
                  </a:cxn>
                  <a:cxn ang="0">
                    <a:pos x="280" y="171"/>
                  </a:cxn>
                  <a:cxn ang="0">
                    <a:pos x="262" y="161"/>
                  </a:cxn>
                  <a:cxn ang="0">
                    <a:pos x="242" y="169"/>
                  </a:cxn>
                  <a:cxn ang="0">
                    <a:pos x="228" y="171"/>
                  </a:cxn>
                  <a:cxn ang="0">
                    <a:pos x="219" y="179"/>
                  </a:cxn>
                  <a:cxn ang="0">
                    <a:pos x="208" y="180"/>
                  </a:cxn>
                  <a:cxn ang="0">
                    <a:pos x="206" y="199"/>
                  </a:cxn>
                  <a:cxn ang="0">
                    <a:pos x="192" y="212"/>
                  </a:cxn>
                  <a:cxn ang="0">
                    <a:pos x="172" y="215"/>
                  </a:cxn>
                  <a:cxn ang="0">
                    <a:pos x="137" y="203"/>
                  </a:cxn>
                  <a:cxn ang="0">
                    <a:pos x="127" y="195"/>
                  </a:cxn>
                  <a:cxn ang="0">
                    <a:pos x="115" y="195"/>
                  </a:cxn>
                  <a:cxn ang="0">
                    <a:pos x="84" y="204"/>
                  </a:cxn>
                  <a:cxn ang="0">
                    <a:pos x="62" y="204"/>
                  </a:cxn>
                  <a:cxn ang="0">
                    <a:pos x="45" y="208"/>
                  </a:cxn>
                  <a:cxn ang="0">
                    <a:pos x="32" y="208"/>
                  </a:cxn>
                </a:cxnLst>
                <a:rect l="0" t="0" r="r" b="b"/>
                <a:pathLst>
                  <a:path w="346" h="215">
                    <a:moveTo>
                      <a:pt x="32" y="208"/>
                    </a:moveTo>
                    <a:lnTo>
                      <a:pt x="31" y="192"/>
                    </a:lnTo>
                    <a:lnTo>
                      <a:pt x="26" y="163"/>
                    </a:lnTo>
                    <a:lnTo>
                      <a:pt x="3" y="143"/>
                    </a:lnTo>
                    <a:lnTo>
                      <a:pt x="3" y="118"/>
                    </a:lnTo>
                    <a:lnTo>
                      <a:pt x="15" y="94"/>
                    </a:lnTo>
                    <a:lnTo>
                      <a:pt x="26" y="82"/>
                    </a:lnTo>
                    <a:lnTo>
                      <a:pt x="11" y="66"/>
                    </a:lnTo>
                    <a:lnTo>
                      <a:pt x="3" y="51"/>
                    </a:lnTo>
                    <a:lnTo>
                      <a:pt x="0" y="29"/>
                    </a:lnTo>
                    <a:lnTo>
                      <a:pt x="3" y="8"/>
                    </a:lnTo>
                    <a:lnTo>
                      <a:pt x="20" y="0"/>
                    </a:lnTo>
                    <a:lnTo>
                      <a:pt x="32" y="4"/>
                    </a:lnTo>
                    <a:lnTo>
                      <a:pt x="26" y="19"/>
                    </a:lnTo>
                    <a:lnTo>
                      <a:pt x="37" y="27"/>
                    </a:lnTo>
                    <a:lnTo>
                      <a:pt x="51" y="27"/>
                    </a:lnTo>
                    <a:lnTo>
                      <a:pt x="85" y="31"/>
                    </a:lnTo>
                    <a:lnTo>
                      <a:pt x="126" y="32"/>
                    </a:lnTo>
                    <a:lnTo>
                      <a:pt x="170" y="40"/>
                    </a:lnTo>
                    <a:lnTo>
                      <a:pt x="187" y="35"/>
                    </a:lnTo>
                    <a:lnTo>
                      <a:pt x="206" y="23"/>
                    </a:lnTo>
                    <a:lnTo>
                      <a:pt x="226" y="13"/>
                    </a:lnTo>
                    <a:lnTo>
                      <a:pt x="252" y="4"/>
                    </a:lnTo>
                    <a:lnTo>
                      <a:pt x="272" y="5"/>
                    </a:lnTo>
                    <a:lnTo>
                      <a:pt x="278" y="10"/>
                    </a:lnTo>
                    <a:lnTo>
                      <a:pt x="308" y="19"/>
                    </a:lnTo>
                    <a:lnTo>
                      <a:pt x="328" y="32"/>
                    </a:lnTo>
                    <a:lnTo>
                      <a:pt x="346" y="31"/>
                    </a:lnTo>
                    <a:lnTo>
                      <a:pt x="343" y="47"/>
                    </a:lnTo>
                    <a:lnTo>
                      <a:pt x="338" y="58"/>
                    </a:lnTo>
                    <a:lnTo>
                      <a:pt x="319" y="63"/>
                    </a:lnTo>
                    <a:lnTo>
                      <a:pt x="306" y="78"/>
                    </a:lnTo>
                    <a:lnTo>
                      <a:pt x="306" y="107"/>
                    </a:lnTo>
                    <a:lnTo>
                      <a:pt x="298" y="110"/>
                    </a:lnTo>
                    <a:lnTo>
                      <a:pt x="295" y="116"/>
                    </a:lnTo>
                    <a:lnTo>
                      <a:pt x="284" y="126"/>
                    </a:lnTo>
                    <a:lnTo>
                      <a:pt x="287" y="129"/>
                    </a:lnTo>
                    <a:lnTo>
                      <a:pt x="292" y="131"/>
                    </a:lnTo>
                    <a:lnTo>
                      <a:pt x="296" y="138"/>
                    </a:lnTo>
                    <a:lnTo>
                      <a:pt x="299" y="148"/>
                    </a:lnTo>
                    <a:lnTo>
                      <a:pt x="310" y="163"/>
                    </a:lnTo>
                    <a:lnTo>
                      <a:pt x="311" y="169"/>
                    </a:lnTo>
                    <a:lnTo>
                      <a:pt x="303" y="167"/>
                    </a:lnTo>
                    <a:lnTo>
                      <a:pt x="280" y="171"/>
                    </a:lnTo>
                    <a:lnTo>
                      <a:pt x="262" y="161"/>
                    </a:lnTo>
                    <a:lnTo>
                      <a:pt x="242" y="169"/>
                    </a:lnTo>
                    <a:lnTo>
                      <a:pt x="228" y="171"/>
                    </a:lnTo>
                    <a:lnTo>
                      <a:pt x="219" y="179"/>
                    </a:lnTo>
                    <a:lnTo>
                      <a:pt x="208" y="180"/>
                    </a:lnTo>
                    <a:lnTo>
                      <a:pt x="206" y="199"/>
                    </a:lnTo>
                    <a:lnTo>
                      <a:pt x="192" y="212"/>
                    </a:lnTo>
                    <a:lnTo>
                      <a:pt x="172" y="215"/>
                    </a:lnTo>
                    <a:lnTo>
                      <a:pt x="137" y="203"/>
                    </a:lnTo>
                    <a:lnTo>
                      <a:pt x="127" y="195"/>
                    </a:lnTo>
                    <a:lnTo>
                      <a:pt x="115" y="195"/>
                    </a:lnTo>
                    <a:lnTo>
                      <a:pt x="84" y="204"/>
                    </a:lnTo>
                    <a:lnTo>
                      <a:pt x="62" y="204"/>
                    </a:lnTo>
                    <a:lnTo>
                      <a:pt x="45" y="208"/>
                    </a:lnTo>
                    <a:lnTo>
                      <a:pt x="32" y="20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96" name="Freeform 209"/>
              <p:cNvSpPr>
                <a:spLocks noChangeAspect="1"/>
              </p:cNvSpPr>
              <p:nvPr/>
            </p:nvSpPr>
            <p:spPr bwMode="gray">
              <a:xfrm>
                <a:off x="4995069" y="2778472"/>
                <a:ext cx="101600" cy="87313"/>
              </a:xfrm>
              <a:custGeom>
                <a:avLst/>
                <a:gdLst/>
                <a:ahLst/>
                <a:cxnLst>
                  <a:cxn ang="0">
                    <a:pos x="258" y="62"/>
                  </a:cxn>
                  <a:cxn ang="0">
                    <a:pos x="215" y="50"/>
                  </a:cxn>
                  <a:cxn ang="0">
                    <a:pos x="180" y="12"/>
                  </a:cxn>
                  <a:cxn ang="0">
                    <a:pos x="164" y="7"/>
                  </a:cxn>
                  <a:cxn ang="0">
                    <a:pos x="148" y="3"/>
                  </a:cxn>
                  <a:cxn ang="0">
                    <a:pos x="149" y="15"/>
                  </a:cxn>
                  <a:cxn ang="0">
                    <a:pos x="138" y="19"/>
                  </a:cxn>
                  <a:cxn ang="0">
                    <a:pos x="111" y="34"/>
                  </a:cxn>
                  <a:cxn ang="0">
                    <a:pos x="118" y="56"/>
                  </a:cxn>
                  <a:cxn ang="0">
                    <a:pos x="94" y="73"/>
                  </a:cxn>
                  <a:cxn ang="0">
                    <a:pos x="95" y="95"/>
                  </a:cxn>
                  <a:cxn ang="0">
                    <a:pos x="81" y="93"/>
                  </a:cxn>
                  <a:cxn ang="0">
                    <a:pos x="73" y="90"/>
                  </a:cxn>
                  <a:cxn ang="0">
                    <a:pos x="57" y="76"/>
                  </a:cxn>
                  <a:cxn ang="0">
                    <a:pos x="30" y="92"/>
                  </a:cxn>
                  <a:cxn ang="0">
                    <a:pos x="8" y="93"/>
                  </a:cxn>
                  <a:cxn ang="0">
                    <a:pos x="16" y="135"/>
                  </a:cxn>
                  <a:cxn ang="0">
                    <a:pos x="38" y="116"/>
                  </a:cxn>
                  <a:cxn ang="0">
                    <a:pos x="65" y="113"/>
                  </a:cxn>
                  <a:cxn ang="0">
                    <a:pos x="75" y="128"/>
                  </a:cxn>
                  <a:cxn ang="0">
                    <a:pos x="103" y="175"/>
                  </a:cxn>
                  <a:cxn ang="0">
                    <a:pos x="91" y="187"/>
                  </a:cxn>
                  <a:cxn ang="0">
                    <a:pos x="119" y="216"/>
                  </a:cxn>
                  <a:cxn ang="0">
                    <a:pos x="135" y="238"/>
                  </a:cxn>
                  <a:cxn ang="0">
                    <a:pos x="183" y="245"/>
                  </a:cxn>
                  <a:cxn ang="0">
                    <a:pos x="219" y="276"/>
                  </a:cxn>
                  <a:cxn ang="0">
                    <a:pos x="203" y="237"/>
                  </a:cxn>
                  <a:cxn ang="0">
                    <a:pos x="173" y="211"/>
                  </a:cxn>
                  <a:cxn ang="0">
                    <a:pos x="156" y="190"/>
                  </a:cxn>
                  <a:cxn ang="0">
                    <a:pos x="144" y="170"/>
                  </a:cxn>
                  <a:cxn ang="0">
                    <a:pos x="143" y="157"/>
                  </a:cxn>
                  <a:cxn ang="0">
                    <a:pos x="128" y="137"/>
                  </a:cxn>
                  <a:cxn ang="0">
                    <a:pos x="124" y="126"/>
                  </a:cxn>
                  <a:cxn ang="0">
                    <a:pos x="129" y="97"/>
                  </a:cxn>
                  <a:cxn ang="0">
                    <a:pos x="151" y="116"/>
                  </a:cxn>
                  <a:cxn ang="0">
                    <a:pos x="182" y="101"/>
                  </a:cxn>
                  <a:cxn ang="0">
                    <a:pos x="200" y="105"/>
                  </a:cxn>
                  <a:cxn ang="0">
                    <a:pos x="210" y="106"/>
                  </a:cxn>
                  <a:cxn ang="0">
                    <a:pos x="229" y="106"/>
                  </a:cxn>
                  <a:cxn ang="0">
                    <a:pos x="246" y="106"/>
                  </a:cxn>
                  <a:cxn ang="0">
                    <a:pos x="256" y="113"/>
                  </a:cxn>
                  <a:cxn ang="0">
                    <a:pos x="273" y="115"/>
                  </a:cxn>
                  <a:cxn ang="0">
                    <a:pos x="283" y="111"/>
                  </a:cxn>
                  <a:cxn ang="0">
                    <a:pos x="288" y="125"/>
                  </a:cxn>
                  <a:cxn ang="0">
                    <a:pos x="307" y="125"/>
                  </a:cxn>
                  <a:cxn ang="0">
                    <a:pos x="305" y="109"/>
                  </a:cxn>
                  <a:cxn ang="0">
                    <a:pos x="311" y="100"/>
                  </a:cxn>
                  <a:cxn ang="0">
                    <a:pos x="322" y="100"/>
                  </a:cxn>
                  <a:cxn ang="0">
                    <a:pos x="316" y="98"/>
                  </a:cxn>
                  <a:cxn ang="0">
                    <a:pos x="304" y="93"/>
                  </a:cxn>
                  <a:cxn ang="0">
                    <a:pos x="297" y="89"/>
                  </a:cxn>
                  <a:cxn ang="0">
                    <a:pos x="297" y="83"/>
                  </a:cxn>
                  <a:cxn ang="0">
                    <a:pos x="302" y="79"/>
                  </a:cxn>
                  <a:cxn ang="0">
                    <a:pos x="297" y="74"/>
                  </a:cxn>
                  <a:cxn ang="0">
                    <a:pos x="291" y="73"/>
                  </a:cxn>
                  <a:cxn ang="0">
                    <a:pos x="291" y="63"/>
                  </a:cxn>
                  <a:cxn ang="0">
                    <a:pos x="284" y="50"/>
                  </a:cxn>
                </a:cxnLst>
                <a:rect l="0" t="0" r="r" b="b"/>
                <a:pathLst>
                  <a:path w="322" h="276">
                    <a:moveTo>
                      <a:pt x="284" y="50"/>
                    </a:moveTo>
                    <a:lnTo>
                      <a:pt x="272" y="58"/>
                    </a:lnTo>
                    <a:lnTo>
                      <a:pt x="258" y="62"/>
                    </a:lnTo>
                    <a:lnTo>
                      <a:pt x="241" y="63"/>
                    </a:lnTo>
                    <a:lnTo>
                      <a:pt x="226" y="54"/>
                    </a:lnTo>
                    <a:lnTo>
                      <a:pt x="215" y="50"/>
                    </a:lnTo>
                    <a:lnTo>
                      <a:pt x="204" y="35"/>
                    </a:lnTo>
                    <a:lnTo>
                      <a:pt x="189" y="28"/>
                    </a:lnTo>
                    <a:lnTo>
                      <a:pt x="180" y="12"/>
                    </a:lnTo>
                    <a:lnTo>
                      <a:pt x="167" y="7"/>
                    </a:lnTo>
                    <a:lnTo>
                      <a:pt x="167" y="4"/>
                    </a:lnTo>
                    <a:lnTo>
                      <a:pt x="164" y="7"/>
                    </a:lnTo>
                    <a:lnTo>
                      <a:pt x="155" y="1"/>
                    </a:lnTo>
                    <a:lnTo>
                      <a:pt x="151" y="0"/>
                    </a:lnTo>
                    <a:lnTo>
                      <a:pt x="148" y="3"/>
                    </a:lnTo>
                    <a:lnTo>
                      <a:pt x="148" y="8"/>
                    </a:lnTo>
                    <a:lnTo>
                      <a:pt x="149" y="14"/>
                    </a:lnTo>
                    <a:lnTo>
                      <a:pt x="149" y="15"/>
                    </a:lnTo>
                    <a:lnTo>
                      <a:pt x="145" y="14"/>
                    </a:lnTo>
                    <a:lnTo>
                      <a:pt x="138" y="14"/>
                    </a:lnTo>
                    <a:lnTo>
                      <a:pt x="138" y="19"/>
                    </a:lnTo>
                    <a:lnTo>
                      <a:pt x="134" y="22"/>
                    </a:lnTo>
                    <a:lnTo>
                      <a:pt x="114" y="29"/>
                    </a:lnTo>
                    <a:lnTo>
                      <a:pt x="111" y="34"/>
                    </a:lnTo>
                    <a:lnTo>
                      <a:pt x="112" y="38"/>
                    </a:lnTo>
                    <a:lnTo>
                      <a:pt x="118" y="45"/>
                    </a:lnTo>
                    <a:lnTo>
                      <a:pt x="118" y="56"/>
                    </a:lnTo>
                    <a:lnTo>
                      <a:pt x="113" y="63"/>
                    </a:lnTo>
                    <a:lnTo>
                      <a:pt x="105" y="65"/>
                    </a:lnTo>
                    <a:lnTo>
                      <a:pt x="94" y="73"/>
                    </a:lnTo>
                    <a:lnTo>
                      <a:pt x="97" y="78"/>
                    </a:lnTo>
                    <a:lnTo>
                      <a:pt x="94" y="83"/>
                    </a:lnTo>
                    <a:lnTo>
                      <a:pt x="95" y="95"/>
                    </a:lnTo>
                    <a:lnTo>
                      <a:pt x="90" y="99"/>
                    </a:lnTo>
                    <a:lnTo>
                      <a:pt x="86" y="99"/>
                    </a:lnTo>
                    <a:lnTo>
                      <a:pt x="81" y="93"/>
                    </a:lnTo>
                    <a:lnTo>
                      <a:pt x="78" y="93"/>
                    </a:lnTo>
                    <a:lnTo>
                      <a:pt x="75" y="90"/>
                    </a:lnTo>
                    <a:lnTo>
                      <a:pt x="73" y="90"/>
                    </a:lnTo>
                    <a:lnTo>
                      <a:pt x="73" y="94"/>
                    </a:lnTo>
                    <a:lnTo>
                      <a:pt x="68" y="95"/>
                    </a:lnTo>
                    <a:lnTo>
                      <a:pt x="57" y="76"/>
                    </a:lnTo>
                    <a:lnTo>
                      <a:pt x="54" y="76"/>
                    </a:lnTo>
                    <a:lnTo>
                      <a:pt x="47" y="92"/>
                    </a:lnTo>
                    <a:lnTo>
                      <a:pt x="30" y="92"/>
                    </a:lnTo>
                    <a:lnTo>
                      <a:pt x="24" y="87"/>
                    </a:lnTo>
                    <a:lnTo>
                      <a:pt x="21" y="92"/>
                    </a:lnTo>
                    <a:lnTo>
                      <a:pt x="8" y="93"/>
                    </a:lnTo>
                    <a:lnTo>
                      <a:pt x="0" y="87"/>
                    </a:lnTo>
                    <a:lnTo>
                      <a:pt x="4" y="108"/>
                    </a:lnTo>
                    <a:lnTo>
                      <a:pt x="16" y="135"/>
                    </a:lnTo>
                    <a:lnTo>
                      <a:pt x="21" y="138"/>
                    </a:lnTo>
                    <a:lnTo>
                      <a:pt x="27" y="137"/>
                    </a:lnTo>
                    <a:lnTo>
                      <a:pt x="38" y="116"/>
                    </a:lnTo>
                    <a:lnTo>
                      <a:pt x="44" y="99"/>
                    </a:lnTo>
                    <a:lnTo>
                      <a:pt x="57" y="103"/>
                    </a:lnTo>
                    <a:lnTo>
                      <a:pt x="65" y="113"/>
                    </a:lnTo>
                    <a:lnTo>
                      <a:pt x="68" y="113"/>
                    </a:lnTo>
                    <a:lnTo>
                      <a:pt x="73" y="119"/>
                    </a:lnTo>
                    <a:lnTo>
                      <a:pt x="75" y="128"/>
                    </a:lnTo>
                    <a:lnTo>
                      <a:pt x="75" y="143"/>
                    </a:lnTo>
                    <a:lnTo>
                      <a:pt x="84" y="159"/>
                    </a:lnTo>
                    <a:lnTo>
                      <a:pt x="103" y="175"/>
                    </a:lnTo>
                    <a:lnTo>
                      <a:pt x="94" y="178"/>
                    </a:lnTo>
                    <a:lnTo>
                      <a:pt x="90" y="183"/>
                    </a:lnTo>
                    <a:lnTo>
                      <a:pt x="91" y="187"/>
                    </a:lnTo>
                    <a:lnTo>
                      <a:pt x="102" y="202"/>
                    </a:lnTo>
                    <a:lnTo>
                      <a:pt x="112" y="210"/>
                    </a:lnTo>
                    <a:lnTo>
                      <a:pt x="119" y="216"/>
                    </a:lnTo>
                    <a:lnTo>
                      <a:pt x="129" y="221"/>
                    </a:lnTo>
                    <a:lnTo>
                      <a:pt x="134" y="230"/>
                    </a:lnTo>
                    <a:lnTo>
                      <a:pt x="135" y="238"/>
                    </a:lnTo>
                    <a:lnTo>
                      <a:pt x="154" y="237"/>
                    </a:lnTo>
                    <a:lnTo>
                      <a:pt x="166" y="238"/>
                    </a:lnTo>
                    <a:lnTo>
                      <a:pt x="183" y="245"/>
                    </a:lnTo>
                    <a:lnTo>
                      <a:pt x="198" y="256"/>
                    </a:lnTo>
                    <a:lnTo>
                      <a:pt x="211" y="270"/>
                    </a:lnTo>
                    <a:lnTo>
                      <a:pt x="219" y="276"/>
                    </a:lnTo>
                    <a:lnTo>
                      <a:pt x="226" y="272"/>
                    </a:lnTo>
                    <a:lnTo>
                      <a:pt x="204" y="248"/>
                    </a:lnTo>
                    <a:lnTo>
                      <a:pt x="203" y="237"/>
                    </a:lnTo>
                    <a:lnTo>
                      <a:pt x="198" y="233"/>
                    </a:lnTo>
                    <a:lnTo>
                      <a:pt x="193" y="230"/>
                    </a:lnTo>
                    <a:lnTo>
                      <a:pt x="173" y="211"/>
                    </a:lnTo>
                    <a:lnTo>
                      <a:pt x="172" y="206"/>
                    </a:lnTo>
                    <a:lnTo>
                      <a:pt x="162" y="192"/>
                    </a:lnTo>
                    <a:lnTo>
                      <a:pt x="156" y="190"/>
                    </a:lnTo>
                    <a:lnTo>
                      <a:pt x="148" y="178"/>
                    </a:lnTo>
                    <a:lnTo>
                      <a:pt x="143" y="176"/>
                    </a:lnTo>
                    <a:lnTo>
                      <a:pt x="144" y="170"/>
                    </a:lnTo>
                    <a:lnTo>
                      <a:pt x="146" y="168"/>
                    </a:lnTo>
                    <a:lnTo>
                      <a:pt x="143" y="162"/>
                    </a:lnTo>
                    <a:lnTo>
                      <a:pt x="143" y="157"/>
                    </a:lnTo>
                    <a:lnTo>
                      <a:pt x="137" y="151"/>
                    </a:lnTo>
                    <a:lnTo>
                      <a:pt x="133" y="138"/>
                    </a:lnTo>
                    <a:lnTo>
                      <a:pt x="128" y="137"/>
                    </a:lnTo>
                    <a:lnTo>
                      <a:pt x="121" y="131"/>
                    </a:lnTo>
                    <a:lnTo>
                      <a:pt x="121" y="128"/>
                    </a:lnTo>
                    <a:lnTo>
                      <a:pt x="124" y="126"/>
                    </a:lnTo>
                    <a:lnTo>
                      <a:pt x="123" y="122"/>
                    </a:lnTo>
                    <a:lnTo>
                      <a:pt x="123" y="103"/>
                    </a:lnTo>
                    <a:lnTo>
                      <a:pt x="129" y="97"/>
                    </a:lnTo>
                    <a:lnTo>
                      <a:pt x="138" y="99"/>
                    </a:lnTo>
                    <a:lnTo>
                      <a:pt x="138" y="101"/>
                    </a:lnTo>
                    <a:lnTo>
                      <a:pt x="151" y="116"/>
                    </a:lnTo>
                    <a:lnTo>
                      <a:pt x="155" y="116"/>
                    </a:lnTo>
                    <a:lnTo>
                      <a:pt x="164" y="99"/>
                    </a:lnTo>
                    <a:lnTo>
                      <a:pt x="182" y="101"/>
                    </a:lnTo>
                    <a:lnTo>
                      <a:pt x="186" y="97"/>
                    </a:lnTo>
                    <a:lnTo>
                      <a:pt x="188" y="97"/>
                    </a:lnTo>
                    <a:lnTo>
                      <a:pt x="200" y="105"/>
                    </a:lnTo>
                    <a:lnTo>
                      <a:pt x="204" y="105"/>
                    </a:lnTo>
                    <a:lnTo>
                      <a:pt x="207" y="103"/>
                    </a:lnTo>
                    <a:lnTo>
                      <a:pt x="210" y="106"/>
                    </a:lnTo>
                    <a:lnTo>
                      <a:pt x="225" y="109"/>
                    </a:lnTo>
                    <a:lnTo>
                      <a:pt x="226" y="106"/>
                    </a:lnTo>
                    <a:lnTo>
                      <a:pt x="229" y="106"/>
                    </a:lnTo>
                    <a:lnTo>
                      <a:pt x="237" y="114"/>
                    </a:lnTo>
                    <a:lnTo>
                      <a:pt x="240" y="114"/>
                    </a:lnTo>
                    <a:lnTo>
                      <a:pt x="246" y="106"/>
                    </a:lnTo>
                    <a:lnTo>
                      <a:pt x="250" y="106"/>
                    </a:lnTo>
                    <a:lnTo>
                      <a:pt x="253" y="111"/>
                    </a:lnTo>
                    <a:lnTo>
                      <a:pt x="256" y="113"/>
                    </a:lnTo>
                    <a:lnTo>
                      <a:pt x="258" y="108"/>
                    </a:lnTo>
                    <a:lnTo>
                      <a:pt x="269" y="109"/>
                    </a:lnTo>
                    <a:lnTo>
                      <a:pt x="273" y="115"/>
                    </a:lnTo>
                    <a:lnTo>
                      <a:pt x="275" y="114"/>
                    </a:lnTo>
                    <a:lnTo>
                      <a:pt x="275" y="111"/>
                    </a:lnTo>
                    <a:lnTo>
                      <a:pt x="283" y="111"/>
                    </a:lnTo>
                    <a:lnTo>
                      <a:pt x="289" y="119"/>
                    </a:lnTo>
                    <a:lnTo>
                      <a:pt x="288" y="124"/>
                    </a:lnTo>
                    <a:lnTo>
                      <a:pt x="288" y="125"/>
                    </a:lnTo>
                    <a:lnTo>
                      <a:pt x="294" y="130"/>
                    </a:lnTo>
                    <a:lnTo>
                      <a:pt x="301" y="130"/>
                    </a:lnTo>
                    <a:lnTo>
                      <a:pt x="307" y="125"/>
                    </a:lnTo>
                    <a:lnTo>
                      <a:pt x="309" y="120"/>
                    </a:lnTo>
                    <a:lnTo>
                      <a:pt x="307" y="119"/>
                    </a:lnTo>
                    <a:lnTo>
                      <a:pt x="305" y="109"/>
                    </a:lnTo>
                    <a:lnTo>
                      <a:pt x="307" y="106"/>
                    </a:lnTo>
                    <a:lnTo>
                      <a:pt x="309" y="101"/>
                    </a:lnTo>
                    <a:lnTo>
                      <a:pt x="311" y="100"/>
                    </a:lnTo>
                    <a:lnTo>
                      <a:pt x="315" y="101"/>
                    </a:lnTo>
                    <a:lnTo>
                      <a:pt x="318" y="103"/>
                    </a:lnTo>
                    <a:lnTo>
                      <a:pt x="322" y="100"/>
                    </a:lnTo>
                    <a:lnTo>
                      <a:pt x="322" y="98"/>
                    </a:lnTo>
                    <a:lnTo>
                      <a:pt x="320" y="97"/>
                    </a:lnTo>
                    <a:lnTo>
                      <a:pt x="316" y="98"/>
                    </a:lnTo>
                    <a:lnTo>
                      <a:pt x="312" y="95"/>
                    </a:lnTo>
                    <a:lnTo>
                      <a:pt x="307" y="95"/>
                    </a:lnTo>
                    <a:lnTo>
                      <a:pt x="304" y="93"/>
                    </a:lnTo>
                    <a:lnTo>
                      <a:pt x="302" y="92"/>
                    </a:lnTo>
                    <a:lnTo>
                      <a:pt x="299" y="92"/>
                    </a:lnTo>
                    <a:lnTo>
                      <a:pt x="297" y="89"/>
                    </a:lnTo>
                    <a:lnTo>
                      <a:pt x="297" y="88"/>
                    </a:lnTo>
                    <a:lnTo>
                      <a:pt x="299" y="84"/>
                    </a:lnTo>
                    <a:lnTo>
                      <a:pt x="297" y="83"/>
                    </a:lnTo>
                    <a:lnTo>
                      <a:pt x="299" y="81"/>
                    </a:lnTo>
                    <a:lnTo>
                      <a:pt x="300" y="81"/>
                    </a:lnTo>
                    <a:lnTo>
                      <a:pt x="302" y="79"/>
                    </a:lnTo>
                    <a:lnTo>
                      <a:pt x="302" y="77"/>
                    </a:lnTo>
                    <a:lnTo>
                      <a:pt x="299" y="74"/>
                    </a:lnTo>
                    <a:lnTo>
                      <a:pt x="297" y="74"/>
                    </a:lnTo>
                    <a:lnTo>
                      <a:pt x="295" y="77"/>
                    </a:lnTo>
                    <a:lnTo>
                      <a:pt x="291" y="76"/>
                    </a:lnTo>
                    <a:lnTo>
                      <a:pt x="291" y="73"/>
                    </a:lnTo>
                    <a:lnTo>
                      <a:pt x="294" y="70"/>
                    </a:lnTo>
                    <a:lnTo>
                      <a:pt x="294" y="66"/>
                    </a:lnTo>
                    <a:lnTo>
                      <a:pt x="291" y="63"/>
                    </a:lnTo>
                    <a:lnTo>
                      <a:pt x="293" y="61"/>
                    </a:lnTo>
                    <a:lnTo>
                      <a:pt x="293" y="57"/>
                    </a:lnTo>
                    <a:lnTo>
                      <a:pt x="284" y="5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97" name="Freeform 210"/>
              <p:cNvSpPr>
                <a:spLocks noChangeAspect="1"/>
              </p:cNvSpPr>
              <p:nvPr/>
            </p:nvSpPr>
            <p:spPr bwMode="gray">
              <a:xfrm>
                <a:off x="5095081" y="2873722"/>
                <a:ext cx="31750" cy="68263"/>
              </a:xfrm>
              <a:custGeom>
                <a:avLst/>
                <a:gdLst/>
                <a:ahLst/>
                <a:cxnLst>
                  <a:cxn ang="0">
                    <a:pos x="48" y="215"/>
                  </a:cxn>
                  <a:cxn ang="0">
                    <a:pos x="39" y="210"/>
                  </a:cxn>
                  <a:cxn ang="0">
                    <a:pos x="38" y="200"/>
                  </a:cxn>
                  <a:cxn ang="0">
                    <a:pos x="31" y="190"/>
                  </a:cxn>
                  <a:cxn ang="0">
                    <a:pos x="13" y="183"/>
                  </a:cxn>
                  <a:cxn ang="0">
                    <a:pos x="4" y="168"/>
                  </a:cxn>
                  <a:cxn ang="0">
                    <a:pos x="0" y="160"/>
                  </a:cxn>
                  <a:cxn ang="0">
                    <a:pos x="7" y="161"/>
                  </a:cxn>
                  <a:cxn ang="0">
                    <a:pos x="7" y="152"/>
                  </a:cxn>
                  <a:cxn ang="0">
                    <a:pos x="4" y="139"/>
                  </a:cxn>
                  <a:cxn ang="0">
                    <a:pos x="7" y="125"/>
                  </a:cxn>
                  <a:cxn ang="0">
                    <a:pos x="8" y="123"/>
                  </a:cxn>
                  <a:cxn ang="0">
                    <a:pos x="8" y="114"/>
                  </a:cxn>
                  <a:cxn ang="0">
                    <a:pos x="10" y="106"/>
                  </a:cxn>
                  <a:cxn ang="0">
                    <a:pos x="6" y="94"/>
                  </a:cxn>
                  <a:cxn ang="0">
                    <a:pos x="15" y="64"/>
                  </a:cxn>
                  <a:cxn ang="0">
                    <a:pos x="10" y="58"/>
                  </a:cxn>
                  <a:cxn ang="0">
                    <a:pos x="2" y="56"/>
                  </a:cxn>
                  <a:cxn ang="0">
                    <a:pos x="7" y="40"/>
                  </a:cxn>
                  <a:cxn ang="0">
                    <a:pos x="5" y="29"/>
                  </a:cxn>
                  <a:cxn ang="0">
                    <a:pos x="10" y="15"/>
                  </a:cxn>
                  <a:cxn ang="0">
                    <a:pos x="17" y="10"/>
                  </a:cxn>
                  <a:cxn ang="0">
                    <a:pos x="23" y="0"/>
                  </a:cxn>
                  <a:cxn ang="0">
                    <a:pos x="31" y="7"/>
                  </a:cxn>
                  <a:cxn ang="0">
                    <a:pos x="45" y="9"/>
                  </a:cxn>
                  <a:cxn ang="0">
                    <a:pos x="51" y="20"/>
                  </a:cxn>
                  <a:cxn ang="0">
                    <a:pos x="61" y="24"/>
                  </a:cxn>
                  <a:cxn ang="0">
                    <a:pos x="74" y="40"/>
                  </a:cxn>
                  <a:cxn ang="0">
                    <a:pos x="69" y="76"/>
                  </a:cxn>
                  <a:cxn ang="0">
                    <a:pos x="69" y="93"/>
                  </a:cxn>
                  <a:cxn ang="0">
                    <a:pos x="77" y="113"/>
                  </a:cxn>
                  <a:cxn ang="0">
                    <a:pos x="94" y="130"/>
                  </a:cxn>
                  <a:cxn ang="0">
                    <a:pos x="97" y="140"/>
                  </a:cxn>
                  <a:cxn ang="0">
                    <a:pos x="97" y="155"/>
                  </a:cxn>
                  <a:cxn ang="0">
                    <a:pos x="83" y="166"/>
                  </a:cxn>
                  <a:cxn ang="0">
                    <a:pos x="75" y="183"/>
                  </a:cxn>
                  <a:cxn ang="0">
                    <a:pos x="65" y="190"/>
                  </a:cxn>
                  <a:cxn ang="0">
                    <a:pos x="63" y="203"/>
                  </a:cxn>
                  <a:cxn ang="0">
                    <a:pos x="58" y="209"/>
                  </a:cxn>
                  <a:cxn ang="0">
                    <a:pos x="49" y="215"/>
                  </a:cxn>
                  <a:cxn ang="0">
                    <a:pos x="48" y="215"/>
                  </a:cxn>
                </a:cxnLst>
                <a:rect l="0" t="0" r="r" b="b"/>
                <a:pathLst>
                  <a:path w="97" h="215">
                    <a:moveTo>
                      <a:pt x="48" y="215"/>
                    </a:moveTo>
                    <a:lnTo>
                      <a:pt x="39" y="210"/>
                    </a:lnTo>
                    <a:lnTo>
                      <a:pt x="38" y="200"/>
                    </a:lnTo>
                    <a:lnTo>
                      <a:pt x="31" y="190"/>
                    </a:lnTo>
                    <a:lnTo>
                      <a:pt x="13" y="183"/>
                    </a:lnTo>
                    <a:lnTo>
                      <a:pt x="4" y="168"/>
                    </a:lnTo>
                    <a:lnTo>
                      <a:pt x="0" y="160"/>
                    </a:lnTo>
                    <a:lnTo>
                      <a:pt x="7" y="161"/>
                    </a:lnTo>
                    <a:lnTo>
                      <a:pt x="7" y="152"/>
                    </a:lnTo>
                    <a:lnTo>
                      <a:pt x="4" y="139"/>
                    </a:lnTo>
                    <a:lnTo>
                      <a:pt x="7" y="125"/>
                    </a:lnTo>
                    <a:lnTo>
                      <a:pt x="8" y="123"/>
                    </a:lnTo>
                    <a:lnTo>
                      <a:pt x="8" y="114"/>
                    </a:lnTo>
                    <a:lnTo>
                      <a:pt x="10" y="106"/>
                    </a:lnTo>
                    <a:lnTo>
                      <a:pt x="6" y="94"/>
                    </a:lnTo>
                    <a:lnTo>
                      <a:pt x="15" y="64"/>
                    </a:lnTo>
                    <a:lnTo>
                      <a:pt x="10" y="58"/>
                    </a:lnTo>
                    <a:lnTo>
                      <a:pt x="2" y="56"/>
                    </a:lnTo>
                    <a:lnTo>
                      <a:pt x="7" y="40"/>
                    </a:lnTo>
                    <a:lnTo>
                      <a:pt x="5" y="29"/>
                    </a:lnTo>
                    <a:lnTo>
                      <a:pt x="10" y="15"/>
                    </a:lnTo>
                    <a:lnTo>
                      <a:pt x="17" y="10"/>
                    </a:lnTo>
                    <a:lnTo>
                      <a:pt x="23" y="0"/>
                    </a:lnTo>
                    <a:lnTo>
                      <a:pt x="31" y="7"/>
                    </a:lnTo>
                    <a:lnTo>
                      <a:pt x="45" y="9"/>
                    </a:lnTo>
                    <a:lnTo>
                      <a:pt x="51" y="20"/>
                    </a:lnTo>
                    <a:lnTo>
                      <a:pt x="61" y="24"/>
                    </a:lnTo>
                    <a:lnTo>
                      <a:pt x="74" y="40"/>
                    </a:lnTo>
                    <a:lnTo>
                      <a:pt x="69" y="76"/>
                    </a:lnTo>
                    <a:lnTo>
                      <a:pt x="69" y="93"/>
                    </a:lnTo>
                    <a:lnTo>
                      <a:pt x="77" y="113"/>
                    </a:lnTo>
                    <a:lnTo>
                      <a:pt x="94" y="130"/>
                    </a:lnTo>
                    <a:lnTo>
                      <a:pt x="97" y="140"/>
                    </a:lnTo>
                    <a:lnTo>
                      <a:pt x="97" y="155"/>
                    </a:lnTo>
                    <a:lnTo>
                      <a:pt x="83" y="166"/>
                    </a:lnTo>
                    <a:lnTo>
                      <a:pt x="75" y="183"/>
                    </a:lnTo>
                    <a:lnTo>
                      <a:pt x="65" y="190"/>
                    </a:lnTo>
                    <a:lnTo>
                      <a:pt x="63" y="203"/>
                    </a:lnTo>
                    <a:lnTo>
                      <a:pt x="58" y="209"/>
                    </a:lnTo>
                    <a:lnTo>
                      <a:pt x="49" y="215"/>
                    </a:lnTo>
                    <a:lnTo>
                      <a:pt x="48" y="2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98" name="Freeform 211"/>
              <p:cNvSpPr>
                <a:spLocks noChangeAspect="1"/>
              </p:cNvSpPr>
              <p:nvPr/>
            </p:nvSpPr>
            <p:spPr bwMode="gray">
              <a:xfrm>
                <a:off x="5125244" y="2500660"/>
                <a:ext cx="100013" cy="76200"/>
              </a:xfrm>
              <a:custGeom>
                <a:avLst/>
                <a:gdLst/>
                <a:ahLst/>
                <a:cxnLst>
                  <a:cxn ang="0">
                    <a:pos x="3" y="57"/>
                  </a:cxn>
                  <a:cxn ang="0">
                    <a:pos x="5" y="78"/>
                  </a:cxn>
                  <a:cxn ang="0">
                    <a:pos x="4" y="64"/>
                  </a:cxn>
                  <a:cxn ang="0">
                    <a:pos x="11" y="94"/>
                  </a:cxn>
                  <a:cxn ang="0">
                    <a:pos x="11" y="110"/>
                  </a:cxn>
                  <a:cxn ang="0">
                    <a:pos x="15" y="118"/>
                  </a:cxn>
                  <a:cxn ang="0">
                    <a:pos x="31" y="120"/>
                  </a:cxn>
                  <a:cxn ang="0">
                    <a:pos x="44" y="127"/>
                  </a:cxn>
                  <a:cxn ang="0">
                    <a:pos x="69" y="134"/>
                  </a:cxn>
                  <a:cxn ang="0">
                    <a:pos x="91" y="136"/>
                  </a:cxn>
                  <a:cxn ang="0">
                    <a:pos x="96" y="174"/>
                  </a:cxn>
                  <a:cxn ang="0">
                    <a:pos x="99" y="201"/>
                  </a:cxn>
                  <a:cxn ang="0">
                    <a:pos x="132" y="222"/>
                  </a:cxn>
                  <a:cxn ang="0">
                    <a:pos x="137" y="240"/>
                  </a:cxn>
                  <a:cxn ang="0">
                    <a:pos x="167" y="240"/>
                  </a:cxn>
                  <a:cxn ang="0">
                    <a:pos x="191" y="239"/>
                  </a:cxn>
                  <a:cxn ang="0">
                    <a:pos x="204" y="238"/>
                  </a:cxn>
                  <a:cxn ang="0">
                    <a:pos x="209" y="222"/>
                  </a:cxn>
                  <a:cxn ang="0">
                    <a:pos x="224" y="220"/>
                  </a:cxn>
                  <a:cxn ang="0">
                    <a:pos x="236" y="209"/>
                  </a:cxn>
                  <a:cxn ang="0">
                    <a:pos x="248" y="218"/>
                  </a:cxn>
                  <a:cxn ang="0">
                    <a:pos x="263" y="220"/>
                  </a:cxn>
                  <a:cxn ang="0">
                    <a:pos x="257" y="205"/>
                  </a:cxn>
                  <a:cxn ang="0">
                    <a:pos x="255" y="190"/>
                  </a:cxn>
                  <a:cxn ang="0">
                    <a:pos x="263" y="168"/>
                  </a:cxn>
                  <a:cxn ang="0">
                    <a:pos x="266" y="151"/>
                  </a:cxn>
                  <a:cxn ang="0">
                    <a:pos x="274" y="140"/>
                  </a:cxn>
                  <a:cxn ang="0">
                    <a:pos x="288" y="132"/>
                  </a:cxn>
                  <a:cxn ang="0">
                    <a:pos x="309" y="129"/>
                  </a:cxn>
                  <a:cxn ang="0">
                    <a:pos x="310" y="107"/>
                  </a:cxn>
                  <a:cxn ang="0">
                    <a:pos x="301" y="99"/>
                  </a:cxn>
                  <a:cxn ang="0">
                    <a:pos x="309" y="87"/>
                  </a:cxn>
                  <a:cxn ang="0">
                    <a:pos x="313" y="80"/>
                  </a:cxn>
                  <a:cxn ang="0">
                    <a:pos x="307" y="73"/>
                  </a:cxn>
                  <a:cxn ang="0">
                    <a:pos x="282" y="48"/>
                  </a:cxn>
                  <a:cxn ang="0">
                    <a:pos x="239" y="30"/>
                  </a:cxn>
                  <a:cxn ang="0">
                    <a:pos x="221" y="5"/>
                  </a:cxn>
                  <a:cxn ang="0">
                    <a:pos x="208" y="2"/>
                  </a:cxn>
                  <a:cxn ang="0">
                    <a:pos x="181" y="17"/>
                  </a:cxn>
                  <a:cxn ang="0">
                    <a:pos x="143" y="6"/>
                  </a:cxn>
                  <a:cxn ang="0">
                    <a:pos x="118" y="6"/>
                  </a:cxn>
                  <a:cxn ang="0">
                    <a:pos x="103" y="7"/>
                  </a:cxn>
                  <a:cxn ang="0">
                    <a:pos x="89" y="3"/>
                  </a:cxn>
                  <a:cxn ang="0">
                    <a:pos x="64" y="3"/>
                  </a:cxn>
                  <a:cxn ang="0">
                    <a:pos x="26" y="19"/>
                  </a:cxn>
                  <a:cxn ang="0">
                    <a:pos x="10" y="38"/>
                  </a:cxn>
                </a:cxnLst>
                <a:rect l="0" t="0" r="r" b="b"/>
                <a:pathLst>
                  <a:path w="317" h="244">
                    <a:moveTo>
                      <a:pt x="0" y="35"/>
                    </a:moveTo>
                    <a:lnTo>
                      <a:pt x="3" y="57"/>
                    </a:lnTo>
                    <a:lnTo>
                      <a:pt x="3" y="71"/>
                    </a:lnTo>
                    <a:lnTo>
                      <a:pt x="5" y="78"/>
                    </a:lnTo>
                    <a:lnTo>
                      <a:pt x="3" y="54"/>
                    </a:lnTo>
                    <a:lnTo>
                      <a:pt x="4" y="64"/>
                    </a:lnTo>
                    <a:lnTo>
                      <a:pt x="6" y="72"/>
                    </a:lnTo>
                    <a:lnTo>
                      <a:pt x="11" y="94"/>
                    </a:lnTo>
                    <a:lnTo>
                      <a:pt x="13" y="102"/>
                    </a:lnTo>
                    <a:lnTo>
                      <a:pt x="11" y="110"/>
                    </a:lnTo>
                    <a:lnTo>
                      <a:pt x="14" y="110"/>
                    </a:lnTo>
                    <a:lnTo>
                      <a:pt x="15" y="118"/>
                    </a:lnTo>
                    <a:lnTo>
                      <a:pt x="25" y="115"/>
                    </a:lnTo>
                    <a:lnTo>
                      <a:pt x="31" y="120"/>
                    </a:lnTo>
                    <a:lnTo>
                      <a:pt x="38" y="123"/>
                    </a:lnTo>
                    <a:lnTo>
                      <a:pt x="44" y="127"/>
                    </a:lnTo>
                    <a:lnTo>
                      <a:pt x="52" y="131"/>
                    </a:lnTo>
                    <a:lnTo>
                      <a:pt x="69" y="134"/>
                    </a:lnTo>
                    <a:lnTo>
                      <a:pt x="85" y="132"/>
                    </a:lnTo>
                    <a:lnTo>
                      <a:pt x="91" y="136"/>
                    </a:lnTo>
                    <a:lnTo>
                      <a:pt x="102" y="159"/>
                    </a:lnTo>
                    <a:lnTo>
                      <a:pt x="96" y="174"/>
                    </a:lnTo>
                    <a:lnTo>
                      <a:pt x="96" y="191"/>
                    </a:lnTo>
                    <a:lnTo>
                      <a:pt x="99" y="201"/>
                    </a:lnTo>
                    <a:lnTo>
                      <a:pt x="113" y="209"/>
                    </a:lnTo>
                    <a:lnTo>
                      <a:pt x="132" y="222"/>
                    </a:lnTo>
                    <a:lnTo>
                      <a:pt x="137" y="233"/>
                    </a:lnTo>
                    <a:lnTo>
                      <a:pt x="137" y="240"/>
                    </a:lnTo>
                    <a:lnTo>
                      <a:pt x="151" y="244"/>
                    </a:lnTo>
                    <a:lnTo>
                      <a:pt x="167" y="240"/>
                    </a:lnTo>
                    <a:lnTo>
                      <a:pt x="183" y="243"/>
                    </a:lnTo>
                    <a:lnTo>
                      <a:pt x="191" y="239"/>
                    </a:lnTo>
                    <a:lnTo>
                      <a:pt x="197" y="234"/>
                    </a:lnTo>
                    <a:lnTo>
                      <a:pt x="204" y="238"/>
                    </a:lnTo>
                    <a:lnTo>
                      <a:pt x="212" y="237"/>
                    </a:lnTo>
                    <a:lnTo>
                      <a:pt x="209" y="222"/>
                    </a:lnTo>
                    <a:lnTo>
                      <a:pt x="215" y="220"/>
                    </a:lnTo>
                    <a:lnTo>
                      <a:pt x="224" y="220"/>
                    </a:lnTo>
                    <a:lnTo>
                      <a:pt x="229" y="213"/>
                    </a:lnTo>
                    <a:lnTo>
                      <a:pt x="236" y="209"/>
                    </a:lnTo>
                    <a:lnTo>
                      <a:pt x="245" y="211"/>
                    </a:lnTo>
                    <a:lnTo>
                      <a:pt x="248" y="218"/>
                    </a:lnTo>
                    <a:lnTo>
                      <a:pt x="256" y="222"/>
                    </a:lnTo>
                    <a:lnTo>
                      <a:pt x="263" y="220"/>
                    </a:lnTo>
                    <a:lnTo>
                      <a:pt x="262" y="211"/>
                    </a:lnTo>
                    <a:lnTo>
                      <a:pt x="257" y="205"/>
                    </a:lnTo>
                    <a:lnTo>
                      <a:pt x="253" y="197"/>
                    </a:lnTo>
                    <a:lnTo>
                      <a:pt x="255" y="190"/>
                    </a:lnTo>
                    <a:lnTo>
                      <a:pt x="263" y="175"/>
                    </a:lnTo>
                    <a:lnTo>
                      <a:pt x="263" y="168"/>
                    </a:lnTo>
                    <a:lnTo>
                      <a:pt x="266" y="159"/>
                    </a:lnTo>
                    <a:lnTo>
                      <a:pt x="266" y="151"/>
                    </a:lnTo>
                    <a:lnTo>
                      <a:pt x="267" y="143"/>
                    </a:lnTo>
                    <a:lnTo>
                      <a:pt x="274" y="140"/>
                    </a:lnTo>
                    <a:lnTo>
                      <a:pt x="283" y="137"/>
                    </a:lnTo>
                    <a:lnTo>
                      <a:pt x="288" y="132"/>
                    </a:lnTo>
                    <a:lnTo>
                      <a:pt x="295" y="129"/>
                    </a:lnTo>
                    <a:lnTo>
                      <a:pt x="309" y="129"/>
                    </a:lnTo>
                    <a:lnTo>
                      <a:pt x="317" y="110"/>
                    </a:lnTo>
                    <a:lnTo>
                      <a:pt x="310" y="107"/>
                    </a:lnTo>
                    <a:lnTo>
                      <a:pt x="301" y="107"/>
                    </a:lnTo>
                    <a:lnTo>
                      <a:pt x="301" y="99"/>
                    </a:lnTo>
                    <a:lnTo>
                      <a:pt x="301" y="91"/>
                    </a:lnTo>
                    <a:lnTo>
                      <a:pt x="309" y="87"/>
                    </a:lnTo>
                    <a:lnTo>
                      <a:pt x="315" y="81"/>
                    </a:lnTo>
                    <a:lnTo>
                      <a:pt x="313" y="80"/>
                    </a:lnTo>
                    <a:lnTo>
                      <a:pt x="313" y="78"/>
                    </a:lnTo>
                    <a:lnTo>
                      <a:pt x="307" y="73"/>
                    </a:lnTo>
                    <a:lnTo>
                      <a:pt x="300" y="71"/>
                    </a:lnTo>
                    <a:lnTo>
                      <a:pt x="282" y="48"/>
                    </a:lnTo>
                    <a:lnTo>
                      <a:pt x="255" y="29"/>
                    </a:lnTo>
                    <a:lnTo>
                      <a:pt x="239" y="30"/>
                    </a:lnTo>
                    <a:lnTo>
                      <a:pt x="231" y="28"/>
                    </a:lnTo>
                    <a:lnTo>
                      <a:pt x="221" y="5"/>
                    </a:lnTo>
                    <a:lnTo>
                      <a:pt x="215" y="0"/>
                    </a:lnTo>
                    <a:lnTo>
                      <a:pt x="208" y="2"/>
                    </a:lnTo>
                    <a:lnTo>
                      <a:pt x="197" y="13"/>
                    </a:lnTo>
                    <a:lnTo>
                      <a:pt x="181" y="17"/>
                    </a:lnTo>
                    <a:lnTo>
                      <a:pt x="150" y="6"/>
                    </a:lnTo>
                    <a:lnTo>
                      <a:pt x="143" y="6"/>
                    </a:lnTo>
                    <a:lnTo>
                      <a:pt x="126" y="3"/>
                    </a:lnTo>
                    <a:lnTo>
                      <a:pt x="118" y="6"/>
                    </a:lnTo>
                    <a:lnTo>
                      <a:pt x="111" y="3"/>
                    </a:lnTo>
                    <a:lnTo>
                      <a:pt x="103" y="7"/>
                    </a:lnTo>
                    <a:lnTo>
                      <a:pt x="95" y="7"/>
                    </a:lnTo>
                    <a:lnTo>
                      <a:pt x="89" y="3"/>
                    </a:lnTo>
                    <a:lnTo>
                      <a:pt x="80" y="2"/>
                    </a:lnTo>
                    <a:lnTo>
                      <a:pt x="64" y="3"/>
                    </a:lnTo>
                    <a:lnTo>
                      <a:pt x="41" y="11"/>
                    </a:lnTo>
                    <a:lnTo>
                      <a:pt x="26" y="19"/>
                    </a:lnTo>
                    <a:lnTo>
                      <a:pt x="17" y="33"/>
                    </a:lnTo>
                    <a:lnTo>
                      <a:pt x="10" y="38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99" name="Freeform 213"/>
              <p:cNvSpPr>
                <a:spLocks noChangeAspect="1"/>
              </p:cNvSpPr>
              <p:nvPr/>
            </p:nvSpPr>
            <p:spPr bwMode="gray">
              <a:xfrm>
                <a:off x="5053806" y="2700685"/>
                <a:ext cx="95250" cy="47625"/>
              </a:xfrm>
              <a:custGeom>
                <a:avLst/>
                <a:gdLst/>
                <a:ahLst/>
                <a:cxnLst>
                  <a:cxn ang="0">
                    <a:pos x="285" y="96"/>
                  </a:cxn>
                  <a:cxn ang="0">
                    <a:pos x="273" y="100"/>
                  </a:cxn>
                  <a:cxn ang="0">
                    <a:pos x="256" y="89"/>
                  </a:cxn>
                  <a:cxn ang="0">
                    <a:pos x="241" y="84"/>
                  </a:cxn>
                  <a:cxn ang="0">
                    <a:pos x="229" y="88"/>
                  </a:cxn>
                  <a:cxn ang="0">
                    <a:pos x="211" y="85"/>
                  </a:cxn>
                  <a:cxn ang="0">
                    <a:pos x="196" y="94"/>
                  </a:cxn>
                  <a:cxn ang="0">
                    <a:pos x="191" y="106"/>
                  </a:cxn>
                  <a:cxn ang="0">
                    <a:pos x="181" y="108"/>
                  </a:cxn>
                  <a:cxn ang="0">
                    <a:pos x="167" y="116"/>
                  </a:cxn>
                  <a:cxn ang="0">
                    <a:pos x="150" y="110"/>
                  </a:cxn>
                  <a:cxn ang="0">
                    <a:pos x="134" y="119"/>
                  </a:cxn>
                  <a:cxn ang="0">
                    <a:pos x="103" y="128"/>
                  </a:cxn>
                  <a:cxn ang="0">
                    <a:pos x="90" y="148"/>
                  </a:cxn>
                  <a:cxn ang="0">
                    <a:pos x="84" y="148"/>
                  </a:cxn>
                  <a:cxn ang="0">
                    <a:pos x="51" y="149"/>
                  </a:cxn>
                  <a:cxn ang="0">
                    <a:pos x="27" y="131"/>
                  </a:cxn>
                  <a:cxn ang="0">
                    <a:pos x="12" y="123"/>
                  </a:cxn>
                  <a:cxn ang="0">
                    <a:pos x="6" y="110"/>
                  </a:cxn>
                  <a:cxn ang="0">
                    <a:pos x="0" y="88"/>
                  </a:cxn>
                  <a:cxn ang="0">
                    <a:pos x="5" y="76"/>
                  </a:cxn>
                  <a:cxn ang="0">
                    <a:pos x="12" y="67"/>
                  </a:cxn>
                  <a:cxn ang="0">
                    <a:pos x="20" y="67"/>
                  </a:cxn>
                  <a:cxn ang="0">
                    <a:pos x="25" y="72"/>
                  </a:cxn>
                  <a:cxn ang="0">
                    <a:pos x="40" y="69"/>
                  </a:cxn>
                  <a:cxn ang="0">
                    <a:pos x="53" y="59"/>
                  </a:cxn>
                  <a:cxn ang="0">
                    <a:pos x="53" y="53"/>
                  </a:cxn>
                  <a:cxn ang="0">
                    <a:pos x="62" y="51"/>
                  </a:cxn>
                  <a:cxn ang="0">
                    <a:pos x="67" y="42"/>
                  </a:cxn>
                  <a:cxn ang="0">
                    <a:pos x="68" y="30"/>
                  </a:cxn>
                  <a:cxn ang="0">
                    <a:pos x="70" y="25"/>
                  </a:cxn>
                  <a:cxn ang="0">
                    <a:pos x="79" y="22"/>
                  </a:cxn>
                  <a:cxn ang="0">
                    <a:pos x="84" y="15"/>
                  </a:cxn>
                  <a:cxn ang="0">
                    <a:pos x="89" y="8"/>
                  </a:cxn>
                  <a:cxn ang="0">
                    <a:pos x="100" y="9"/>
                  </a:cxn>
                  <a:cxn ang="0">
                    <a:pos x="107" y="2"/>
                  </a:cxn>
                  <a:cxn ang="0">
                    <a:pos x="118" y="8"/>
                  </a:cxn>
                  <a:cxn ang="0">
                    <a:pos x="129" y="5"/>
                  </a:cxn>
                  <a:cxn ang="0">
                    <a:pos x="139" y="0"/>
                  </a:cxn>
                  <a:cxn ang="0">
                    <a:pos x="148" y="6"/>
                  </a:cxn>
                  <a:cxn ang="0">
                    <a:pos x="157" y="16"/>
                  </a:cxn>
                  <a:cxn ang="0">
                    <a:pos x="165" y="25"/>
                  </a:cxn>
                  <a:cxn ang="0">
                    <a:pos x="172" y="27"/>
                  </a:cxn>
                  <a:cxn ang="0">
                    <a:pos x="182" y="22"/>
                  </a:cxn>
                  <a:cxn ang="0">
                    <a:pos x="191" y="14"/>
                  </a:cxn>
                  <a:cxn ang="0">
                    <a:pos x="210" y="14"/>
                  </a:cxn>
                  <a:cxn ang="0">
                    <a:pos x="220" y="21"/>
                  </a:cxn>
                  <a:cxn ang="0">
                    <a:pos x="227" y="15"/>
                  </a:cxn>
                  <a:cxn ang="0">
                    <a:pos x="239" y="10"/>
                  </a:cxn>
                  <a:cxn ang="0">
                    <a:pos x="251" y="9"/>
                  </a:cxn>
                  <a:cxn ang="0">
                    <a:pos x="264" y="10"/>
                  </a:cxn>
                  <a:cxn ang="0">
                    <a:pos x="274" y="18"/>
                  </a:cxn>
                  <a:cxn ang="0">
                    <a:pos x="283" y="25"/>
                  </a:cxn>
                  <a:cxn ang="0">
                    <a:pos x="294" y="33"/>
                  </a:cxn>
                  <a:cxn ang="0">
                    <a:pos x="304" y="37"/>
                  </a:cxn>
                  <a:cxn ang="0">
                    <a:pos x="302" y="43"/>
                  </a:cxn>
                  <a:cxn ang="0">
                    <a:pos x="291" y="73"/>
                  </a:cxn>
                  <a:cxn ang="0">
                    <a:pos x="285" y="96"/>
                  </a:cxn>
                </a:cxnLst>
                <a:rect l="0" t="0" r="r" b="b"/>
                <a:pathLst>
                  <a:path w="304" h="149">
                    <a:moveTo>
                      <a:pt x="285" y="96"/>
                    </a:moveTo>
                    <a:lnTo>
                      <a:pt x="273" y="100"/>
                    </a:lnTo>
                    <a:lnTo>
                      <a:pt x="256" y="89"/>
                    </a:lnTo>
                    <a:lnTo>
                      <a:pt x="241" y="84"/>
                    </a:lnTo>
                    <a:lnTo>
                      <a:pt x="229" y="88"/>
                    </a:lnTo>
                    <a:lnTo>
                      <a:pt x="211" y="85"/>
                    </a:lnTo>
                    <a:lnTo>
                      <a:pt x="196" y="94"/>
                    </a:lnTo>
                    <a:lnTo>
                      <a:pt x="191" y="106"/>
                    </a:lnTo>
                    <a:lnTo>
                      <a:pt x="181" y="108"/>
                    </a:lnTo>
                    <a:lnTo>
                      <a:pt x="167" y="116"/>
                    </a:lnTo>
                    <a:lnTo>
                      <a:pt x="150" y="110"/>
                    </a:lnTo>
                    <a:lnTo>
                      <a:pt x="134" y="119"/>
                    </a:lnTo>
                    <a:lnTo>
                      <a:pt x="103" y="128"/>
                    </a:lnTo>
                    <a:lnTo>
                      <a:pt x="90" y="148"/>
                    </a:lnTo>
                    <a:lnTo>
                      <a:pt x="84" y="148"/>
                    </a:lnTo>
                    <a:lnTo>
                      <a:pt x="51" y="149"/>
                    </a:lnTo>
                    <a:lnTo>
                      <a:pt x="27" y="131"/>
                    </a:lnTo>
                    <a:lnTo>
                      <a:pt x="12" y="123"/>
                    </a:lnTo>
                    <a:lnTo>
                      <a:pt x="6" y="110"/>
                    </a:lnTo>
                    <a:lnTo>
                      <a:pt x="0" y="88"/>
                    </a:lnTo>
                    <a:lnTo>
                      <a:pt x="5" y="76"/>
                    </a:lnTo>
                    <a:lnTo>
                      <a:pt x="12" y="67"/>
                    </a:lnTo>
                    <a:lnTo>
                      <a:pt x="20" y="67"/>
                    </a:lnTo>
                    <a:lnTo>
                      <a:pt x="25" y="72"/>
                    </a:lnTo>
                    <a:lnTo>
                      <a:pt x="40" y="69"/>
                    </a:lnTo>
                    <a:lnTo>
                      <a:pt x="53" y="59"/>
                    </a:lnTo>
                    <a:lnTo>
                      <a:pt x="53" y="53"/>
                    </a:lnTo>
                    <a:lnTo>
                      <a:pt x="62" y="51"/>
                    </a:lnTo>
                    <a:lnTo>
                      <a:pt x="67" y="42"/>
                    </a:lnTo>
                    <a:lnTo>
                      <a:pt x="68" y="30"/>
                    </a:lnTo>
                    <a:lnTo>
                      <a:pt x="70" y="25"/>
                    </a:lnTo>
                    <a:lnTo>
                      <a:pt x="79" y="22"/>
                    </a:lnTo>
                    <a:lnTo>
                      <a:pt x="84" y="15"/>
                    </a:lnTo>
                    <a:lnTo>
                      <a:pt x="89" y="8"/>
                    </a:lnTo>
                    <a:lnTo>
                      <a:pt x="100" y="9"/>
                    </a:lnTo>
                    <a:lnTo>
                      <a:pt x="107" y="2"/>
                    </a:lnTo>
                    <a:lnTo>
                      <a:pt x="118" y="8"/>
                    </a:lnTo>
                    <a:lnTo>
                      <a:pt x="129" y="5"/>
                    </a:lnTo>
                    <a:lnTo>
                      <a:pt x="139" y="0"/>
                    </a:lnTo>
                    <a:lnTo>
                      <a:pt x="148" y="6"/>
                    </a:lnTo>
                    <a:lnTo>
                      <a:pt x="157" y="16"/>
                    </a:lnTo>
                    <a:lnTo>
                      <a:pt x="165" y="25"/>
                    </a:lnTo>
                    <a:lnTo>
                      <a:pt x="172" y="27"/>
                    </a:lnTo>
                    <a:lnTo>
                      <a:pt x="182" y="22"/>
                    </a:lnTo>
                    <a:lnTo>
                      <a:pt x="191" y="14"/>
                    </a:lnTo>
                    <a:lnTo>
                      <a:pt x="210" y="14"/>
                    </a:lnTo>
                    <a:lnTo>
                      <a:pt x="220" y="21"/>
                    </a:lnTo>
                    <a:lnTo>
                      <a:pt x="227" y="15"/>
                    </a:lnTo>
                    <a:lnTo>
                      <a:pt x="239" y="10"/>
                    </a:lnTo>
                    <a:lnTo>
                      <a:pt x="251" y="9"/>
                    </a:lnTo>
                    <a:lnTo>
                      <a:pt x="264" y="10"/>
                    </a:lnTo>
                    <a:lnTo>
                      <a:pt x="274" y="18"/>
                    </a:lnTo>
                    <a:lnTo>
                      <a:pt x="283" y="25"/>
                    </a:lnTo>
                    <a:lnTo>
                      <a:pt x="294" y="33"/>
                    </a:lnTo>
                    <a:lnTo>
                      <a:pt x="304" y="37"/>
                    </a:lnTo>
                    <a:lnTo>
                      <a:pt x="302" y="43"/>
                    </a:lnTo>
                    <a:lnTo>
                      <a:pt x="291" y="73"/>
                    </a:lnTo>
                    <a:lnTo>
                      <a:pt x="285" y="9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00" name="Freeform 214"/>
              <p:cNvSpPr>
                <a:spLocks noChangeAspect="1"/>
              </p:cNvSpPr>
              <p:nvPr/>
            </p:nvSpPr>
            <p:spPr bwMode="gray">
              <a:xfrm>
                <a:off x="4993481" y="2770535"/>
                <a:ext cx="53975" cy="39688"/>
              </a:xfrm>
              <a:custGeom>
                <a:avLst/>
                <a:gdLst/>
                <a:ahLst/>
                <a:cxnLst>
                  <a:cxn ang="0">
                    <a:pos x="136" y="4"/>
                  </a:cxn>
                  <a:cxn ang="0">
                    <a:pos x="117" y="10"/>
                  </a:cxn>
                  <a:cxn ang="0">
                    <a:pos x="108" y="19"/>
                  </a:cxn>
                  <a:cxn ang="0">
                    <a:pos x="75" y="17"/>
                  </a:cxn>
                  <a:cxn ang="0">
                    <a:pos x="58" y="33"/>
                  </a:cxn>
                  <a:cxn ang="0">
                    <a:pos x="14" y="31"/>
                  </a:cxn>
                  <a:cxn ang="0">
                    <a:pos x="0" y="48"/>
                  </a:cxn>
                  <a:cxn ang="0">
                    <a:pos x="2" y="54"/>
                  </a:cxn>
                  <a:cxn ang="0">
                    <a:pos x="5" y="60"/>
                  </a:cxn>
                  <a:cxn ang="0">
                    <a:pos x="9" y="74"/>
                  </a:cxn>
                  <a:cxn ang="0">
                    <a:pos x="11" y="85"/>
                  </a:cxn>
                  <a:cxn ang="0">
                    <a:pos x="21" y="94"/>
                  </a:cxn>
                  <a:cxn ang="0">
                    <a:pos x="27" y="98"/>
                  </a:cxn>
                  <a:cxn ang="0">
                    <a:pos x="22" y="106"/>
                  </a:cxn>
                  <a:cxn ang="0">
                    <a:pos x="12" y="106"/>
                  </a:cxn>
                  <a:cxn ang="0">
                    <a:pos x="14" y="117"/>
                  </a:cxn>
                  <a:cxn ang="0">
                    <a:pos x="30" y="111"/>
                  </a:cxn>
                  <a:cxn ang="0">
                    <a:pos x="53" y="116"/>
                  </a:cxn>
                  <a:cxn ang="0">
                    <a:pos x="63" y="100"/>
                  </a:cxn>
                  <a:cxn ang="0">
                    <a:pos x="79" y="118"/>
                  </a:cxn>
                  <a:cxn ang="0">
                    <a:pos x="81" y="114"/>
                  </a:cxn>
                  <a:cxn ang="0">
                    <a:pos x="87" y="117"/>
                  </a:cxn>
                  <a:cxn ang="0">
                    <a:pos x="96" y="123"/>
                  </a:cxn>
                  <a:cxn ang="0">
                    <a:pos x="100" y="107"/>
                  </a:cxn>
                  <a:cxn ang="0">
                    <a:pos x="100" y="97"/>
                  </a:cxn>
                  <a:cxn ang="0">
                    <a:pos x="119" y="87"/>
                  </a:cxn>
                  <a:cxn ang="0">
                    <a:pos x="124" y="69"/>
                  </a:cxn>
                  <a:cxn ang="0">
                    <a:pos x="117" y="58"/>
                  </a:cxn>
                  <a:cxn ang="0">
                    <a:pos x="140" y="46"/>
                  </a:cxn>
                  <a:cxn ang="0">
                    <a:pos x="144" y="38"/>
                  </a:cxn>
                  <a:cxn ang="0">
                    <a:pos x="155" y="39"/>
                  </a:cxn>
                  <a:cxn ang="0">
                    <a:pos x="154" y="32"/>
                  </a:cxn>
                  <a:cxn ang="0">
                    <a:pos x="157" y="24"/>
                  </a:cxn>
                  <a:cxn ang="0">
                    <a:pos x="170" y="31"/>
                  </a:cxn>
                  <a:cxn ang="0">
                    <a:pos x="173" y="31"/>
                  </a:cxn>
                  <a:cxn ang="0">
                    <a:pos x="160" y="4"/>
                  </a:cxn>
                  <a:cxn ang="0">
                    <a:pos x="145" y="0"/>
                  </a:cxn>
                </a:cxnLst>
                <a:rect l="0" t="0" r="r" b="b"/>
                <a:pathLst>
                  <a:path w="173" h="123">
                    <a:moveTo>
                      <a:pt x="145" y="0"/>
                    </a:moveTo>
                    <a:lnTo>
                      <a:pt x="136" y="4"/>
                    </a:lnTo>
                    <a:lnTo>
                      <a:pt x="134" y="12"/>
                    </a:lnTo>
                    <a:lnTo>
                      <a:pt x="117" y="10"/>
                    </a:lnTo>
                    <a:lnTo>
                      <a:pt x="113" y="10"/>
                    </a:lnTo>
                    <a:lnTo>
                      <a:pt x="108" y="19"/>
                    </a:lnTo>
                    <a:lnTo>
                      <a:pt x="88" y="15"/>
                    </a:lnTo>
                    <a:lnTo>
                      <a:pt x="75" y="17"/>
                    </a:lnTo>
                    <a:lnTo>
                      <a:pt x="66" y="28"/>
                    </a:lnTo>
                    <a:lnTo>
                      <a:pt x="58" y="33"/>
                    </a:lnTo>
                    <a:lnTo>
                      <a:pt x="30" y="31"/>
                    </a:lnTo>
                    <a:lnTo>
                      <a:pt x="14" y="31"/>
                    </a:lnTo>
                    <a:lnTo>
                      <a:pt x="2" y="41"/>
                    </a:lnTo>
                    <a:lnTo>
                      <a:pt x="0" y="48"/>
                    </a:lnTo>
                    <a:lnTo>
                      <a:pt x="0" y="53"/>
                    </a:lnTo>
                    <a:lnTo>
                      <a:pt x="2" y="54"/>
                    </a:lnTo>
                    <a:lnTo>
                      <a:pt x="7" y="53"/>
                    </a:lnTo>
                    <a:lnTo>
                      <a:pt x="5" y="60"/>
                    </a:lnTo>
                    <a:lnTo>
                      <a:pt x="4" y="68"/>
                    </a:lnTo>
                    <a:lnTo>
                      <a:pt x="9" y="74"/>
                    </a:lnTo>
                    <a:lnTo>
                      <a:pt x="9" y="82"/>
                    </a:lnTo>
                    <a:lnTo>
                      <a:pt x="11" y="85"/>
                    </a:lnTo>
                    <a:lnTo>
                      <a:pt x="18" y="89"/>
                    </a:lnTo>
                    <a:lnTo>
                      <a:pt x="21" y="94"/>
                    </a:lnTo>
                    <a:lnTo>
                      <a:pt x="25" y="95"/>
                    </a:lnTo>
                    <a:lnTo>
                      <a:pt x="27" y="98"/>
                    </a:lnTo>
                    <a:lnTo>
                      <a:pt x="26" y="103"/>
                    </a:lnTo>
                    <a:lnTo>
                      <a:pt x="22" y="106"/>
                    </a:lnTo>
                    <a:lnTo>
                      <a:pt x="17" y="107"/>
                    </a:lnTo>
                    <a:lnTo>
                      <a:pt x="12" y="106"/>
                    </a:lnTo>
                    <a:lnTo>
                      <a:pt x="6" y="111"/>
                    </a:lnTo>
                    <a:lnTo>
                      <a:pt x="14" y="117"/>
                    </a:lnTo>
                    <a:lnTo>
                      <a:pt x="27" y="116"/>
                    </a:lnTo>
                    <a:lnTo>
                      <a:pt x="30" y="111"/>
                    </a:lnTo>
                    <a:lnTo>
                      <a:pt x="36" y="116"/>
                    </a:lnTo>
                    <a:lnTo>
                      <a:pt x="53" y="116"/>
                    </a:lnTo>
                    <a:lnTo>
                      <a:pt x="60" y="100"/>
                    </a:lnTo>
                    <a:lnTo>
                      <a:pt x="63" y="100"/>
                    </a:lnTo>
                    <a:lnTo>
                      <a:pt x="74" y="119"/>
                    </a:lnTo>
                    <a:lnTo>
                      <a:pt x="79" y="118"/>
                    </a:lnTo>
                    <a:lnTo>
                      <a:pt x="79" y="114"/>
                    </a:lnTo>
                    <a:lnTo>
                      <a:pt x="81" y="114"/>
                    </a:lnTo>
                    <a:lnTo>
                      <a:pt x="84" y="117"/>
                    </a:lnTo>
                    <a:lnTo>
                      <a:pt x="87" y="117"/>
                    </a:lnTo>
                    <a:lnTo>
                      <a:pt x="92" y="123"/>
                    </a:lnTo>
                    <a:lnTo>
                      <a:pt x="96" y="123"/>
                    </a:lnTo>
                    <a:lnTo>
                      <a:pt x="101" y="119"/>
                    </a:lnTo>
                    <a:lnTo>
                      <a:pt x="100" y="107"/>
                    </a:lnTo>
                    <a:lnTo>
                      <a:pt x="103" y="102"/>
                    </a:lnTo>
                    <a:lnTo>
                      <a:pt x="100" y="97"/>
                    </a:lnTo>
                    <a:lnTo>
                      <a:pt x="111" y="89"/>
                    </a:lnTo>
                    <a:lnTo>
                      <a:pt x="119" y="87"/>
                    </a:lnTo>
                    <a:lnTo>
                      <a:pt x="124" y="80"/>
                    </a:lnTo>
                    <a:lnTo>
                      <a:pt x="124" y="69"/>
                    </a:lnTo>
                    <a:lnTo>
                      <a:pt x="118" y="62"/>
                    </a:lnTo>
                    <a:lnTo>
                      <a:pt x="117" y="58"/>
                    </a:lnTo>
                    <a:lnTo>
                      <a:pt x="120" y="53"/>
                    </a:lnTo>
                    <a:lnTo>
                      <a:pt x="140" y="46"/>
                    </a:lnTo>
                    <a:lnTo>
                      <a:pt x="144" y="43"/>
                    </a:lnTo>
                    <a:lnTo>
                      <a:pt x="144" y="38"/>
                    </a:lnTo>
                    <a:lnTo>
                      <a:pt x="151" y="38"/>
                    </a:lnTo>
                    <a:lnTo>
                      <a:pt x="155" y="39"/>
                    </a:lnTo>
                    <a:lnTo>
                      <a:pt x="155" y="38"/>
                    </a:lnTo>
                    <a:lnTo>
                      <a:pt x="154" y="32"/>
                    </a:lnTo>
                    <a:lnTo>
                      <a:pt x="154" y="27"/>
                    </a:lnTo>
                    <a:lnTo>
                      <a:pt x="157" y="24"/>
                    </a:lnTo>
                    <a:lnTo>
                      <a:pt x="161" y="25"/>
                    </a:lnTo>
                    <a:lnTo>
                      <a:pt x="170" y="31"/>
                    </a:lnTo>
                    <a:lnTo>
                      <a:pt x="173" y="28"/>
                    </a:lnTo>
                    <a:lnTo>
                      <a:pt x="173" y="31"/>
                    </a:lnTo>
                    <a:lnTo>
                      <a:pt x="165" y="17"/>
                    </a:lnTo>
                    <a:lnTo>
                      <a:pt x="160" y="4"/>
                    </a:lnTo>
                    <a:lnTo>
                      <a:pt x="152" y="0"/>
                    </a:lnTo>
                    <a:lnTo>
                      <a:pt x="145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01" name="Freeform 215"/>
              <p:cNvSpPr>
                <a:spLocks noChangeAspect="1"/>
              </p:cNvSpPr>
              <p:nvPr/>
            </p:nvSpPr>
            <p:spPr bwMode="gray">
              <a:xfrm>
                <a:off x="5117306" y="2881660"/>
                <a:ext cx="41275" cy="33338"/>
              </a:xfrm>
              <a:custGeom>
                <a:avLst/>
                <a:gdLst/>
                <a:ahLst/>
                <a:cxnLst>
                  <a:cxn ang="0">
                    <a:pos x="25" y="107"/>
                  </a:cxn>
                  <a:cxn ang="0">
                    <a:pos x="8" y="90"/>
                  </a:cxn>
                  <a:cxn ang="0">
                    <a:pos x="0" y="70"/>
                  </a:cxn>
                  <a:cxn ang="0">
                    <a:pos x="0" y="53"/>
                  </a:cxn>
                  <a:cxn ang="0">
                    <a:pos x="5" y="17"/>
                  </a:cxn>
                  <a:cxn ang="0">
                    <a:pos x="6" y="19"/>
                  </a:cxn>
                  <a:cxn ang="0">
                    <a:pos x="11" y="19"/>
                  </a:cxn>
                  <a:cxn ang="0">
                    <a:pos x="14" y="16"/>
                  </a:cxn>
                  <a:cxn ang="0">
                    <a:pos x="14" y="8"/>
                  </a:cxn>
                  <a:cxn ang="0">
                    <a:pos x="32" y="1"/>
                  </a:cxn>
                  <a:cxn ang="0">
                    <a:pos x="35" y="3"/>
                  </a:cxn>
                  <a:cxn ang="0">
                    <a:pos x="41" y="10"/>
                  </a:cxn>
                  <a:cxn ang="0">
                    <a:pos x="44" y="10"/>
                  </a:cxn>
                  <a:cxn ang="0">
                    <a:pos x="44" y="5"/>
                  </a:cxn>
                  <a:cxn ang="0">
                    <a:pos x="51" y="0"/>
                  </a:cxn>
                  <a:cxn ang="0">
                    <a:pos x="67" y="4"/>
                  </a:cxn>
                  <a:cxn ang="0">
                    <a:pos x="71" y="0"/>
                  </a:cxn>
                  <a:cxn ang="0">
                    <a:pos x="86" y="3"/>
                  </a:cxn>
                  <a:cxn ang="0">
                    <a:pos x="97" y="1"/>
                  </a:cxn>
                  <a:cxn ang="0">
                    <a:pos x="103" y="4"/>
                  </a:cxn>
                  <a:cxn ang="0">
                    <a:pos x="126" y="24"/>
                  </a:cxn>
                  <a:cxn ang="0">
                    <a:pos x="131" y="53"/>
                  </a:cxn>
                  <a:cxn ang="0">
                    <a:pos x="132" y="69"/>
                  </a:cxn>
                  <a:cxn ang="0">
                    <a:pos x="126" y="71"/>
                  </a:cxn>
                  <a:cxn ang="0">
                    <a:pos x="111" y="85"/>
                  </a:cxn>
                  <a:cxn ang="0">
                    <a:pos x="91" y="85"/>
                  </a:cxn>
                  <a:cxn ang="0">
                    <a:pos x="72" y="92"/>
                  </a:cxn>
                  <a:cxn ang="0">
                    <a:pos x="61" y="102"/>
                  </a:cxn>
                  <a:cxn ang="0">
                    <a:pos x="25" y="107"/>
                  </a:cxn>
                </a:cxnLst>
                <a:rect l="0" t="0" r="r" b="b"/>
                <a:pathLst>
                  <a:path w="132" h="107">
                    <a:moveTo>
                      <a:pt x="25" y="107"/>
                    </a:moveTo>
                    <a:lnTo>
                      <a:pt x="8" y="90"/>
                    </a:lnTo>
                    <a:lnTo>
                      <a:pt x="0" y="70"/>
                    </a:lnTo>
                    <a:lnTo>
                      <a:pt x="0" y="53"/>
                    </a:lnTo>
                    <a:lnTo>
                      <a:pt x="5" y="17"/>
                    </a:lnTo>
                    <a:lnTo>
                      <a:pt x="6" y="19"/>
                    </a:lnTo>
                    <a:lnTo>
                      <a:pt x="11" y="19"/>
                    </a:lnTo>
                    <a:lnTo>
                      <a:pt x="14" y="16"/>
                    </a:lnTo>
                    <a:lnTo>
                      <a:pt x="14" y="8"/>
                    </a:lnTo>
                    <a:lnTo>
                      <a:pt x="32" y="1"/>
                    </a:lnTo>
                    <a:lnTo>
                      <a:pt x="35" y="3"/>
                    </a:lnTo>
                    <a:lnTo>
                      <a:pt x="41" y="10"/>
                    </a:lnTo>
                    <a:lnTo>
                      <a:pt x="44" y="10"/>
                    </a:lnTo>
                    <a:lnTo>
                      <a:pt x="44" y="5"/>
                    </a:lnTo>
                    <a:lnTo>
                      <a:pt x="51" y="0"/>
                    </a:lnTo>
                    <a:lnTo>
                      <a:pt x="67" y="4"/>
                    </a:lnTo>
                    <a:lnTo>
                      <a:pt x="71" y="0"/>
                    </a:lnTo>
                    <a:lnTo>
                      <a:pt x="86" y="3"/>
                    </a:lnTo>
                    <a:lnTo>
                      <a:pt x="97" y="1"/>
                    </a:lnTo>
                    <a:lnTo>
                      <a:pt x="103" y="4"/>
                    </a:lnTo>
                    <a:lnTo>
                      <a:pt x="126" y="24"/>
                    </a:lnTo>
                    <a:lnTo>
                      <a:pt x="131" y="53"/>
                    </a:lnTo>
                    <a:lnTo>
                      <a:pt x="132" y="69"/>
                    </a:lnTo>
                    <a:lnTo>
                      <a:pt x="126" y="71"/>
                    </a:lnTo>
                    <a:lnTo>
                      <a:pt x="111" y="85"/>
                    </a:lnTo>
                    <a:lnTo>
                      <a:pt x="91" y="85"/>
                    </a:lnTo>
                    <a:lnTo>
                      <a:pt x="72" y="92"/>
                    </a:lnTo>
                    <a:lnTo>
                      <a:pt x="61" y="102"/>
                    </a:lnTo>
                    <a:lnTo>
                      <a:pt x="25" y="10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02" name="Freeform 216"/>
              <p:cNvSpPr>
                <a:spLocks noChangeAspect="1"/>
              </p:cNvSpPr>
              <p:nvPr/>
            </p:nvSpPr>
            <p:spPr bwMode="gray">
              <a:xfrm>
                <a:off x="5110956" y="2734022"/>
                <a:ext cx="165100" cy="115888"/>
              </a:xfrm>
              <a:custGeom>
                <a:avLst/>
                <a:gdLst/>
                <a:ahLst/>
                <a:cxnLst>
                  <a:cxn ang="0">
                    <a:pos x="449" y="356"/>
                  </a:cxn>
                  <a:cxn ang="0">
                    <a:pos x="399" y="334"/>
                  </a:cxn>
                  <a:cxn ang="0">
                    <a:pos x="373" y="328"/>
                  </a:cxn>
                  <a:cxn ang="0">
                    <a:pos x="327" y="347"/>
                  </a:cxn>
                  <a:cxn ang="0">
                    <a:pos x="291" y="364"/>
                  </a:cxn>
                  <a:cxn ang="0">
                    <a:pos x="206" y="355"/>
                  </a:cxn>
                  <a:cxn ang="0">
                    <a:pos x="158" y="351"/>
                  </a:cxn>
                  <a:cxn ang="0">
                    <a:pos x="153" y="328"/>
                  </a:cxn>
                  <a:cxn ang="0">
                    <a:pos x="131" y="322"/>
                  </a:cxn>
                  <a:cxn ang="0">
                    <a:pos x="134" y="295"/>
                  </a:cxn>
                  <a:cxn ang="0">
                    <a:pos x="115" y="293"/>
                  </a:cxn>
                  <a:cxn ang="0">
                    <a:pos x="72" y="270"/>
                  </a:cxn>
                  <a:cxn ang="0">
                    <a:pos x="69" y="246"/>
                  </a:cxn>
                  <a:cxn ang="0">
                    <a:pos x="49" y="238"/>
                  </a:cxn>
                  <a:cxn ang="0">
                    <a:pos x="35" y="207"/>
                  </a:cxn>
                  <a:cxn ang="0">
                    <a:pos x="19" y="182"/>
                  </a:cxn>
                  <a:cxn ang="0">
                    <a:pos x="0" y="172"/>
                  </a:cxn>
                  <a:cxn ang="0">
                    <a:pos x="35" y="162"/>
                  </a:cxn>
                  <a:cxn ang="0">
                    <a:pos x="59" y="138"/>
                  </a:cxn>
                  <a:cxn ang="0">
                    <a:pos x="73" y="112"/>
                  </a:cxn>
                  <a:cxn ang="0">
                    <a:pos x="91" y="85"/>
                  </a:cxn>
                  <a:cxn ang="0">
                    <a:pos x="99" y="63"/>
                  </a:cxn>
                  <a:cxn ang="0">
                    <a:pos x="110" y="46"/>
                  </a:cxn>
                  <a:cxn ang="0">
                    <a:pos x="132" y="39"/>
                  </a:cxn>
                  <a:cxn ang="0">
                    <a:pos x="144" y="25"/>
                  </a:cxn>
                  <a:cxn ang="0">
                    <a:pos x="168" y="22"/>
                  </a:cxn>
                  <a:cxn ang="0">
                    <a:pos x="210" y="27"/>
                  </a:cxn>
                  <a:cxn ang="0">
                    <a:pos x="241" y="22"/>
                  </a:cxn>
                  <a:cxn ang="0">
                    <a:pos x="261" y="37"/>
                  </a:cxn>
                  <a:cxn ang="0">
                    <a:pos x="295" y="21"/>
                  </a:cxn>
                  <a:cxn ang="0">
                    <a:pos x="346" y="0"/>
                  </a:cxn>
                  <a:cxn ang="0">
                    <a:pos x="360" y="1"/>
                  </a:cxn>
                  <a:cxn ang="0">
                    <a:pos x="386" y="25"/>
                  </a:cxn>
                  <a:cxn ang="0">
                    <a:pos x="397" y="55"/>
                  </a:cxn>
                  <a:cxn ang="0">
                    <a:pos x="422" y="97"/>
                  </a:cxn>
                  <a:cxn ang="0">
                    <a:pos x="438" y="146"/>
                  </a:cxn>
                  <a:cxn ang="0">
                    <a:pos x="436" y="182"/>
                  </a:cxn>
                  <a:cxn ang="0">
                    <a:pos x="440" y="207"/>
                  </a:cxn>
                  <a:cxn ang="0">
                    <a:pos x="440" y="225"/>
                  </a:cxn>
                  <a:cxn ang="0">
                    <a:pos x="462" y="241"/>
                  </a:cxn>
                  <a:cxn ang="0">
                    <a:pos x="483" y="232"/>
                  </a:cxn>
                  <a:cxn ang="0">
                    <a:pos x="506" y="226"/>
                  </a:cxn>
                  <a:cxn ang="0">
                    <a:pos x="521" y="230"/>
                  </a:cxn>
                  <a:cxn ang="0">
                    <a:pos x="523" y="254"/>
                  </a:cxn>
                  <a:cxn ang="0">
                    <a:pos x="518" y="270"/>
                  </a:cxn>
                  <a:cxn ang="0">
                    <a:pos x="502" y="279"/>
                  </a:cxn>
                  <a:cxn ang="0">
                    <a:pos x="485" y="296"/>
                  </a:cxn>
                  <a:cxn ang="0">
                    <a:pos x="475" y="296"/>
                  </a:cxn>
                  <a:cxn ang="0">
                    <a:pos x="487" y="277"/>
                  </a:cxn>
                  <a:cxn ang="0">
                    <a:pos x="480" y="263"/>
                  </a:cxn>
                  <a:cxn ang="0">
                    <a:pos x="472" y="299"/>
                  </a:cxn>
                  <a:cxn ang="0">
                    <a:pos x="467" y="317"/>
                  </a:cxn>
                  <a:cxn ang="0">
                    <a:pos x="465" y="344"/>
                  </a:cxn>
                </a:cxnLst>
                <a:rect l="0" t="0" r="r" b="b"/>
                <a:pathLst>
                  <a:path w="523" h="364">
                    <a:moveTo>
                      <a:pt x="467" y="355"/>
                    </a:moveTo>
                    <a:lnTo>
                      <a:pt x="449" y="356"/>
                    </a:lnTo>
                    <a:lnTo>
                      <a:pt x="429" y="343"/>
                    </a:lnTo>
                    <a:lnTo>
                      <a:pt x="399" y="334"/>
                    </a:lnTo>
                    <a:lnTo>
                      <a:pt x="393" y="329"/>
                    </a:lnTo>
                    <a:lnTo>
                      <a:pt x="373" y="328"/>
                    </a:lnTo>
                    <a:lnTo>
                      <a:pt x="347" y="337"/>
                    </a:lnTo>
                    <a:lnTo>
                      <a:pt x="327" y="347"/>
                    </a:lnTo>
                    <a:lnTo>
                      <a:pt x="308" y="359"/>
                    </a:lnTo>
                    <a:lnTo>
                      <a:pt x="291" y="364"/>
                    </a:lnTo>
                    <a:lnTo>
                      <a:pt x="247" y="356"/>
                    </a:lnTo>
                    <a:lnTo>
                      <a:pt x="206" y="355"/>
                    </a:lnTo>
                    <a:lnTo>
                      <a:pt x="172" y="351"/>
                    </a:lnTo>
                    <a:lnTo>
                      <a:pt x="158" y="351"/>
                    </a:lnTo>
                    <a:lnTo>
                      <a:pt x="147" y="343"/>
                    </a:lnTo>
                    <a:lnTo>
                      <a:pt x="153" y="328"/>
                    </a:lnTo>
                    <a:lnTo>
                      <a:pt x="141" y="324"/>
                    </a:lnTo>
                    <a:lnTo>
                      <a:pt x="131" y="322"/>
                    </a:lnTo>
                    <a:lnTo>
                      <a:pt x="124" y="306"/>
                    </a:lnTo>
                    <a:lnTo>
                      <a:pt x="134" y="295"/>
                    </a:lnTo>
                    <a:lnTo>
                      <a:pt x="126" y="284"/>
                    </a:lnTo>
                    <a:lnTo>
                      <a:pt x="115" y="293"/>
                    </a:lnTo>
                    <a:lnTo>
                      <a:pt x="87" y="283"/>
                    </a:lnTo>
                    <a:lnTo>
                      <a:pt x="72" y="270"/>
                    </a:lnTo>
                    <a:lnTo>
                      <a:pt x="71" y="256"/>
                    </a:lnTo>
                    <a:lnTo>
                      <a:pt x="69" y="246"/>
                    </a:lnTo>
                    <a:lnTo>
                      <a:pt x="60" y="241"/>
                    </a:lnTo>
                    <a:lnTo>
                      <a:pt x="49" y="238"/>
                    </a:lnTo>
                    <a:lnTo>
                      <a:pt x="40" y="225"/>
                    </a:lnTo>
                    <a:lnTo>
                      <a:pt x="35" y="207"/>
                    </a:lnTo>
                    <a:lnTo>
                      <a:pt x="30" y="194"/>
                    </a:lnTo>
                    <a:lnTo>
                      <a:pt x="19" y="182"/>
                    </a:lnTo>
                    <a:lnTo>
                      <a:pt x="5" y="176"/>
                    </a:lnTo>
                    <a:lnTo>
                      <a:pt x="0" y="172"/>
                    </a:lnTo>
                    <a:lnTo>
                      <a:pt x="3" y="172"/>
                    </a:lnTo>
                    <a:lnTo>
                      <a:pt x="35" y="162"/>
                    </a:lnTo>
                    <a:lnTo>
                      <a:pt x="51" y="155"/>
                    </a:lnTo>
                    <a:lnTo>
                      <a:pt x="59" y="138"/>
                    </a:lnTo>
                    <a:lnTo>
                      <a:pt x="66" y="128"/>
                    </a:lnTo>
                    <a:lnTo>
                      <a:pt x="73" y="112"/>
                    </a:lnTo>
                    <a:lnTo>
                      <a:pt x="78" y="98"/>
                    </a:lnTo>
                    <a:lnTo>
                      <a:pt x="91" y="85"/>
                    </a:lnTo>
                    <a:lnTo>
                      <a:pt x="93" y="74"/>
                    </a:lnTo>
                    <a:lnTo>
                      <a:pt x="99" y="63"/>
                    </a:lnTo>
                    <a:lnTo>
                      <a:pt x="101" y="55"/>
                    </a:lnTo>
                    <a:lnTo>
                      <a:pt x="110" y="46"/>
                    </a:lnTo>
                    <a:lnTo>
                      <a:pt x="125" y="39"/>
                    </a:lnTo>
                    <a:lnTo>
                      <a:pt x="132" y="39"/>
                    </a:lnTo>
                    <a:lnTo>
                      <a:pt x="140" y="32"/>
                    </a:lnTo>
                    <a:lnTo>
                      <a:pt x="144" y="25"/>
                    </a:lnTo>
                    <a:lnTo>
                      <a:pt x="151" y="22"/>
                    </a:lnTo>
                    <a:lnTo>
                      <a:pt x="168" y="22"/>
                    </a:lnTo>
                    <a:lnTo>
                      <a:pt x="187" y="25"/>
                    </a:lnTo>
                    <a:lnTo>
                      <a:pt x="210" y="27"/>
                    </a:lnTo>
                    <a:lnTo>
                      <a:pt x="225" y="24"/>
                    </a:lnTo>
                    <a:lnTo>
                      <a:pt x="241" y="22"/>
                    </a:lnTo>
                    <a:lnTo>
                      <a:pt x="252" y="32"/>
                    </a:lnTo>
                    <a:lnTo>
                      <a:pt x="261" y="37"/>
                    </a:lnTo>
                    <a:lnTo>
                      <a:pt x="277" y="26"/>
                    </a:lnTo>
                    <a:lnTo>
                      <a:pt x="295" y="21"/>
                    </a:lnTo>
                    <a:lnTo>
                      <a:pt x="312" y="21"/>
                    </a:lnTo>
                    <a:lnTo>
                      <a:pt x="346" y="0"/>
                    </a:lnTo>
                    <a:lnTo>
                      <a:pt x="352" y="1"/>
                    </a:lnTo>
                    <a:lnTo>
                      <a:pt x="360" y="1"/>
                    </a:lnTo>
                    <a:lnTo>
                      <a:pt x="372" y="11"/>
                    </a:lnTo>
                    <a:lnTo>
                      <a:pt x="386" y="25"/>
                    </a:lnTo>
                    <a:lnTo>
                      <a:pt x="394" y="38"/>
                    </a:lnTo>
                    <a:lnTo>
                      <a:pt x="397" y="55"/>
                    </a:lnTo>
                    <a:lnTo>
                      <a:pt x="409" y="76"/>
                    </a:lnTo>
                    <a:lnTo>
                      <a:pt x="422" y="97"/>
                    </a:lnTo>
                    <a:lnTo>
                      <a:pt x="433" y="117"/>
                    </a:lnTo>
                    <a:lnTo>
                      <a:pt x="438" y="146"/>
                    </a:lnTo>
                    <a:lnTo>
                      <a:pt x="438" y="166"/>
                    </a:lnTo>
                    <a:lnTo>
                      <a:pt x="436" y="182"/>
                    </a:lnTo>
                    <a:lnTo>
                      <a:pt x="438" y="194"/>
                    </a:lnTo>
                    <a:lnTo>
                      <a:pt x="440" y="207"/>
                    </a:lnTo>
                    <a:lnTo>
                      <a:pt x="440" y="221"/>
                    </a:lnTo>
                    <a:lnTo>
                      <a:pt x="440" y="225"/>
                    </a:lnTo>
                    <a:lnTo>
                      <a:pt x="448" y="224"/>
                    </a:lnTo>
                    <a:lnTo>
                      <a:pt x="462" y="241"/>
                    </a:lnTo>
                    <a:lnTo>
                      <a:pt x="472" y="240"/>
                    </a:lnTo>
                    <a:lnTo>
                      <a:pt x="483" y="232"/>
                    </a:lnTo>
                    <a:lnTo>
                      <a:pt x="497" y="230"/>
                    </a:lnTo>
                    <a:lnTo>
                      <a:pt x="506" y="226"/>
                    </a:lnTo>
                    <a:lnTo>
                      <a:pt x="515" y="226"/>
                    </a:lnTo>
                    <a:lnTo>
                      <a:pt x="521" y="230"/>
                    </a:lnTo>
                    <a:lnTo>
                      <a:pt x="523" y="237"/>
                    </a:lnTo>
                    <a:lnTo>
                      <a:pt x="523" y="254"/>
                    </a:lnTo>
                    <a:lnTo>
                      <a:pt x="521" y="265"/>
                    </a:lnTo>
                    <a:lnTo>
                      <a:pt x="518" y="270"/>
                    </a:lnTo>
                    <a:lnTo>
                      <a:pt x="513" y="277"/>
                    </a:lnTo>
                    <a:lnTo>
                      <a:pt x="502" y="279"/>
                    </a:lnTo>
                    <a:lnTo>
                      <a:pt x="492" y="286"/>
                    </a:lnTo>
                    <a:lnTo>
                      <a:pt x="485" y="296"/>
                    </a:lnTo>
                    <a:lnTo>
                      <a:pt x="478" y="302"/>
                    </a:lnTo>
                    <a:lnTo>
                      <a:pt x="475" y="296"/>
                    </a:lnTo>
                    <a:lnTo>
                      <a:pt x="481" y="289"/>
                    </a:lnTo>
                    <a:lnTo>
                      <a:pt x="487" y="277"/>
                    </a:lnTo>
                    <a:lnTo>
                      <a:pt x="487" y="263"/>
                    </a:lnTo>
                    <a:lnTo>
                      <a:pt x="480" y="263"/>
                    </a:lnTo>
                    <a:lnTo>
                      <a:pt x="476" y="286"/>
                    </a:lnTo>
                    <a:lnTo>
                      <a:pt x="472" y="299"/>
                    </a:lnTo>
                    <a:lnTo>
                      <a:pt x="469" y="310"/>
                    </a:lnTo>
                    <a:lnTo>
                      <a:pt x="467" y="317"/>
                    </a:lnTo>
                    <a:lnTo>
                      <a:pt x="467" y="336"/>
                    </a:lnTo>
                    <a:lnTo>
                      <a:pt x="465" y="344"/>
                    </a:lnTo>
                    <a:lnTo>
                      <a:pt x="467" y="35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03" name="Freeform 217"/>
              <p:cNvSpPr>
                <a:spLocks noChangeAspect="1"/>
              </p:cNvSpPr>
              <p:nvPr/>
            </p:nvSpPr>
            <p:spPr bwMode="gray">
              <a:xfrm>
                <a:off x="5166519" y="2397472"/>
                <a:ext cx="85725" cy="69850"/>
              </a:xfrm>
              <a:custGeom>
                <a:avLst/>
                <a:gdLst/>
                <a:ahLst/>
                <a:cxnLst>
                  <a:cxn ang="0">
                    <a:pos x="124" y="0"/>
                  </a:cxn>
                  <a:cxn ang="0">
                    <a:pos x="140" y="5"/>
                  </a:cxn>
                  <a:cxn ang="0">
                    <a:pos x="159" y="13"/>
                  </a:cxn>
                  <a:cxn ang="0">
                    <a:pos x="184" y="21"/>
                  </a:cxn>
                  <a:cxn ang="0">
                    <a:pos x="239" y="26"/>
                  </a:cxn>
                  <a:cxn ang="0">
                    <a:pos x="253" y="15"/>
                  </a:cxn>
                  <a:cxn ang="0">
                    <a:pos x="265" y="22"/>
                  </a:cxn>
                  <a:cxn ang="0">
                    <a:pos x="264" y="38"/>
                  </a:cxn>
                  <a:cxn ang="0">
                    <a:pos x="244" y="64"/>
                  </a:cxn>
                  <a:cxn ang="0">
                    <a:pos x="242" y="91"/>
                  </a:cxn>
                  <a:cxn ang="0">
                    <a:pos x="240" y="116"/>
                  </a:cxn>
                  <a:cxn ang="0">
                    <a:pos x="243" y="127"/>
                  </a:cxn>
                  <a:cxn ang="0">
                    <a:pos x="232" y="143"/>
                  </a:cxn>
                  <a:cxn ang="0">
                    <a:pos x="224" y="154"/>
                  </a:cxn>
                  <a:cxn ang="0">
                    <a:pos x="237" y="162"/>
                  </a:cxn>
                  <a:cxn ang="0">
                    <a:pos x="261" y="178"/>
                  </a:cxn>
                  <a:cxn ang="0">
                    <a:pos x="250" y="194"/>
                  </a:cxn>
                  <a:cxn ang="0">
                    <a:pos x="233" y="176"/>
                  </a:cxn>
                  <a:cxn ang="0">
                    <a:pos x="229" y="198"/>
                  </a:cxn>
                  <a:cxn ang="0">
                    <a:pos x="224" y="220"/>
                  </a:cxn>
                  <a:cxn ang="0">
                    <a:pos x="206" y="215"/>
                  </a:cxn>
                  <a:cxn ang="0">
                    <a:pos x="183" y="220"/>
                  </a:cxn>
                  <a:cxn ang="0">
                    <a:pos x="153" y="201"/>
                  </a:cxn>
                  <a:cxn ang="0">
                    <a:pos x="134" y="186"/>
                  </a:cxn>
                  <a:cxn ang="0">
                    <a:pos x="104" y="171"/>
                  </a:cxn>
                  <a:cxn ang="0">
                    <a:pos x="65" y="185"/>
                  </a:cxn>
                  <a:cxn ang="0">
                    <a:pos x="50" y="192"/>
                  </a:cxn>
                  <a:cxn ang="0">
                    <a:pos x="56" y="155"/>
                  </a:cxn>
                  <a:cxn ang="0">
                    <a:pos x="60" y="139"/>
                  </a:cxn>
                  <a:cxn ang="0">
                    <a:pos x="43" y="144"/>
                  </a:cxn>
                  <a:cxn ang="0">
                    <a:pos x="28" y="140"/>
                  </a:cxn>
                  <a:cxn ang="0">
                    <a:pos x="14" y="139"/>
                  </a:cxn>
                  <a:cxn ang="0">
                    <a:pos x="5" y="119"/>
                  </a:cxn>
                  <a:cxn ang="0">
                    <a:pos x="7" y="100"/>
                  </a:cxn>
                  <a:cxn ang="0">
                    <a:pos x="16" y="94"/>
                  </a:cxn>
                  <a:cxn ang="0">
                    <a:pos x="3" y="79"/>
                  </a:cxn>
                  <a:cxn ang="0">
                    <a:pos x="5" y="72"/>
                  </a:cxn>
                  <a:cxn ang="0">
                    <a:pos x="3" y="49"/>
                  </a:cxn>
                  <a:cxn ang="0">
                    <a:pos x="35" y="38"/>
                  </a:cxn>
                  <a:cxn ang="0">
                    <a:pos x="39" y="30"/>
                  </a:cxn>
                  <a:cxn ang="0">
                    <a:pos x="54" y="21"/>
                  </a:cxn>
                  <a:cxn ang="0">
                    <a:pos x="77" y="13"/>
                  </a:cxn>
                  <a:cxn ang="0">
                    <a:pos x="108" y="16"/>
                  </a:cxn>
                  <a:cxn ang="0">
                    <a:pos x="111" y="5"/>
                  </a:cxn>
                </a:cxnLst>
                <a:rect l="0" t="0" r="r" b="b"/>
                <a:pathLst>
                  <a:path w="267" h="220">
                    <a:moveTo>
                      <a:pt x="121" y="5"/>
                    </a:moveTo>
                    <a:lnTo>
                      <a:pt x="124" y="0"/>
                    </a:lnTo>
                    <a:lnTo>
                      <a:pt x="131" y="9"/>
                    </a:lnTo>
                    <a:lnTo>
                      <a:pt x="140" y="5"/>
                    </a:lnTo>
                    <a:lnTo>
                      <a:pt x="147" y="6"/>
                    </a:lnTo>
                    <a:lnTo>
                      <a:pt x="159" y="13"/>
                    </a:lnTo>
                    <a:lnTo>
                      <a:pt x="179" y="15"/>
                    </a:lnTo>
                    <a:lnTo>
                      <a:pt x="184" y="21"/>
                    </a:lnTo>
                    <a:lnTo>
                      <a:pt x="196" y="25"/>
                    </a:lnTo>
                    <a:lnTo>
                      <a:pt x="239" y="26"/>
                    </a:lnTo>
                    <a:lnTo>
                      <a:pt x="250" y="22"/>
                    </a:lnTo>
                    <a:lnTo>
                      <a:pt x="253" y="15"/>
                    </a:lnTo>
                    <a:lnTo>
                      <a:pt x="260" y="16"/>
                    </a:lnTo>
                    <a:lnTo>
                      <a:pt x="265" y="22"/>
                    </a:lnTo>
                    <a:lnTo>
                      <a:pt x="267" y="30"/>
                    </a:lnTo>
                    <a:lnTo>
                      <a:pt x="264" y="38"/>
                    </a:lnTo>
                    <a:lnTo>
                      <a:pt x="253" y="49"/>
                    </a:lnTo>
                    <a:lnTo>
                      <a:pt x="244" y="64"/>
                    </a:lnTo>
                    <a:lnTo>
                      <a:pt x="238" y="78"/>
                    </a:lnTo>
                    <a:lnTo>
                      <a:pt x="242" y="91"/>
                    </a:lnTo>
                    <a:lnTo>
                      <a:pt x="239" y="110"/>
                    </a:lnTo>
                    <a:lnTo>
                      <a:pt x="240" y="116"/>
                    </a:lnTo>
                    <a:lnTo>
                      <a:pt x="243" y="121"/>
                    </a:lnTo>
                    <a:lnTo>
                      <a:pt x="243" y="127"/>
                    </a:lnTo>
                    <a:lnTo>
                      <a:pt x="240" y="134"/>
                    </a:lnTo>
                    <a:lnTo>
                      <a:pt x="232" y="143"/>
                    </a:lnTo>
                    <a:lnTo>
                      <a:pt x="227" y="146"/>
                    </a:lnTo>
                    <a:lnTo>
                      <a:pt x="224" y="154"/>
                    </a:lnTo>
                    <a:lnTo>
                      <a:pt x="228" y="161"/>
                    </a:lnTo>
                    <a:lnTo>
                      <a:pt x="237" y="162"/>
                    </a:lnTo>
                    <a:lnTo>
                      <a:pt x="250" y="161"/>
                    </a:lnTo>
                    <a:lnTo>
                      <a:pt x="261" y="178"/>
                    </a:lnTo>
                    <a:lnTo>
                      <a:pt x="260" y="194"/>
                    </a:lnTo>
                    <a:lnTo>
                      <a:pt x="250" y="194"/>
                    </a:lnTo>
                    <a:lnTo>
                      <a:pt x="242" y="183"/>
                    </a:lnTo>
                    <a:lnTo>
                      <a:pt x="233" y="176"/>
                    </a:lnTo>
                    <a:lnTo>
                      <a:pt x="233" y="191"/>
                    </a:lnTo>
                    <a:lnTo>
                      <a:pt x="229" y="198"/>
                    </a:lnTo>
                    <a:lnTo>
                      <a:pt x="223" y="213"/>
                    </a:lnTo>
                    <a:lnTo>
                      <a:pt x="224" y="220"/>
                    </a:lnTo>
                    <a:lnTo>
                      <a:pt x="223" y="219"/>
                    </a:lnTo>
                    <a:lnTo>
                      <a:pt x="206" y="215"/>
                    </a:lnTo>
                    <a:lnTo>
                      <a:pt x="191" y="217"/>
                    </a:lnTo>
                    <a:lnTo>
                      <a:pt x="183" y="220"/>
                    </a:lnTo>
                    <a:lnTo>
                      <a:pt x="175" y="220"/>
                    </a:lnTo>
                    <a:lnTo>
                      <a:pt x="153" y="201"/>
                    </a:lnTo>
                    <a:lnTo>
                      <a:pt x="148" y="191"/>
                    </a:lnTo>
                    <a:lnTo>
                      <a:pt x="134" y="186"/>
                    </a:lnTo>
                    <a:lnTo>
                      <a:pt x="120" y="175"/>
                    </a:lnTo>
                    <a:lnTo>
                      <a:pt x="104" y="171"/>
                    </a:lnTo>
                    <a:lnTo>
                      <a:pt x="78" y="175"/>
                    </a:lnTo>
                    <a:lnTo>
                      <a:pt x="65" y="185"/>
                    </a:lnTo>
                    <a:lnTo>
                      <a:pt x="56" y="186"/>
                    </a:lnTo>
                    <a:lnTo>
                      <a:pt x="50" y="192"/>
                    </a:lnTo>
                    <a:lnTo>
                      <a:pt x="54" y="180"/>
                    </a:lnTo>
                    <a:lnTo>
                      <a:pt x="56" y="155"/>
                    </a:lnTo>
                    <a:lnTo>
                      <a:pt x="60" y="144"/>
                    </a:lnTo>
                    <a:lnTo>
                      <a:pt x="60" y="139"/>
                    </a:lnTo>
                    <a:lnTo>
                      <a:pt x="45" y="137"/>
                    </a:lnTo>
                    <a:lnTo>
                      <a:pt x="43" y="144"/>
                    </a:lnTo>
                    <a:lnTo>
                      <a:pt x="34" y="149"/>
                    </a:lnTo>
                    <a:lnTo>
                      <a:pt x="28" y="140"/>
                    </a:lnTo>
                    <a:lnTo>
                      <a:pt x="22" y="142"/>
                    </a:lnTo>
                    <a:lnTo>
                      <a:pt x="14" y="139"/>
                    </a:lnTo>
                    <a:lnTo>
                      <a:pt x="11" y="128"/>
                    </a:lnTo>
                    <a:lnTo>
                      <a:pt x="5" y="119"/>
                    </a:lnTo>
                    <a:lnTo>
                      <a:pt x="3" y="110"/>
                    </a:lnTo>
                    <a:lnTo>
                      <a:pt x="7" y="100"/>
                    </a:lnTo>
                    <a:lnTo>
                      <a:pt x="18" y="97"/>
                    </a:lnTo>
                    <a:lnTo>
                      <a:pt x="16" y="94"/>
                    </a:lnTo>
                    <a:lnTo>
                      <a:pt x="2" y="92"/>
                    </a:lnTo>
                    <a:lnTo>
                      <a:pt x="3" y="79"/>
                    </a:lnTo>
                    <a:lnTo>
                      <a:pt x="6" y="75"/>
                    </a:lnTo>
                    <a:lnTo>
                      <a:pt x="5" y="72"/>
                    </a:lnTo>
                    <a:lnTo>
                      <a:pt x="0" y="70"/>
                    </a:lnTo>
                    <a:lnTo>
                      <a:pt x="3" y="49"/>
                    </a:lnTo>
                    <a:lnTo>
                      <a:pt x="8" y="46"/>
                    </a:lnTo>
                    <a:lnTo>
                      <a:pt x="35" y="38"/>
                    </a:lnTo>
                    <a:lnTo>
                      <a:pt x="35" y="33"/>
                    </a:lnTo>
                    <a:lnTo>
                      <a:pt x="39" y="30"/>
                    </a:lnTo>
                    <a:lnTo>
                      <a:pt x="48" y="27"/>
                    </a:lnTo>
                    <a:lnTo>
                      <a:pt x="54" y="21"/>
                    </a:lnTo>
                    <a:lnTo>
                      <a:pt x="75" y="22"/>
                    </a:lnTo>
                    <a:lnTo>
                      <a:pt x="77" y="13"/>
                    </a:lnTo>
                    <a:lnTo>
                      <a:pt x="87" y="19"/>
                    </a:lnTo>
                    <a:lnTo>
                      <a:pt x="108" y="16"/>
                    </a:lnTo>
                    <a:lnTo>
                      <a:pt x="113" y="13"/>
                    </a:lnTo>
                    <a:lnTo>
                      <a:pt x="111" y="5"/>
                    </a:lnTo>
                    <a:lnTo>
                      <a:pt x="121" y="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04" name="Freeform 218"/>
              <p:cNvSpPr>
                <a:spLocks noChangeAspect="1"/>
              </p:cNvSpPr>
              <p:nvPr/>
            </p:nvSpPr>
            <p:spPr bwMode="gray">
              <a:xfrm>
                <a:off x="5117306" y="1964085"/>
                <a:ext cx="188913" cy="425450"/>
              </a:xfrm>
              <a:custGeom>
                <a:avLst/>
                <a:gdLst/>
                <a:ahLst/>
                <a:cxnLst>
                  <a:cxn ang="0">
                    <a:pos x="46" y="207"/>
                  </a:cxn>
                  <a:cxn ang="0">
                    <a:pos x="162" y="322"/>
                  </a:cxn>
                  <a:cxn ang="0">
                    <a:pos x="159" y="379"/>
                  </a:cxn>
                  <a:cxn ang="0">
                    <a:pos x="161" y="435"/>
                  </a:cxn>
                  <a:cxn ang="0">
                    <a:pos x="183" y="520"/>
                  </a:cxn>
                  <a:cxn ang="0">
                    <a:pos x="189" y="605"/>
                  </a:cxn>
                  <a:cxn ang="0">
                    <a:pos x="211" y="625"/>
                  </a:cxn>
                  <a:cxn ang="0">
                    <a:pos x="240" y="648"/>
                  </a:cxn>
                  <a:cxn ang="0">
                    <a:pos x="270" y="734"/>
                  </a:cxn>
                  <a:cxn ang="0">
                    <a:pos x="251" y="743"/>
                  </a:cxn>
                  <a:cxn ang="0">
                    <a:pos x="200" y="801"/>
                  </a:cxn>
                  <a:cxn ang="0">
                    <a:pos x="118" y="918"/>
                  </a:cxn>
                  <a:cxn ang="0">
                    <a:pos x="90" y="949"/>
                  </a:cxn>
                  <a:cxn ang="0">
                    <a:pos x="63" y="972"/>
                  </a:cxn>
                  <a:cxn ang="0">
                    <a:pos x="39" y="990"/>
                  </a:cxn>
                  <a:cxn ang="0">
                    <a:pos x="21" y="1019"/>
                  </a:cxn>
                  <a:cxn ang="0">
                    <a:pos x="33" y="1065"/>
                  </a:cxn>
                  <a:cxn ang="0">
                    <a:pos x="43" y="1120"/>
                  </a:cxn>
                  <a:cxn ang="0">
                    <a:pos x="57" y="1152"/>
                  </a:cxn>
                  <a:cxn ang="0">
                    <a:pos x="44" y="1159"/>
                  </a:cxn>
                  <a:cxn ang="0">
                    <a:pos x="39" y="1202"/>
                  </a:cxn>
                  <a:cxn ang="0">
                    <a:pos x="37" y="1224"/>
                  </a:cxn>
                  <a:cxn ang="0">
                    <a:pos x="43" y="1241"/>
                  </a:cxn>
                  <a:cxn ang="0">
                    <a:pos x="64" y="1257"/>
                  </a:cxn>
                  <a:cxn ang="0">
                    <a:pos x="100" y="1278"/>
                  </a:cxn>
                  <a:cxn ang="0">
                    <a:pos x="122" y="1288"/>
                  </a:cxn>
                  <a:cxn ang="0">
                    <a:pos x="136" y="1324"/>
                  </a:cxn>
                  <a:cxn ang="0">
                    <a:pos x="139" y="1333"/>
                  </a:cxn>
                  <a:cxn ang="0">
                    <a:pos x="157" y="1327"/>
                  </a:cxn>
                  <a:cxn ang="0">
                    <a:pos x="200" y="1316"/>
                  </a:cxn>
                  <a:cxn ang="0">
                    <a:pos x="229" y="1299"/>
                  </a:cxn>
                  <a:cxn ang="0">
                    <a:pos x="268" y="1276"/>
                  </a:cxn>
                  <a:cxn ang="0">
                    <a:pos x="290" y="1272"/>
                  </a:cxn>
                  <a:cxn ang="0">
                    <a:pos x="329" y="1268"/>
                  </a:cxn>
                  <a:cxn ang="0">
                    <a:pos x="377" y="1265"/>
                  </a:cxn>
                  <a:cxn ang="0">
                    <a:pos x="423" y="1231"/>
                  </a:cxn>
                  <a:cxn ang="0">
                    <a:pos x="576" y="1050"/>
                  </a:cxn>
                  <a:cxn ang="0">
                    <a:pos x="579" y="962"/>
                  </a:cxn>
                  <a:cxn ang="0">
                    <a:pos x="530" y="891"/>
                  </a:cxn>
                  <a:cxn ang="0">
                    <a:pos x="549" y="822"/>
                  </a:cxn>
                  <a:cxn ang="0">
                    <a:pos x="520" y="753"/>
                  </a:cxn>
                  <a:cxn ang="0">
                    <a:pos x="507" y="699"/>
                  </a:cxn>
                  <a:cxn ang="0">
                    <a:pos x="525" y="639"/>
                  </a:cxn>
                  <a:cxn ang="0">
                    <a:pos x="495" y="546"/>
                  </a:cxn>
                  <a:cxn ang="0">
                    <a:pos x="474" y="469"/>
                  </a:cxn>
                  <a:cxn ang="0">
                    <a:pos x="514" y="354"/>
                  </a:cxn>
                  <a:cxn ang="0">
                    <a:pos x="456" y="291"/>
                  </a:cxn>
                  <a:cxn ang="0">
                    <a:pos x="434" y="232"/>
                  </a:cxn>
                  <a:cxn ang="0">
                    <a:pos x="436" y="185"/>
                  </a:cxn>
                  <a:cxn ang="0">
                    <a:pos x="460" y="126"/>
                  </a:cxn>
                  <a:cxn ang="0">
                    <a:pos x="453" y="41"/>
                  </a:cxn>
                  <a:cxn ang="0">
                    <a:pos x="409" y="0"/>
                  </a:cxn>
                  <a:cxn ang="0">
                    <a:pos x="310" y="32"/>
                  </a:cxn>
                  <a:cxn ang="0">
                    <a:pos x="283" y="132"/>
                  </a:cxn>
                  <a:cxn ang="0">
                    <a:pos x="248" y="201"/>
                  </a:cxn>
                  <a:cxn ang="0">
                    <a:pos x="207" y="205"/>
                  </a:cxn>
                  <a:cxn ang="0">
                    <a:pos x="156" y="214"/>
                  </a:cxn>
                  <a:cxn ang="0">
                    <a:pos x="98" y="196"/>
                  </a:cxn>
                  <a:cxn ang="0">
                    <a:pos x="37" y="116"/>
                  </a:cxn>
                  <a:cxn ang="0">
                    <a:pos x="20" y="150"/>
                  </a:cxn>
                </a:cxnLst>
                <a:rect l="0" t="0" r="r" b="b"/>
                <a:pathLst>
                  <a:path w="593" h="1339">
                    <a:moveTo>
                      <a:pt x="0" y="156"/>
                    </a:moveTo>
                    <a:lnTo>
                      <a:pt x="3" y="156"/>
                    </a:lnTo>
                    <a:lnTo>
                      <a:pt x="5" y="161"/>
                    </a:lnTo>
                    <a:lnTo>
                      <a:pt x="46" y="207"/>
                    </a:lnTo>
                    <a:lnTo>
                      <a:pt x="76" y="237"/>
                    </a:lnTo>
                    <a:lnTo>
                      <a:pt x="112" y="248"/>
                    </a:lnTo>
                    <a:lnTo>
                      <a:pt x="130" y="266"/>
                    </a:lnTo>
                    <a:lnTo>
                      <a:pt x="162" y="322"/>
                    </a:lnTo>
                    <a:lnTo>
                      <a:pt x="165" y="329"/>
                    </a:lnTo>
                    <a:lnTo>
                      <a:pt x="160" y="342"/>
                    </a:lnTo>
                    <a:lnTo>
                      <a:pt x="159" y="358"/>
                    </a:lnTo>
                    <a:lnTo>
                      <a:pt x="159" y="379"/>
                    </a:lnTo>
                    <a:lnTo>
                      <a:pt x="160" y="393"/>
                    </a:lnTo>
                    <a:lnTo>
                      <a:pt x="165" y="399"/>
                    </a:lnTo>
                    <a:lnTo>
                      <a:pt x="167" y="414"/>
                    </a:lnTo>
                    <a:lnTo>
                      <a:pt x="161" y="435"/>
                    </a:lnTo>
                    <a:lnTo>
                      <a:pt x="164" y="452"/>
                    </a:lnTo>
                    <a:lnTo>
                      <a:pt x="184" y="498"/>
                    </a:lnTo>
                    <a:lnTo>
                      <a:pt x="184" y="510"/>
                    </a:lnTo>
                    <a:lnTo>
                      <a:pt x="183" y="520"/>
                    </a:lnTo>
                    <a:lnTo>
                      <a:pt x="175" y="533"/>
                    </a:lnTo>
                    <a:lnTo>
                      <a:pt x="171" y="551"/>
                    </a:lnTo>
                    <a:lnTo>
                      <a:pt x="175" y="571"/>
                    </a:lnTo>
                    <a:lnTo>
                      <a:pt x="189" y="605"/>
                    </a:lnTo>
                    <a:lnTo>
                      <a:pt x="197" y="613"/>
                    </a:lnTo>
                    <a:lnTo>
                      <a:pt x="202" y="614"/>
                    </a:lnTo>
                    <a:lnTo>
                      <a:pt x="205" y="622"/>
                    </a:lnTo>
                    <a:lnTo>
                      <a:pt x="211" y="625"/>
                    </a:lnTo>
                    <a:lnTo>
                      <a:pt x="216" y="619"/>
                    </a:lnTo>
                    <a:lnTo>
                      <a:pt x="220" y="623"/>
                    </a:lnTo>
                    <a:lnTo>
                      <a:pt x="224" y="637"/>
                    </a:lnTo>
                    <a:lnTo>
                      <a:pt x="240" y="648"/>
                    </a:lnTo>
                    <a:lnTo>
                      <a:pt x="257" y="671"/>
                    </a:lnTo>
                    <a:lnTo>
                      <a:pt x="262" y="684"/>
                    </a:lnTo>
                    <a:lnTo>
                      <a:pt x="259" y="714"/>
                    </a:lnTo>
                    <a:lnTo>
                      <a:pt x="270" y="734"/>
                    </a:lnTo>
                    <a:lnTo>
                      <a:pt x="262" y="732"/>
                    </a:lnTo>
                    <a:lnTo>
                      <a:pt x="258" y="740"/>
                    </a:lnTo>
                    <a:lnTo>
                      <a:pt x="262" y="750"/>
                    </a:lnTo>
                    <a:lnTo>
                      <a:pt x="251" y="743"/>
                    </a:lnTo>
                    <a:lnTo>
                      <a:pt x="241" y="745"/>
                    </a:lnTo>
                    <a:lnTo>
                      <a:pt x="222" y="752"/>
                    </a:lnTo>
                    <a:lnTo>
                      <a:pt x="214" y="788"/>
                    </a:lnTo>
                    <a:lnTo>
                      <a:pt x="200" y="801"/>
                    </a:lnTo>
                    <a:lnTo>
                      <a:pt x="181" y="828"/>
                    </a:lnTo>
                    <a:lnTo>
                      <a:pt x="156" y="855"/>
                    </a:lnTo>
                    <a:lnTo>
                      <a:pt x="140" y="879"/>
                    </a:lnTo>
                    <a:lnTo>
                      <a:pt x="118" y="918"/>
                    </a:lnTo>
                    <a:lnTo>
                      <a:pt x="108" y="925"/>
                    </a:lnTo>
                    <a:lnTo>
                      <a:pt x="102" y="935"/>
                    </a:lnTo>
                    <a:lnTo>
                      <a:pt x="97" y="940"/>
                    </a:lnTo>
                    <a:lnTo>
                      <a:pt x="90" y="949"/>
                    </a:lnTo>
                    <a:lnTo>
                      <a:pt x="70" y="952"/>
                    </a:lnTo>
                    <a:lnTo>
                      <a:pt x="62" y="949"/>
                    </a:lnTo>
                    <a:lnTo>
                      <a:pt x="55" y="962"/>
                    </a:lnTo>
                    <a:lnTo>
                      <a:pt x="63" y="972"/>
                    </a:lnTo>
                    <a:lnTo>
                      <a:pt x="59" y="974"/>
                    </a:lnTo>
                    <a:lnTo>
                      <a:pt x="42" y="976"/>
                    </a:lnTo>
                    <a:lnTo>
                      <a:pt x="43" y="982"/>
                    </a:lnTo>
                    <a:lnTo>
                      <a:pt x="39" y="990"/>
                    </a:lnTo>
                    <a:lnTo>
                      <a:pt x="33" y="990"/>
                    </a:lnTo>
                    <a:lnTo>
                      <a:pt x="30" y="993"/>
                    </a:lnTo>
                    <a:lnTo>
                      <a:pt x="26" y="1000"/>
                    </a:lnTo>
                    <a:lnTo>
                      <a:pt x="21" y="1019"/>
                    </a:lnTo>
                    <a:lnTo>
                      <a:pt x="23" y="1039"/>
                    </a:lnTo>
                    <a:lnTo>
                      <a:pt x="26" y="1047"/>
                    </a:lnTo>
                    <a:lnTo>
                      <a:pt x="30" y="1053"/>
                    </a:lnTo>
                    <a:lnTo>
                      <a:pt x="33" y="1065"/>
                    </a:lnTo>
                    <a:lnTo>
                      <a:pt x="30" y="1091"/>
                    </a:lnTo>
                    <a:lnTo>
                      <a:pt x="35" y="1101"/>
                    </a:lnTo>
                    <a:lnTo>
                      <a:pt x="42" y="1109"/>
                    </a:lnTo>
                    <a:lnTo>
                      <a:pt x="43" y="1120"/>
                    </a:lnTo>
                    <a:lnTo>
                      <a:pt x="47" y="1135"/>
                    </a:lnTo>
                    <a:lnTo>
                      <a:pt x="50" y="1144"/>
                    </a:lnTo>
                    <a:lnTo>
                      <a:pt x="55" y="1150"/>
                    </a:lnTo>
                    <a:lnTo>
                      <a:pt x="57" y="1152"/>
                    </a:lnTo>
                    <a:lnTo>
                      <a:pt x="52" y="1148"/>
                    </a:lnTo>
                    <a:lnTo>
                      <a:pt x="47" y="1148"/>
                    </a:lnTo>
                    <a:lnTo>
                      <a:pt x="43" y="1152"/>
                    </a:lnTo>
                    <a:lnTo>
                      <a:pt x="44" y="1159"/>
                    </a:lnTo>
                    <a:lnTo>
                      <a:pt x="43" y="1165"/>
                    </a:lnTo>
                    <a:lnTo>
                      <a:pt x="44" y="1173"/>
                    </a:lnTo>
                    <a:lnTo>
                      <a:pt x="44" y="1188"/>
                    </a:lnTo>
                    <a:lnTo>
                      <a:pt x="39" y="1202"/>
                    </a:lnTo>
                    <a:lnTo>
                      <a:pt x="36" y="1202"/>
                    </a:lnTo>
                    <a:lnTo>
                      <a:pt x="33" y="1211"/>
                    </a:lnTo>
                    <a:lnTo>
                      <a:pt x="37" y="1218"/>
                    </a:lnTo>
                    <a:lnTo>
                      <a:pt x="37" y="1224"/>
                    </a:lnTo>
                    <a:lnTo>
                      <a:pt x="36" y="1229"/>
                    </a:lnTo>
                    <a:lnTo>
                      <a:pt x="37" y="1234"/>
                    </a:lnTo>
                    <a:lnTo>
                      <a:pt x="44" y="1237"/>
                    </a:lnTo>
                    <a:lnTo>
                      <a:pt x="43" y="1241"/>
                    </a:lnTo>
                    <a:lnTo>
                      <a:pt x="38" y="1242"/>
                    </a:lnTo>
                    <a:lnTo>
                      <a:pt x="39" y="1249"/>
                    </a:lnTo>
                    <a:lnTo>
                      <a:pt x="53" y="1249"/>
                    </a:lnTo>
                    <a:lnTo>
                      <a:pt x="64" y="1257"/>
                    </a:lnTo>
                    <a:lnTo>
                      <a:pt x="69" y="1264"/>
                    </a:lnTo>
                    <a:lnTo>
                      <a:pt x="80" y="1269"/>
                    </a:lnTo>
                    <a:lnTo>
                      <a:pt x="97" y="1274"/>
                    </a:lnTo>
                    <a:lnTo>
                      <a:pt x="100" y="1278"/>
                    </a:lnTo>
                    <a:lnTo>
                      <a:pt x="97" y="1285"/>
                    </a:lnTo>
                    <a:lnTo>
                      <a:pt x="106" y="1291"/>
                    </a:lnTo>
                    <a:lnTo>
                      <a:pt x="121" y="1283"/>
                    </a:lnTo>
                    <a:lnTo>
                      <a:pt x="122" y="1288"/>
                    </a:lnTo>
                    <a:lnTo>
                      <a:pt x="122" y="1300"/>
                    </a:lnTo>
                    <a:lnTo>
                      <a:pt x="130" y="1313"/>
                    </a:lnTo>
                    <a:lnTo>
                      <a:pt x="129" y="1321"/>
                    </a:lnTo>
                    <a:lnTo>
                      <a:pt x="136" y="1324"/>
                    </a:lnTo>
                    <a:lnTo>
                      <a:pt x="134" y="1331"/>
                    </a:lnTo>
                    <a:lnTo>
                      <a:pt x="124" y="1338"/>
                    </a:lnTo>
                    <a:lnTo>
                      <a:pt x="129" y="1339"/>
                    </a:lnTo>
                    <a:lnTo>
                      <a:pt x="139" y="1333"/>
                    </a:lnTo>
                    <a:lnTo>
                      <a:pt x="150" y="1313"/>
                    </a:lnTo>
                    <a:lnTo>
                      <a:pt x="152" y="1316"/>
                    </a:lnTo>
                    <a:lnTo>
                      <a:pt x="152" y="1326"/>
                    </a:lnTo>
                    <a:lnTo>
                      <a:pt x="157" y="1327"/>
                    </a:lnTo>
                    <a:lnTo>
                      <a:pt x="181" y="1315"/>
                    </a:lnTo>
                    <a:lnTo>
                      <a:pt x="189" y="1315"/>
                    </a:lnTo>
                    <a:lnTo>
                      <a:pt x="197" y="1311"/>
                    </a:lnTo>
                    <a:lnTo>
                      <a:pt x="200" y="1316"/>
                    </a:lnTo>
                    <a:lnTo>
                      <a:pt x="203" y="1316"/>
                    </a:lnTo>
                    <a:lnTo>
                      <a:pt x="213" y="1306"/>
                    </a:lnTo>
                    <a:lnTo>
                      <a:pt x="221" y="1300"/>
                    </a:lnTo>
                    <a:lnTo>
                      <a:pt x="229" y="1299"/>
                    </a:lnTo>
                    <a:lnTo>
                      <a:pt x="235" y="1301"/>
                    </a:lnTo>
                    <a:lnTo>
                      <a:pt x="251" y="1291"/>
                    </a:lnTo>
                    <a:lnTo>
                      <a:pt x="261" y="1290"/>
                    </a:lnTo>
                    <a:lnTo>
                      <a:pt x="268" y="1276"/>
                    </a:lnTo>
                    <a:lnTo>
                      <a:pt x="273" y="1286"/>
                    </a:lnTo>
                    <a:lnTo>
                      <a:pt x="291" y="1279"/>
                    </a:lnTo>
                    <a:lnTo>
                      <a:pt x="289" y="1269"/>
                    </a:lnTo>
                    <a:lnTo>
                      <a:pt x="290" y="1272"/>
                    </a:lnTo>
                    <a:lnTo>
                      <a:pt x="299" y="1275"/>
                    </a:lnTo>
                    <a:lnTo>
                      <a:pt x="305" y="1275"/>
                    </a:lnTo>
                    <a:lnTo>
                      <a:pt x="311" y="1269"/>
                    </a:lnTo>
                    <a:lnTo>
                      <a:pt x="329" y="1268"/>
                    </a:lnTo>
                    <a:lnTo>
                      <a:pt x="342" y="1263"/>
                    </a:lnTo>
                    <a:lnTo>
                      <a:pt x="351" y="1258"/>
                    </a:lnTo>
                    <a:lnTo>
                      <a:pt x="359" y="1263"/>
                    </a:lnTo>
                    <a:lnTo>
                      <a:pt x="377" y="1265"/>
                    </a:lnTo>
                    <a:lnTo>
                      <a:pt x="382" y="1262"/>
                    </a:lnTo>
                    <a:lnTo>
                      <a:pt x="386" y="1257"/>
                    </a:lnTo>
                    <a:lnTo>
                      <a:pt x="387" y="1258"/>
                    </a:lnTo>
                    <a:lnTo>
                      <a:pt x="423" y="1231"/>
                    </a:lnTo>
                    <a:lnTo>
                      <a:pt x="473" y="1182"/>
                    </a:lnTo>
                    <a:lnTo>
                      <a:pt x="511" y="1139"/>
                    </a:lnTo>
                    <a:lnTo>
                      <a:pt x="563" y="1070"/>
                    </a:lnTo>
                    <a:lnTo>
                      <a:pt x="576" y="1050"/>
                    </a:lnTo>
                    <a:lnTo>
                      <a:pt x="592" y="1012"/>
                    </a:lnTo>
                    <a:lnTo>
                      <a:pt x="593" y="973"/>
                    </a:lnTo>
                    <a:lnTo>
                      <a:pt x="589" y="979"/>
                    </a:lnTo>
                    <a:lnTo>
                      <a:pt x="579" y="962"/>
                    </a:lnTo>
                    <a:lnTo>
                      <a:pt x="574" y="945"/>
                    </a:lnTo>
                    <a:lnTo>
                      <a:pt x="544" y="922"/>
                    </a:lnTo>
                    <a:lnTo>
                      <a:pt x="536" y="909"/>
                    </a:lnTo>
                    <a:lnTo>
                      <a:pt x="530" y="891"/>
                    </a:lnTo>
                    <a:lnTo>
                      <a:pt x="534" y="875"/>
                    </a:lnTo>
                    <a:lnTo>
                      <a:pt x="544" y="860"/>
                    </a:lnTo>
                    <a:lnTo>
                      <a:pt x="550" y="842"/>
                    </a:lnTo>
                    <a:lnTo>
                      <a:pt x="549" y="822"/>
                    </a:lnTo>
                    <a:lnTo>
                      <a:pt x="533" y="807"/>
                    </a:lnTo>
                    <a:lnTo>
                      <a:pt x="526" y="791"/>
                    </a:lnTo>
                    <a:lnTo>
                      <a:pt x="528" y="770"/>
                    </a:lnTo>
                    <a:lnTo>
                      <a:pt x="520" y="753"/>
                    </a:lnTo>
                    <a:lnTo>
                      <a:pt x="504" y="750"/>
                    </a:lnTo>
                    <a:lnTo>
                      <a:pt x="503" y="729"/>
                    </a:lnTo>
                    <a:lnTo>
                      <a:pt x="509" y="718"/>
                    </a:lnTo>
                    <a:lnTo>
                      <a:pt x="507" y="699"/>
                    </a:lnTo>
                    <a:lnTo>
                      <a:pt x="504" y="689"/>
                    </a:lnTo>
                    <a:lnTo>
                      <a:pt x="509" y="673"/>
                    </a:lnTo>
                    <a:lnTo>
                      <a:pt x="511" y="651"/>
                    </a:lnTo>
                    <a:lnTo>
                      <a:pt x="525" y="639"/>
                    </a:lnTo>
                    <a:lnTo>
                      <a:pt x="523" y="624"/>
                    </a:lnTo>
                    <a:lnTo>
                      <a:pt x="521" y="607"/>
                    </a:lnTo>
                    <a:lnTo>
                      <a:pt x="510" y="573"/>
                    </a:lnTo>
                    <a:lnTo>
                      <a:pt x="495" y="546"/>
                    </a:lnTo>
                    <a:lnTo>
                      <a:pt x="493" y="527"/>
                    </a:lnTo>
                    <a:lnTo>
                      <a:pt x="485" y="510"/>
                    </a:lnTo>
                    <a:lnTo>
                      <a:pt x="476" y="490"/>
                    </a:lnTo>
                    <a:lnTo>
                      <a:pt x="474" y="469"/>
                    </a:lnTo>
                    <a:lnTo>
                      <a:pt x="480" y="456"/>
                    </a:lnTo>
                    <a:lnTo>
                      <a:pt x="499" y="413"/>
                    </a:lnTo>
                    <a:lnTo>
                      <a:pt x="517" y="376"/>
                    </a:lnTo>
                    <a:lnTo>
                      <a:pt x="514" y="354"/>
                    </a:lnTo>
                    <a:lnTo>
                      <a:pt x="504" y="339"/>
                    </a:lnTo>
                    <a:lnTo>
                      <a:pt x="484" y="301"/>
                    </a:lnTo>
                    <a:lnTo>
                      <a:pt x="469" y="294"/>
                    </a:lnTo>
                    <a:lnTo>
                      <a:pt x="456" y="291"/>
                    </a:lnTo>
                    <a:lnTo>
                      <a:pt x="446" y="285"/>
                    </a:lnTo>
                    <a:lnTo>
                      <a:pt x="441" y="278"/>
                    </a:lnTo>
                    <a:lnTo>
                      <a:pt x="436" y="258"/>
                    </a:lnTo>
                    <a:lnTo>
                      <a:pt x="434" y="232"/>
                    </a:lnTo>
                    <a:lnTo>
                      <a:pt x="435" y="223"/>
                    </a:lnTo>
                    <a:lnTo>
                      <a:pt x="446" y="194"/>
                    </a:lnTo>
                    <a:lnTo>
                      <a:pt x="446" y="189"/>
                    </a:lnTo>
                    <a:lnTo>
                      <a:pt x="436" y="185"/>
                    </a:lnTo>
                    <a:lnTo>
                      <a:pt x="467" y="158"/>
                    </a:lnTo>
                    <a:lnTo>
                      <a:pt x="457" y="150"/>
                    </a:lnTo>
                    <a:lnTo>
                      <a:pt x="456" y="139"/>
                    </a:lnTo>
                    <a:lnTo>
                      <a:pt x="460" y="126"/>
                    </a:lnTo>
                    <a:lnTo>
                      <a:pt x="479" y="102"/>
                    </a:lnTo>
                    <a:lnTo>
                      <a:pt x="478" y="86"/>
                    </a:lnTo>
                    <a:lnTo>
                      <a:pt x="471" y="58"/>
                    </a:lnTo>
                    <a:lnTo>
                      <a:pt x="453" y="41"/>
                    </a:lnTo>
                    <a:lnTo>
                      <a:pt x="435" y="35"/>
                    </a:lnTo>
                    <a:lnTo>
                      <a:pt x="425" y="26"/>
                    </a:lnTo>
                    <a:lnTo>
                      <a:pt x="415" y="5"/>
                    </a:lnTo>
                    <a:lnTo>
                      <a:pt x="409" y="0"/>
                    </a:lnTo>
                    <a:lnTo>
                      <a:pt x="386" y="5"/>
                    </a:lnTo>
                    <a:lnTo>
                      <a:pt x="348" y="22"/>
                    </a:lnTo>
                    <a:lnTo>
                      <a:pt x="323" y="25"/>
                    </a:lnTo>
                    <a:lnTo>
                      <a:pt x="310" y="32"/>
                    </a:lnTo>
                    <a:lnTo>
                      <a:pt x="300" y="45"/>
                    </a:lnTo>
                    <a:lnTo>
                      <a:pt x="286" y="76"/>
                    </a:lnTo>
                    <a:lnTo>
                      <a:pt x="283" y="118"/>
                    </a:lnTo>
                    <a:lnTo>
                      <a:pt x="283" y="132"/>
                    </a:lnTo>
                    <a:lnTo>
                      <a:pt x="285" y="155"/>
                    </a:lnTo>
                    <a:lnTo>
                      <a:pt x="283" y="167"/>
                    </a:lnTo>
                    <a:lnTo>
                      <a:pt x="257" y="187"/>
                    </a:lnTo>
                    <a:lnTo>
                      <a:pt x="248" y="201"/>
                    </a:lnTo>
                    <a:lnTo>
                      <a:pt x="236" y="210"/>
                    </a:lnTo>
                    <a:lnTo>
                      <a:pt x="220" y="218"/>
                    </a:lnTo>
                    <a:lnTo>
                      <a:pt x="210" y="214"/>
                    </a:lnTo>
                    <a:lnTo>
                      <a:pt x="207" y="205"/>
                    </a:lnTo>
                    <a:lnTo>
                      <a:pt x="198" y="193"/>
                    </a:lnTo>
                    <a:lnTo>
                      <a:pt x="188" y="186"/>
                    </a:lnTo>
                    <a:lnTo>
                      <a:pt x="171" y="205"/>
                    </a:lnTo>
                    <a:lnTo>
                      <a:pt x="156" y="214"/>
                    </a:lnTo>
                    <a:lnTo>
                      <a:pt x="144" y="215"/>
                    </a:lnTo>
                    <a:lnTo>
                      <a:pt x="129" y="208"/>
                    </a:lnTo>
                    <a:lnTo>
                      <a:pt x="103" y="204"/>
                    </a:lnTo>
                    <a:lnTo>
                      <a:pt x="98" y="196"/>
                    </a:lnTo>
                    <a:lnTo>
                      <a:pt x="93" y="177"/>
                    </a:lnTo>
                    <a:lnTo>
                      <a:pt x="63" y="133"/>
                    </a:lnTo>
                    <a:lnTo>
                      <a:pt x="52" y="122"/>
                    </a:lnTo>
                    <a:lnTo>
                      <a:pt x="37" y="116"/>
                    </a:lnTo>
                    <a:lnTo>
                      <a:pt x="25" y="122"/>
                    </a:lnTo>
                    <a:lnTo>
                      <a:pt x="26" y="134"/>
                    </a:lnTo>
                    <a:lnTo>
                      <a:pt x="28" y="146"/>
                    </a:lnTo>
                    <a:lnTo>
                      <a:pt x="20" y="150"/>
                    </a:lnTo>
                    <a:lnTo>
                      <a:pt x="11" y="145"/>
                    </a:lnTo>
                    <a:lnTo>
                      <a:pt x="3" y="149"/>
                    </a:lnTo>
                    <a:lnTo>
                      <a:pt x="0" y="15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05" name="Freeform 219"/>
              <p:cNvSpPr>
                <a:spLocks noChangeAspect="1"/>
              </p:cNvSpPr>
              <p:nvPr/>
            </p:nvSpPr>
            <p:spPr bwMode="gray">
              <a:xfrm>
                <a:off x="4899819" y="2460972"/>
                <a:ext cx="49213" cy="90488"/>
              </a:xfrm>
              <a:custGeom>
                <a:avLst/>
                <a:gdLst/>
                <a:ahLst/>
                <a:cxnLst>
                  <a:cxn ang="0">
                    <a:pos x="43" y="278"/>
                  </a:cxn>
                  <a:cxn ang="0">
                    <a:pos x="75" y="280"/>
                  </a:cxn>
                  <a:cxn ang="0">
                    <a:pos x="80" y="276"/>
                  </a:cxn>
                  <a:cxn ang="0">
                    <a:pos x="84" y="279"/>
                  </a:cxn>
                  <a:cxn ang="0">
                    <a:pos x="89" y="275"/>
                  </a:cxn>
                  <a:cxn ang="0">
                    <a:pos x="83" y="266"/>
                  </a:cxn>
                  <a:cxn ang="0">
                    <a:pos x="75" y="262"/>
                  </a:cxn>
                  <a:cxn ang="0">
                    <a:pos x="85" y="247"/>
                  </a:cxn>
                  <a:cxn ang="0">
                    <a:pos x="83" y="243"/>
                  </a:cxn>
                  <a:cxn ang="0">
                    <a:pos x="84" y="223"/>
                  </a:cxn>
                  <a:cxn ang="0">
                    <a:pos x="91" y="210"/>
                  </a:cxn>
                  <a:cxn ang="0">
                    <a:pos x="84" y="200"/>
                  </a:cxn>
                  <a:cxn ang="0">
                    <a:pos x="102" y="199"/>
                  </a:cxn>
                  <a:cxn ang="0">
                    <a:pos x="98" y="185"/>
                  </a:cxn>
                  <a:cxn ang="0">
                    <a:pos x="116" y="182"/>
                  </a:cxn>
                  <a:cxn ang="0">
                    <a:pos x="118" y="163"/>
                  </a:cxn>
                  <a:cxn ang="0">
                    <a:pos x="127" y="149"/>
                  </a:cxn>
                  <a:cxn ang="0">
                    <a:pos x="130" y="161"/>
                  </a:cxn>
                  <a:cxn ang="0">
                    <a:pos x="138" y="156"/>
                  </a:cxn>
                  <a:cxn ang="0">
                    <a:pos x="154" y="133"/>
                  </a:cxn>
                  <a:cxn ang="0">
                    <a:pos x="146" y="123"/>
                  </a:cxn>
                  <a:cxn ang="0">
                    <a:pos x="129" y="126"/>
                  </a:cxn>
                  <a:cxn ang="0">
                    <a:pos x="119" y="120"/>
                  </a:cxn>
                  <a:cxn ang="0">
                    <a:pos x="112" y="123"/>
                  </a:cxn>
                  <a:cxn ang="0">
                    <a:pos x="119" y="109"/>
                  </a:cxn>
                  <a:cxn ang="0">
                    <a:pos x="108" y="109"/>
                  </a:cxn>
                  <a:cxn ang="0">
                    <a:pos x="117" y="102"/>
                  </a:cxn>
                  <a:cxn ang="0">
                    <a:pos x="118" y="92"/>
                  </a:cxn>
                  <a:cxn ang="0">
                    <a:pos x="122" y="66"/>
                  </a:cxn>
                  <a:cxn ang="0">
                    <a:pos x="132" y="39"/>
                  </a:cxn>
                  <a:cxn ang="0">
                    <a:pos x="128" y="10"/>
                  </a:cxn>
                  <a:cxn ang="0">
                    <a:pos x="129" y="0"/>
                  </a:cxn>
                  <a:cxn ang="0">
                    <a:pos x="101" y="17"/>
                  </a:cxn>
                  <a:cxn ang="0">
                    <a:pos x="83" y="45"/>
                  </a:cxn>
                  <a:cxn ang="0">
                    <a:pos x="28" y="63"/>
                  </a:cxn>
                  <a:cxn ang="0">
                    <a:pos x="15" y="82"/>
                  </a:cxn>
                  <a:cxn ang="0">
                    <a:pos x="6" y="119"/>
                  </a:cxn>
                  <a:cxn ang="0">
                    <a:pos x="0" y="146"/>
                  </a:cxn>
                  <a:cxn ang="0">
                    <a:pos x="6" y="185"/>
                  </a:cxn>
                  <a:cxn ang="0">
                    <a:pos x="4" y="216"/>
                  </a:cxn>
                  <a:cxn ang="0">
                    <a:pos x="12" y="214"/>
                  </a:cxn>
                  <a:cxn ang="0">
                    <a:pos x="28" y="226"/>
                  </a:cxn>
                  <a:cxn ang="0">
                    <a:pos x="33" y="269"/>
                  </a:cxn>
                </a:cxnLst>
                <a:rect l="0" t="0" r="r" b="b"/>
                <a:pathLst>
                  <a:path w="154" h="284">
                    <a:moveTo>
                      <a:pt x="35" y="279"/>
                    </a:moveTo>
                    <a:lnTo>
                      <a:pt x="43" y="278"/>
                    </a:lnTo>
                    <a:lnTo>
                      <a:pt x="67" y="284"/>
                    </a:lnTo>
                    <a:lnTo>
                      <a:pt x="75" y="280"/>
                    </a:lnTo>
                    <a:lnTo>
                      <a:pt x="79" y="279"/>
                    </a:lnTo>
                    <a:lnTo>
                      <a:pt x="80" y="276"/>
                    </a:lnTo>
                    <a:lnTo>
                      <a:pt x="83" y="276"/>
                    </a:lnTo>
                    <a:lnTo>
                      <a:pt x="84" y="279"/>
                    </a:lnTo>
                    <a:lnTo>
                      <a:pt x="89" y="279"/>
                    </a:lnTo>
                    <a:lnTo>
                      <a:pt x="89" y="275"/>
                    </a:lnTo>
                    <a:lnTo>
                      <a:pt x="86" y="270"/>
                    </a:lnTo>
                    <a:lnTo>
                      <a:pt x="83" y="266"/>
                    </a:lnTo>
                    <a:lnTo>
                      <a:pt x="75" y="266"/>
                    </a:lnTo>
                    <a:lnTo>
                      <a:pt x="75" y="262"/>
                    </a:lnTo>
                    <a:lnTo>
                      <a:pt x="75" y="253"/>
                    </a:lnTo>
                    <a:lnTo>
                      <a:pt x="85" y="247"/>
                    </a:lnTo>
                    <a:lnTo>
                      <a:pt x="85" y="243"/>
                    </a:lnTo>
                    <a:lnTo>
                      <a:pt x="83" y="243"/>
                    </a:lnTo>
                    <a:lnTo>
                      <a:pt x="81" y="235"/>
                    </a:lnTo>
                    <a:lnTo>
                      <a:pt x="84" y="223"/>
                    </a:lnTo>
                    <a:lnTo>
                      <a:pt x="81" y="220"/>
                    </a:lnTo>
                    <a:lnTo>
                      <a:pt x="91" y="210"/>
                    </a:lnTo>
                    <a:lnTo>
                      <a:pt x="90" y="206"/>
                    </a:lnTo>
                    <a:lnTo>
                      <a:pt x="84" y="200"/>
                    </a:lnTo>
                    <a:lnTo>
                      <a:pt x="90" y="198"/>
                    </a:lnTo>
                    <a:lnTo>
                      <a:pt x="102" y="199"/>
                    </a:lnTo>
                    <a:lnTo>
                      <a:pt x="103" y="193"/>
                    </a:lnTo>
                    <a:lnTo>
                      <a:pt x="98" y="185"/>
                    </a:lnTo>
                    <a:lnTo>
                      <a:pt x="102" y="180"/>
                    </a:lnTo>
                    <a:lnTo>
                      <a:pt x="116" y="182"/>
                    </a:lnTo>
                    <a:lnTo>
                      <a:pt x="121" y="176"/>
                    </a:lnTo>
                    <a:lnTo>
                      <a:pt x="118" y="163"/>
                    </a:lnTo>
                    <a:lnTo>
                      <a:pt x="122" y="151"/>
                    </a:lnTo>
                    <a:lnTo>
                      <a:pt x="127" y="149"/>
                    </a:lnTo>
                    <a:lnTo>
                      <a:pt x="127" y="153"/>
                    </a:lnTo>
                    <a:lnTo>
                      <a:pt x="130" y="161"/>
                    </a:lnTo>
                    <a:lnTo>
                      <a:pt x="137" y="152"/>
                    </a:lnTo>
                    <a:lnTo>
                      <a:pt x="138" y="156"/>
                    </a:lnTo>
                    <a:lnTo>
                      <a:pt x="153" y="144"/>
                    </a:lnTo>
                    <a:lnTo>
                      <a:pt x="154" y="133"/>
                    </a:lnTo>
                    <a:lnTo>
                      <a:pt x="151" y="125"/>
                    </a:lnTo>
                    <a:lnTo>
                      <a:pt x="146" y="123"/>
                    </a:lnTo>
                    <a:lnTo>
                      <a:pt x="137" y="124"/>
                    </a:lnTo>
                    <a:lnTo>
                      <a:pt x="129" y="126"/>
                    </a:lnTo>
                    <a:lnTo>
                      <a:pt x="126" y="120"/>
                    </a:lnTo>
                    <a:lnTo>
                      <a:pt x="119" y="120"/>
                    </a:lnTo>
                    <a:lnTo>
                      <a:pt x="114" y="128"/>
                    </a:lnTo>
                    <a:lnTo>
                      <a:pt x="112" y="123"/>
                    </a:lnTo>
                    <a:lnTo>
                      <a:pt x="113" y="117"/>
                    </a:lnTo>
                    <a:lnTo>
                      <a:pt x="119" y="109"/>
                    </a:lnTo>
                    <a:lnTo>
                      <a:pt x="118" y="107"/>
                    </a:lnTo>
                    <a:lnTo>
                      <a:pt x="108" y="109"/>
                    </a:lnTo>
                    <a:lnTo>
                      <a:pt x="108" y="106"/>
                    </a:lnTo>
                    <a:lnTo>
                      <a:pt x="117" y="102"/>
                    </a:lnTo>
                    <a:lnTo>
                      <a:pt x="117" y="93"/>
                    </a:lnTo>
                    <a:lnTo>
                      <a:pt x="118" y="92"/>
                    </a:lnTo>
                    <a:lnTo>
                      <a:pt x="118" y="80"/>
                    </a:lnTo>
                    <a:lnTo>
                      <a:pt x="122" y="66"/>
                    </a:lnTo>
                    <a:lnTo>
                      <a:pt x="132" y="48"/>
                    </a:lnTo>
                    <a:lnTo>
                      <a:pt x="132" y="39"/>
                    </a:lnTo>
                    <a:lnTo>
                      <a:pt x="126" y="20"/>
                    </a:lnTo>
                    <a:lnTo>
                      <a:pt x="128" y="10"/>
                    </a:lnTo>
                    <a:lnTo>
                      <a:pt x="130" y="2"/>
                    </a:lnTo>
                    <a:lnTo>
                      <a:pt x="129" y="0"/>
                    </a:lnTo>
                    <a:lnTo>
                      <a:pt x="123" y="6"/>
                    </a:lnTo>
                    <a:lnTo>
                      <a:pt x="101" y="17"/>
                    </a:lnTo>
                    <a:lnTo>
                      <a:pt x="85" y="34"/>
                    </a:lnTo>
                    <a:lnTo>
                      <a:pt x="83" y="45"/>
                    </a:lnTo>
                    <a:lnTo>
                      <a:pt x="71" y="54"/>
                    </a:lnTo>
                    <a:lnTo>
                      <a:pt x="28" y="63"/>
                    </a:lnTo>
                    <a:lnTo>
                      <a:pt x="20" y="71"/>
                    </a:lnTo>
                    <a:lnTo>
                      <a:pt x="15" y="82"/>
                    </a:lnTo>
                    <a:lnTo>
                      <a:pt x="8" y="107"/>
                    </a:lnTo>
                    <a:lnTo>
                      <a:pt x="6" y="119"/>
                    </a:lnTo>
                    <a:lnTo>
                      <a:pt x="0" y="134"/>
                    </a:lnTo>
                    <a:lnTo>
                      <a:pt x="0" y="146"/>
                    </a:lnTo>
                    <a:lnTo>
                      <a:pt x="3" y="174"/>
                    </a:lnTo>
                    <a:lnTo>
                      <a:pt x="6" y="185"/>
                    </a:lnTo>
                    <a:lnTo>
                      <a:pt x="6" y="199"/>
                    </a:lnTo>
                    <a:lnTo>
                      <a:pt x="4" y="216"/>
                    </a:lnTo>
                    <a:lnTo>
                      <a:pt x="9" y="216"/>
                    </a:lnTo>
                    <a:lnTo>
                      <a:pt x="12" y="214"/>
                    </a:lnTo>
                    <a:lnTo>
                      <a:pt x="21" y="219"/>
                    </a:lnTo>
                    <a:lnTo>
                      <a:pt x="28" y="226"/>
                    </a:lnTo>
                    <a:lnTo>
                      <a:pt x="33" y="236"/>
                    </a:lnTo>
                    <a:lnTo>
                      <a:pt x="33" y="269"/>
                    </a:lnTo>
                    <a:lnTo>
                      <a:pt x="35" y="27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06" name="Freeform 220"/>
              <p:cNvSpPr>
                <a:spLocks noChangeAspect="1"/>
              </p:cNvSpPr>
              <p:nvPr/>
            </p:nvSpPr>
            <p:spPr bwMode="gray">
              <a:xfrm>
                <a:off x="4847431" y="1911697"/>
                <a:ext cx="452438" cy="539750"/>
              </a:xfrm>
              <a:custGeom>
                <a:avLst/>
                <a:gdLst/>
                <a:ahLst/>
                <a:cxnLst>
                  <a:cxn ang="0">
                    <a:pos x="1358" y="214"/>
                  </a:cxn>
                  <a:cxn ang="0">
                    <a:pos x="1321" y="157"/>
                  </a:cxn>
                  <a:cxn ang="0">
                    <a:pos x="1355" y="75"/>
                  </a:cxn>
                  <a:cxn ang="0">
                    <a:pos x="1290" y="70"/>
                  </a:cxn>
                  <a:cxn ang="0">
                    <a:pos x="1260" y="47"/>
                  </a:cxn>
                  <a:cxn ang="0">
                    <a:pos x="1218" y="67"/>
                  </a:cxn>
                  <a:cxn ang="0">
                    <a:pos x="1176" y="31"/>
                  </a:cxn>
                  <a:cxn ang="0">
                    <a:pos x="1106" y="112"/>
                  </a:cxn>
                  <a:cxn ang="0">
                    <a:pos x="1074" y="26"/>
                  </a:cxn>
                  <a:cxn ang="0">
                    <a:pos x="1003" y="159"/>
                  </a:cxn>
                  <a:cxn ang="0">
                    <a:pos x="944" y="150"/>
                  </a:cxn>
                  <a:cxn ang="0">
                    <a:pos x="930" y="178"/>
                  </a:cxn>
                  <a:cxn ang="0">
                    <a:pos x="874" y="202"/>
                  </a:cxn>
                  <a:cxn ang="0">
                    <a:pos x="841" y="212"/>
                  </a:cxn>
                  <a:cxn ang="0">
                    <a:pos x="795" y="291"/>
                  </a:cxn>
                  <a:cxn ang="0">
                    <a:pos x="726" y="285"/>
                  </a:cxn>
                  <a:cxn ang="0">
                    <a:pos x="704" y="355"/>
                  </a:cxn>
                  <a:cxn ang="0">
                    <a:pos x="632" y="407"/>
                  </a:cxn>
                  <a:cxn ang="0">
                    <a:pos x="633" y="422"/>
                  </a:cxn>
                  <a:cxn ang="0">
                    <a:pos x="586" y="471"/>
                  </a:cxn>
                  <a:cxn ang="0">
                    <a:pos x="561" y="542"/>
                  </a:cxn>
                  <a:cxn ang="0">
                    <a:pos x="520" y="591"/>
                  </a:cxn>
                  <a:cxn ang="0">
                    <a:pos x="459" y="673"/>
                  </a:cxn>
                  <a:cxn ang="0">
                    <a:pos x="436" y="734"/>
                  </a:cxn>
                  <a:cxn ang="0">
                    <a:pos x="420" y="796"/>
                  </a:cxn>
                  <a:cxn ang="0">
                    <a:pos x="387" y="856"/>
                  </a:cxn>
                  <a:cxn ang="0">
                    <a:pos x="360" y="902"/>
                  </a:cxn>
                  <a:cxn ang="0">
                    <a:pos x="305" y="969"/>
                  </a:cxn>
                  <a:cxn ang="0">
                    <a:pos x="320" y="1052"/>
                  </a:cxn>
                  <a:cxn ang="0">
                    <a:pos x="284" y="1096"/>
                  </a:cxn>
                  <a:cxn ang="0">
                    <a:pos x="228" y="1097"/>
                  </a:cxn>
                  <a:cxn ang="0">
                    <a:pos x="167" y="1122"/>
                  </a:cxn>
                  <a:cxn ang="0">
                    <a:pos x="137" y="1182"/>
                  </a:cxn>
                  <a:cxn ang="0">
                    <a:pos x="75" y="1214"/>
                  </a:cxn>
                  <a:cxn ang="0">
                    <a:pos x="53" y="1253"/>
                  </a:cxn>
                  <a:cxn ang="0">
                    <a:pos x="53" y="1279"/>
                  </a:cxn>
                  <a:cxn ang="0">
                    <a:pos x="16" y="1310"/>
                  </a:cxn>
                  <a:cxn ang="0">
                    <a:pos x="74" y="1349"/>
                  </a:cxn>
                  <a:cxn ang="0">
                    <a:pos x="127" y="1354"/>
                  </a:cxn>
                  <a:cxn ang="0">
                    <a:pos x="57" y="1370"/>
                  </a:cxn>
                  <a:cxn ang="0">
                    <a:pos x="0" y="1407"/>
                  </a:cxn>
                  <a:cxn ang="0">
                    <a:pos x="30" y="1461"/>
                  </a:cxn>
                  <a:cxn ang="0">
                    <a:pos x="88" y="1428"/>
                  </a:cxn>
                  <a:cxn ang="0">
                    <a:pos x="40" y="1506"/>
                  </a:cxn>
                  <a:cxn ang="0">
                    <a:pos x="16" y="1560"/>
                  </a:cxn>
                  <a:cxn ang="0">
                    <a:pos x="64" y="1571"/>
                  </a:cxn>
                  <a:cxn ang="0">
                    <a:pos x="85" y="1677"/>
                  </a:cxn>
                  <a:cxn ang="0">
                    <a:pos x="190" y="1671"/>
                  </a:cxn>
                  <a:cxn ang="0">
                    <a:pos x="293" y="1556"/>
                  </a:cxn>
                  <a:cxn ang="0">
                    <a:pos x="299" y="1506"/>
                  </a:cxn>
                  <a:cxn ang="0">
                    <a:pos x="339" y="1614"/>
                  </a:cxn>
                  <a:cxn ang="0">
                    <a:pos x="400" y="1394"/>
                  </a:cxn>
                  <a:cxn ang="0">
                    <a:pos x="386" y="1186"/>
                  </a:cxn>
                  <a:cxn ang="0">
                    <a:pos x="488" y="1020"/>
                  </a:cxn>
                  <a:cxn ang="0">
                    <a:pos x="542" y="750"/>
                  </a:cxn>
                  <a:cxn ang="0">
                    <a:pos x="633" y="532"/>
                  </a:cxn>
                  <a:cxn ang="0">
                    <a:pos x="729" y="404"/>
                  </a:cxn>
                  <a:cxn ang="0">
                    <a:pos x="826" y="326"/>
                  </a:cxn>
                  <a:cxn ang="0">
                    <a:pos x="957" y="371"/>
                  </a:cxn>
                  <a:cxn ang="0">
                    <a:pos x="1139" y="322"/>
                  </a:cxn>
                  <a:cxn ang="0">
                    <a:pos x="1325" y="225"/>
                  </a:cxn>
                  <a:cxn ang="0">
                    <a:pos x="1381" y="239"/>
                  </a:cxn>
                </a:cxnLst>
                <a:rect l="0" t="0" r="r" b="b"/>
                <a:pathLst>
                  <a:path w="1427" h="1701">
                    <a:moveTo>
                      <a:pt x="1419" y="216"/>
                    </a:moveTo>
                    <a:lnTo>
                      <a:pt x="1397" y="212"/>
                    </a:lnTo>
                    <a:lnTo>
                      <a:pt x="1395" y="232"/>
                    </a:lnTo>
                    <a:lnTo>
                      <a:pt x="1388" y="232"/>
                    </a:lnTo>
                    <a:lnTo>
                      <a:pt x="1390" y="229"/>
                    </a:lnTo>
                    <a:lnTo>
                      <a:pt x="1380" y="225"/>
                    </a:lnTo>
                    <a:lnTo>
                      <a:pt x="1376" y="219"/>
                    </a:lnTo>
                    <a:lnTo>
                      <a:pt x="1376" y="231"/>
                    </a:lnTo>
                    <a:lnTo>
                      <a:pt x="1375" y="234"/>
                    </a:lnTo>
                    <a:lnTo>
                      <a:pt x="1370" y="224"/>
                    </a:lnTo>
                    <a:lnTo>
                      <a:pt x="1357" y="226"/>
                    </a:lnTo>
                    <a:lnTo>
                      <a:pt x="1347" y="232"/>
                    </a:lnTo>
                    <a:lnTo>
                      <a:pt x="1350" y="220"/>
                    </a:lnTo>
                    <a:lnTo>
                      <a:pt x="1358" y="214"/>
                    </a:lnTo>
                    <a:lnTo>
                      <a:pt x="1365" y="212"/>
                    </a:lnTo>
                    <a:lnTo>
                      <a:pt x="1368" y="205"/>
                    </a:lnTo>
                    <a:lnTo>
                      <a:pt x="1366" y="200"/>
                    </a:lnTo>
                    <a:lnTo>
                      <a:pt x="1361" y="193"/>
                    </a:lnTo>
                    <a:lnTo>
                      <a:pt x="1341" y="196"/>
                    </a:lnTo>
                    <a:lnTo>
                      <a:pt x="1344" y="189"/>
                    </a:lnTo>
                    <a:lnTo>
                      <a:pt x="1338" y="183"/>
                    </a:lnTo>
                    <a:lnTo>
                      <a:pt x="1326" y="177"/>
                    </a:lnTo>
                    <a:lnTo>
                      <a:pt x="1315" y="166"/>
                    </a:lnTo>
                    <a:lnTo>
                      <a:pt x="1301" y="162"/>
                    </a:lnTo>
                    <a:lnTo>
                      <a:pt x="1296" y="156"/>
                    </a:lnTo>
                    <a:lnTo>
                      <a:pt x="1299" y="153"/>
                    </a:lnTo>
                    <a:lnTo>
                      <a:pt x="1299" y="149"/>
                    </a:lnTo>
                    <a:lnTo>
                      <a:pt x="1321" y="157"/>
                    </a:lnTo>
                    <a:lnTo>
                      <a:pt x="1371" y="166"/>
                    </a:lnTo>
                    <a:lnTo>
                      <a:pt x="1407" y="137"/>
                    </a:lnTo>
                    <a:lnTo>
                      <a:pt x="1419" y="132"/>
                    </a:lnTo>
                    <a:lnTo>
                      <a:pt x="1427" y="126"/>
                    </a:lnTo>
                    <a:lnTo>
                      <a:pt x="1424" y="112"/>
                    </a:lnTo>
                    <a:lnTo>
                      <a:pt x="1412" y="106"/>
                    </a:lnTo>
                    <a:lnTo>
                      <a:pt x="1404" y="92"/>
                    </a:lnTo>
                    <a:lnTo>
                      <a:pt x="1388" y="91"/>
                    </a:lnTo>
                    <a:lnTo>
                      <a:pt x="1380" y="87"/>
                    </a:lnTo>
                    <a:lnTo>
                      <a:pt x="1388" y="80"/>
                    </a:lnTo>
                    <a:lnTo>
                      <a:pt x="1374" y="73"/>
                    </a:lnTo>
                    <a:lnTo>
                      <a:pt x="1369" y="63"/>
                    </a:lnTo>
                    <a:lnTo>
                      <a:pt x="1361" y="71"/>
                    </a:lnTo>
                    <a:lnTo>
                      <a:pt x="1355" y="75"/>
                    </a:lnTo>
                    <a:lnTo>
                      <a:pt x="1355" y="68"/>
                    </a:lnTo>
                    <a:lnTo>
                      <a:pt x="1353" y="63"/>
                    </a:lnTo>
                    <a:lnTo>
                      <a:pt x="1333" y="70"/>
                    </a:lnTo>
                    <a:lnTo>
                      <a:pt x="1332" y="68"/>
                    </a:lnTo>
                    <a:lnTo>
                      <a:pt x="1331" y="63"/>
                    </a:lnTo>
                    <a:lnTo>
                      <a:pt x="1332" y="59"/>
                    </a:lnTo>
                    <a:lnTo>
                      <a:pt x="1332" y="49"/>
                    </a:lnTo>
                    <a:lnTo>
                      <a:pt x="1327" y="46"/>
                    </a:lnTo>
                    <a:lnTo>
                      <a:pt x="1325" y="38"/>
                    </a:lnTo>
                    <a:lnTo>
                      <a:pt x="1316" y="42"/>
                    </a:lnTo>
                    <a:lnTo>
                      <a:pt x="1310" y="38"/>
                    </a:lnTo>
                    <a:lnTo>
                      <a:pt x="1301" y="41"/>
                    </a:lnTo>
                    <a:lnTo>
                      <a:pt x="1293" y="56"/>
                    </a:lnTo>
                    <a:lnTo>
                      <a:pt x="1290" y="70"/>
                    </a:lnTo>
                    <a:lnTo>
                      <a:pt x="1290" y="89"/>
                    </a:lnTo>
                    <a:lnTo>
                      <a:pt x="1293" y="103"/>
                    </a:lnTo>
                    <a:lnTo>
                      <a:pt x="1280" y="110"/>
                    </a:lnTo>
                    <a:lnTo>
                      <a:pt x="1271" y="102"/>
                    </a:lnTo>
                    <a:lnTo>
                      <a:pt x="1260" y="105"/>
                    </a:lnTo>
                    <a:lnTo>
                      <a:pt x="1257" y="101"/>
                    </a:lnTo>
                    <a:lnTo>
                      <a:pt x="1267" y="91"/>
                    </a:lnTo>
                    <a:lnTo>
                      <a:pt x="1277" y="76"/>
                    </a:lnTo>
                    <a:lnTo>
                      <a:pt x="1272" y="67"/>
                    </a:lnTo>
                    <a:lnTo>
                      <a:pt x="1257" y="78"/>
                    </a:lnTo>
                    <a:lnTo>
                      <a:pt x="1247" y="78"/>
                    </a:lnTo>
                    <a:lnTo>
                      <a:pt x="1262" y="67"/>
                    </a:lnTo>
                    <a:lnTo>
                      <a:pt x="1253" y="56"/>
                    </a:lnTo>
                    <a:lnTo>
                      <a:pt x="1260" y="47"/>
                    </a:lnTo>
                    <a:lnTo>
                      <a:pt x="1277" y="49"/>
                    </a:lnTo>
                    <a:lnTo>
                      <a:pt x="1284" y="35"/>
                    </a:lnTo>
                    <a:lnTo>
                      <a:pt x="1285" y="19"/>
                    </a:lnTo>
                    <a:lnTo>
                      <a:pt x="1273" y="19"/>
                    </a:lnTo>
                    <a:lnTo>
                      <a:pt x="1275" y="9"/>
                    </a:lnTo>
                    <a:lnTo>
                      <a:pt x="1268" y="3"/>
                    </a:lnTo>
                    <a:lnTo>
                      <a:pt x="1262" y="3"/>
                    </a:lnTo>
                    <a:lnTo>
                      <a:pt x="1250" y="13"/>
                    </a:lnTo>
                    <a:lnTo>
                      <a:pt x="1239" y="0"/>
                    </a:lnTo>
                    <a:lnTo>
                      <a:pt x="1236" y="17"/>
                    </a:lnTo>
                    <a:lnTo>
                      <a:pt x="1231" y="37"/>
                    </a:lnTo>
                    <a:lnTo>
                      <a:pt x="1226" y="49"/>
                    </a:lnTo>
                    <a:lnTo>
                      <a:pt x="1220" y="59"/>
                    </a:lnTo>
                    <a:lnTo>
                      <a:pt x="1218" y="67"/>
                    </a:lnTo>
                    <a:lnTo>
                      <a:pt x="1219" y="78"/>
                    </a:lnTo>
                    <a:lnTo>
                      <a:pt x="1212" y="79"/>
                    </a:lnTo>
                    <a:lnTo>
                      <a:pt x="1208" y="89"/>
                    </a:lnTo>
                    <a:lnTo>
                      <a:pt x="1208" y="103"/>
                    </a:lnTo>
                    <a:lnTo>
                      <a:pt x="1197" y="103"/>
                    </a:lnTo>
                    <a:lnTo>
                      <a:pt x="1182" y="118"/>
                    </a:lnTo>
                    <a:lnTo>
                      <a:pt x="1183" y="102"/>
                    </a:lnTo>
                    <a:lnTo>
                      <a:pt x="1188" y="85"/>
                    </a:lnTo>
                    <a:lnTo>
                      <a:pt x="1178" y="70"/>
                    </a:lnTo>
                    <a:lnTo>
                      <a:pt x="1188" y="62"/>
                    </a:lnTo>
                    <a:lnTo>
                      <a:pt x="1188" y="41"/>
                    </a:lnTo>
                    <a:lnTo>
                      <a:pt x="1187" y="28"/>
                    </a:lnTo>
                    <a:lnTo>
                      <a:pt x="1182" y="27"/>
                    </a:lnTo>
                    <a:lnTo>
                      <a:pt x="1176" y="31"/>
                    </a:lnTo>
                    <a:lnTo>
                      <a:pt x="1142" y="90"/>
                    </a:lnTo>
                    <a:lnTo>
                      <a:pt x="1135" y="96"/>
                    </a:lnTo>
                    <a:lnTo>
                      <a:pt x="1129" y="111"/>
                    </a:lnTo>
                    <a:lnTo>
                      <a:pt x="1121" y="122"/>
                    </a:lnTo>
                    <a:lnTo>
                      <a:pt x="1115" y="140"/>
                    </a:lnTo>
                    <a:lnTo>
                      <a:pt x="1123" y="132"/>
                    </a:lnTo>
                    <a:lnTo>
                      <a:pt x="1101" y="167"/>
                    </a:lnTo>
                    <a:lnTo>
                      <a:pt x="1092" y="172"/>
                    </a:lnTo>
                    <a:lnTo>
                      <a:pt x="1091" y="160"/>
                    </a:lnTo>
                    <a:lnTo>
                      <a:pt x="1092" y="148"/>
                    </a:lnTo>
                    <a:lnTo>
                      <a:pt x="1099" y="139"/>
                    </a:lnTo>
                    <a:lnTo>
                      <a:pt x="1104" y="137"/>
                    </a:lnTo>
                    <a:lnTo>
                      <a:pt x="1104" y="129"/>
                    </a:lnTo>
                    <a:lnTo>
                      <a:pt x="1106" y="112"/>
                    </a:lnTo>
                    <a:lnTo>
                      <a:pt x="1105" y="105"/>
                    </a:lnTo>
                    <a:lnTo>
                      <a:pt x="1111" y="87"/>
                    </a:lnTo>
                    <a:lnTo>
                      <a:pt x="1133" y="58"/>
                    </a:lnTo>
                    <a:lnTo>
                      <a:pt x="1140" y="42"/>
                    </a:lnTo>
                    <a:lnTo>
                      <a:pt x="1131" y="37"/>
                    </a:lnTo>
                    <a:lnTo>
                      <a:pt x="1116" y="48"/>
                    </a:lnTo>
                    <a:lnTo>
                      <a:pt x="1107" y="51"/>
                    </a:lnTo>
                    <a:lnTo>
                      <a:pt x="1106" y="37"/>
                    </a:lnTo>
                    <a:lnTo>
                      <a:pt x="1100" y="33"/>
                    </a:lnTo>
                    <a:lnTo>
                      <a:pt x="1096" y="27"/>
                    </a:lnTo>
                    <a:lnTo>
                      <a:pt x="1095" y="20"/>
                    </a:lnTo>
                    <a:lnTo>
                      <a:pt x="1085" y="32"/>
                    </a:lnTo>
                    <a:lnTo>
                      <a:pt x="1081" y="26"/>
                    </a:lnTo>
                    <a:lnTo>
                      <a:pt x="1074" y="26"/>
                    </a:lnTo>
                    <a:lnTo>
                      <a:pt x="1073" y="51"/>
                    </a:lnTo>
                    <a:lnTo>
                      <a:pt x="1059" y="46"/>
                    </a:lnTo>
                    <a:lnTo>
                      <a:pt x="1065" y="59"/>
                    </a:lnTo>
                    <a:lnTo>
                      <a:pt x="1073" y="67"/>
                    </a:lnTo>
                    <a:lnTo>
                      <a:pt x="1074" y="71"/>
                    </a:lnTo>
                    <a:lnTo>
                      <a:pt x="1061" y="79"/>
                    </a:lnTo>
                    <a:lnTo>
                      <a:pt x="1053" y="91"/>
                    </a:lnTo>
                    <a:lnTo>
                      <a:pt x="1057" y="105"/>
                    </a:lnTo>
                    <a:lnTo>
                      <a:pt x="1032" y="105"/>
                    </a:lnTo>
                    <a:lnTo>
                      <a:pt x="1020" y="118"/>
                    </a:lnTo>
                    <a:lnTo>
                      <a:pt x="1015" y="129"/>
                    </a:lnTo>
                    <a:lnTo>
                      <a:pt x="1002" y="144"/>
                    </a:lnTo>
                    <a:lnTo>
                      <a:pt x="1000" y="150"/>
                    </a:lnTo>
                    <a:lnTo>
                      <a:pt x="1003" y="159"/>
                    </a:lnTo>
                    <a:lnTo>
                      <a:pt x="1000" y="169"/>
                    </a:lnTo>
                    <a:lnTo>
                      <a:pt x="1000" y="183"/>
                    </a:lnTo>
                    <a:lnTo>
                      <a:pt x="992" y="184"/>
                    </a:lnTo>
                    <a:lnTo>
                      <a:pt x="987" y="178"/>
                    </a:lnTo>
                    <a:lnTo>
                      <a:pt x="987" y="170"/>
                    </a:lnTo>
                    <a:lnTo>
                      <a:pt x="992" y="166"/>
                    </a:lnTo>
                    <a:lnTo>
                      <a:pt x="978" y="162"/>
                    </a:lnTo>
                    <a:lnTo>
                      <a:pt x="986" y="151"/>
                    </a:lnTo>
                    <a:lnTo>
                      <a:pt x="984" y="150"/>
                    </a:lnTo>
                    <a:lnTo>
                      <a:pt x="954" y="145"/>
                    </a:lnTo>
                    <a:lnTo>
                      <a:pt x="956" y="159"/>
                    </a:lnTo>
                    <a:lnTo>
                      <a:pt x="952" y="160"/>
                    </a:lnTo>
                    <a:lnTo>
                      <a:pt x="944" y="156"/>
                    </a:lnTo>
                    <a:lnTo>
                      <a:pt x="944" y="150"/>
                    </a:lnTo>
                    <a:lnTo>
                      <a:pt x="941" y="140"/>
                    </a:lnTo>
                    <a:lnTo>
                      <a:pt x="938" y="143"/>
                    </a:lnTo>
                    <a:lnTo>
                      <a:pt x="935" y="133"/>
                    </a:lnTo>
                    <a:lnTo>
                      <a:pt x="929" y="138"/>
                    </a:lnTo>
                    <a:lnTo>
                      <a:pt x="927" y="133"/>
                    </a:lnTo>
                    <a:lnTo>
                      <a:pt x="922" y="138"/>
                    </a:lnTo>
                    <a:lnTo>
                      <a:pt x="920" y="155"/>
                    </a:lnTo>
                    <a:lnTo>
                      <a:pt x="916" y="146"/>
                    </a:lnTo>
                    <a:lnTo>
                      <a:pt x="911" y="135"/>
                    </a:lnTo>
                    <a:lnTo>
                      <a:pt x="907" y="132"/>
                    </a:lnTo>
                    <a:lnTo>
                      <a:pt x="907" y="157"/>
                    </a:lnTo>
                    <a:lnTo>
                      <a:pt x="924" y="167"/>
                    </a:lnTo>
                    <a:lnTo>
                      <a:pt x="930" y="167"/>
                    </a:lnTo>
                    <a:lnTo>
                      <a:pt x="930" y="178"/>
                    </a:lnTo>
                    <a:lnTo>
                      <a:pt x="928" y="188"/>
                    </a:lnTo>
                    <a:lnTo>
                      <a:pt x="928" y="199"/>
                    </a:lnTo>
                    <a:lnTo>
                      <a:pt x="933" y="210"/>
                    </a:lnTo>
                    <a:lnTo>
                      <a:pt x="933" y="225"/>
                    </a:lnTo>
                    <a:lnTo>
                      <a:pt x="925" y="219"/>
                    </a:lnTo>
                    <a:lnTo>
                      <a:pt x="907" y="191"/>
                    </a:lnTo>
                    <a:lnTo>
                      <a:pt x="891" y="175"/>
                    </a:lnTo>
                    <a:lnTo>
                      <a:pt x="895" y="194"/>
                    </a:lnTo>
                    <a:lnTo>
                      <a:pt x="890" y="194"/>
                    </a:lnTo>
                    <a:lnTo>
                      <a:pt x="886" y="205"/>
                    </a:lnTo>
                    <a:lnTo>
                      <a:pt x="881" y="204"/>
                    </a:lnTo>
                    <a:lnTo>
                      <a:pt x="877" y="212"/>
                    </a:lnTo>
                    <a:lnTo>
                      <a:pt x="874" y="208"/>
                    </a:lnTo>
                    <a:lnTo>
                      <a:pt x="874" y="202"/>
                    </a:lnTo>
                    <a:lnTo>
                      <a:pt x="877" y="191"/>
                    </a:lnTo>
                    <a:lnTo>
                      <a:pt x="870" y="194"/>
                    </a:lnTo>
                    <a:lnTo>
                      <a:pt x="863" y="204"/>
                    </a:lnTo>
                    <a:lnTo>
                      <a:pt x="859" y="218"/>
                    </a:lnTo>
                    <a:lnTo>
                      <a:pt x="853" y="220"/>
                    </a:lnTo>
                    <a:lnTo>
                      <a:pt x="855" y="235"/>
                    </a:lnTo>
                    <a:lnTo>
                      <a:pt x="857" y="241"/>
                    </a:lnTo>
                    <a:lnTo>
                      <a:pt x="841" y="256"/>
                    </a:lnTo>
                    <a:lnTo>
                      <a:pt x="834" y="275"/>
                    </a:lnTo>
                    <a:lnTo>
                      <a:pt x="827" y="285"/>
                    </a:lnTo>
                    <a:lnTo>
                      <a:pt x="837" y="264"/>
                    </a:lnTo>
                    <a:lnTo>
                      <a:pt x="838" y="252"/>
                    </a:lnTo>
                    <a:lnTo>
                      <a:pt x="839" y="229"/>
                    </a:lnTo>
                    <a:lnTo>
                      <a:pt x="841" y="212"/>
                    </a:lnTo>
                    <a:lnTo>
                      <a:pt x="838" y="191"/>
                    </a:lnTo>
                    <a:lnTo>
                      <a:pt x="828" y="194"/>
                    </a:lnTo>
                    <a:lnTo>
                      <a:pt x="822" y="208"/>
                    </a:lnTo>
                    <a:lnTo>
                      <a:pt x="812" y="223"/>
                    </a:lnTo>
                    <a:lnTo>
                      <a:pt x="809" y="246"/>
                    </a:lnTo>
                    <a:lnTo>
                      <a:pt x="804" y="266"/>
                    </a:lnTo>
                    <a:lnTo>
                      <a:pt x="803" y="214"/>
                    </a:lnTo>
                    <a:lnTo>
                      <a:pt x="777" y="218"/>
                    </a:lnTo>
                    <a:lnTo>
                      <a:pt x="768" y="235"/>
                    </a:lnTo>
                    <a:lnTo>
                      <a:pt x="767" y="240"/>
                    </a:lnTo>
                    <a:lnTo>
                      <a:pt x="769" y="261"/>
                    </a:lnTo>
                    <a:lnTo>
                      <a:pt x="779" y="274"/>
                    </a:lnTo>
                    <a:lnTo>
                      <a:pt x="788" y="278"/>
                    </a:lnTo>
                    <a:lnTo>
                      <a:pt x="795" y="291"/>
                    </a:lnTo>
                    <a:lnTo>
                      <a:pt x="794" y="301"/>
                    </a:lnTo>
                    <a:lnTo>
                      <a:pt x="785" y="300"/>
                    </a:lnTo>
                    <a:lnTo>
                      <a:pt x="779" y="284"/>
                    </a:lnTo>
                    <a:lnTo>
                      <a:pt x="768" y="277"/>
                    </a:lnTo>
                    <a:lnTo>
                      <a:pt x="760" y="261"/>
                    </a:lnTo>
                    <a:lnTo>
                      <a:pt x="751" y="252"/>
                    </a:lnTo>
                    <a:lnTo>
                      <a:pt x="739" y="254"/>
                    </a:lnTo>
                    <a:lnTo>
                      <a:pt x="746" y="272"/>
                    </a:lnTo>
                    <a:lnTo>
                      <a:pt x="760" y="284"/>
                    </a:lnTo>
                    <a:lnTo>
                      <a:pt x="750" y="294"/>
                    </a:lnTo>
                    <a:lnTo>
                      <a:pt x="741" y="286"/>
                    </a:lnTo>
                    <a:lnTo>
                      <a:pt x="737" y="293"/>
                    </a:lnTo>
                    <a:lnTo>
                      <a:pt x="735" y="280"/>
                    </a:lnTo>
                    <a:lnTo>
                      <a:pt x="726" y="285"/>
                    </a:lnTo>
                    <a:lnTo>
                      <a:pt x="726" y="280"/>
                    </a:lnTo>
                    <a:lnTo>
                      <a:pt x="729" y="267"/>
                    </a:lnTo>
                    <a:lnTo>
                      <a:pt x="724" y="261"/>
                    </a:lnTo>
                    <a:lnTo>
                      <a:pt x="721" y="266"/>
                    </a:lnTo>
                    <a:lnTo>
                      <a:pt x="714" y="290"/>
                    </a:lnTo>
                    <a:lnTo>
                      <a:pt x="715" y="299"/>
                    </a:lnTo>
                    <a:lnTo>
                      <a:pt x="720" y="306"/>
                    </a:lnTo>
                    <a:lnTo>
                      <a:pt x="697" y="318"/>
                    </a:lnTo>
                    <a:lnTo>
                      <a:pt x="691" y="325"/>
                    </a:lnTo>
                    <a:lnTo>
                      <a:pt x="688" y="332"/>
                    </a:lnTo>
                    <a:lnTo>
                      <a:pt x="687" y="343"/>
                    </a:lnTo>
                    <a:lnTo>
                      <a:pt x="690" y="350"/>
                    </a:lnTo>
                    <a:lnTo>
                      <a:pt x="698" y="347"/>
                    </a:lnTo>
                    <a:lnTo>
                      <a:pt x="704" y="355"/>
                    </a:lnTo>
                    <a:lnTo>
                      <a:pt x="692" y="355"/>
                    </a:lnTo>
                    <a:lnTo>
                      <a:pt x="696" y="365"/>
                    </a:lnTo>
                    <a:lnTo>
                      <a:pt x="696" y="372"/>
                    </a:lnTo>
                    <a:lnTo>
                      <a:pt x="683" y="368"/>
                    </a:lnTo>
                    <a:lnTo>
                      <a:pt x="678" y="370"/>
                    </a:lnTo>
                    <a:lnTo>
                      <a:pt x="686" y="377"/>
                    </a:lnTo>
                    <a:lnTo>
                      <a:pt x="681" y="383"/>
                    </a:lnTo>
                    <a:lnTo>
                      <a:pt x="670" y="380"/>
                    </a:lnTo>
                    <a:lnTo>
                      <a:pt x="667" y="386"/>
                    </a:lnTo>
                    <a:lnTo>
                      <a:pt x="659" y="383"/>
                    </a:lnTo>
                    <a:lnTo>
                      <a:pt x="643" y="390"/>
                    </a:lnTo>
                    <a:lnTo>
                      <a:pt x="639" y="399"/>
                    </a:lnTo>
                    <a:lnTo>
                      <a:pt x="633" y="403"/>
                    </a:lnTo>
                    <a:lnTo>
                      <a:pt x="632" y="407"/>
                    </a:lnTo>
                    <a:lnTo>
                      <a:pt x="642" y="414"/>
                    </a:lnTo>
                    <a:lnTo>
                      <a:pt x="651" y="410"/>
                    </a:lnTo>
                    <a:lnTo>
                      <a:pt x="656" y="404"/>
                    </a:lnTo>
                    <a:lnTo>
                      <a:pt x="672" y="414"/>
                    </a:lnTo>
                    <a:lnTo>
                      <a:pt x="685" y="406"/>
                    </a:lnTo>
                    <a:lnTo>
                      <a:pt x="687" y="409"/>
                    </a:lnTo>
                    <a:lnTo>
                      <a:pt x="691" y="418"/>
                    </a:lnTo>
                    <a:lnTo>
                      <a:pt x="681" y="418"/>
                    </a:lnTo>
                    <a:lnTo>
                      <a:pt x="676" y="425"/>
                    </a:lnTo>
                    <a:lnTo>
                      <a:pt x="674" y="439"/>
                    </a:lnTo>
                    <a:lnTo>
                      <a:pt x="659" y="430"/>
                    </a:lnTo>
                    <a:lnTo>
                      <a:pt x="648" y="430"/>
                    </a:lnTo>
                    <a:lnTo>
                      <a:pt x="645" y="424"/>
                    </a:lnTo>
                    <a:lnTo>
                      <a:pt x="633" y="422"/>
                    </a:lnTo>
                    <a:lnTo>
                      <a:pt x="619" y="430"/>
                    </a:lnTo>
                    <a:lnTo>
                      <a:pt x="616" y="438"/>
                    </a:lnTo>
                    <a:lnTo>
                      <a:pt x="626" y="453"/>
                    </a:lnTo>
                    <a:lnTo>
                      <a:pt x="626" y="462"/>
                    </a:lnTo>
                    <a:lnTo>
                      <a:pt x="619" y="461"/>
                    </a:lnTo>
                    <a:lnTo>
                      <a:pt x="624" y="476"/>
                    </a:lnTo>
                    <a:lnTo>
                      <a:pt x="626" y="487"/>
                    </a:lnTo>
                    <a:lnTo>
                      <a:pt x="617" y="483"/>
                    </a:lnTo>
                    <a:lnTo>
                      <a:pt x="617" y="494"/>
                    </a:lnTo>
                    <a:lnTo>
                      <a:pt x="610" y="495"/>
                    </a:lnTo>
                    <a:lnTo>
                      <a:pt x="605" y="457"/>
                    </a:lnTo>
                    <a:lnTo>
                      <a:pt x="597" y="460"/>
                    </a:lnTo>
                    <a:lnTo>
                      <a:pt x="594" y="473"/>
                    </a:lnTo>
                    <a:lnTo>
                      <a:pt x="586" y="471"/>
                    </a:lnTo>
                    <a:lnTo>
                      <a:pt x="583" y="474"/>
                    </a:lnTo>
                    <a:lnTo>
                      <a:pt x="594" y="479"/>
                    </a:lnTo>
                    <a:lnTo>
                      <a:pt x="591" y="483"/>
                    </a:lnTo>
                    <a:lnTo>
                      <a:pt x="583" y="485"/>
                    </a:lnTo>
                    <a:lnTo>
                      <a:pt x="575" y="490"/>
                    </a:lnTo>
                    <a:lnTo>
                      <a:pt x="573" y="499"/>
                    </a:lnTo>
                    <a:lnTo>
                      <a:pt x="574" y="509"/>
                    </a:lnTo>
                    <a:lnTo>
                      <a:pt x="583" y="516"/>
                    </a:lnTo>
                    <a:lnTo>
                      <a:pt x="575" y="520"/>
                    </a:lnTo>
                    <a:lnTo>
                      <a:pt x="580" y="525"/>
                    </a:lnTo>
                    <a:lnTo>
                      <a:pt x="574" y="527"/>
                    </a:lnTo>
                    <a:lnTo>
                      <a:pt x="570" y="539"/>
                    </a:lnTo>
                    <a:lnTo>
                      <a:pt x="567" y="542"/>
                    </a:lnTo>
                    <a:lnTo>
                      <a:pt x="561" y="542"/>
                    </a:lnTo>
                    <a:lnTo>
                      <a:pt x="562" y="546"/>
                    </a:lnTo>
                    <a:lnTo>
                      <a:pt x="572" y="549"/>
                    </a:lnTo>
                    <a:lnTo>
                      <a:pt x="591" y="542"/>
                    </a:lnTo>
                    <a:lnTo>
                      <a:pt x="578" y="558"/>
                    </a:lnTo>
                    <a:lnTo>
                      <a:pt x="572" y="562"/>
                    </a:lnTo>
                    <a:lnTo>
                      <a:pt x="553" y="558"/>
                    </a:lnTo>
                    <a:lnTo>
                      <a:pt x="548" y="553"/>
                    </a:lnTo>
                    <a:lnTo>
                      <a:pt x="547" y="546"/>
                    </a:lnTo>
                    <a:lnTo>
                      <a:pt x="540" y="547"/>
                    </a:lnTo>
                    <a:lnTo>
                      <a:pt x="529" y="557"/>
                    </a:lnTo>
                    <a:lnTo>
                      <a:pt x="524" y="574"/>
                    </a:lnTo>
                    <a:lnTo>
                      <a:pt x="514" y="581"/>
                    </a:lnTo>
                    <a:lnTo>
                      <a:pt x="513" y="591"/>
                    </a:lnTo>
                    <a:lnTo>
                      <a:pt x="520" y="591"/>
                    </a:lnTo>
                    <a:lnTo>
                      <a:pt x="519" y="598"/>
                    </a:lnTo>
                    <a:lnTo>
                      <a:pt x="518" y="603"/>
                    </a:lnTo>
                    <a:lnTo>
                      <a:pt x="509" y="607"/>
                    </a:lnTo>
                    <a:lnTo>
                      <a:pt x="504" y="625"/>
                    </a:lnTo>
                    <a:lnTo>
                      <a:pt x="497" y="624"/>
                    </a:lnTo>
                    <a:lnTo>
                      <a:pt x="491" y="628"/>
                    </a:lnTo>
                    <a:lnTo>
                      <a:pt x="484" y="629"/>
                    </a:lnTo>
                    <a:lnTo>
                      <a:pt x="476" y="640"/>
                    </a:lnTo>
                    <a:lnTo>
                      <a:pt x="482" y="650"/>
                    </a:lnTo>
                    <a:lnTo>
                      <a:pt x="478" y="654"/>
                    </a:lnTo>
                    <a:lnTo>
                      <a:pt x="467" y="656"/>
                    </a:lnTo>
                    <a:lnTo>
                      <a:pt x="467" y="666"/>
                    </a:lnTo>
                    <a:lnTo>
                      <a:pt x="456" y="667"/>
                    </a:lnTo>
                    <a:lnTo>
                      <a:pt x="459" y="673"/>
                    </a:lnTo>
                    <a:lnTo>
                      <a:pt x="454" y="677"/>
                    </a:lnTo>
                    <a:lnTo>
                      <a:pt x="452" y="686"/>
                    </a:lnTo>
                    <a:lnTo>
                      <a:pt x="465" y="688"/>
                    </a:lnTo>
                    <a:lnTo>
                      <a:pt x="462" y="694"/>
                    </a:lnTo>
                    <a:lnTo>
                      <a:pt x="454" y="699"/>
                    </a:lnTo>
                    <a:lnTo>
                      <a:pt x="448" y="694"/>
                    </a:lnTo>
                    <a:lnTo>
                      <a:pt x="448" y="697"/>
                    </a:lnTo>
                    <a:lnTo>
                      <a:pt x="448" y="711"/>
                    </a:lnTo>
                    <a:lnTo>
                      <a:pt x="454" y="720"/>
                    </a:lnTo>
                    <a:lnTo>
                      <a:pt x="459" y="713"/>
                    </a:lnTo>
                    <a:lnTo>
                      <a:pt x="463" y="716"/>
                    </a:lnTo>
                    <a:lnTo>
                      <a:pt x="461" y="726"/>
                    </a:lnTo>
                    <a:lnTo>
                      <a:pt x="440" y="729"/>
                    </a:lnTo>
                    <a:lnTo>
                      <a:pt x="436" y="734"/>
                    </a:lnTo>
                    <a:lnTo>
                      <a:pt x="435" y="748"/>
                    </a:lnTo>
                    <a:lnTo>
                      <a:pt x="427" y="754"/>
                    </a:lnTo>
                    <a:lnTo>
                      <a:pt x="418" y="757"/>
                    </a:lnTo>
                    <a:lnTo>
                      <a:pt x="412" y="772"/>
                    </a:lnTo>
                    <a:lnTo>
                      <a:pt x="420" y="770"/>
                    </a:lnTo>
                    <a:lnTo>
                      <a:pt x="429" y="762"/>
                    </a:lnTo>
                    <a:lnTo>
                      <a:pt x="440" y="757"/>
                    </a:lnTo>
                    <a:lnTo>
                      <a:pt x="440" y="767"/>
                    </a:lnTo>
                    <a:lnTo>
                      <a:pt x="446" y="779"/>
                    </a:lnTo>
                    <a:lnTo>
                      <a:pt x="427" y="773"/>
                    </a:lnTo>
                    <a:lnTo>
                      <a:pt x="425" y="781"/>
                    </a:lnTo>
                    <a:lnTo>
                      <a:pt x="429" y="785"/>
                    </a:lnTo>
                    <a:lnTo>
                      <a:pt x="423" y="790"/>
                    </a:lnTo>
                    <a:lnTo>
                      <a:pt x="420" y="796"/>
                    </a:lnTo>
                    <a:lnTo>
                      <a:pt x="423" y="806"/>
                    </a:lnTo>
                    <a:lnTo>
                      <a:pt x="419" y="808"/>
                    </a:lnTo>
                    <a:lnTo>
                      <a:pt x="413" y="805"/>
                    </a:lnTo>
                    <a:lnTo>
                      <a:pt x="409" y="811"/>
                    </a:lnTo>
                    <a:lnTo>
                      <a:pt x="412" y="821"/>
                    </a:lnTo>
                    <a:lnTo>
                      <a:pt x="418" y="826"/>
                    </a:lnTo>
                    <a:lnTo>
                      <a:pt x="420" y="845"/>
                    </a:lnTo>
                    <a:lnTo>
                      <a:pt x="413" y="837"/>
                    </a:lnTo>
                    <a:lnTo>
                      <a:pt x="406" y="834"/>
                    </a:lnTo>
                    <a:lnTo>
                      <a:pt x="400" y="821"/>
                    </a:lnTo>
                    <a:lnTo>
                      <a:pt x="401" y="838"/>
                    </a:lnTo>
                    <a:lnTo>
                      <a:pt x="397" y="844"/>
                    </a:lnTo>
                    <a:lnTo>
                      <a:pt x="391" y="847"/>
                    </a:lnTo>
                    <a:lnTo>
                      <a:pt x="387" y="856"/>
                    </a:lnTo>
                    <a:lnTo>
                      <a:pt x="392" y="859"/>
                    </a:lnTo>
                    <a:lnTo>
                      <a:pt x="398" y="856"/>
                    </a:lnTo>
                    <a:lnTo>
                      <a:pt x="403" y="848"/>
                    </a:lnTo>
                    <a:lnTo>
                      <a:pt x="405" y="851"/>
                    </a:lnTo>
                    <a:lnTo>
                      <a:pt x="403" y="856"/>
                    </a:lnTo>
                    <a:lnTo>
                      <a:pt x="403" y="864"/>
                    </a:lnTo>
                    <a:lnTo>
                      <a:pt x="406" y="871"/>
                    </a:lnTo>
                    <a:lnTo>
                      <a:pt x="398" y="877"/>
                    </a:lnTo>
                    <a:lnTo>
                      <a:pt x="387" y="872"/>
                    </a:lnTo>
                    <a:lnTo>
                      <a:pt x="382" y="880"/>
                    </a:lnTo>
                    <a:lnTo>
                      <a:pt x="376" y="876"/>
                    </a:lnTo>
                    <a:lnTo>
                      <a:pt x="369" y="886"/>
                    </a:lnTo>
                    <a:lnTo>
                      <a:pt x="368" y="896"/>
                    </a:lnTo>
                    <a:lnTo>
                      <a:pt x="360" y="902"/>
                    </a:lnTo>
                    <a:lnTo>
                      <a:pt x="352" y="904"/>
                    </a:lnTo>
                    <a:lnTo>
                      <a:pt x="347" y="925"/>
                    </a:lnTo>
                    <a:lnTo>
                      <a:pt x="357" y="921"/>
                    </a:lnTo>
                    <a:lnTo>
                      <a:pt x="366" y="915"/>
                    </a:lnTo>
                    <a:lnTo>
                      <a:pt x="370" y="919"/>
                    </a:lnTo>
                    <a:lnTo>
                      <a:pt x="353" y="926"/>
                    </a:lnTo>
                    <a:lnTo>
                      <a:pt x="353" y="937"/>
                    </a:lnTo>
                    <a:lnTo>
                      <a:pt x="355" y="948"/>
                    </a:lnTo>
                    <a:lnTo>
                      <a:pt x="352" y="955"/>
                    </a:lnTo>
                    <a:lnTo>
                      <a:pt x="341" y="958"/>
                    </a:lnTo>
                    <a:lnTo>
                      <a:pt x="327" y="947"/>
                    </a:lnTo>
                    <a:lnTo>
                      <a:pt x="323" y="947"/>
                    </a:lnTo>
                    <a:lnTo>
                      <a:pt x="315" y="962"/>
                    </a:lnTo>
                    <a:lnTo>
                      <a:pt x="305" y="969"/>
                    </a:lnTo>
                    <a:lnTo>
                      <a:pt x="304" y="976"/>
                    </a:lnTo>
                    <a:lnTo>
                      <a:pt x="296" y="980"/>
                    </a:lnTo>
                    <a:lnTo>
                      <a:pt x="280" y="1006"/>
                    </a:lnTo>
                    <a:lnTo>
                      <a:pt x="277" y="1012"/>
                    </a:lnTo>
                    <a:lnTo>
                      <a:pt x="280" y="1022"/>
                    </a:lnTo>
                    <a:lnTo>
                      <a:pt x="280" y="1026"/>
                    </a:lnTo>
                    <a:lnTo>
                      <a:pt x="258" y="1038"/>
                    </a:lnTo>
                    <a:lnTo>
                      <a:pt x="258" y="1048"/>
                    </a:lnTo>
                    <a:lnTo>
                      <a:pt x="263" y="1053"/>
                    </a:lnTo>
                    <a:lnTo>
                      <a:pt x="274" y="1048"/>
                    </a:lnTo>
                    <a:lnTo>
                      <a:pt x="269" y="1064"/>
                    </a:lnTo>
                    <a:lnTo>
                      <a:pt x="277" y="1075"/>
                    </a:lnTo>
                    <a:lnTo>
                      <a:pt x="283" y="1079"/>
                    </a:lnTo>
                    <a:lnTo>
                      <a:pt x="320" y="1052"/>
                    </a:lnTo>
                    <a:lnTo>
                      <a:pt x="342" y="1042"/>
                    </a:lnTo>
                    <a:lnTo>
                      <a:pt x="347" y="1036"/>
                    </a:lnTo>
                    <a:lnTo>
                      <a:pt x="352" y="1038"/>
                    </a:lnTo>
                    <a:lnTo>
                      <a:pt x="348" y="1044"/>
                    </a:lnTo>
                    <a:lnTo>
                      <a:pt x="335" y="1052"/>
                    </a:lnTo>
                    <a:lnTo>
                      <a:pt x="327" y="1053"/>
                    </a:lnTo>
                    <a:lnTo>
                      <a:pt x="316" y="1060"/>
                    </a:lnTo>
                    <a:lnTo>
                      <a:pt x="307" y="1068"/>
                    </a:lnTo>
                    <a:lnTo>
                      <a:pt x="314" y="1075"/>
                    </a:lnTo>
                    <a:lnTo>
                      <a:pt x="312" y="1079"/>
                    </a:lnTo>
                    <a:lnTo>
                      <a:pt x="295" y="1086"/>
                    </a:lnTo>
                    <a:lnTo>
                      <a:pt x="285" y="1086"/>
                    </a:lnTo>
                    <a:lnTo>
                      <a:pt x="282" y="1090"/>
                    </a:lnTo>
                    <a:lnTo>
                      <a:pt x="284" y="1096"/>
                    </a:lnTo>
                    <a:lnTo>
                      <a:pt x="280" y="1097"/>
                    </a:lnTo>
                    <a:lnTo>
                      <a:pt x="271" y="1096"/>
                    </a:lnTo>
                    <a:lnTo>
                      <a:pt x="271" y="1086"/>
                    </a:lnTo>
                    <a:lnTo>
                      <a:pt x="263" y="1071"/>
                    </a:lnTo>
                    <a:lnTo>
                      <a:pt x="258" y="1066"/>
                    </a:lnTo>
                    <a:lnTo>
                      <a:pt x="253" y="1066"/>
                    </a:lnTo>
                    <a:lnTo>
                      <a:pt x="250" y="1073"/>
                    </a:lnTo>
                    <a:lnTo>
                      <a:pt x="242" y="1074"/>
                    </a:lnTo>
                    <a:lnTo>
                      <a:pt x="236" y="1080"/>
                    </a:lnTo>
                    <a:lnTo>
                      <a:pt x="235" y="1087"/>
                    </a:lnTo>
                    <a:lnTo>
                      <a:pt x="241" y="1092"/>
                    </a:lnTo>
                    <a:lnTo>
                      <a:pt x="242" y="1097"/>
                    </a:lnTo>
                    <a:lnTo>
                      <a:pt x="231" y="1103"/>
                    </a:lnTo>
                    <a:lnTo>
                      <a:pt x="228" y="1097"/>
                    </a:lnTo>
                    <a:lnTo>
                      <a:pt x="228" y="1089"/>
                    </a:lnTo>
                    <a:lnTo>
                      <a:pt x="225" y="1082"/>
                    </a:lnTo>
                    <a:lnTo>
                      <a:pt x="198" y="1093"/>
                    </a:lnTo>
                    <a:lnTo>
                      <a:pt x="194" y="1098"/>
                    </a:lnTo>
                    <a:lnTo>
                      <a:pt x="190" y="1109"/>
                    </a:lnTo>
                    <a:lnTo>
                      <a:pt x="183" y="1108"/>
                    </a:lnTo>
                    <a:lnTo>
                      <a:pt x="185" y="1116"/>
                    </a:lnTo>
                    <a:lnTo>
                      <a:pt x="183" y="1119"/>
                    </a:lnTo>
                    <a:lnTo>
                      <a:pt x="175" y="1120"/>
                    </a:lnTo>
                    <a:lnTo>
                      <a:pt x="175" y="1117"/>
                    </a:lnTo>
                    <a:lnTo>
                      <a:pt x="174" y="1112"/>
                    </a:lnTo>
                    <a:lnTo>
                      <a:pt x="169" y="1113"/>
                    </a:lnTo>
                    <a:lnTo>
                      <a:pt x="166" y="1117"/>
                    </a:lnTo>
                    <a:lnTo>
                      <a:pt x="167" y="1122"/>
                    </a:lnTo>
                    <a:lnTo>
                      <a:pt x="166" y="1124"/>
                    </a:lnTo>
                    <a:lnTo>
                      <a:pt x="156" y="1124"/>
                    </a:lnTo>
                    <a:lnTo>
                      <a:pt x="143" y="1132"/>
                    </a:lnTo>
                    <a:lnTo>
                      <a:pt x="140" y="1145"/>
                    </a:lnTo>
                    <a:lnTo>
                      <a:pt x="135" y="1156"/>
                    </a:lnTo>
                    <a:lnTo>
                      <a:pt x="128" y="1151"/>
                    </a:lnTo>
                    <a:lnTo>
                      <a:pt x="118" y="1150"/>
                    </a:lnTo>
                    <a:lnTo>
                      <a:pt x="110" y="1157"/>
                    </a:lnTo>
                    <a:lnTo>
                      <a:pt x="107" y="1163"/>
                    </a:lnTo>
                    <a:lnTo>
                      <a:pt x="117" y="1171"/>
                    </a:lnTo>
                    <a:lnTo>
                      <a:pt x="111" y="1177"/>
                    </a:lnTo>
                    <a:lnTo>
                      <a:pt x="121" y="1178"/>
                    </a:lnTo>
                    <a:lnTo>
                      <a:pt x="132" y="1176"/>
                    </a:lnTo>
                    <a:lnTo>
                      <a:pt x="137" y="1182"/>
                    </a:lnTo>
                    <a:lnTo>
                      <a:pt x="142" y="1184"/>
                    </a:lnTo>
                    <a:lnTo>
                      <a:pt x="135" y="1193"/>
                    </a:lnTo>
                    <a:lnTo>
                      <a:pt x="138" y="1199"/>
                    </a:lnTo>
                    <a:lnTo>
                      <a:pt x="131" y="1195"/>
                    </a:lnTo>
                    <a:lnTo>
                      <a:pt x="122" y="1195"/>
                    </a:lnTo>
                    <a:lnTo>
                      <a:pt x="99" y="1192"/>
                    </a:lnTo>
                    <a:lnTo>
                      <a:pt x="91" y="1193"/>
                    </a:lnTo>
                    <a:lnTo>
                      <a:pt x="86" y="1197"/>
                    </a:lnTo>
                    <a:lnTo>
                      <a:pt x="80" y="1195"/>
                    </a:lnTo>
                    <a:lnTo>
                      <a:pt x="74" y="1200"/>
                    </a:lnTo>
                    <a:lnTo>
                      <a:pt x="75" y="1203"/>
                    </a:lnTo>
                    <a:lnTo>
                      <a:pt x="81" y="1205"/>
                    </a:lnTo>
                    <a:lnTo>
                      <a:pt x="75" y="1208"/>
                    </a:lnTo>
                    <a:lnTo>
                      <a:pt x="75" y="1214"/>
                    </a:lnTo>
                    <a:lnTo>
                      <a:pt x="83" y="1213"/>
                    </a:lnTo>
                    <a:lnTo>
                      <a:pt x="89" y="1210"/>
                    </a:lnTo>
                    <a:lnTo>
                      <a:pt x="81" y="1220"/>
                    </a:lnTo>
                    <a:lnTo>
                      <a:pt x="81" y="1227"/>
                    </a:lnTo>
                    <a:lnTo>
                      <a:pt x="86" y="1243"/>
                    </a:lnTo>
                    <a:lnTo>
                      <a:pt x="83" y="1245"/>
                    </a:lnTo>
                    <a:lnTo>
                      <a:pt x="78" y="1230"/>
                    </a:lnTo>
                    <a:lnTo>
                      <a:pt x="74" y="1224"/>
                    </a:lnTo>
                    <a:lnTo>
                      <a:pt x="64" y="1230"/>
                    </a:lnTo>
                    <a:lnTo>
                      <a:pt x="59" y="1238"/>
                    </a:lnTo>
                    <a:lnTo>
                      <a:pt x="56" y="1248"/>
                    </a:lnTo>
                    <a:lnTo>
                      <a:pt x="61" y="1253"/>
                    </a:lnTo>
                    <a:lnTo>
                      <a:pt x="62" y="1259"/>
                    </a:lnTo>
                    <a:lnTo>
                      <a:pt x="53" y="1253"/>
                    </a:lnTo>
                    <a:lnTo>
                      <a:pt x="50" y="1246"/>
                    </a:lnTo>
                    <a:lnTo>
                      <a:pt x="41" y="1248"/>
                    </a:lnTo>
                    <a:lnTo>
                      <a:pt x="27" y="1248"/>
                    </a:lnTo>
                    <a:lnTo>
                      <a:pt x="27" y="1254"/>
                    </a:lnTo>
                    <a:lnTo>
                      <a:pt x="29" y="1259"/>
                    </a:lnTo>
                    <a:lnTo>
                      <a:pt x="13" y="1247"/>
                    </a:lnTo>
                    <a:lnTo>
                      <a:pt x="9" y="1251"/>
                    </a:lnTo>
                    <a:lnTo>
                      <a:pt x="15" y="1265"/>
                    </a:lnTo>
                    <a:lnTo>
                      <a:pt x="11" y="1272"/>
                    </a:lnTo>
                    <a:lnTo>
                      <a:pt x="13" y="1274"/>
                    </a:lnTo>
                    <a:lnTo>
                      <a:pt x="41" y="1274"/>
                    </a:lnTo>
                    <a:lnTo>
                      <a:pt x="67" y="1268"/>
                    </a:lnTo>
                    <a:lnTo>
                      <a:pt x="51" y="1275"/>
                    </a:lnTo>
                    <a:lnTo>
                      <a:pt x="53" y="1279"/>
                    </a:lnTo>
                    <a:lnTo>
                      <a:pt x="65" y="1279"/>
                    </a:lnTo>
                    <a:lnTo>
                      <a:pt x="74" y="1275"/>
                    </a:lnTo>
                    <a:lnTo>
                      <a:pt x="77" y="1278"/>
                    </a:lnTo>
                    <a:lnTo>
                      <a:pt x="67" y="1284"/>
                    </a:lnTo>
                    <a:lnTo>
                      <a:pt x="52" y="1286"/>
                    </a:lnTo>
                    <a:lnTo>
                      <a:pt x="36" y="1286"/>
                    </a:lnTo>
                    <a:lnTo>
                      <a:pt x="30" y="1281"/>
                    </a:lnTo>
                    <a:lnTo>
                      <a:pt x="24" y="1281"/>
                    </a:lnTo>
                    <a:lnTo>
                      <a:pt x="13" y="1291"/>
                    </a:lnTo>
                    <a:lnTo>
                      <a:pt x="11" y="1296"/>
                    </a:lnTo>
                    <a:lnTo>
                      <a:pt x="4" y="1295"/>
                    </a:lnTo>
                    <a:lnTo>
                      <a:pt x="2" y="1297"/>
                    </a:lnTo>
                    <a:lnTo>
                      <a:pt x="0" y="1305"/>
                    </a:lnTo>
                    <a:lnTo>
                      <a:pt x="16" y="1310"/>
                    </a:lnTo>
                    <a:lnTo>
                      <a:pt x="15" y="1316"/>
                    </a:lnTo>
                    <a:lnTo>
                      <a:pt x="15" y="1322"/>
                    </a:lnTo>
                    <a:lnTo>
                      <a:pt x="10" y="1327"/>
                    </a:lnTo>
                    <a:lnTo>
                      <a:pt x="3" y="1335"/>
                    </a:lnTo>
                    <a:lnTo>
                      <a:pt x="5" y="1343"/>
                    </a:lnTo>
                    <a:lnTo>
                      <a:pt x="3" y="1346"/>
                    </a:lnTo>
                    <a:lnTo>
                      <a:pt x="3" y="1354"/>
                    </a:lnTo>
                    <a:lnTo>
                      <a:pt x="7" y="1358"/>
                    </a:lnTo>
                    <a:lnTo>
                      <a:pt x="7" y="1365"/>
                    </a:lnTo>
                    <a:lnTo>
                      <a:pt x="22" y="1367"/>
                    </a:lnTo>
                    <a:lnTo>
                      <a:pt x="53" y="1356"/>
                    </a:lnTo>
                    <a:lnTo>
                      <a:pt x="59" y="1360"/>
                    </a:lnTo>
                    <a:lnTo>
                      <a:pt x="72" y="1360"/>
                    </a:lnTo>
                    <a:lnTo>
                      <a:pt x="74" y="1349"/>
                    </a:lnTo>
                    <a:lnTo>
                      <a:pt x="83" y="1333"/>
                    </a:lnTo>
                    <a:lnTo>
                      <a:pt x="85" y="1343"/>
                    </a:lnTo>
                    <a:lnTo>
                      <a:pt x="81" y="1356"/>
                    </a:lnTo>
                    <a:lnTo>
                      <a:pt x="88" y="1359"/>
                    </a:lnTo>
                    <a:lnTo>
                      <a:pt x="99" y="1359"/>
                    </a:lnTo>
                    <a:lnTo>
                      <a:pt x="106" y="1356"/>
                    </a:lnTo>
                    <a:lnTo>
                      <a:pt x="111" y="1360"/>
                    </a:lnTo>
                    <a:lnTo>
                      <a:pt x="122" y="1348"/>
                    </a:lnTo>
                    <a:lnTo>
                      <a:pt x="126" y="1324"/>
                    </a:lnTo>
                    <a:lnTo>
                      <a:pt x="138" y="1317"/>
                    </a:lnTo>
                    <a:lnTo>
                      <a:pt x="139" y="1322"/>
                    </a:lnTo>
                    <a:lnTo>
                      <a:pt x="131" y="1338"/>
                    </a:lnTo>
                    <a:lnTo>
                      <a:pt x="129" y="1349"/>
                    </a:lnTo>
                    <a:lnTo>
                      <a:pt x="127" y="1354"/>
                    </a:lnTo>
                    <a:lnTo>
                      <a:pt x="133" y="1353"/>
                    </a:lnTo>
                    <a:lnTo>
                      <a:pt x="140" y="1349"/>
                    </a:lnTo>
                    <a:lnTo>
                      <a:pt x="145" y="1351"/>
                    </a:lnTo>
                    <a:lnTo>
                      <a:pt x="131" y="1362"/>
                    </a:lnTo>
                    <a:lnTo>
                      <a:pt x="113" y="1369"/>
                    </a:lnTo>
                    <a:lnTo>
                      <a:pt x="111" y="1378"/>
                    </a:lnTo>
                    <a:lnTo>
                      <a:pt x="118" y="1385"/>
                    </a:lnTo>
                    <a:lnTo>
                      <a:pt x="105" y="1393"/>
                    </a:lnTo>
                    <a:lnTo>
                      <a:pt x="105" y="1383"/>
                    </a:lnTo>
                    <a:lnTo>
                      <a:pt x="101" y="1376"/>
                    </a:lnTo>
                    <a:lnTo>
                      <a:pt x="91" y="1369"/>
                    </a:lnTo>
                    <a:lnTo>
                      <a:pt x="81" y="1369"/>
                    </a:lnTo>
                    <a:lnTo>
                      <a:pt x="68" y="1372"/>
                    </a:lnTo>
                    <a:lnTo>
                      <a:pt x="57" y="1370"/>
                    </a:lnTo>
                    <a:lnTo>
                      <a:pt x="47" y="1371"/>
                    </a:lnTo>
                    <a:lnTo>
                      <a:pt x="37" y="1370"/>
                    </a:lnTo>
                    <a:lnTo>
                      <a:pt x="29" y="1378"/>
                    </a:lnTo>
                    <a:lnTo>
                      <a:pt x="10" y="1373"/>
                    </a:lnTo>
                    <a:lnTo>
                      <a:pt x="5" y="1386"/>
                    </a:lnTo>
                    <a:lnTo>
                      <a:pt x="4" y="1397"/>
                    </a:lnTo>
                    <a:lnTo>
                      <a:pt x="14" y="1397"/>
                    </a:lnTo>
                    <a:lnTo>
                      <a:pt x="18" y="1396"/>
                    </a:lnTo>
                    <a:lnTo>
                      <a:pt x="18" y="1410"/>
                    </a:lnTo>
                    <a:lnTo>
                      <a:pt x="9" y="1407"/>
                    </a:lnTo>
                    <a:lnTo>
                      <a:pt x="3" y="1401"/>
                    </a:lnTo>
                    <a:lnTo>
                      <a:pt x="2" y="1403"/>
                    </a:lnTo>
                    <a:lnTo>
                      <a:pt x="0" y="1403"/>
                    </a:lnTo>
                    <a:lnTo>
                      <a:pt x="0" y="1407"/>
                    </a:lnTo>
                    <a:lnTo>
                      <a:pt x="10" y="1425"/>
                    </a:lnTo>
                    <a:lnTo>
                      <a:pt x="16" y="1426"/>
                    </a:lnTo>
                    <a:lnTo>
                      <a:pt x="30" y="1418"/>
                    </a:lnTo>
                    <a:lnTo>
                      <a:pt x="38" y="1415"/>
                    </a:lnTo>
                    <a:lnTo>
                      <a:pt x="25" y="1429"/>
                    </a:lnTo>
                    <a:lnTo>
                      <a:pt x="20" y="1436"/>
                    </a:lnTo>
                    <a:lnTo>
                      <a:pt x="24" y="1440"/>
                    </a:lnTo>
                    <a:lnTo>
                      <a:pt x="14" y="1446"/>
                    </a:lnTo>
                    <a:lnTo>
                      <a:pt x="9" y="1452"/>
                    </a:lnTo>
                    <a:lnTo>
                      <a:pt x="10" y="1461"/>
                    </a:lnTo>
                    <a:lnTo>
                      <a:pt x="15" y="1466"/>
                    </a:lnTo>
                    <a:lnTo>
                      <a:pt x="18" y="1472"/>
                    </a:lnTo>
                    <a:lnTo>
                      <a:pt x="24" y="1467"/>
                    </a:lnTo>
                    <a:lnTo>
                      <a:pt x="30" y="1461"/>
                    </a:lnTo>
                    <a:lnTo>
                      <a:pt x="30" y="1469"/>
                    </a:lnTo>
                    <a:lnTo>
                      <a:pt x="38" y="1483"/>
                    </a:lnTo>
                    <a:lnTo>
                      <a:pt x="31" y="1484"/>
                    </a:lnTo>
                    <a:lnTo>
                      <a:pt x="22" y="1490"/>
                    </a:lnTo>
                    <a:lnTo>
                      <a:pt x="22" y="1495"/>
                    </a:lnTo>
                    <a:lnTo>
                      <a:pt x="27" y="1499"/>
                    </a:lnTo>
                    <a:lnTo>
                      <a:pt x="37" y="1493"/>
                    </a:lnTo>
                    <a:lnTo>
                      <a:pt x="43" y="1482"/>
                    </a:lnTo>
                    <a:lnTo>
                      <a:pt x="45" y="1469"/>
                    </a:lnTo>
                    <a:lnTo>
                      <a:pt x="53" y="1463"/>
                    </a:lnTo>
                    <a:lnTo>
                      <a:pt x="63" y="1451"/>
                    </a:lnTo>
                    <a:lnTo>
                      <a:pt x="73" y="1431"/>
                    </a:lnTo>
                    <a:lnTo>
                      <a:pt x="83" y="1423"/>
                    </a:lnTo>
                    <a:lnTo>
                      <a:pt x="88" y="1428"/>
                    </a:lnTo>
                    <a:lnTo>
                      <a:pt x="88" y="1431"/>
                    </a:lnTo>
                    <a:lnTo>
                      <a:pt x="100" y="1429"/>
                    </a:lnTo>
                    <a:lnTo>
                      <a:pt x="110" y="1430"/>
                    </a:lnTo>
                    <a:lnTo>
                      <a:pt x="94" y="1437"/>
                    </a:lnTo>
                    <a:lnTo>
                      <a:pt x="91" y="1448"/>
                    </a:lnTo>
                    <a:lnTo>
                      <a:pt x="89" y="1455"/>
                    </a:lnTo>
                    <a:lnTo>
                      <a:pt x="88" y="1443"/>
                    </a:lnTo>
                    <a:lnTo>
                      <a:pt x="83" y="1442"/>
                    </a:lnTo>
                    <a:lnTo>
                      <a:pt x="74" y="1456"/>
                    </a:lnTo>
                    <a:lnTo>
                      <a:pt x="64" y="1467"/>
                    </a:lnTo>
                    <a:lnTo>
                      <a:pt x="70" y="1472"/>
                    </a:lnTo>
                    <a:lnTo>
                      <a:pt x="70" y="1475"/>
                    </a:lnTo>
                    <a:lnTo>
                      <a:pt x="59" y="1482"/>
                    </a:lnTo>
                    <a:lnTo>
                      <a:pt x="40" y="1506"/>
                    </a:lnTo>
                    <a:lnTo>
                      <a:pt x="47" y="1511"/>
                    </a:lnTo>
                    <a:lnTo>
                      <a:pt x="67" y="1511"/>
                    </a:lnTo>
                    <a:lnTo>
                      <a:pt x="72" y="1506"/>
                    </a:lnTo>
                    <a:lnTo>
                      <a:pt x="74" y="1510"/>
                    </a:lnTo>
                    <a:lnTo>
                      <a:pt x="53" y="1518"/>
                    </a:lnTo>
                    <a:lnTo>
                      <a:pt x="48" y="1525"/>
                    </a:lnTo>
                    <a:lnTo>
                      <a:pt x="47" y="1528"/>
                    </a:lnTo>
                    <a:lnTo>
                      <a:pt x="37" y="1528"/>
                    </a:lnTo>
                    <a:lnTo>
                      <a:pt x="32" y="1531"/>
                    </a:lnTo>
                    <a:lnTo>
                      <a:pt x="26" y="1528"/>
                    </a:lnTo>
                    <a:lnTo>
                      <a:pt x="18" y="1539"/>
                    </a:lnTo>
                    <a:lnTo>
                      <a:pt x="13" y="1549"/>
                    </a:lnTo>
                    <a:lnTo>
                      <a:pt x="13" y="1558"/>
                    </a:lnTo>
                    <a:lnTo>
                      <a:pt x="16" y="1560"/>
                    </a:lnTo>
                    <a:lnTo>
                      <a:pt x="18" y="1564"/>
                    </a:lnTo>
                    <a:lnTo>
                      <a:pt x="26" y="1563"/>
                    </a:lnTo>
                    <a:lnTo>
                      <a:pt x="30" y="1554"/>
                    </a:lnTo>
                    <a:lnTo>
                      <a:pt x="32" y="1563"/>
                    </a:lnTo>
                    <a:lnTo>
                      <a:pt x="40" y="1563"/>
                    </a:lnTo>
                    <a:lnTo>
                      <a:pt x="42" y="1556"/>
                    </a:lnTo>
                    <a:lnTo>
                      <a:pt x="41" y="1550"/>
                    </a:lnTo>
                    <a:lnTo>
                      <a:pt x="48" y="1555"/>
                    </a:lnTo>
                    <a:lnTo>
                      <a:pt x="63" y="1547"/>
                    </a:lnTo>
                    <a:lnTo>
                      <a:pt x="68" y="1541"/>
                    </a:lnTo>
                    <a:lnTo>
                      <a:pt x="73" y="1544"/>
                    </a:lnTo>
                    <a:lnTo>
                      <a:pt x="58" y="1561"/>
                    </a:lnTo>
                    <a:lnTo>
                      <a:pt x="64" y="1561"/>
                    </a:lnTo>
                    <a:lnTo>
                      <a:pt x="64" y="1571"/>
                    </a:lnTo>
                    <a:lnTo>
                      <a:pt x="58" y="1580"/>
                    </a:lnTo>
                    <a:lnTo>
                      <a:pt x="56" y="1587"/>
                    </a:lnTo>
                    <a:lnTo>
                      <a:pt x="50" y="1593"/>
                    </a:lnTo>
                    <a:lnTo>
                      <a:pt x="51" y="1599"/>
                    </a:lnTo>
                    <a:lnTo>
                      <a:pt x="51" y="1604"/>
                    </a:lnTo>
                    <a:lnTo>
                      <a:pt x="45" y="1603"/>
                    </a:lnTo>
                    <a:lnTo>
                      <a:pt x="40" y="1606"/>
                    </a:lnTo>
                    <a:lnTo>
                      <a:pt x="36" y="1598"/>
                    </a:lnTo>
                    <a:lnTo>
                      <a:pt x="32" y="1598"/>
                    </a:lnTo>
                    <a:lnTo>
                      <a:pt x="25" y="1630"/>
                    </a:lnTo>
                    <a:lnTo>
                      <a:pt x="38" y="1647"/>
                    </a:lnTo>
                    <a:lnTo>
                      <a:pt x="59" y="1666"/>
                    </a:lnTo>
                    <a:lnTo>
                      <a:pt x="74" y="1674"/>
                    </a:lnTo>
                    <a:lnTo>
                      <a:pt x="85" y="1677"/>
                    </a:lnTo>
                    <a:lnTo>
                      <a:pt x="92" y="1665"/>
                    </a:lnTo>
                    <a:lnTo>
                      <a:pt x="92" y="1682"/>
                    </a:lnTo>
                    <a:lnTo>
                      <a:pt x="90" y="1694"/>
                    </a:lnTo>
                    <a:lnTo>
                      <a:pt x="96" y="1689"/>
                    </a:lnTo>
                    <a:lnTo>
                      <a:pt x="106" y="1695"/>
                    </a:lnTo>
                    <a:lnTo>
                      <a:pt x="110" y="1685"/>
                    </a:lnTo>
                    <a:lnTo>
                      <a:pt x="124" y="1687"/>
                    </a:lnTo>
                    <a:lnTo>
                      <a:pt x="117" y="1695"/>
                    </a:lnTo>
                    <a:lnTo>
                      <a:pt x="134" y="1701"/>
                    </a:lnTo>
                    <a:lnTo>
                      <a:pt x="145" y="1697"/>
                    </a:lnTo>
                    <a:lnTo>
                      <a:pt x="158" y="1687"/>
                    </a:lnTo>
                    <a:lnTo>
                      <a:pt x="163" y="1673"/>
                    </a:lnTo>
                    <a:lnTo>
                      <a:pt x="170" y="1684"/>
                    </a:lnTo>
                    <a:lnTo>
                      <a:pt x="190" y="1671"/>
                    </a:lnTo>
                    <a:lnTo>
                      <a:pt x="210" y="1644"/>
                    </a:lnTo>
                    <a:lnTo>
                      <a:pt x="221" y="1638"/>
                    </a:lnTo>
                    <a:lnTo>
                      <a:pt x="225" y="1627"/>
                    </a:lnTo>
                    <a:lnTo>
                      <a:pt x="231" y="1622"/>
                    </a:lnTo>
                    <a:lnTo>
                      <a:pt x="234" y="1615"/>
                    </a:lnTo>
                    <a:lnTo>
                      <a:pt x="251" y="1597"/>
                    </a:lnTo>
                    <a:lnTo>
                      <a:pt x="249" y="1590"/>
                    </a:lnTo>
                    <a:lnTo>
                      <a:pt x="261" y="1597"/>
                    </a:lnTo>
                    <a:lnTo>
                      <a:pt x="274" y="1597"/>
                    </a:lnTo>
                    <a:lnTo>
                      <a:pt x="282" y="1593"/>
                    </a:lnTo>
                    <a:lnTo>
                      <a:pt x="285" y="1581"/>
                    </a:lnTo>
                    <a:lnTo>
                      <a:pt x="287" y="1574"/>
                    </a:lnTo>
                    <a:lnTo>
                      <a:pt x="294" y="1566"/>
                    </a:lnTo>
                    <a:lnTo>
                      <a:pt x="293" y="1556"/>
                    </a:lnTo>
                    <a:lnTo>
                      <a:pt x="287" y="1549"/>
                    </a:lnTo>
                    <a:lnTo>
                      <a:pt x="283" y="1541"/>
                    </a:lnTo>
                    <a:lnTo>
                      <a:pt x="285" y="1538"/>
                    </a:lnTo>
                    <a:lnTo>
                      <a:pt x="287" y="1533"/>
                    </a:lnTo>
                    <a:lnTo>
                      <a:pt x="284" y="1522"/>
                    </a:lnTo>
                    <a:lnTo>
                      <a:pt x="289" y="1526"/>
                    </a:lnTo>
                    <a:lnTo>
                      <a:pt x="293" y="1533"/>
                    </a:lnTo>
                    <a:lnTo>
                      <a:pt x="293" y="1541"/>
                    </a:lnTo>
                    <a:lnTo>
                      <a:pt x="299" y="1539"/>
                    </a:lnTo>
                    <a:lnTo>
                      <a:pt x="300" y="1533"/>
                    </a:lnTo>
                    <a:lnTo>
                      <a:pt x="295" y="1525"/>
                    </a:lnTo>
                    <a:lnTo>
                      <a:pt x="294" y="1509"/>
                    </a:lnTo>
                    <a:lnTo>
                      <a:pt x="296" y="1505"/>
                    </a:lnTo>
                    <a:lnTo>
                      <a:pt x="299" y="1506"/>
                    </a:lnTo>
                    <a:lnTo>
                      <a:pt x="305" y="1502"/>
                    </a:lnTo>
                    <a:lnTo>
                      <a:pt x="310" y="1505"/>
                    </a:lnTo>
                    <a:lnTo>
                      <a:pt x="310" y="1512"/>
                    </a:lnTo>
                    <a:lnTo>
                      <a:pt x="303" y="1516"/>
                    </a:lnTo>
                    <a:lnTo>
                      <a:pt x="303" y="1522"/>
                    </a:lnTo>
                    <a:lnTo>
                      <a:pt x="305" y="1533"/>
                    </a:lnTo>
                    <a:lnTo>
                      <a:pt x="307" y="1563"/>
                    </a:lnTo>
                    <a:lnTo>
                      <a:pt x="310" y="1574"/>
                    </a:lnTo>
                    <a:lnTo>
                      <a:pt x="317" y="1572"/>
                    </a:lnTo>
                    <a:lnTo>
                      <a:pt x="327" y="1581"/>
                    </a:lnTo>
                    <a:lnTo>
                      <a:pt x="333" y="1580"/>
                    </a:lnTo>
                    <a:lnTo>
                      <a:pt x="337" y="1587"/>
                    </a:lnTo>
                    <a:lnTo>
                      <a:pt x="339" y="1592"/>
                    </a:lnTo>
                    <a:lnTo>
                      <a:pt x="339" y="1614"/>
                    </a:lnTo>
                    <a:lnTo>
                      <a:pt x="343" y="1601"/>
                    </a:lnTo>
                    <a:lnTo>
                      <a:pt x="347" y="1609"/>
                    </a:lnTo>
                    <a:lnTo>
                      <a:pt x="355" y="1603"/>
                    </a:lnTo>
                    <a:lnTo>
                      <a:pt x="363" y="1566"/>
                    </a:lnTo>
                    <a:lnTo>
                      <a:pt x="359" y="1554"/>
                    </a:lnTo>
                    <a:lnTo>
                      <a:pt x="358" y="1537"/>
                    </a:lnTo>
                    <a:lnTo>
                      <a:pt x="370" y="1516"/>
                    </a:lnTo>
                    <a:lnTo>
                      <a:pt x="370" y="1502"/>
                    </a:lnTo>
                    <a:lnTo>
                      <a:pt x="397" y="1491"/>
                    </a:lnTo>
                    <a:lnTo>
                      <a:pt x="403" y="1480"/>
                    </a:lnTo>
                    <a:lnTo>
                      <a:pt x="405" y="1466"/>
                    </a:lnTo>
                    <a:lnTo>
                      <a:pt x="401" y="1457"/>
                    </a:lnTo>
                    <a:lnTo>
                      <a:pt x="408" y="1428"/>
                    </a:lnTo>
                    <a:lnTo>
                      <a:pt x="400" y="1394"/>
                    </a:lnTo>
                    <a:lnTo>
                      <a:pt x="390" y="1382"/>
                    </a:lnTo>
                    <a:lnTo>
                      <a:pt x="392" y="1375"/>
                    </a:lnTo>
                    <a:lnTo>
                      <a:pt x="407" y="1369"/>
                    </a:lnTo>
                    <a:lnTo>
                      <a:pt x="417" y="1358"/>
                    </a:lnTo>
                    <a:lnTo>
                      <a:pt x="423" y="1339"/>
                    </a:lnTo>
                    <a:lnTo>
                      <a:pt x="420" y="1318"/>
                    </a:lnTo>
                    <a:lnTo>
                      <a:pt x="400" y="1303"/>
                    </a:lnTo>
                    <a:lnTo>
                      <a:pt x="391" y="1287"/>
                    </a:lnTo>
                    <a:lnTo>
                      <a:pt x="390" y="1267"/>
                    </a:lnTo>
                    <a:lnTo>
                      <a:pt x="391" y="1225"/>
                    </a:lnTo>
                    <a:lnTo>
                      <a:pt x="386" y="1210"/>
                    </a:lnTo>
                    <a:lnTo>
                      <a:pt x="384" y="1206"/>
                    </a:lnTo>
                    <a:lnTo>
                      <a:pt x="384" y="1194"/>
                    </a:lnTo>
                    <a:lnTo>
                      <a:pt x="386" y="1186"/>
                    </a:lnTo>
                    <a:lnTo>
                      <a:pt x="386" y="1166"/>
                    </a:lnTo>
                    <a:lnTo>
                      <a:pt x="390" y="1156"/>
                    </a:lnTo>
                    <a:lnTo>
                      <a:pt x="391" y="1144"/>
                    </a:lnTo>
                    <a:lnTo>
                      <a:pt x="397" y="1134"/>
                    </a:lnTo>
                    <a:lnTo>
                      <a:pt x="392" y="1129"/>
                    </a:lnTo>
                    <a:lnTo>
                      <a:pt x="386" y="1116"/>
                    </a:lnTo>
                    <a:lnTo>
                      <a:pt x="382" y="1097"/>
                    </a:lnTo>
                    <a:lnTo>
                      <a:pt x="387" y="1077"/>
                    </a:lnTo>
                    <a:lnTo>
                      <a:pt x="393" y="1063"/>
                    </a:lnTo>
                    <a:lnTo>
                      <a:pt x="418" y="1032"/>
                    </a:lnTo>
                    <a:lnTo>
                      <a:pt x="435" y="1021"/>
                    </a:lnTo>
                    <a:lnTo>
                      <a:pt x="456" y="1015"/>
                    </a:lnTo>
                    <a:lnTo>
                      <a:pt x="473" y="1018"/>
                    </a:lnTo>
                    <a:lnTo>
                      <a:pt x="488" y="1020"/>
                    </a:lnTo>
                    <a:lnTo>
                      <a:pt x="498" y="1007"/>
                    </a:lnTo>
                    <a:lnTo>
                      <a:pt x="500" y="995"/>
                    </a:lnTo>
                    <a:lnTo>
                      <a:pt x="500" y="976"/>
                    </a:lnTo>
                    <a:lnTo>
                      <a:pt x="494" y="964"/>
                    </a:lnTo>
                    <a:lnTo>
                      <a:pt x="479" y="948"/>
                    </a:lnTo>
                    <a:lnTo>
                      <a:pt x="478" y="939"/>
                    </a:lnTo>
                    <a:lnTo>
                      <a:pt x="498" y="907"/>
                    </a:lnTo>
                    <a:lnTo>
                      <a:pt x="515" y="870"/>
                    </a:lnTo>
                    <a:lnTo>
                      <a:pt x="524" y="820"/>
                    </a:lnTo>
                    <a:lnTo>
                      <a:pt x="525" y="790"/>
                    </a:lnTo>
                    <a:lnTo>
                      <a:pt x="525" y="769"/>
                    </a:lnTo>
                    <a:lnTo>
                      <a:pt x="524" y="754"/>
                    </a:lnTo>
                    <a:lnTo>
                      <a:pt x="531" y="750"/>
                    </a:lnTo>
                    <a:lnTo>
                      <a:pt x="542" y="750"/>
                    </a:lnTo>
                    <a:lnTo>
                      <a:pt x="559" y="736"/>
                    </a:lnTo>
                    <a:lnTo>
                      <a:pt x="564" y="724"/>
                    </a:lnTo>
                    <a:lnTo>
                      <a:pt x="567" y="704"/>
                    </a:lnTo>
                    <a:lnTo>
                      <a:pt x="573" y="688"/>
                    </a:lnTo>
                    <a:lnTo>
                      <a:pt x="596" y="657"/>
                    </a:lnTo>
                    <a:lnTo>
                      <a:pt x="604" y="644"/>
                    </a:lnTo>
                    <a:lnTo>
                      <a:pt x="616" y="629"/>
                    </a:lnTo>
                    <a:lnTo>
                      <a:pt x="622" y="618"/>
                    </a:lnTo>
                    <a:lnTo>
                      <a:pt x="624" y="609"/>
                    </a:lnTo>
                    <a:lnTo>
                      <a:pt x="623" y="596"/>
                    </a:lnTo>
                    <a:lnTo>
                      <a:pt x="610" y="574"/>
                    </a:lnTo>
                    <a:lnTo>
                      <a:pt x="613" y="560"/>
                    </a:lnTo>
                    <a:lnTo>
                      <a:pt x="627" y="543"/>
                    </a:lnTo>
                    <a:lnTo>
                      <a:pt x="633" y="532"/>
                    </a:lnTo>
                    <a:lnTo>
                      <a:pt x="635" y="520"/>
                    </a:lnTo>
                    <a:lnTo>
                      <a:pt x="639" y="503"/>
                    </a:lnTo>
                    <a:lnTo>
                      <a:pt x="648" y="492"/>
                    </a:lnTo>
                    <a:lnTo>
                      <a:pt x="666" y="472"/>
                    </a:lnTo>
                    <a:lnTo>
                      <a:pt x="678" y="469"/>
                    </a:lnTo>
                    <a:lnTo>
                      <a:pt x="691" y="476"/>
                    </a:lnTo>
                    <a:lnTo>
                      <a:pt x="701" y="488"/>
                    </a:lnTo>
                    <a:lnTo>
                      <a:pt x="704" y="490"/>
                    </a:lnTo>
                    <a:lnTo>
                      <a:pt x="714" y="473"/>
                    </a:lnTo>
                    <a:lnTo>
                      <a:pt x="719" y="452"/>
                    </a:lnTo>
                    <a:lnTo>
                      <a:pt x="721" y="442"/>
                    </a:lnTo>
                    <a:lnTo>
                      <a:pt x="719" y="419"/>
                    </a:lnTo>
                    <a:lnTo>
                      <a:pt x="724" y="409"/>
                    </a:lnTo>
                    <a:lnTo>
                      <a:pt x="729" y="404"/>
                    </a:lnTo>
                    <a:lnTo>
                      <a:pt x="739" y="403"/>
                    </a:lnTo>
                    <a:lnTo>
                      <a:pt x="769" y="407"/>
                    </a:lnTo>
                    <a:lnTo>
                      <a:pt x="812" y="423"/>
                    </a:lnTo>
                    <a:lnTo>
                      <a:pt x="821" y="420"/>
                    </a:lnTo>
                    <a:lnTo>
                      <a:pt x="828" y="412"/>
                    </a:lnTo>
                    <a:lnTo>
                      <a:pt x="819" y="403"/>
                    </a:lnTo>
                    <a:lnTo>
                      <a:pt x="817" y="392"/>
                    </a:lnTo>
                    <a:lnTo>
                      <a:pt x="823" y="382"/>
                    </a:lnTo>
                    <a:lnTo>
                      <a:pt x="827" y="366"/>
                    </a:lnTo>
                    <a:lnTo>
                      <a:pt x="831" y="361"/>
                    </a:lnTo>
                    <a:lnTo>
                      <a:pt x="833" y="352"/>
                    </a:lnTo>
                    <a:lnTo>
                      <a:pt x="832" y="342"/>
                    </a:lnTo>
                    <a:lnTo>
                      <a:pt x="827" y="336"/>
                    </a:lnTo>
                    <a:lnTo>
                      <a:pt x="826" y="326"/>
                    </a:lnTo>
                    <a:lnTo>
                      <a:pt x="831" y="323"/>
                    </a:lnTo>
                    <a:lnTo>
                      <a:pt x="854" y="323"/>
                    </a:lnTo>
                    <a:lnTo>
                      <a:pt x="857" y="316"/>
                    </a:lnTo>
                    <a:lnTo>
                      <a:pt x="865" y="313"/>
                    </a:lnTo>
                    <a:lnTo>
                      <a:pt x="874" y="317"/>
                    </a:lnTo>
                    <a:lnTo>
                      <a:pt x="882" y="313"/>
                    </a:lnTo>
                    <a:lnTo>
                      <a:pt x="880" y="302"/>
                    </a:lnTo>
                    <a:lnTo>
                      <a:pt x="879" y="290"/>
                    </a:lnTo>
                    <a:lnTo>
                      <a:pt x="891" y="283"/>
                    </a:lnTo>
                    <a:lnTo>
                      <a:pt x="906" y="289"/>
                    </a:lnTo>
                    <a:lnTo>
                      <a:pt x="917" y="300"/>
                    </a:lnTo>
                    <a:lnTo>
                      <a:pt x="947" y="344"/>
                    </a:lnTo>
                    <a:lnTo>
                      <a:pt x="952" y="363"/>
                    </a:lnTo>
                    <a:lnTo>
                      <a:pt x="957" y="371"/>
                    </a:lnTo>
                    <a:lnTo>
                      <a:pt x="983" y="375"/>
                    </a:lnTo>
                    <a:lnTo>
                      <a:pt x="998" y="383"/>
                    </a:lnTo>
                    <a:lnTo>
                      <a:pt x="1010" y="382"/>
                    </a:lnTo>
                    <a:lnTo>
                      <a:pt x="1025" y="374"/>
                    </a:lnTo>
                    <a:lnTo>
                      <a:pt x="1042" y="353"/>
                    </a:lnTo>
                    <a:lnTo>
                      <a:pt x="1052" y="360"/>
                    </a:lnTo>
                    <a:lnTo>
                      <a:pt x="1061" y="374"/>
                    </a:lnTo>
                    <a:lnTo>
                      <a:pt x="1064" y="382"/>
                    </a:lnTo>
                    <a:lnTo>
                      <a:pt x="1074" y="385"/>
                    </a:lnTo>
                    <a:lnTo>
                      <a:pt x="1090" y="377"/>
                    </a:lnTo>
                    <a:lnTo>
                      <a:pt x="1102" y="368"/>
                    </a:lnTo>
                    <a:lnTo>
                      <a:pt x="1111" y="354"/>
                    </a:lnTo>
                    <a:lnTo>
                      <a:pt x="1137" y="334"/>
                    </a:lnTo>
                    <a:lnTo>
                      <a:pt x="1139" y="322"/>
                    </a:lnTo>
                    <a:lnTo>
                      <a:pt x="1137" y="299"/>
                    </a:lnTo>
                    <a:lnTo>
                      <a:pt x="1137" y="285"/>
                    </a:lnTo>
                    <a:lnTo>
                      <a:pt x="1140" y="243"/>
                    </a:lnTo>
                    <a:lnTo>
                      <a:pt x="1154" y="212"/>
                    </a:lnTo>
                    <a:lnTo>
                      <a:pt x="1164" y="199"/>
                    </a:lnTo>
                    <a:lnTo>
                      <a:pt x="1177" y="192"/>
                    </a:lnTo>
                    <a:lnTo>
                      <a:pt x="1202" y="189"/>
                    </a:lnTo>
                    <a:lnTo>
                      <a:pt x="1240" y="172"/>
                    </a:lnTo>
                    <a:lnTo>
                      <a:pt x="1263" y="167"/>
                    </a:lnTo>
                    <a:lnTo>
                      <a:pt x="1268" y="172"/>
                    </a:lnTo>
                    <a:lnTo>
                      <a:pt x="1278" y="193"/>
                    </a:lnTo>
                    <a:lnTo>
                      <a:pt x="1289" y="202"/>
                    </a:lnTo>
                    <a:lnTo>
                      <a:pt x="1307" y="208"/>
                    </a:lnTo>
                    <a:lnTo>
                      <a:pt x="1325" y="225"/>
                    </a:lnTo>
                    <a:lnTo>
                      <a:pt x="1332" y="253"/>
                    </a:lnTo>
                    <a:lnTo>
                      <a:pt x="1333" y="269"/>
                    </a:lnTo>
                    <a:lnTo>
                      <a:pt x="1314" y="294"/>
                    </a:lnTo>
                    <a:lnTo>
                      <a:pt x="1310" y="306"/>
                    </a:lnTo>
                    <a:lnTo>
                      <a:pt x="1311" y="317"/>
                    </a:lnTo>
                    <a:lnTo>
                      <a:pt x="1321" y="325"/>
                    </a:lnTo>
                    <a:lnTo>
                      <a:pt x="1323" y="323"/>
                    </a:lnTo>
                    <a:lnTo>
                      <a:pt x="1332" y="315"/>
                    </a:lnTo>
                    <a:lnTo>
                      <a:pt x="1333" y="311"/>
                    </a:lnTo>
                    <a:lnTo>
                      <a:pt x="1334" y="300"/>
                    </a:lnTo>
                    <a:lnTo>
                      <a:pt x="1337" y="295"/>
                    </a:lnTo>
                    <a:lnTo>
                      <a:pt x="1369" y="275"/>
                    </a:lnTo>
                    <a:lnTo>
                      <a:pt x="1375" y="269"/>
                    </a:lnTo>
                    <a:lnTo>
                      <a:pt x="1381" y="239"/>
                    </a:lnTo>
                    <a:lnTo>
                      <a:pt x="1403" y="252"/>
                    </a:lnTo>
                    <a:lnTo>
                      <a:pt x="1416" y="250"/>
                    </a:lnTo>
                    <a:lnTo>
                      <a:pt x="1418" y="243"/>
                    </a:lnTo>
                    <a:lnTo>
                      <a:pt x="1422" y="231"/>
                    </a:lnTo>
                    <a:lnTo>
                      <a:pt x="1422" y="220"/>
                    </a:lnTo>
                    <a:lnTo>
                      <a:pt x="1419" y="2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207" name="Freeform 221"/>
              <p:cNvSpPr>
                <a:spLocks noChangeAspect="1"/>
              </p:cNvSpPr>
              <p:nvPr/>
            </p:nvSpPr>
            <p:spPr bwMode="gray">
              <a:xfrm>
                <a:off x="4952206" y="2013297"/>
                <a:ext cx="227013" cy="520700"/>
              </a:xfrm>
              <a:custGeom>
                <a:avLst/>
                <a:gdLst/>
                <a:ahLst/>
                <a:cxnLst>
                  <a:cxn ang="0">
                    <a:pos x="13" y="1339"/>
                  </a:cxn>
                  <a:cxn ang="0">
                    <a:pos x="27" y="1349"/>
                  </a:cxn>
                  <a:cxn ang="0">
                    <a:pos x="43" y="1396"/>
                  </a:cxn>
                  <a:cxn ang="0">
                    <a:pos x="56" y="1468"/>
                  </a:cxn>
                  <a:cxn ang="0">
                    <a:pos x="92" y="1538"/>
                  </a:cxn>
                  <a:cxn ang="0">
                    <a:pos x="91" y="1593"/>
                  </a:cxn>
                  <a:cxn ang="0">
                    <a:pos x="107" y="1636"/>
                  </a:cxn>
                  <a:cxn ang="0">
                    <a:pos x="169" y="1598"/>
                  </a:cxn>
                  <a:cxn ang="0">
                    <a:pos x="227" y="1564"/>
                  </a:cxn>
                  <a:cxn ang="0">
                    <a:pos x="286" y="1484"/>
                  </a:cxn>
                  <a:cxn ang="0">
                    <a:pos x="300" y="1407"/>
                  </a:cxn>
                  <a:cxn ang="0">
                    <a:pos x="301" y="1378"/>
                  </a:cxn>
                  <a:cxn ang="0">
                    <a:pos x="288" y="1329"/>
                  </a:cxn>
                  <a:cxn ang="0">
                    <a:pos x="276" y="1310"/>
                  </a:cxn>
                  <a:cxn ang="0">
                    <a:pos x="350" y="1279"/>
                  </a:cxn>
                  <a:cxn ang="0">
                    <a:pos x="389" y="1243"/>
                  </a:cxn>
                  <a:cxn ang="0">
                    <a:pos x="341" y="1241"/>
                  </a:cxn>
                  <a:cxn ang="0">
                    <a:pos x="290" y="1219"/>
                  </a:cxn>
                  <a:cxn ang="0">
                    <a:pos x="338" y="1218"/>
                  </a:cxn>
                  <a:cxn ang="0">
                    <a:pos x="371" y="1232"/>
                  </a:cxn>
                  <a:cxn ang="0">
                    <a:pos x="394" y="1138"/>
                  </a:cxn>
                  <a:cxn ang="0">
                    <a:pos x="352" y="1100"/>
                  </a:cxn>
                  <a:cxn ang="0">
                    <a:pos x="308" y="1148"/>
                  </a:cxn>
                  <a:cxn ang="0">
                    <a:pos x="319" y="1127"/>
                  </a:cxn>
                  <a:cxn ang="0">
                    <a:pos x="331" y="1060"/>
                  </a:cxn>
                  <a:cxn ang="0">
                    <a:pos x="344" y="979"/>
                  </a:cxn>
                  <a:cxn ang="0">
                    <a:pos x="340" y="879"/>
                  </a:cxn>
                  <a:cxn ang="0">
                    <a:pos x="370" y="850"/>
                  </a:cxn>
                  <a:cxn ang="0">
                    <a:pos x="393" y="840"/>
                  </a:cxn>
                  <a:cxn ang="0">
                    <a:pos x="410" y="809"/>
                  </a:cxn>
                  <a:cxn ang="0">
                    <a:pos x="449" y="764"/>
                  </a:cxn>
                  <a:cxn ang="0">
                    <a:pos x="503" y="735"/>
                  </a:cxn>
                  <a:cxn ang="0">
                    <a:pos x="555" y="664"/>
                  </a:cxn>
                  <a:cxn ang="0">
                    <a:pos x="572" y="639"/>
                  </a:cxn>
                  <a:cxn ang="0">
                    <a:pos x="551" y="594"/>
                  </a:cxn>
                  <a:cxn ang="0">
                    <a:pos x="569" y="527"/>
                  </a:cxn>
                  <a:cxn ang="0">
                    <a:pos x="593" y="503"/>
                  </a:cxn>
                  <a:cxn ang="0">
                    <a:pos x="614" y="493"/>
                  </a:cxn>
                  <a:cxn ang="0">
                    <a:pos x="628" y="460"/>
                  </a:cxn>
                  <a:cxn ang="0">
                    <a:pos x="661" y="473"/>
                  </a:cxn>
                  <a:cxn ang="0">
                    <a:pos x="712" y="449"/>
                  </a:cxn>
                  <a:cxn ang="0">
                    <a:pos x="687" y="296"/>
                  </a:cxn>
                  <a:cxn ang="0">
                    <a:pos x="683" y="186"/>
                  </a:cxn>
                  <a:cxn ang="0">
                    <a:pos x="528" y="5"/>
                  </a:cxn>
                  <a:cxn ang="0">
                    <a:pos x="502" y="29"/>
                  </a:cxn>
                  <a:cxn ang="0">
                    <a:pos x="490" y="97"/>
                  </a:cxn>
                  <a:cxn ang="0">
                    <a:pos x="390" y="119"/>
                  </a:cxn>
                  <a:cxn ang="0">
                    <a:pos x="335" y="149"/>
                  </a:cxn>
                  <a:cxn ang="0">
                    <a:pos x="279" y="251"/>
                  </a:cxn>
                  <a:cxn ang="0">
                    <a:pos x="242" y="364"/>
                  </a:cxn>
                  <a:cxn ang="0">
                    <a:pos x="194" y="446"/>
                  </a:cxn>
                  <a:cxn ang="0">
                    <a:pos x="163" y="641"/>
                  </a:cxn>
                  <a:cxn ang="0">
                    <a:pos x="104" y="697"/>
                  </a:cxn>
                  <a:cxn ang="0">
                    <a:pos x="66" y="811"/>
                  </a:cxn>
                  <a:cxn ang="0">
                    <a:pos x="55" y="886"/>
                  </a:cxn>
                  <a:cxn ang="0">
                    <a:pos x="86" y="1035"/>
                  </a:cxn>
                  <a:cxn ang="0">
                    <a:pos x="74" y="1143"/>
                  </a:cxn>
                  <a:cxn ang="0">
                    <a:pos x="32" y="1242"/>
                  </a:cxn>
                </a:cxnLst>
                <a:rect l="0" t="0" r="r" b="b"/>
                <a:pathLst>
                  <a:path w="715" h="1640">
                    <a:moveTo>
                      <a:pt x="6" y="1264"/>
                    </a:moveTo>
                    <a:lnTo>
                      <a:pt x="0" y="1276"/>
                    </a:lnTo>
                    <a:lnTo>
                      <a:pt x="0" y="1288"/>
                    </a:lnTo>
                    <a:lnTo>
                      <a:pt x="5" y="1328"/>
                    </a:lnTo>
                    <a:lnTo>
                      <a:pt x="7" y="1333"/>
                    </a:lnTo>
                    <a:lnTo>
                      <a:pt x="12" y="1335"/>
                    </a:lnTo>
                    <a:lnTo>
                      <a:pt x="13" y="1339"/>
                    </a:lnTo>
                    <a:lnTo>
                      <a:pt x="15" y="1346"/>
                    </a:lnTo>
                    <a:lnTo>
                      <a:pt x="13" y="1350"/>
                    </a:lnTo>
                    <a:lnTo>
                      <a:pt x="19" y="1343"/>
                    </a:lnTo>
                    <a:lnTo>
                      <a:pt x="21" y="1335"/>
                    </a:lnTo>
                    <a:lnTo>
                      <a:pt x="26" y="1340"/>
                    </a:lnTo>
                    <a:lnTo>
                      <a:pt x="22" y="1350"/>
                    </a:lnTo>
                    <a:lnTo>
                      <a:pt x="27" y="1349"/>
                    </a:lnTo>
                    <a:lnTo>
                      <a:pt x="29" y="1351"/>
                    </a:lnTo>
                    <a:lnTo>
                      <a:pt x="24" y="1355"/>
                    </a:lnTo>
                    <a:lnTo>
                      <a:pt x="17" y="1366"/>
                    </a:lnTo>
                    <a:lnTo>
                      <a:pt x="33" y="1371"/>
                    </a:lnTo>
                    <a:lnTo>
                      <a:pt x="35" y="1381"/>
                    </a:lnTo>
                    <a:lnTo>
                      <a:pt x="33" y="1398"/>
                    </a:lnTo>
                    <a:lnTo>
                      <a:pt x="43" y="1396"/>
                    </a:lnTo>
                    <a:lnTo>
                      <a:pt x="45" y="1407"/>
                    </a:lnTo>
                    <a:lnTo>
                      <a:pt x="39" y="1415"/>
                    </a:lnTo>
                    <a:lnTo>
                      <a:pt x="42" y="1431"/>
                    </a:lnTo>
                    <a:lnTo>
                      <a:pt x="40" y="1442"/>
                    </a:lnTo>
                    <a:lnTo>
                      <a:pt x="49" y="1442"/>
                    </a:lnTo>
                    <a:lnTo>
                      <a:pt x="54" y="1456"/>
                    </a:lnTo>
                    <a:lnTo>
                      <a:pt x="56" y="1468"/>
                    </a:lnTo>
                    <a:lnTo>
                      <a:pt x="62" y="1487"/>
                    </a:lnTo>
                    <a:lnTo>
                      <a:pt x="74" y="1496"/>
                    </a:lnTo>
                    <a:lnTo>
                      <a:pt x="78" y="1509"/>
                    </a:lnTo>
                    <a:lnTo>
                      <a:pt x="91" y="1516"/>
                    </a:lnTo>
                    <a:lnTo>
                      <a:pt x="98" y="1526"/>
                    </a:lnTo>
                    <a:lnTo>
                      <a:pt x="98" y="1534"/>
                    </a:lnTo>
                    <a:lnTo>
                      <a:pt x="92" y="1538"/>
                    </a:lnTo>
                    <a:lnTo>
                      <a:pt x="85" y="1537"/>
                    </a:lnTo>
                    <a:lnTo>
                      <a:pt x="82" y="1541"/>
                    </a:lnTo>
                    <a:lnTo>
                      <a:pt x="89" y="1557"/>
                    </a:lnTo>
                    <a:lnTo>
                      <a:pt x="82" y="1555"/>
                    </a:lnTo>
                    <a:lnTo>
                      <a:pt x="75" y="1553"/>
                    </a:lnTo>
                    <a:lnTo>
                      <a:pt x="75" y="1559"/>
                    </a:lnTo>
                    <a:lnTo>
                      <a:pt x="91" y="1593"/>
                    </a:lnTo>
                    <a:lnTo>
                      <a:pt x="98" y="1604"/>
                    </a:lnTo>
                    <a:lnTo>
                      <a:pt x="102" y="1614"/>
                    </a:lnTo>
                    <a:lnTo>
                      <a:pt x="99" y="1620"/>
                    </a:lnTo>
                    <a:lnTo>
                      <a:pt x="98" y="1631"/>
                    </a:lnTo>
                    <a:lnTo>
                      <a:pt x="94" y="1633"/>
                    </a:lnTo>
                    <a:lnTo>
                      <a:pt x="93" y="1638"/>
                    </a:lnTo>
                    <a:lnTo>
                      <a:pt x="107" y="1636"/>
                    </a:lnTo>
                    <a:lnTo>
                      <a:pt x="118" y="1640"/>
                    </a:lnTo>
                    <a:lnTo>
                      <a:pt x="136" y="1634"/>
                    </a:lnTo>
                    <a:lnTo>
                      <a:pt x="152" y="1633"/>
                    </a:lnTo>
                    <a:lnTo>
                      <a:pt x="163" y="1638"/>
                    </a:lnTo>
                    <a:lnTo>
                      <a:pt x="168" y="1634"/>
                    </a:lnTo>
                    <a:lnTo>
                      <a:pt x="172" y="1620"/>
                    </a:lnTo>
                    <a:lnTo>
                      <a:pt x="169" y="1598"/>
                    </a:lnTo>
                    <a:lnTo>
                      <a:pt x="174" y="1585"/>
                    </a:lnTo>
                    <a:lnTo>
                      <a:pt x="180" y="1574"/>
                    </a:lnTo>
                    <a:lnTo>
                      <a:pt x="189" y="1576"/>
                    </a:lnTo>
                    <a:lnTo>
                      <a:pt x="194" y="1566"/>
                    </a:lnTo>
                    <a:lnTo>
                      <a:pt x="204" y="1559"/>
                    </a:lnTo>
                    <a:lnTo>
                      <a:pt x="218" y="1560"/>
                    </a:lnTo>
                    <a:lnTo>
                      <a:pt x="227" y="1564"/>
                    </a:lnTo>
                    <a:lnTo>
                      <a:pt x="238" y="1560"/>
                    </a:lnTo>
                    <a:lnTo>
                      <a:pt x="250" y="1564"/>
                    </a:lnTo>
                    <a:lnTo>
                      <a:pt x="261" y="1564"/>
                    </a:lnTo>
                    <a:lnTo>
                      <a:pt x="266" y="1544"/>
                    </a:lnTo>
                    <a:lnTo>
                      <a:pt x="276" y="1522"/>
                    </a:lnTo>
                    <a:lnTo>
                      <a:pt x="285" y="1505"/>
                    </a:lnTo>
                    <a:lnTo>
                      <a:pt x="286" y="1484"/>
                    </a:lnTo>
                    <a:lnTo>
                      <a:pt x="291" y="1472"/>
                    </a:lnTo>
                    <a:lnTo>
                      <a:pt x="290" y="1457"/>
                    </a:lnTo>
                    <a:lnTo>
                      <a:pt x="293" y="1446"/>
                    </a:lnTo>
                    <a:lnTo>
                      <a:pt x="298" y="1435"/>
                    </a:lnTo>
                    <a:lnTo>
                      <a:pt x="298" y="1424"/>
                    </a:lnTo>
                    <a:lnTo>
                      <a:pt x="295" y="1418"/>
                    </a:lnTo>
                    <a:lnTo>
                      <a:pt x="300" y="1407"/>
                    </a:lnTo>
                    <a:lnTo>
                      <a:pt x="298" y="1398"/>
                    </a:lnTo>
                    <a:lnTo>
                      <a:pt x="293" y="1392"/>
                    </a:lnTo>
                    <a:lnTo>
                      <a:pt x="292" y="1386"/>
                    </a:lnTo>
                    <a:lnTo>
                      <a:pt x="293" y="1382"/>
                    </a:lnTo>
                    <a:lnTo>
                      <a:pt x="300" y="1385"/>
                    </a:lnTo>
                    <a:lnTo>
                      <a:pt x="304" y="1385"/>
                    </a:lnTo>
                    <a:lnTo>
                      <a:pt x="301" y="1378"/>
                    </a:lnTo>
                    <a:lnTo>
                      <a:pt x="302" y="1374"/>
                    </a:lnTo>
                    <a:lnTo>
                      <a:pt x="304" y="1367"/>
                    </a:lnTo>
                    <a:lnTo>
                      <a:pt x="304" y="1362"/>
                    </a:lnTo>
                    <a:lnTo>
                      <a:pt x="307" y="1345"/>
                    </a:lnTo>
                    <a:lnTo>
                      <a:pt x="306" y="1340"/>
                    </a:lnTo>
                    <a:lnTo>
                      <a:pt x="297" y="1334"/>
                    </a:lnTo>
                    <a:lnTo>
                      <a:pt x="288" y="1329"/>
                    </a:lnTo>
                    <a:lnTo>
                      <a:pt x="291" y="1328"/>
                    </a:lnTo>
                    <a:lnTo>
                      <a:pt x="300" y="1332"/>
                    </a:lnTo>
                    <a:lnTo>
                      <a:pt x="309" y="1329"/>
                    </a:lnTo>
                    <a:lnTo>
                      <a:pt x="312" y="1326"/>
                    </a:lnTo>
                    <a:lnTo>
                      <a:pt x="302" y="1317"/>
                    </a:lnTo>
                    <a:lnTo>
                      <a:pt x="274" y="1312"/>
                    </a:lnTo>
                    <a:lnTo>
                      <a:pt x="276" y="1310"/>
                    </a:lnTo>
                    <a:lnTo>
                      <a:pt x="298" y="1307"/>
                    </a:lnTo>
                    <a:lnTo>
                      <a:pt x="311" y="1311"/>
                    </a:lnTo>
                    <a:lnTo>
                      <a:pt x="318" y="1307"/>
                    </a:lnTo>
                    <a:lnTo>
                      <a:pt x="320" y="1299"/>
                    </a:lnTo>
                    <a:lnTo>
                      <a:pt x="334" y="1297"/>
                    </a:lnTo>
                    <a:lnTo>
                      <a:pt x="345" y="1286"/>
                    </a:lnTo>
                    <a:lnTo>
                      <a:pt x="350" y="1279"/>
                    </a:lnTo>
                    <a:lnTo>
                      <a:pt x="350" y="1268"/>
                    </a:lnTo>
                    <a:lnTo>
                      <a:pt x="359" y="1270"/>
                    </a:lnTo>
                    <a:lnTo>
                      <a:pt x="359" y="1281"/>
                    </a:lnTo>
                    <a:lnTo>
                      <a:pt x="371" y="1280"/>
                    </a:lnTo>
                    <a:lnTo>
                      <a:pt x="378" y="1268"/>
                    </a:lnTo>
                    <a:lnTo>
                      <a:pt x="392" y="1256"/>
                    </a:lnTo>
                    <a:lnTo>
                      <a:pt x="389" y="1243"/>
                    </a:lnTo>
                    <a:lnTo>
                      <a:pt x="394" y="1248"/>
                    </a:lnTo>
                    <a:lnTo>
                      <a:pt x="400" y="1248"/>
                    </a:lnTo>
                    <a:lnTo>
                      <a:pt x="400" y="1242"/>
                    </a:lnTo>
                    <a:lnTo>
                      <a:pt x="406" y="1237"/>
                    </a:lnTo>
                    <a:lnTo>
                      <a:pt x="405" y="1232"/>
                    </a:lnTo>
                    <a:lnTo>
                      <a:pt x="352" y="1243"/>
                    </a:lnTo>
                    <a:lnTo>
                      <a:pt x="341" y="1241"/>
                    </a:lnTo>
                    <a:lnTo>
                      <a:pt x="336" y="1245"/>
                    </a:lnTo>
                    <a:lnTo>
                      <a:pt x="334" y="1238"/>
                    </a:lnTo>
                    <a:lnTo>
                      <a:pt x="328" y="1232"/>
                    </a:lnTo>
                    <a:lnTo>
                      <a:pt x="303" y="1222"/>
                    </a:lnTo>
                    <a:lnTo>
                      <a:pt x="290" y="1225"/>
                    </a:lnTo>
                    <a:lnTo>
                      <a:pt x="284" y="1221"/>
                    </a:lnTo>
                    <a:lnTo>
                      <a:pt x="290" y="1219"/>
                    </a:lnTo>
                    <a:lnTo>
                      <a:pt x="293" y="1211"/>
                    </a:lnTo>
                    <a:lnTo>
                      <a:pt x="300" y="1214"/>
                    </a:lnTo>
                    <a:lnTo>
                      <a:pt x="308" y="1211"/>
                    </a:lnTo>
                    <a:lnTo>
                      <a:pt x="320" y="1213"/>
                    </a:lnTo>
                    <a:lnTo>
                      <a:pt x="322" y="1211"/>
                    </a:lnTo>
                    <a:lnTo>
                      <a:pt x="331" y="1221"/>
                    </a:lnTo>
                    <a:lnTo>
                      <a:pt x="338" y="1218"/>
                    </a:lnTo>
                    <a:lnTo>
                      <a:pt x="339" y="1214"/>
                    </a:lnTo>
                    <a:lnTo>
                      <a:pt x="345" y="1220"/>
                    </a:lnTo>
                    <a:lnTo>
                      <a:pt x="352" y="1222"/>
                    </a:lnTo>
                    <a:lnTo>
                      <a:pt x="356" y="1216"/>
                    </a:lnTo>
                    <a:lnTo>
                      <a:pt x="359" y="1220"/>
                    </a:lnTo>
                    <a:lnTo>
                      <a:pt x="363" y="1230"/>
                    </a:lnTo>
                    <a:lnTo>
                      <a:pt x="371" y="1232"/>
                    </a:lnTo>
                    <a:lnTo>
                      <a:pt x="403" y="1216"/>
                    </a:lnTo>
                    <a:lnTo>
                      <a:pt x="414" y="1198"/>
                    </a:lnTo>
                    <a:lnTo>
                      <a:pt x="419" y="1193"/>
                    </a:lnTo>
                    <a:lnTo>
                      <a:pt x="422" y="1176"/>
                    </a:lnTo>
                    <a:lnTo>
                      <a:pt x="416" y="1161"/>
                    </a:lnTo>
                    <a:lnTo>
                      <a:pt x="404" y="1152"/>
                    </a:lnTo>
                    <a:lnTo>
                      <a:pt x="394" y="1138"/>
                    </a:lnTo>
                    <a:lnTo>
                      <a:pt x="403" y="1136"/>
                    </a:lnTo>
                    <a:lnTo>
                      <a:pt x="402" y="1133"/>
                    </a:lnTo>
                    <a:lnTo>
                      <a:pt x="381" y="1123"/>
                    </a:lnTo>
                    <a:lnTo>
                      <a:pt x="379" y="1113"/>
                    </a:lnTo>
                    <a:lnTo>
                      <a:pt x="374" y="1103"/>
                    </a:lnTo>
                    <a:lnTo>
                      <a:pt x="357" y="1106"/>
                    </a:lnTo>
                    <a:lnTo>
                      <a:pt x="352" y="1100"/>
                    </a:lnTo>
                    <a:lnTo>
                      <a:pt x="351" y="1096"/>
                    </a:lnTo>
                    <a:lnTo>
                      <a:pt x="347" y="1095"/>
                    </a:lnTo>
                    <a:lnTo>
                      <a:pt x="347" y="1098"/>
                    </a:lnTo>
                    <a:lnTo>
                      <a:pt x="341" y="1118"/>
                    </a:lnTo>
                    <a:lnTo>
                      <a:pt x="333" y="1129"/>
                    </a:lnTo>
                    <a:lnTo>
                      <a:pt x="314" y="1143"/>
                    </a:lnTo>
                    <a:lnTo>
                      <a:pt x="308" y="1148"/>
                    </a:lnTo>
                    <a:lnTo>
                      <a:pt x="298" y="1148"/>
                    </a:lnTo>
                    <a:lnTo>
                      <a:pt x="287" y="1151"/>
                    </a:lnTo>
                    <a:lnTo>
                      <a:pt x="280" y="1149"/>
                    </a:lnTo>
                    <a:lnTo>
                      <a:pt x="288" y="1143"/>
                    </a:lnTo>
                    <a:lnTo>
                      <a:pt x="300" y="1140"/>
                    </a:lnTo>
                    <a:lnTo>
                      <a:pt x="309" y="1132"/>
                    </a:lnTo>
                    <a:lnTo>
                      <a:pt x="319" y="1127"/>
                    </a:lnTo>
                    <a:lnTo>
                      <a:pt x="336" y="1112"/>
                    </a:lnTo>
                    <a:lnTo>
                      <a:pt x="339" y="1102"/>
                    </a:lnTo>
                    <a:lnTo>
                      <a:pt x="339" y="1089"/>
                    </a:lnTo>
                    <a:lnTo>
                      <a:pt x="330" y="1087"/>
                    </a:lnTo>
                    <a:lnTo>
                      <a:pt x="334" y="1080"/>
                    </a:lnTo>
                    <a:lnTo>
                      <a:pt x="335" y="1069"/>
                    </a:lnTo>
                    <a:lnTo>
                      <a:pt x="331" y="1060"/>
                    </a:lnTo>
                    <a:lnTo>
                      <a:pt x="328" y="1032"/>
                    </a:lnTo>
                    <a:lnTo>
                      <a:pt x="329" y="1015"/>
                    </a:lnTo>
                    <a:lnTo>
                      <a:pt x="325" y="992"/>
                    </a:lnTo>
                    <a:lnTo>
                      <a:pt x="327" y="985"/>
                    </a:lnTo>
                    <a:lnTo>
                      <a:pt x="330" y="977"/>
                    </a:lnTo>
                    <a:lnTo>
                      <a:pt x="329" y="971"/>
                    </a:lnTo>
                    <a:lnTo>
                      <a:pt x="344" y="979"/>
                    </a:lnTo>
                    <a:lnTo>
                      <a:pt x="345" y="971"/>
                    </a:lnTo>
                    <a:lnTo>
                      <a:pt x="340" y="950"/>
                    </a:lnTo>
                    <a:lnTo>
                      <a:pt x="345" y="928"/>
                    </a:lnTo>
                    <a:lnTo>
                      <a:pt x="350" y="910"/>
                    </a:lnTo>
                    <a:lnTo>
                      <a:pt x="343" y="901"/>
                    </a:lnTo>
                    <a:lnTo>
                      <a:pt x="340" y="892"/>
                    </a:lnTo>
                    <a:lnTo>
                      <a:pt x="340" y="879"/>
                    </a:lnTo>
                    <a:lnTo>
                      <a:pt x="356" y="887"/>
                    </a:lnTo>
                    <a:lnTo>
                      <a:pt x="357" y="885"/>
                    </a:lnTo>
                    <a:lnTo>
                      <a:pt x="361" y="881"/>
                    </a:lnTo>
                    <a:lnTo>
                      <a:pt x="367" y="872"/>
                    </a:lnTo>
                    <a:lnTo>
                      <a:pt x="368" y="870"/>
                    </a:lnTo>
                    <a:lnTo>
                      <a:pt x="367" y="866"/>
                    </a:lnTo>
                    <a:lnTo>
                      <a:pt x="370" y="850"/>
                    </a:lnTo>
                    <a:lnTo>
                      <a:pt x="365" y="839"/>
                    </a:lnTo>
                    <a:lnTo>
                      <a:pt x="366" y="831"/>
                    </a:lnTo>
                    <a:lnTo>
                      <a:pt x="368" y="840"/>
                    </a:lnTo>
                    <a:lnTo>
                      <a:pt x="377" y="848"/>
                    </a:lnTo>
                    <a:lnTo>
                      <a:pt x="381" y="847"/>
                    </a:lnTo>
                    <a:lnTo>
                      <a:pt x="386" y="837"/>
                    </a:lnTo>
                    <a:lnTo>
                      <a:pt x="393" y="840"/>
                    </a:lnTo>
                    <a:lnTo>
                      <a:pt x="394" y="833"/>
                    </a:lnTo>
                    <a:lnTo>
                      <a:pt x="398" y="827"/>
                    </a:lnTo>
                    <a:lnTo>
                      <a:pt x="387" y="822"/>
                    </a:lnTo>
                    <a:lnTo>
                      <a:pt x="394" y="823"/>
                    </a:lnTo>
                    <a:lnTo>
                      <a:pt x="403" y="817"/>
                    </a:lnTo>
                    <a:lnTo>
                      <a:pt x="403" y="812"/>
                    </a:lnTo>
                    <a:lnTo>
                      <a:pt x="410" y="809"/>
                    </a:lnTo>
                    <a:lnTo>
                      <a:pt x="411" y="799"/>
                    </a:lnTo>
                    <a:lnTo>
                      <a:pt x="417" y="796"/>
                    </a:lnTo>
                    <a:lnTo>
                      <a:pt x="417" y="784"/>
                    </a:lnTo>
                    <a:lnTo>
                      <a:pt x="425" y="783"/>
                    </a:lnTo>
                    <a:lnTo>
                      <a:pt x="435" y="785"/>
                    </a:lnTo>
                    <a:lnTo>
                      <a:pt x="446" y="775"/>
                    </a:lnTo>
                    <a:lnTo>
                      <a:pt x="449" y="764"/>
                    </a:lnTo>
                    <a:lnTo>
                      <a:pt x="464" y="753"/>
                    </a:lnTo>
                    <a:lnTo>
                      <a:pt x="470" y="761"/>
                    </a:lnTo>
                    <a:lnTo>
                      <a:pt x="481" y="753"/>
                    </a:lnTo>
                    <a:lnTo>
                      <a:pt x="484" y="743"/>
                    </a:lnTo>
                    <a:lnTo>
                      <a:pt x="492" y="737"/>
                    </a:lnTo>
                    <a:lnTo>
                      <a:pt x="500" y="740"/>
                    </a:lnTo>
                    <a:lnTo>
                      <a:pt x="503" y="735"/>
                    </a:lnTo>
                    <a:lnTo>
                      <a:pt x="516" y="727"/>
                    </a:lnTo>
                    <a:lnTo>
                      <a:pt x="521" y="719"/>
                    </a:lnTo>
                    <a:lnTo>
                      <a:pt x="528" y="715"/>
                    </a:lnTo>
                    <a:lnTo>
                      <a:pt x="535" y="699"/>
                    </a:lnTo>
                    <a:lnTo>
                      <a:pt x="538" y="691"/>
                    </a:lnTo>
                    <a:lnTo>
                      <a:pt x="549" y="677"/>
                    </a:lnTo>
                    <a:lnTo>
                      <a:pt x="555" y="664"/>
                    </a:lnTo>
                    <a:lnTo>
                      <a:pt x="562" y="651"/>
                    </a:lnTo>
                    <a:lnTo>
                      <a:pt x="566" y="646"/>
                    </a:lnTo>
                    <a:lnTo>
                      <a:pt x="567" y="651"/>
                    </a:lnTo>
                    <a:lnTo>
                      <a:pt x="566" y="662"/>
                    </a:lnTo>
                    <a:lnTo>
                      <a:pt x="576" y="649"/>
                    </a:lnTo>
                    <a:lnTo>
                      <a:pt x="577" y="644"/>
                    </a:lnTo>
                    <a:lnTo>
                      <a:pt x="572" y="639"/>
                    </a:lnTo>
                    <a:lnTo>
                      <a:pt x="571" y="633"/>
                    </a:lnTo>
                    <a:lnTo>
                      <a:pt x="556" y="618"/>
                    </a:lnTo>
                    <a:lnTo>
                      <a:pt x="555" y="612"/>
                    </a:lnTo>
                    <a:lnTo>
                      <a:pt x="558" y="610"/>
                    </a:lnTo>
                    <a:lnTo>
                      <a:pt x="556" y="602"/>
                    </a:lnTo>
                    <a:lnTo>
                      <a:pt x="551" y="596"/>
                    </a:lnTo>
                    <a:lnTo>
                      <a:pt x="551" y="594"/>
                    </a:lnTo>
                    <a:lnTo>
                      <a:pt x="556" y="589"/>
                    </a:lnTo>
                    <a:lnTo>
                      <a:pt x="558" y="582"/>
                    </a:lnTo>
                    <a:lnTo>
                      <a:pt x="566" y="579"/>
                    </a:lnTo>
                    <a:lnTo>
                      <a:pt x="576" y="554"/>
                    </a:lnTo>
                    <a:lnTo>
                      <a:pt x="577" y="547"/>
                    </a:lnTo>
                    <a:lnTo>
                      <a:pt x="567" y="530"/>
                    </a:lnTo>
                    <a:lnTo>
                      <a:pt x="569" y="527"/>
                    </a:lnTo>
                    <a:lnTo>
                      <a:pt x="580" y="520"/>
                    </a:lnTo>
                    <a:lnTo>
                      <a:pt x="580" y="512"/>
                    </a:lnTo>
                    <a:lnTo>
                      <a:pt x="585" y="511"/>
                    </a:lnTo>
                    <a:lnTo>
                      <a:pt x="592" y="515"/>
                    </a:lnTo>
                    <a:lnTo>
                      <a:pt x="596" y="514"/>
                    </a:lnTo>
                    <a:lnTo>
                      <a:pt x="597" y="506"/>
                    </a:lnTo>
                    <a:lnTo>
                      <a:pt x="593" y="503"/>
                    </a:lnTo>
                    <a:lnTo>
                      <a:pt x="603" y="501"/>
                    </a:lnTo>
                    <a:lnTo>
                      <a:pt x="604" y="495"/>
                    </a:lnTo>
                    <a:lnTo>
                      <a:pt x="593" y="481"/>
                    </a:lnTo>
                    <a:lnTo>
                      <a:pt x="593" y="476"/>
                    </a:lnTo>
                    <a:lnTo>
                      <a:pt x="605" y="484"/>
                    </a:lnTo>
                    <a:lnTo>
                      <a:pt x="610" y="493"/>
                    </a:lnTo>
                    <a:lnTo>
                      <a:pt x="614" y="493"/>
                    </a:lnTo>
                    <a:lnTo>
                      <a:pt x="613" y="476"/>
                    </a:lnTo>
                    <a:lnTo>
                      <a:pt x="614" y="478"/>
                    </a:lnTo>
                    <a:lnTo>
                      <a:pt x="618" y="476"/>
                    </a:lnTo>
                    <a:lnTo>
                      <a:pt x="619" y="455"/>
                    </a:lnTo>
                    <a:lnTo>
                      <a:pt x="623" y="454"/>
                    </a:lnTo>
                    <a:lnTo>
                      <a:pt x="628" y="454"/>
                    </a:lnTo>
                    <a:lnTo>
                      <a:pt x="628" y="460"/>
                    </a:lnTo>
                    <a:lnTo>
                      <a:pt x="631" y="465"/>
                    </a:lnTo>
                    <a:lnTo>
                      <a:pt x="635" y="467"/>
                    </a:lnTo>
                    <a:lnTo>
                      <a:pt x="640" y="454"/>
                    </a:lnTo>
                    <a:lnTo>
                      <a:pt x="645" y="457"/>
                    </a:lnTo>
                    <a:lnTo>
                      <a:pt x="651" y="468"/>
                    </a:lnTo>
                    <a:lnTo>
                      <a:pt x="655" y="468"/>
                    </a:lnTo>
                    <a:lnTo>
                      <a:pt x="661" y="473"/>
                    </a:lnTo>
                    <a:lnTo>
                      <a:pt x="666" y="461"/>
                    </a:lnTo>
                    <a:lnTo>
                      <a:pt x="691" y="458"/>
                    </a:lnTo>
                    <a:lnTo>
                      <a:pt x="700" y="465"/>
                    </a:lnTo>
                    <a:lnTo>
                      <a:pt x="706" y="472"/>
                    </a:lnTo>
                    <a:lnTo>
                      <a:pt x="710" y="465"/>
                    </a:lnTo>
                    <a:lnTo>
                      <a:pt x="715" y="461"/>
                    </a:lnTo>
                    <a:lnTo>
                      <a:pt x="712" y="449"/>
                    </a:lnTo>
                    <a:lnTo>
                      <a:pt x="698" y="415"/>
                    </a:lnTo>
                    <a:lnTo>
                      <a:pt x="694" y="395"/>
                    </a:lnTo>
                    <a:lnTo>
                      <a:pt x="698" y="377"/>
                    </a:lnTo>
                    <a:lnTo>
                      <a:pt x="706" y="364"/>
                    </a:lnTo>
                    <a:lnTo>
                      <a:pt x="707" y="354"/>
                    </a:lnTo>
                    <a:lnTo>
                      <a:pt x="707" y="342"/>
                    </a:lnTo>
                    <a:lnTo>
                      <a:pt x="687" y="296"/>
                    </a:lnTo>
                    <a:lnTo>
                      <a:pt x="684" y="279"/>
                    </a:lnTo>
                    <a:lnTo>
                      <a:pt x="690" y="258"/>
                    </a:lnTo>
                    <a:lnTo>
                      <a:pt x="688" y="243"/>
                    </a:lnTo>
                    <a:lnTo>
                      <a:pt x="683" y="237"/>
                    </a:lnTo>
                    <a:lnTo>
                      <a:pt x="682" y="223"/>
                    </a:lnTo>
                    <a:lnTo>
                      <a:pt x="682" y="202"/>
                    </a:lnTo>
                    <a:lnTo>
                      <a:pt x="683" y="186"/>
                    </a:lnTo>
                    <a:lnTo>
                      <a:pt x="688" y="173"/>
                    </a:lnTo>
                    <a:lnTo>
                      <a:pt x="685" y="166"/>
                    </a:lnTo>
                    <a:lnTo>
                      <a:pt x="653" y="110"/>
                    </a:lnTo>
                    <a:lnTo>
                      <a:pt x="635" y="92"/>
                    </a:lnTo>
                    <a:lnTo>
                      <a:pt x="599" y="81"/>
                    </a:lnTo>
                    <a:lnTo>
                      <a:pt x="569" y="51"/>
                    </a:lnTo>
                    <a:lnTo>
                      <a:pt x="528" y="5"/>
                    </a:lnTo>
                    <a:lnTo>
                      <a:pt x="526" y="0"/>
                    </a:lnTo>
                    <a:lnTo>
                      <a:pt x="523" y="0"/>
                    </a:lnTo>
                    <a:lnTo>
                      <a:pt x="500" y="0"/>
                    </a:lnTo>
                    <a:lnTo>
                      <a:pt x="495" y="3"/>
                    </a:lnTo>
                    <a:lnTo>
                      <a:pt x="496" y="13"/>
                    </a:lnTo>
                    <a:lnTo>
                      <a:pt x="501" y="17"/>
                    </a:lnTo>
                    <a:lnTo>
                      <a:pt x="502" y="29"/>
                    </a:lnTo>
                    <a:lnTo>
                      <a:pt x="500" y="38"/>
                    </a:lnTo>
                    <a:lnTo>
                      <a:pt x="496" y="43"/>
                    </a:lnTo>
                    <a:lnTo>
                      <a:pt x="492" y="58"/>
                    </a:lnTo>
                    <a:lnTo>
                      <a:pt x="486" y="69"/>
                    </a:lnTo>
                    <a:lnTo>
                      <a:pt x="488" y="79"/>
                    </a:lnTo>
                    <a:lnTo>
                      <a:pt x="497" y="89"/>
                    </a:lnTo>
                    <a:lnTo>
                      <a:pt x="490" y="97"/>
                    </a:lnTo>
                    <a:lnTo>
                      <a:pt x="481" y="100"/>
                    </a:lnTo>
                    <a:lnTo>
                      <a:pt x="438" y="84"/>
                    </a:lnTo>
                    <a:lnTo>
                      <a:pt x="408" y="80"/>
                    </a:lnTo>
                    <a:lnTo>
                      <a:pt x="398" y="81"/>
                    </a:lnTo>
                    <a:lnTo>
                      <a:pt x="393" y="86"/>
                    </a:lnTo>
                    <a:lnTo>
                      <a:pt x="388" y="96"/>
                    </a:lnTo>
                    <a:lnTo>
                      <a:pt x="390" y="119"/>
                    </a:lnTo>
                    <a:lnTo>
                      <a:pt x="388" y="129"/>
                    </a:lnTo>
                    <a:lnTo>
                      <a:pt x="383" y="150"/>
                    </a:lnTo>
                    <a:lnTo>
                      <a:pt x="373" y="166"/>
                    </a:lnTo>
                    <a:lnTo>
                      <a:pt x="370" y="165"/>
                    </a:lnTo>
                    <a:lnTo>
                      <a:pt x="360" y="153"/>
                    </a:lnTo>
                    <a:lnTo>
                      <a:pt x="347" y="145"/>
                    </a:lnTo>
                    <a:lnTo>
                      <a:pt x="335" y="149"/>
                    </a:lnTo>
                    <a:lnTo>
                      <a:pt x="317" y="167"/>
                    </a:lnTo>
                    <a:lnTo>
                      <a:pt x="308" y="180"/>
                    </a:lnTo>
                    <a:lnTo>
                      <a:pt x="304" y="196"/>
                    </a:lnTo>
                    <a:lnTo>
                      <a:pt x="302" y="209"/>
                    </a:lnTo>
                    <a:lnTo>
                      <a:pt x="296" y="219"/>
                    </a:lnTo>
                    <a:lnTo>
                      <a:pt x="282" y="237"/>
                    </a:lnTo>
                    <a:lnTo>
                      <a:pt x="279" y="251"/>
                    </a:lnTo>
                    <a:lnTo>
                      <a:pt x="292" y="273"/>
                    </a:lnTo>
                    <a:lnTo>
                      <a:pt x="293" y="285"/>
                    </a:lnTo>
                    <a:lnTo>
                      <a:pt x="291" y="294"/>
                    </a:lnTo>
                    <a:lnTo>
                      <a:pt x="285" y="306"/>
                    </a:lnTo>
                    <a:lnTo>
                      <a:pt x="273" y="320"/>
                    </a:lnTo>
                    <a:lnTo>
                      <a:pt x="265" y="334"/>
                    </a:lnTo>
                    <a:lnTo>
                      <a:pt x="242" y="364"/>
                    </a:lnTo>
                    <a:lnTo>
                      <a:pt x="236" y="381"/>
                    </a:lnTo>
                    <a:lnTo>
                      <a:pt x="233" y="401"/>
                    </a:lnTo>
                    <a:lnTo>
                      <a:pt x="228" y="413"/>
                    </a:lnTo>
                    <a:lnTo>
                      <a:pt x="211" y="427"/>
                    </a:lnTo>
                    <a:lnTo>
                      <a:pt x="200" y="427"/>
                    </a:lnTo>
                    <a:lnTo>
                      <a:pt x="193" y="431"/>
                    </a:lnTo>
                    <a:lnTo>
                      <a:pt x="194" y="446"/>
                    </a:lnTo>
                    <a:lnTo>
                      <a:pt x="194" y="467"/>
                    </a:lnTo>
                    <a:lnTo>
                      <a:pt x="193" y="497"/>
                    </a:lnTo>
                    <a:lnTo>
                      <a:pt x="184" y="547"/>
                    </a:lnTo>
                    <a:lnTo>
                      <a:pt x="167" y="584"/>
                    </a:lnTo>
                    <a:lnTo>
                      <a:pt x="147" y="616"/>
                    </a:lnTo>
                    <a:lnTo>
                      <a:pt x="148" y="625"/>
                    </a:lnTo>
                    <a:lnTo>
                      <a:pt x="163" y="641"/>
                    </a:lnTo>
                    <a:lnTo>
                      <a:pt x="169" y="653"/>
                    </a:lnTo>
                    <a:lnTo>
                      <a:pt x="169" y="672"/>
                    </a:lnTo>
                    <a:lnTo>
                      <a:pt x="167" y="683"/>
                    </a:lnTo>
                    <a:lnTo>
                      <a:pt x="157" y="695"/>
                    </a:lnTo>
                    <a:lnTo>
                      <a:pt x="142" y="695"/>
                    </a:lnTo>
                    <a:lnTo>
                      <a:pt x="125" y="692"/>
                    </a:lnTo>
                    <a:lnTo>
                      <a:pt x="104" y="697"/>
                    </a:lnTo>
                    <a:lnTo>
                      <a:pt x="87" y="708"/>
                    </a:lnTo>
                    <a:lnTo>
                      <a:pt x="62" y="738"/>
                    </a:lnTo>
                    <a:lnTo>
                      <a:pt x="56" y="754"/>
                    </a:lnTo>
                    <a:lnTo>
                      <a:pt x="51" y="774"/>
                    </a:lnTo>
                    <a:lnTo>
                      <a:pt x="55" y="793"/>
                    </a:lnTo>
                    <a:lnTo>
                      <a:pt x="61" y="806"/>
                    </a:lnTo>
                    <a:lnTo>
                      <a:pt x="66" y="811"/>
                    </a:lnTo>
                    <a:lnTo>
                      <a:pt x="60" y="821"/>
                    </a:lnTo>
                    <a:lnTo>
                      <a:pt x="59" y="833"/>
                    </a:lnTo>
                    <a:lnTo>
                      <a:pt x="55" y="843"/>
                    </a:lnTo>
                    <a:lnTo>
                      <a:pt x="55" y="863"/>
                    </a:lnTo>
                    <a:lnTo>
                      <a:pt x="53" y="871"/>
                    </a:lnTo>
                    <a:lnTo>
                      <a:pt x="53" y="883"/>
                    </a:lnTo>
                    <a:lnTo>
                      <a:pt x="55" y="886"/>
                    </a:lnTo>
                    <a:lnTo>
                      <a:pt x="60" y="902"/>
                    </a:lnTo>
                    <a:lnTo>
                      <a:pt x="59" y="944"/>
                    </a:lnTo>
                    <a:lnTo>
                      <a:pt x="60" y="964"/>
                    </a:lnTo>
                    <a:lnTo>
                      <a:pt x="69" y="979"/>
                    </a:lnTo>
                    <a:lnTo>
                      <a:pt x="89" y="995"/>
                    </a:lnTo>
                    <a:lnTo>
                      <a:pt x="92" y="1016"/>
                    </a:lnTo>
                    <a:lnTo>
                      <a:pt x="86" y="1035"/>
                    </a:lnTo>
                    <a:lnTo>
                      <a:pt x="76" y="1046"/>
                    </a:lnTo>
                    <a:lnTo>
                      <a:pt x="61" y="1052"/>
                    </a:lnTo>
                    <a:lnTo>
                      <a:pt x="59" y="1058"/>
                    </a:lnTo>
                    <a:lnTo>
                      <a:pt x="69" y="1071"/>
                    </a:lnTo>
                    <a:lnTo>
                      <a:pt x="77" y="1105"/>
                    </a:lnTo>
                    <a:lnTo>
                      <a:pt x="70" y="1134"/>
                    </a:lnTo>
                    <a:lnTo>
                      <a:pt x="74" y="1143"/>
                    </a:lnTo>
                    <a:lnTo>
                      <a:pt x="72" y="1157"/>
                    </a:lnTo>
                    <a:lnTo>
                      <a:pt x="66" y="1168"/>
                    </a:lnTo>
                    <a:lnTo>
                      <a:pt x="39" y="1179"/>
                    </a:lnTo>
                    <a:lnTo>
                      <a:pt x="39" y="1193"/>
                    </a:lnTo>
                    <a:lnTo>
                      <a:pt x="27" y="1214"/>
                    </a:lnTo>
                    <a:lnTo>
                      <a:pt x="28" y="1230"/>
                    </a:lnTo>
                    <a:lnTo>
                      <a:pt x="32" y="1242"/>
                    </a:lnTo>
                    <a:lnTo>
                      <a:pt x="24" y="1280"/>
                    </a:lnTo>
                    <a:lnTo>
                      <a:pt x="16" y="1286"/>
                    </a:lnTo>
                    <a:lnTo>
                      <a:pt x="12" y="1278"/>
                    </a:lnTo>
                    <a:lnTo>
                      <a:pt x="8" y="1291"/>
                    </a:lnTo>
                    <a:lnTo>
                      <a:pt x="8" y="1268"/>
                    </a:lnTo>
                    <a:lnTo>
                      <a:pt x="6" y="126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grpSp>
            <p:nvGrpSpPr>
              <p:cNvPr id="208" name="Group 359"/>
              <p:cNvGrpSpPr/>
              <p:nvPr/>
            </p:nvGrpSpPr>
            <p:grpSpPr bwMode="gray">
              <a:xfrm>
                <a:off x="5080794" y="2788583"/>
                <a:ext cx="75600" cy="108000"/>
                <a:chOff x="4160739" y="2986112"/>
                <a:chExt cx="187325" cy="233362"/>
              </a:xfrm>
              <a:grpFill/>
            </p:grpSpPr>
            <p:sp>
              <p:nvSpPr>
                <p:cNvPr id="209" name="Freeform 45"/>
                <p:cNvSpPr>
                  <a:spLocks noChangeAspect="1"/>
                </p:cNvSpPr>
                <p:nvPr/>
              </p:nvSpPr>
              <p:spPr bwMode="gray">
                <a:xfrm>
                  <a:off x="4171851" y="2986112"/>
                  <a:ext cx="176213" cy="225425"/>
                </a:xfrm>
                <a:custGeom>
                  <a:avLst/>
                  <a:gdLst/>
                  <a:ahLst/>
                  <a:cxnLst>
                    <a:cxn ang="0">
                      <a:pos x="72" y="248"/>
                    </a:cxn>
                    <a:cxn ang="0">
                      <a:pos x="72" y="234"/>
                    </a:cxn>
                    <a:cxn ang="0">
                      <a:pos x="82" y="239"/>
                    </a:cxn>
                    <a:cxn ang="0">
                      <a:pos x="91" y="229"/>
                    </a:cxn>
                    <a:cxn ang="0">
                      <a:pos x="34" y="195"/>
                    </a:cxn>
                    <a:cxn ang="0">
                      <a:pos x="34" y="185"/>
                    </a:cxn>
                    <a:cxn ang="0">
                      <a:pos x="39" y="176"/>
                    </a:cxn>
                    <a:cxn ang="0">
                      <a:pos x="48" y="176"/>
                    </a:cxn>
                    <a:cxn ang="0">
                      <a:pos x="39" y="151"/>
                    </a:cxn>
                    <a:cxn ang="0">
                      <a:pos x="53" y="151"/>
                    </a:cxn>
                    <a:cxn ang="0">
                      <a:pos x="53" y="147"/>
                    </a:cxn>
                    <a:cxn ang="0">
                      <a:pos x="29" y="132"/>
                    </a:cxn>
                    <a:cxn ang="0">
                      <a:pos x="43" y="97"/>
                    </a:cxn>
                    <a:cxn ang="0">
                      <a:pos x="24" y="88"/>
                    </a:cxn>
                    <a:cxn ang="0">
                      <a:pos x="29" y="77"/>
                    </a:cxn>
                    <a:cxn ang="0">
                      <a:pos x="43" y="72"/>
                    </a:cxn>
                    <a:cxn ang="0">
                      <a:pos x="15" y="58"/>
                    </a:cxn>
                    <a:cxn ang="0">
                      <a:pos x="10" y="34"/>
                    </a:cxn>
                    <a:cxn ang="0">
                      <a:pos x="0" y="23"/>
                    </a:cxn>
                    <a:cxn ang="0">
                      <a:pos x="43" y="4"/>
                    </a:cxn>
                    <a:cxn ang="0">
                      <a:pos x="62" y="0"/>
                    </a:cxn>
                    <a:cxn ang="0">
                      <a:pos x="72" y="4"/>
                    </a:cxn>
                    <a:cxn ang="0">
                      <a:pos x="91" y="14"/>
                    </a:cxn>
                    <a:cxn ang="0">
                      <a:pos x="101" y="34"/>
                    </a:cxn>
                    <a:cxn ang="0">
                      <a:pos x="115" y="58"/>
                    </a:cxn>
                    <a:cxn ang="0">
                      <a:pos x="134" y="67"/>
                    </a:cxn>
                    <a:cxn ang="0">
                      <a:pos x="139" y="88"/>
                    </a:cxn>
                    <a:cxn ang="0">
                      <a:pos x="153" y="97"/>
                    </a:cxn>
                    <a:cxn ang="0">
                      <a:pos x="168" y="102"/>
                    </a:cxn>
                    <a:cxn ang="0">
                      <a:pos x="187" y="92"/>
                    </a:cxn>
                    <a:cxn ang="0">
                      <a:pos x="187" y="112"/>
                    </a:cxn>
                    <a:cxn ang="0">
                      <a:pos x="206" y="132"/>
                    </a:cxn>
                    <a:cxn ang="0">
                      <a:pos x="192" y="156"/>
                    </a:cxn>
                    <a:cxn ang="0">
                      <a:pos x="201" y="190"/>
                    </a:cxn>
                    <a:cxn ang="0">
                      <a:pos x="211" y="215"/>
                    </a:cxn>
                    <a:cxn ang="0">
                      <a:pos x="201" y="239"/>
                    </a:cxn>
                    <a:cxn ang="0">
                      <a:pos x="201" y="259"/>
                    </a:cxn>
                    <a:cxn ang="0">
                      <a:pos x="192" y="254"/>
                    </a:cxn>
                    <a:cxn ang="0">
                      <a:pos x="149" y="254"/>
                    </a:cxn>
                    <a:cxn ang="0">
                      <a:pos x="134" y="264"/>
                    </a:cxn>
                    <a:cxn ang="0">
                      <a:pos x="115" y="278"/>
                    </a:cxn>
                    <a:cxn ang="0">
                      <a:pos x="115" y="289"/>
                    </a:cxn>
                    <a:cxn ang="0">
                      <a:pos x="110" y="294"/>
                    </a:cxn>
                    <a:cxn ang="0">
                      <a:pos x="101" y="269"/>
                    </a:cxn>
                    <a:cxn ang="0">
                      <a:pos x="86" y="254"/>
                    </a:cxn>
                    <a:cxn ang="0">
                      <a:pos x="72" y="248"/>
                    </a:cxn>
                  </a:cxnLst>
                  <a:rect l="0" t="0" r="r" b="b"/>
                  <a:pathLst>
                    <a:path w="212" h="295">
                      <a:moveTo>
                        <a:pt x="72" y="248"/>
                      </a:moveTo>
                      <a:lnTo>
                        <a:pt x="72" y="234"/>
                      </a:lnTo>
                      <a:lnTo>
                        <a:pt x="82" y="239"/>
                      </a:lnTo>
                      <a:lnTo>
                        <a:pt x="91" y="229"/>
                      </a:lnTo>
                      <a:lnTo>
                        <a:pt x="34" y="195"/>
                      </a:lnTo>
                      <a:lnTo>
                        <a:pt x="34" y="185"/>
                      </a:lnTo>
                      <a:lnTo>
                        <a:pt x="39" y="176"/>
                      </a:lnTo>
                      <a:lnTo>
                        <a:pt x="48" y="176"/>
                      </a:lnTo>
                      <a:lnTo>
                        <a:pt x="39" y="151"/>
                      </a:lnTo>
                      <a:lnTo>
                        <a:pt x="53" y="151"/>
                      </a:lnTo>
                      <a:lnTo>
                        <a:pt x="53" y="147"/>
                      </a:lnTo>
                      <a:lnTo>
                        <a:pt x="29" y="132"/>
                      </a:lnTo>
                      <a:lnTo>
                        <a:pt x="43" y="97"/>
                      </a:lnTo>
                      <a:lnTo>
                        <a:pt x="24" y="88"/>
                      </a:lnTo>
                      <a:lnTo>
                        <a:pt x="29" y="77"/>
                      </a:lnTo>
                      <a:lnTo>
                        <a:pt x="43" y="72"/>
                      </a:lnTo>
                      <a:lnTo>
                        <a:pt x="15" y="58"/>
                      </a:lnTo>
                      <a:lnTo>
                        <a:pt x="10" y="34"/>
                      </a:lnTo>
                      <a:lnTo>
                        <a:pt x="0" y="23"/>
                      </a:lnTo>
                      <a:lnTo>
                        <a:pt x="43" y="4"/>
                      </a:lnTo>
                      <a:lnTo>
                        <a:pt x="62" y="0"/>
                      </a:lnTo>
                      <a:lnTo>
                        <a:pt x="72" y="4"/>
                      </a:lnTo>
                      <a:lnTo>
                        <a:pt x="91" y="14"/>
                      </a:lnTo>
                      <a:lnTo>
                        <a:pt x="101" y="34"/>
                      </a:lnTo>
                      <a:lnTo>
                        <a:pt x="115" y="58"/>
                      </a:lnTo>
                      <a:lnTo>
                        <a:pt x="134" y="67"/>
                      </a:lnTo>
                      <a:lnTo>
                        <a:pt x="139" y="88"/>
                      </a:lnTo>
                      <a:lnTo>
                        <a:pt x="153" y="97"/>
                      </a:lnTo>
                      <a:lnTo>
                        <a:pt x="168" y="102"/>
                      </a:lnTo>
                      <a:lnTo>
                        <a:pt x="187" y="92"/>
                      </a:lnTo>
                      <a:lnTo>
                        <a:pt x="187" y="112"/>
                      </a:lnTo>
                      <a:lnTo>
                        <a:pt x="206" y="132"/>
                      </a:lnTo>
                      <a:lnTo>
                        <a:pt x="192" y="156"/>
                      </a:lnTo>
                      <a:lnTo>
                        <a:pt x="201" y="190"/>
                      </a:lnTo>
                      <a:lnTo>
                        <a:pt x="211" y="215"/>
                      </a:lnTo>
                      <a:lnTo>
                        <a:pt x="201" y="239"/>
                      </a:lnTo>
                      <a:lnTo>
                        <a:pt x="201" y="259"/>
                      </a:lnTo>
                      <a:lnTo>
                        <a:pt x="192" y="254"/>
                      </a:lnTo>
                      <a:lnTo>
                        <a:pt x="149" y="254"/>
                      </a:lnTo>
                      <a:lnTo>
                        <a:pt x="134" y="264"/>
                      </a:lnTo>
                      <a:lnTo>
                        <a:pt x="115" y="278"/>
                      </a:lnTo>
                      <a:lnTo>
                        <a:pt x="115" y="289"/>
                      </a:lnTo>
                      <a:lnTo>
                        <a:pt x="110" y="294"/>
                      </a:lnTo>
                      <a:lnTo>
                        <a:pt x="101" y="269"/>
                      </a:lnTo>
                      <a:lnTo>
                        <a:pt x="86" y="254"/>
                      </a:lnTo>
                      <a:lnTo>
                        <a:pt x="72" y="248"/>
                      </a:lnTo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210" name="Freeform 46"/>
                <p:cNvSpPr>
                  <a:spLocks noChangeAspect="1"/>
                </p:cNvSpPr>
                <p:nvPr/>
              </p:nvSpPr>
              <p:spPr bwMode="gray">
                <a:xfrm>
                  <a:off x="4160739" y="3130574"/>
                  <a:ext cx="87313" cy="88900"/>
                </a:xfrm>
                <a:custGeom>
                  <a:avLst/>
                  <a:gdLst/>
                  <a:ahLst/>
                  <a:cxnLst>
                    <a:cxn ang="0">
                      <a:pos x="9" y="68"/>
                    </a:cxn>
                    <a:cxn ang="0">
                      <a:pos x="14" y="63"/>
                    </a:cxn>
                    <a:cxn ang="0">
                      <a:pos x="9" y="35"/>
                    </a:cxn>
                    <a:cxn ang="0">
                      <a:pos x="24" y="29"/>
                    </a:cxn>
                    <a:cxn ang="0">
                      <a:pos x="14" y="5"/>
                    </a:cxn>
                    <a:cxn ang="0">
                      <a:pos x="24" y="0"/>
                    </a:cxn>
                    <a:cxn ang="0">
                      <a:pos x="43" y="16"/>
                    </a:cxn>
                    <a:cxn ang="0">
                      <a:pos x="38" y="0"/>
                    </a:cxn>
                    <a:cxn ang="0">
                      <a:pos x="48" y="0"/>
                    </a:cxn>
                    <a:cxn ang="0">
                      <a:pos x="48" y="10"/>
                    </a:cxn>
                    <a:cxn ang="0">
                      <a:pos x="105" y="44"/>
                    </a:cxn>
                    <a:cxn ang="0">
                      <a:pos x="96" y="54"/>
                    </a:cxn>
                    <a:cxn ang="0">
                      <a:pos x="86" y="49"/>
                    </a:cxn>
                    <a:cxn ang="0">
                      <a:pos x="86" y="63"/>
                    </a:cxn>
                    <a:cxn ang="0">
                      <a:pos x="76" y="63"/>
                    </a:cxn>
                    <a:cxn ang="0">
                      <a:pos x="67" y="79"/>
                    </a:cxn>
                    <a:cxn ang="0">
                      <a:pos x="67" y="103"/>
                    </a:cxn>
                    <a:cxn ang="0">
                      <a:pos x="62" y="117"/>
                    </a:cxn>
                    <a:cxn ang="0">
                      <a:pos x="43" y="112"/>
                    </a:cxn>
                    <a:cxn ang="0">
                      <a:pos x="19" y="87"/>
                    </a:cxn>
                    <a:cxn ang="0">
                      <a:pos x="0" y="84"/>
                    </a:cxn>
                    <a:cxn ang="0">
                      <a:pos x="9" y="68"/>
                    </a:cxn>
                  </a:cxnLst>
                  <a:rect l="0" t="0" r="r" b="b"/>
                  <a:pathLst>
                    <a:path w="106" h="118">
                      <a:moveTo>
                        <a:pt x="9" y="68"/>
                      </a:moveTo>
                      <a:lnTo>
                        <a:pt x="14" y="63"/>
                      </a:lnTo>
                      <a:lnTo>
                        <a:pt x="9" y="35"/>
                      </a:lnTo>
                      <a:lnTo>
                        <a:pt x="24" y="29"/>
                      </a:lnTo>
                      <a:lnTo>
                        <a:pt x="14" y="5"/>
                      </a:lnTo>
                      <a:lnTo>
                        <a:pt x="24" y="0"/>
                      </a:lnTo>
                      <a:lnTo>
                        <a:pt x="43" y="16"/>
                      </a:lnTo>
                      <a:lnTo>
                        <a:pt x="38" y="0"/>
                      </a:lnTo>
                      <a:lnTo>
                        <a:pt x="48" y="0"/>
                      </a:lnTo>
                      <a:lnTo>
                        <a:pt x="48" y="10"/>
                      </a:lnTo>
                      <a:lnTo>
                        <a:pt x="105" y="44"/>
                      </a:lnTo>
                      <a:lnTo>
                        <a:pt x="96" y="54"/>
                      </a:lnTo>
                      <a:lnTo>
                        <a:pt x="86" y="49"/>
                      </a:lnTo>
                      <a:lnTo>
                        <a:pt x="86" y="63"/>
                      </a:lnTo>
                      <a:lnTo>
                        <a:pt x="76" y="63"/>
                      </a:lnTo>
                      <a:lnTo>
                        <a:pt x="67" y="79"/>
                      </a:lnTo>
                      <a:lnTo>
                        <a:pt x="67" y="103"/>
                      </a:lnTo>
                      <a:lnTo>
                        <a:pt x="62" y="117"/>
                      </a:lnTo>
                      <a:lnTo>
                        <a:pt x="43" y="112"/>
                      </a:lnTo>
                      <a:lnTo>
                        <a:pt x="19" y="87"/>
                      </a:lnTo>
                      <a:lnTo>
                        <a:pt x="0" y="84"/>
                      </a:lnTo>
                      <a:lnTo>
                        <a:pt x="9" y="68"/>
                      </a:lnTo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</p:grpSp>
        </p:grpSp>
        <p:grpSp>
          <p:nvGrpSpPr>
            <p:cNvPr id="116" name="Group 368"/>
            <p:cNvGrpSpPr/>
            <p:nvPr/>
          </p:nvGrpSpPr>
          <p:grpSpPr bwMode="gray">
            <a:xfrm>
              <a:off x="5591926" y="3492056"/>
              <a:ext cx="1198965" cy="1473737"/>
              <a:chOff x="4455318" y="2994372"/>
              <a:chExt cx="1196974" cy="1339850"/>
            </a:xfrm>
            <a:grpFill/>
          </p:grpSpPr>
          <p:sp>
            <p:nvSpPr>
              <p:cNvPr id="117" name="Freeform 116"/>
              <p:cNvSpPr>
                <a:spLocks noChangeAspect="1"/>
              </p:cNvSpPr>
              <p:nvPr/>
            </p:nvSpPr>
            <p:spPr bwMode="gray">
              <a:xfrm>
                <a:off x="4918868" y="3083272"/>
                <a:ext cx="276225" cy="265113"/>
              </a:xfrm>
              <a:custGeom>
                <a:avLst/>
                <a:gdLst/>
                <a:ahLst/>
                <a:cxnLst>
                  <a:cxn ang="0">
                    <a:pos x="134" y="578"/>
                  </a:cxn>
                  <a:cxn ang="0">
                    <a:pos x="76" y="535"/>
                  </a:cxn>
                  <a:cxn ang="0">
                    <a:pos x="40" y="507"/>
                  </a:cxn>
                  <a:cxn ang="0">
                    <a:pos x="11" y="449"/>
                  </a:cxn>
                  <a:cxn ang="0">
                    <a:pos x="18" y="425"/>
                  </a:cxn>
                  <a:cxn ang="0">
                    <a:pos x="32" y="340"/>
                  </a:cxn>
                  <a:cxn ang="0">
                    <a:pos x="29" y="288"/>
                  </a:cxn>
                  <a:cxn ang="0">
                    <a:pos x="11" y="222"/>
                  </a:cxn>
                  <a:cxn ang="0">
                    <a:pos x="11" y="184"/>
                  </a:cxn>
                  <a:cxn ang="0">
                    <a:pos x="36" y="171"/>
                  </a:cxn>
                  <a:cxn ang="0">
                    <a:pos x="52" y="143"/>
                  </a:cxn>
                  <a:cxn ang="0">
                    <a:pos x="52" y="98"/>
                  </a:cxn>
                  <a:cxn ang="0">
                    <a:pos x="79" y="74"/>
                  </a:cxn>
                  <a:cxn ang="0">
                    <a:pos x="119" y="39"/>
                  </a:cxn>
                  <a:cxn ang="0">
                    <a:pos x="130" y="2"/>
                  </a:cxn>
                  <a:cxn ang="0">
                    <a:pos x="190" y="22"/>
                  </a:cxn>
                  <a:cxn ang="0">
                    <a:pos x="237" y="23"/>
                  </a:cxn>
                  <a:cxn ang="0">
                    <a:pos x="276" y="35"/>
                  </a:cxn>
                  <a:cxn ang="0">
                    <a:pos x="323" y="52"/>
                  </a:cxn>
                  <a:cxn ang="0">
                    <a:pos x="333" y="84"/>
                  </a:cxn>
                  <a:cxn ang="0">
                    <a:pos x="371" y="121"/>
                  </a:cxn>
                  <a:cxn ang="0">
                    <a:pos x="431" y="130"/>
                  </a:cxn>
                  <a:cxn ang="0">
                    <a:pos x="482" y="151"/>
                  </a:cxn>
                  <a:cxn ang="0">
                    <a:pos x="514" y="178"/>
                  </a:cxn>
                  <a:cxn ang="0">
                    <a:pos x="561" y="176"/>
                  </a:cxn>
                  <a:cxn ang="0">
                    <a:pos x="587" y="148"/>
                  </a:cxn>
                  <a:cxn ang="0">
                    <a:pos x="589" y="117"/>
                  </a:cxn>
                  <a:cxn ang="0">
                    <a:pos x="582" y="83"/>
                  </a:cxn>
                  <a:cxn ang="0">
                    <a:pos x="606" y="47"/>
                  </a:cxn>
                  <a:cxn ang="0">
                    <a:pos x="658" y="22"/>
                  </a:cxn>
                  <a:cxn ang="0">
                    <a:pos x="729" y="25"/>
                  </a:cxn>
                  <a:cxn ang="0">
                    <a:pos x="754" y="35"/>
                  </a:cxn>
                  <a:cxn ang="0">
                    <a:pos x="751" y="46"/>
                  </a:cxn>
                  <a:cxn ang="0">
                    <a:pos x="767" y="63"/>
                  </a:cxn>
                  <a:cxn ang="0">
                    <a:pos x="797" y="67"/>
                  </a:cxn>
                  <a:cxn ang="0">
                    <a:pos x="831" y="77"/>
                  </a:cxn>
                  <a:cxn ang="0">
                    <a:pos x="868" y="95"/>
                  </a:cxn>
                  <a:cxn ang="0">
                    <a:pos x="860" y="108"/>
                  </a:cxn>
                  <a:cxn ang="0">
                    <a:pos x="856" y="127"/>
                  </a:cxn>
                  <a:cxn ang="0">
                    <a:pos x="858" y="180"/>
                  </a:cxn>
                  <a:cxn ang="0">
                    <a:pos x="845" y="192"/>
                  </a:cxn>
                  <a:cxn ang="0">
                    <a:pos x="853" y="227"/>
                  </a:cxn>
                  <a:cxn ang="0">
                    <a:pos x="869" y="261"/>
                  </a:cxn>
                  <a:cxn ang="0">
                    <a:pos x="869" y="421"/>
                  </a:cxn>
                  <a:cxn ang="0">
                    <a:pos x="869" y="593"/>
                  </a:cxn>
                  <a:cxn ang="0">
                    <a:pos x="869" y="740"/>
                  </a:cxn>
                  <a:cxn ang="0">
                    <a:pos x="817" y="832"/>
                  </a:cxn>
                  <a:cxn ang="0">
                    <a:pos x="715" y="783"/>
                  </a:cxn>
                  <a:cxn ang="0">
                    <a:pos x="573" y="709"/>
                  </a:cxn>
                  <a:cxn ang="0">
                    <a:pos x="433" y="635"/>
                  </a:cxn>
                  <a:cxn ang="0">
                    <a:pos x="326" y="622"/>
                  </a:cxn>
                  <a:cxn ang="0">
                    <a:pos x="297" y="620"/>
                  </a:cxn>
                  <a:cxn ang="0">
                    <a:pos x="275" y="605"/>
                  </a:cxn>
                  <a:cxn ang="0">
                    <a:pos x="222" y="595"/>
                  </a:cxn>
                  <a:cxn ang="0">
                    <a:pos x="145" y="595"/>
                  </a:cxn>
                </a:cxnLst>
                <a:rect l="0" t="0" r="r" b="b"/>
                <a:pathLst>
                  <a:path w="871" h="832">
                    <a:moveTo>
                      <a:pt x="140" y="598"/>
                    </a:moveTo>
                    <a:lnTo>
                      <a:pt x="138" y="592"/>
                    </a:lnTo>
                    <a:lnTo>
                      <a:pt x="134" y="578"/>
                    </a:lnTo>
                    <a:lnTo>
                      <a:pt x="116" y="549"/>
                    </a:lnTo>
                    <a:lnTo>
                      <a:pt x="87" y="535"/>
                    </a:lnTo>
                    <a:lnTo>
                      <a:pt x="76" y="535"/>
                    </a:lnTo>
                    <a:lnTo>
                      <a:pt x="57" y="534"/>
                    </a:lnTo>
                    <a:lnTo>
                      <a:pt x="43" y="519"/>
                    </a:lnTo>
                    <a:lnTo>
                      <a:pt x="40" y="507"/>
                    </a:lnTo>
                    <a:lnTo>
                      <a:pt x="39" y="487"/>
                    </a:lnTo>
                    <a:lnTo>
                      <a:pt x="29" y="471"/>
                    </a:lnTo>
                    <a:lnTo>
                      <a:pt x="11" y="449"/>
                    </a:lnTo>
                    <a:lnTo>
                      <a:pt x="6" y="436"/>
                    </a:lnTo>
                    <a:lnTo>
                      <a:pt x="7" y="428"/>
                    </a:lnTo>
                    <a:lnTo>
                      <a:pt x="18" y="425"/>
                    </a:lnTo>
                    <a:lnTo>
                      <a:pt x="27" y="418"/>
                    </a:lnTo>
                    <a:lnTo>
                      <a:pt x="28" y="362"/>
                    </a:lnTo>
                    <a:lnTo>
                      <a:pt x="32" y="340"/>
                    </a:lnTo>
                    <a:lnTo>
                      <a:pt x="32" y="327"/>
                    </a:lnTo>
                    <a:lnTo>
                      <a:pt x="29" y="319"/>
                    </a:lnTo>
                    <a:lnTo>
                      <a:pt x="29" y="288"/>
                    </a:lnTo>
                    <a:lnTo>
                      <a:pt x="28" y="266"/>
                    </a:lnTo>
                    <a:lnTo>
                      <a:pt x="23" y="243"/>
                    </a:lnTo>
                    <a:lnTo>
                      <a:pt x="11" y="222"/>
                    </a:lnTo>
                    <a:lnTo>
                      <a:pt x="0" y="207"/>
                    </a:lnTo>
                    <a:lnTo>
                      <a:pt x="1" y="191"/>
                    </a:lnTo>
                    <a:lnTo>
                      <a:pt x="11" y="184"/>
                    </a:lnTo>
                    <a:lnTo>
                      <a:pt x="12" y="181"/>
                    </a:lnTo>
                    <a:lnTo>
                      <a:pt x="24" y="180"/>
                    </a:lnTo>
                    <a:lnTo>
                      <a:pt x="36" y="171"/>
                    </a:lnTo>
                    <a:lnTo>
                      <a:pt x="46" y="163"/>
                    </a:lnTo>
                    <a:lnTo>
                      <a:pt x="52" y="153"/>
                    </a:lnTo>
                    <a:lnTo>
                      <a:pt x="52" y="143"/>
                    </a:lnTo>
                    <a:lnTo>
                      <a:pt x="46" y="115"/>
                    </a:lnTo>
                    <a:lnTo>
                      <a:pt x="48" y="106"/>
                    </a:lnTo>
                    <a:lnTo>
                      <a:pt x="52" y="98"/>
                    </a:lnTo>
                    <a:lnTo>
                      <a:pt x="65" y="92"/>
                    </a:lnTo>
                    <a:lnTo>
                      <a:pt x="75" y="85"/>
                    </a:lnTo>
                    <a:lnTo>
                      <a:pt x="79" y="74"/>
                    </a:lnTo>
                    <a:lnTo>
                      <a:pt x="108" y="55"/>
                    </a:lnTo>
                    <a:lnTo>
                      <a:pt x="114" y="50"/>
                    </a:lnTo>
                    <a:lnTo>
                      <a:pt x="119" y="39"/>
                    </a:lnTo>
                    <a:lnTo>
                      <a:pt x="118" y="3"/>
                    </a:lnTo>
                    <a:lnTo>
                      <a:pt x="119" y="0"/>
                    </a:lnTo>
                    <a:lnTo>
                      <a:pt x="130" y="2"/>
                    </a:lnTo>
                    <a:lnTo>
                      <a:pt x="142" y="9"/>
                    </a:lnTo>
                    <a:lnTo>
                      <a:pt x="169" y="20"/>
                    </a:lnTo>
                    <a:lnTo>
                      <a:pt x="190" y="22"/>
                    </a:lnTo>
                    <a:lnTo>
                      <a:pt x="211" y="17"/>
                    </a:lnTo>
                    <a:lnTo>
                      <a:pt x="226" y="18"/>
                    </a:lnTo>
                    <a:lnTo>
                      <a:pt x="237" y="23"/>
                    </a:lnTo>
                    <a:lnTo>
                      <a:pt x="250" y="24"/>
                    </a:lnTo>
                    <a:lnTo>
                      <a:pt x="267" y="29"/>
                    </a:lnTo>
                    <a:lnTo>
                      <a:pt x="276" y="35"/>
                    </a:lnTo>
                    <a:lnTo>
                      <a:pt x="297" y="45"/>
                    </a:lnTo>
                    <a:lnTo>
                      <a:pt x="309" y="47"/>
                    </a:lnTo>
                    <a:lnTo>
                      <a:pt x="323" y="52"/>
                    </a:lnTo>
                    <a:lnTo>
                      <a:pt x="329" y="58"/>
                    </a:lnTo>
                    <a:lnTo>
                      <a:pt x="333" y="71"/>
                    </a:lnTo>
                    <a:lnTo>
                      <a:pt x="333" y="84"/>
                    </a:lnTo>
                    <a:lnTo>
                      <a:pt x="342" y="99"/>
                    </a:lnTo>
                    <a:lnTo>
                      <a:pt x="358" y="115"/>
                    </a:lnTo>
                    <a:lnTo>
                      <a:pt x="371" y="121"/>
                    </a:lnTo>
                    <a:lnTo>
                      <a:pt x="379" y="124"/>
                    </a:lnTo>
                    <a:lnTo>
                      <a:pt x="415" y="125"/>
                    </a:lnTo>
                    <a:lnTo>
                      <a:pt x="431" y="130"/>
                    </a:lnTo>
                    <a:lnTo>
                      <a:pt x="459" y="140"/>
                    </a:lnTo>
                    <a:lnTo>
                      <a:pt x="474" y="149"/>
                    </a:lnTo>
                    <a:lnTo>
                      <a:pt x="482" y="151"/>
                    </a:lnTo>
                    <a:lnTo>
                      <a:pt x="490" y="154"/>
                    </a:lnTo>
                    <a:lnTo>
                      <a:pt x="496" y="162"/>
                    </a:lnTo>
                    <a:lnTo>
                      <a:pt x="514" y="178"/>
                    </a:lnTo>
                    <a:lnTo>
                      <a:pt x="529" y="184"/>
                    </a:lnTo>
                    <a:lnTo>
                      <a:pt x="543" y="184"/>
                    </a:lnTo>
                    <a:lnTo>
                      <a:pt x="561" y="176"/>
                    </a:lnTo>
                    <a:lnTo>
                      <a:pt x="571" y="170"/>
                    </a:lnTo>
                    <a:lnTo>
                      <a:pt x="581" y="159"/>
                    </a:lnTo>
                    <a:lnTo>
                      <a:pt x="587" y="148"/>
                    </a:lnTo>
                    <a:lnTo>
                      <a:pt x="593" y="138"/>
                    </a:lnTo>
                    <a:lnTo>
                      <a:pt x="594" y="130"/>
                    </a:lnTo>
                    <a:lnTo>
                      <a:pt x="589" y="117"/>
                    </a:lnTo>
                    <a:lnTo>
                      <a:pt x="588" y="108"/>
                    </a:lnTo>
                    <a:lnTo>
                      <a:pt x="582" y="98"/>
                    </a:lnTo>
                    <a:lnTo>
                      <a:pt x="582" y="83"/>
                    </a:lnTo>
                    <a:lnTo>
                      <a:pt x="586" y="70"/>
                    </a:lnTo>
                    <a:lnTo>
                      <a:pt x="598" y="55"/>
                    </a:lnTo>
                    <a:lnTo>
                      <a:pt x="606" y="47"/>
                    </a:lnTo>
                    <a:lnTo>
                      <a:pt x="625" y="33"/>
                    </a:lnTo>
                    <a:lnTo>
                      <a:pt x="641" y="24"/>
                    </a:lnTo>
                    <a:lnTo>
                      <a:pt x="658" y="22"/>
                    </a:lnTo>
                    <a:lnTo>
                      <a:pt x="670" y="17"/>
                    </a:lnTo>
                    <a:lnTo>
                      <a:pt x="701" y="15"/>
                    </a:lnTo>
                    <a:lnTo>
                      <a:pt x="729" y="25"/>
                    </a:lnTo>
                    <a:lnTo>
                      <a:pt x="737" y="29"/>
                    </a:lnTo>
                    <a:lnTo>
                      <a:pt x="745" y="30"/>
                    </a:lnTo>
                    <a:lnTo>
                      <a:pt x="754" y="35"/>
                    </a:lnTo>
                    <a:lnTo>
                      <a:pt x="755" y="45"/>
                    </a:lnTo>
                    <a:lnTo>
                      <a:pt x="754" y="47"/>
                    </a:lnTo>
                    <a:lnTo>
                      <a:pt x="751" y="46"/>
                    </a:lnTo>
                    <a:lnTo>
                      <a:pt x="753" y="54"/>
                    </a:lnTo>
                    <a:lnTo>
                      <a:pt x="762" y="61"/>
                    </a:lnTo>
                    <a:lnTo>
                      <a:pt x="767" y="63"/>
                    </a:lnTo>
                    <a:lnTo>
                      <a:pt x="772" y="62"/>
                    </a:lnTo>
                    <a:lnTo>
                      <a:pt x="787" y="65"/>
                    </a:lnTo>
                    <a:lnTo>
                      <a:pt x="797" y="67"/>
                    </a:lnTo>
                    <a:lnTo>
                      <a:pt x="801" y="68"/>
                    </a:lnTo>
                    <a:lnTo>
                      <a:pt x="815" y="74"/>
                    </a:lnTo>
                    <a:lnTo>
                      <a:pt x="831" y="77"/>
                    </a:lnTo>
                    <a:lnTo>
                      <a:pt x="856" y="78"/>
                    </a:lnTo>
                    <a:lnTo>
                      <a:pt x="864" y="83"/>
                    </a:lnTo>
                    <a:lnTo>
                      <a:pt x="868" y="95"/>
                    </a:lnTo>
                    <a:lnTo>
                      <a:pt x="871" y="97"/>
                    </a:lnTo>
                    <a:lnTo>
                      <a:pt x="863" y="99"/>
                    </a:lnTo>
                    <a:lnTo>
                      <a:pt x="860" y="108"/>
                    </a:lnTo>
                    <a:lnTo>
                      <a:pt x="852" y="116"/>
                    </a:lnTo>
                    <a:lnTo>
                      <a:pt x="852" y="119"/>
                    </a:lnTo>
                    <a:lnTo>
                      <a:pt x="856" y="127"/>
                    </a:lnTo>
                    <a:lnTo>
                      <a:pt x="857" y="154"/>
                    </a:lnTo>
                    <a:lnTo>
                      <a:pt x="860" y="171"/>
                    </a:lnTo>
                    <a:lnTo>
                      <a:pt x="858" y="180"/>
                    </a:lnTo>
                    <a:lnTo>
                      <a:pt x="858" y="183"/>
                    </a:lnTo>
                    <a:lnTo>
                      <a:pt x="848" y="187"/>
                    </a:lnTo>
                    <a:lnTo>
                      <a:pt x="845" y="192"/>
                    </a:lnTo>
                    <a:lnTo>
                      <a:pt x="845" y="196"/>
                    </a:lnTo>
                    <a:lnTo>
                      <a:pt x="846" y="217"/>
                    </a:lnTo>
                    <a:lnTo>
                      <a:pt x="853" y="227"/>
                    </a:lnTo>
                    <a:lnTo>
                      <a:pt x="855" y="230"/>
                    </a:lnTo>
                    <a:lnTo>
                      <a:pt x="852" y="243"/>
                    </a:lnTo>
                    <a:lnTo>
                      <a:pt x="869" y="261"/>
                    </a:lnTo>
                    <a:lnTo>
                      <a:pt x="869" y="304"/>
                    </a:lnTo>
                    <a:lnTo>
                      <a:pt x="869" y="362"/>
                    </a:lnTo>
                    <a:lnTo>
                      <a:pt x="869" y="421"/>
                    </a:lnTo>
                    <a:lnTo>
                      <a:pt x="869" y="479"/>
                    </a:lnTo>
                    <a:lnTo>
                      <a:pt x="869" y="535"/>
                    </a:lnTo>
                    <a:lnTo>
                      <a:pt x="869" y="593"/>
                    </a:lnTo>
                    <a:lnTo>
                      <a:pt x="869" y="649"/>
                    </a:lnTo>
                    <a:lnTo>
                      <a:pt x="869" y="687"/>
                    </a:lnTo>
                    <a:lnTo>
                      <a:pt x="869" y="740"/>
                    </a:lnTo>
                    <a:lnTo>
                      <a:pt x="869" y="799"/>
                    </a:lnTo>
                    <a:lnTo>
                      <a:pt x="817" y="799"/>
                    </a:lnTo>
                    <a:lnTo>
                      <a:pt x="817" y="832"/>
                    </a:lnTo>
                    <a:lnTo>
                      <a:pt x="808" y="831"/>
                    </a:lnTo>
                    <a:lnTo>
                      <a:pt x="761" y="807"/>
                    </a:lnTo>
                    <a:lnTo>
                      <a:pt x="715" y="783"/>
                    </a:lnTo>
                    <a:lnTo>
                      <a:pt x="667" y="759"/>
                    </a:lnTo>
                    <a:lnTo>
                      <a:pt x="620" y="734"/>
                    </a:lnTo>
                    <a:lnTo>
                      <a:pt x="573" y="709"/>
                    </a:lnTo>
                    <a:lnTo>
                      <a:pt x="527" y="685"/>
                    </a:lnTo>
                    <a:lnTo>
                      <a:pt x="480" y="659"/>
                    </a:lnTo>
                    <a:lnTo>
                      <a:pt x="433" y="635"/>
                    </a:lnTo>
                    <a:lnTo>
                      <a:pt x="387" y="610"/>
                    </a:lnTo>
                    <a:lnTo>
                      <a:pt x="376" y="605"/>
                    </a:lnTo>
                    <a:lnTo>
                      <a:pt x="326" y="622"/>
                    </a:lnTo>
                    <a:lnTo>
                      <a:pt x="320" y="625"/>
                    </a:lnTo>
                    <a:lnTo>
                      <a:pt x="303" y="630"/>
                    </a:lnTo>
                    <a:lnTo>
                      <a:pt x="297" y="620"/>
                    </a:lnTo>
                    <a:lnTo>
                      <a:pt x="293" y="616"/>
                    </a:lnTo>
                    <a:lnTo>
                      <a:pt x="278" y="609"/>
                    </a:lnTo>
                    <a:lnTo>
                      <a:pt x="275" y="605"/>
                    </a:lnTo>
                    <a:lnTo>
                      <a:pt x="270" y="601"/>
                    </a:lnTo>
                    <a:lnTo>
                      <a:pt x="261" y="599"/>
                    </a:lnTo>
                    <a:lnTo>
                      <a:pt x="222" y="595"/>
                    </a:lnTo>
                    <a:lnTo>
                      <a:pt x="179" y="596"/>
                    </a:lnTo>
                    <a:lnTo>
                      <a:pt x="148" y="594"/>
                    </a:lnTo>
                    <a:lnTo>
                      <a:pt x="145" y="595"/>
                    </a:lnTo>
                    <a:lnTo>
                      <a:pt x="140" y="5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sp>
            <p:nvSpPr>
              <p:cNvPr id="118" name="Freeform 117"/>
              <p:cNvSpPr>
                <a:spLocks noChangeAspect="1"/>
              </p:cNvSpPr>
              <p:nvPr/>
            </p:nvSpPr>
            <p:spPr bwMode="gray">
              <a:xfrm>
                <a:off x="4464843" y="3192809"/>
                <a:ext cx="146050" cy="127000"/>
              </a:xfrm>
              <a:custGeom>
                <a:avLst/>
                <a:gdLst/>
                <a:ahLst/>
                <a:cxnLst>
                  <a:cxn ang="0">
                    <a:pos x="196" y="379"/>
                  </a:cxn>
                  <a:cxn ang="0">
                    <a:pos x="148" y="379"/>
                  </a:cxn>
                  <a:cxn ang="0">
                    <a:pos x="96" y="379"/>
                  </a:cxn>
                  <a:cxn ang="0">
                    <a:pos x="45" y="379"/>
                  </a:cxn>
                  <a:cxn ang="0">
                    <a:pos x="16" y="379"/>
                  </a:cxn>
                  <a:cxn ang="0">
                    <a:pos x="14" y="385"/>
                  </a:cxn>
                  <a:cxn ang="0">
                    <a:pos x="6" y="392"/>
                  </a:cxn>
                  <a:cxn ang="0">
                    <a:pos x="2" y="397"/>
                  </a:cxn>
                  <a:cxn ang="0">
                    <a:pos x="5" y="396"/>
                  </a:cxn>
                  <a:cxn ang="0">
                    <a:pos x="0" y="401"/>
                  </a:cxn>
                  <a:cxn ang="0">
                    <a:pos x="0" y="392"/>
                  </a:cxn>
                  <a:cxn ang="0">
                    <a:pos x="5" y="355"/>
                  </a:cxn>
                  <a:cxn ang="0">
                    <a:pos x="16" y="329"/>
                  </a:cxn>
                  <a:cxn ang="0">
                    <a:pos x="28" y="323"/>
                  </a:cxn>
                  <a:cxn ang="0">
                    <a:pos x="40" y="296"/>
                  </a:cxn>
                  <a:cxn ang="0">
                    <a:pos x="48" y="284"/>
                  </a:cxn>
                  <a:cxn ang="0">
                    <a:pos x="45" y="275"/>
                  </a:cxn>
                  <a:cxn ang="0">
                    <a:pos x="65" y="246"/>
                  </a:cxn>
                  <a:cxn ang="0">
                    <a:pos x="69" y="240"/>
                  </a:cxn>
                  <a:cxn ang="0">
                    <a:pos x="71" y="229"/>
                  </a:cxn>
                  <a:cxn ang="0">
                    <a:pos x="76" y="221"/>
                  </a:cxn>
                  <a:cxn ang="0">
                    <a:pos x="105" y="188"/>
                  </a:cxn>
                  <a:cxn ang="0">
                    <a:pos x="120" y="164"/>
                  </a:cxn>
                  <a:cxn ang="0">
                    <a:pos x="123" y="145"/>
                  </a:cxn>
                  <a:cxn ang="0">
                    <a:pos x="132" y="122"/>
                  </a:cxn>
                  <a:cxn ang="0">
                    <a:pos x="139" y="100"/>
                  </a:cxn>
                  <a:cxn ang="0">
                    <a:pos x="155" y="80"/>
                  </a:cxn>
                  <a:cxn ang="0">
                    <a:pos x="174" y="70"/>
                  </a:cxn>
                  <a:cxn ang="0">
                    <a:pos x="190" y="57"/>
                  </a:cxn>
                  <a:cxn ang="0">
                    <a:pos x="196" y="38"/>
                  </a:cxn>
                  <a:cxn ang="0">
                    <a:pos x="199" y="33"/>
                  </a:cxn>
                  <a:cxn ang="0">
                    <a:pos x="204" y="22"/>
                  </a:cxn>
                  <a:cxn ang="0">
                    <a:pos x="213" y="6"/>
                  </a:cxn>
                  <a:cxn ang="0">
                    <a:pos x="218" y="0"/>
                  </a:cxn>
                  <a:cxn ang="0">
                    <a:pos x="227" y="0"/>
                  </a:cxn>
                  <a:cxn ang="0">
                    <a:pos x="261" y="0"/>
                  </a:cxn>
                  <a:cxn ang="0">
                    <a:pos x="297" y="0"/>
                  </a:cxn>
                  <a:cxn ang="0">
                    <a:pos x="338" y="0"/>
                  </a:cxn>
                  <a:cxn ang="0">
                    <a:pos x="379" y="0"/>
                  </a:cxn>
                  <a:cxn ang="0">
                    <a:pos x="422" y="0"/>
                  </a:cxn>
                  <a:cxn ang="0">
                    <a:pos x="459" y="0"/>
                  </a:cxn>
                  <a:cxn ang="0">
                    <a:pos x="459" y="32"/>
                  </a:cxn>
                  <a:cxn ang="0">
                    <a:pos x="459" y="102"/>
                  </a:cxn>
                  <a:cxn ang="0">
                    <a:pos x="405" y="102"/>
                  </a:cxn>
                  <a:cxn ang="0">
                    <a:pos x="352" y="102"/>
                  </a:cxn>
                  <a:cxn ang="0">
                    <a:pos x="299" y="102"/>
                  </a:cxn>
                  <a:cxn ang="0">
                    <a:pos x="281" y="102"/>
                  </a:cxn>
                  <a:cxn ang="0">
                    <a:pos x="281" y="160"/>
                  </a:cxn>
                  <a:cxn ang="0">
                    <a:pos x="281" y="219"/>
                  </a:cxn>
                  <a:cxn ang="0">
                    <a:pos x="281" y="254"/>
                  </a:cxn>
                  <a:cxn ang="0">
                    <a:pos x="261" y="261"/>
                  </a:cxn>
                  <a:cxn ang="0">
                    <a:pos x="244" y="263"/>
                  </a:cxn>
                  <a:cxn ang="0">
                    <a:pos x="228" y="268"/>
                  </a:cxn>
                  <a:cxn ang="0">
                    <a:pos x="223" y="272"/>
                  </a:cxn>
                  <a:cxn ang="0">
                    <a:pos x="220" y="277"/>
                  </a:cxn>
                  <a:cxn ang="0">
                    <a:pos x="215" y="288"/>
                  </a:cxn>
                  <a:cxn ang="0">
                    <a:pos x="213" y="296"/>
                  </a:cxn>
                  <a:cxn ang="0">
                    <a:pos x="215" y="322"/>
                  </a:cxn>
                  <a:cxn ang="0">
                    <a:pos x="218" y="342"/>
                  </a:cxn>
                  <a:cxn ang="0">
                    <a:pos x="218" y="363"/>
                  </a:cxn>
                  <a:cxn ang="0">
                    <a:pos x="222" y="379"/>
                  </a:cxn>
                  <a:cxn ang="0">
                    <a:pos x="196" y="379"/>
                  </a:cxn>
                </a:cxnLst>
                <a:rect l="0" t="0" r="r" b="b"/>
                <a:pathLst>
                  <a:path w="459" h="401">
                    <a:moveTo>
                      <a:pt x="196" y="379"/>
                    </a:moveTo>
                    <a:lnTo>
                      <a:pt x="148" y="379"/>
                    </a:lnTo>
                    <a:lnTo>
                      <a:pt x="96" y="379"/>
                    </a:lnTo>
                    <a:lnTo>
                      <a:pt x="45" y="379"/>
                    </a:lnTo>
                    <a:lnTo>
                      <a:pt x="16" y="379"/>
                    </a:lnTo>
                    <a:lnTo>
                      <a:pt x="14" y="385"/>
                    </a:lnTo>
                    <a:lnTo>
                      <a:pt x="6" y="392"/>
                    </a:lnTo>
                    <a:lnTo>
                      <a:pt x="2" y="397"/>
                    </a:lnTo>
                    <a:lnTo>
                      <a:pt x="5" y="396"/>
                    </a:lnTo>
                    <a:lnTo>
                      <a:pt x="0" y="401"/>
                    </a:lnTo>
                    <a:lnTo>
                      <a:pt x="0" y="392"/>
                    </a:lnTo>
                    <a:lnTo>
                      <a:pt x="5" y="355"/>
                    </a:lnTo>
                    <a:lnTo>
                      <a:pt x="16" y="329"/>
                    </a:lnTo>
                    <a:lnTo>
                      <a:pt x="28" y="323"/>
                    </a:lnTo>
                    <a:lnTo>
                      <a:pt x="40" y="296"/>
                    </a:lnTo>
                    <a:lnTo>
                      <a:pt x="48" y="284"/>
                    </a:lnTo>
                    <a:lnTo>
                      <a:pt x="45" y="275"/>
                    </a:lnTo>
                    <a:lnTo>
                      <a:pt x="65" y="246"/>
                    </a:lnTo>
                    <a:lnTo>
                      <a:pt x="69" y="240"/>
                    </a:lnTo>
                    <a:lnTo>
                      <a:pt x="71" y="229"/>
                    </a:lnTo>
                    <a:lnTo>
                      <a:pt x="76" y="221"/>
                    </a:lnTo>
                    <a:lnTo>
                      <a:pt x="105" y="188"/>
                    </a:lnTo>
                    <a:lnTo>
                      <a:pt x="120" y="164"/>
                    </a:lnTo>
                    <a:lnTo>
                      <a:pt x="123" y="145"/>
                    </a:lnTo>
                    <a:lnTo>
                      <a:pt x="132" y="122"/>
                    </a:lnTo>
                    <a:lnTo>
                      <a:pt x="139" y="100"/>
                    </a:lnTo>
                    <a:lnTo>
                      <a:pt x="155" y="80"/>
                    </a:lnTo>
                    <a:lnTo>
                      <a:pt x="174" y="70"/>
                    </a:lnTo>
                    <a:lnTo>
                      <a:pt x="190" y="57"/>
                    </a:lnTo>
                    <a:lnTo>
                      <a:pt x="196" y="38"/>
                    </a:lnTo>
                    <a:lnTo>
                      <a:pt x="199" y="33"/>
                    </a:lnTo>
                    <a:lnTo>
                      <a:pt x="204" y="22"/>
                    </a:lnTo>
                    <a:lnTo>
                      <a:pt x="213" y="6"/>
                    </a:lnTo>
                    <a:lnTo>
                      <a:pt x="218" y="0"/>
                    </a:lnTo>
                    <a:lnTo>
                      <a:pt x="227" y="0"/>
                    </a:lnTo>
                    <a:lnTo>
                      <a:pt x="261" y="0"/>
                    </a:lnTo>
                    <a:lnTo>
                      <a:pt x="297" y="0"/>
                    </a:lnTo>
                    <a:lnTo>
                      <a:pt x="338" y="0"/>
                    </a:lnTo>
                    <a:lnTo>
                      <a:pt x="379" y="0"/>
                    </a:lnTo>
                    <a:lnTo>
                      <a:pt x="422" y="0"/>
                    </a:lnTo>
                    <a:lnTo>
                      <a:pt x="459" y="0"/>
                    </a:lnTo>
                    <a:lnTo>
                      <a:pt x="459" y="32"/>
                    </a:lnTo>
                    <a:lnTo>
                      <a:pt x="459" y="102"/>
                    </a:lnTo>
                    <a:lnTo>
                      <a:pt x="405" y="102"/>
                    </a:lnTo>
                    <a:lnTo>
                      <a:pt x="352" y="102"/>
                    </a:lnTo>
                    <a:lnTo>
                      <a:pt x="299" y="102"/>
                    </a:lnTo>
                    <a:lnTo>
                      <a:pt x="281" y="102"/>
                    </a:lnTo>
                    <a:lnTo>
                      <a:pt x="281" y="160"/>
                    </a:lnTo>
                    <a:lnTo>
                      <a:pt x="281" y="219"/>
                    </a:lnTo>
                    <a:lnTo>
                      <a:pt x="281" y="254"/>
                    </a:lnTo>
                    <a:lnTo>
                      <a:pt x="261" y="261"/>
                    </a:lnTo>
                    <a:lnTo>
                      <a:pt x="244" y="263"/>
                    </a:lnTo>
                    <a:lnTo>
                      <a:pt x="228" y="268"/>
                    </a:lnTo>
                    <a:lnTo>
                      <a:pt x="223" y="272"/>
                    </a:lnTo>
                    <a:lnTo>
                      <a:pt x="220" y="277"/>
                    </a:lnTo>
                    <a:lnTo>
                      <a:pt x="215" y="288"/>
                    </a:lnTo>
                    <a:lnTo>
                      <a:pt x="213" y="296"/>
                    </a:lnTo>
                    <a:lnTo>
                      <a:pt x="215" y="322"/>
                    </a:lnTo>
                    <a:lnTo>
                      <a:pt x="218" y="342"/>
                    </a:lnTo>
                    <a:lnTo>
                      <a:pt x="218" y="363"/>
                    </a:lnTo>
                    <a:lnTo>
                      <a:pt x="222" y="379"/>
                    </a:lnTo>
                    <a:lnTo>
                      <a:pt x="196" y="37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+mj-ea"/>
                  <a:ea typeface="+mj-ea"/>
                </a:endParaRPr>
              </a:p>
            </p:txBody>
          </p:sp>
          <p:grpSp>
            <p:nvGrpSpPr>
              <p:cNvPr id="119" name="Group 367"/>
              <p:cNvGrpSpPr/>
              <p:nvPr/>
            </p:nvGrpSpPr>
            <p:grpSpPr bwMode="gray">
              <a:xfrm>
                <a:off x="4455318" y="2994372"/>
                <a:ext cx="1196974" cy="1339850"/>
                <a:chOff x="4455318" y="2994372"/>
                <a:chExt cx="1196974" cy="1339850"/>
              </a:xfrm>
              <a:grpFill/>
            </p:grpSpPr>
            <p:sp>
              <p:nvSpPr>
                <p:cNvPr id="120" name="Freeform 119"/>
                <p:cNvSpPr>
                  <a:spLocks noChangeAspect="1"/>
                </p:cNvSpPr>
                <p:nvPr/>
              </p:nvSpPr>
              <p:spPr bwMode="gray">
                <a:xfrm>
                  <a:off x="4704556" y="3497609"/>
                  <a:ext cx="77788" cy="114300"/>
                </a:xfrm>
                <a:custGeom>
                  <a:avLst/>
                  <a:gdLst/>
                  <a:ahLst/>
                  <a:cxnLst>
                    <a:cxn ang="0">
                      <a:pos x="239" y="279"/>
                    </a:cxn>
                    <a:cxn ang="0">
                      <a:pos x="215" y="252"/>
                    </a:cxn>
                    <a:cxn ang="0">
                      <a:pos x="209" y="231"/>
                    </a:cxn>
                    <a:cxn ang="0">
                      <a:pos x="209" y="188"/>
                    </a:cxn>
                    <a:cxn ang="0">
                      <a:pos x="204" y="114"/>
                    </a:cxn>
                    <a:cxn ang="0">
                      <a:pos x="200" y="95"/>
                    </a:cxn>
                    <a:cxn ang="0">
                      <a:pos x="194" y="68"/>
                    </a:cxn>
                    <a:cxn ang="0">
                      <a:pos x="187" y="48"/>
                    </a:cxn>
                    <a:cxn ang="0">
                      <a:pos x="176" y="33"/>
                    </a:cxn>
                    <a:cxn ang="0">
                      <a:pos x="166" y="21"/>
                    </a:cxn>
                    <a:cxn ang="0">
                      <a:pos x="170" y="11"/>
                    </a:cxn>
                    <a:cxn ang="0">
                      <a:pos x="172" y="5"/>
                    </a:cxn>
                    <a:cxn ang="0">
                      <a:pos x="162" y="3"/>
                    </a:cxn>
                    <a:cxn ang="0">
                      <a:pos x="145" y="3"/>
                    </a:cxn>
                    <a:cxn ang="0">
                      <a:pos x="129" y="12"/>
                    </a:cxn>
                    <a:cxn ang="0">
                      <a:pos x="86" y="6"/>
                    </a:cxn>
                    <a:cxn ang="0">
                      <a:pos x="47" y="5"/>
                    </a:cxn>
                    <a:cxn ang="0">
                      <a:pos x="19" y="8"/>
                    </a:cxn>
                    <a:cxn ang="0">
                      <a:pos x="14" y="24"/>
                    </a:cxn>
                    <a:cxn ang="0">
                      <a:pos x="20" y="35"/>
                    </a:cxn>
                    <a:cxn ang="0">
                      <a:pos x="24" y="44"/>
                    </a:cxn>
                    <a:cxn ang="0">
                      <a:pos x="25" y="65"/>
                    </a:cxn>
                    <a:cxn ang="0">
                      <a:pos x="25" y="82"/>
                    </a:cxn>
                    <a:cxn ang="0">
                      <a:pos x="28" y="95"/>
                    </a:cxn>
                    <a:cxn ang="0">
                      <a:pos x="30" y="103"/>
                    </a:cxn>
                    <a:cxn ang="0">
                      <a:pos x="25" y="111"/>
                    </a:cxn>
                    <a:cxn ang="0">
                      <a:pos x="31" y="116"/>
                    </a:cxn>
                    <a:cxn ang="0">
                      <a:pos x="41" y="159"/>
                    </a:cxn>
                    <a:cxn ang="0">
                      <a:pos x="36" y="165"/>
                    </a:cxn>
                    <a:cxn ang="0">
                      <a:pos x="28" y="171"/>
                    </a:cxn>
                    <a:cxn ang="0">
                      <a:pos x="22" y="182"/>
                    </a:cxn>
                    <a:cxn ang="0">
                      <a:pos x="14" y="204"/>
                    </a:cxn>
                    <a:cxn ang="0">
                      <a:pos x="11" y="220"/>
                    </a:cxn>
                    <a:cxn ang="0">
                      <a:pos x="1" y="234"/>
                    </a:cxn>
                    <a:cxn ang="0">
                      <a:pos x="0" y="259"/>
                    </a:cxn>
                    <a:cxn ang="0">
                      <a:pos x="11" y="295"/>
                    </a:cxn>
                    <a:cxn ang="0">
                      <a:pos x="22" y="301"/>
                    </a:cxn>
                    <a:cxn ang="0">
                      <a:pos x="27" y="315"/>
                    </a:cxn>
                    <a:cxn ang="0">
                      <a:pos x="21" y="331"/>
                    </a:cxn>
                    <a:cxn ang="0">
                      <a:pos x="11" y="328"/>
                    </a:cxn>
                    <a:cxn ang="0">
                      <a:pos x="5" y="336"/>
                    </a:cxn>
                    <a:cxn ang="0">
                      <a:pos x="67" y="356"/>
                    </a:cxn>
                    <a:cxn ang="0">
                      <a:pos x="95" y="338"/>
                    </a:cxn>
                    <a:cxn ang="0">
                      <a:pos x="137" y="328"/>
                    </a:cxn>
                    <a:cxn ang="0">
                      <a:pos x="183" y="302"/>
                    </a:cxn>
                    <a:cxn ang="0">
                      <a:pos x="196" y="300"/>
                    </a:cxn>
                    <a:cxn ang="0">
                      <a:pos x="219" y="300"/>
                    </a:cxn>
                    <a:cxn ang="0">
                      <a:pos x="240" y="283"/>
                    </a:cxn>
                  </a:cxnLst>
                  <a:rect l="0" t="0" r="r" b="b"/>
                  <a:pathLst>
                    <a:path w="242" h="356">
                      <a:moveTo>
                        <a:pt x="242" y="281"/>
                      </a:moveTo>
                      <a:lnTo>
                        <a:pt x="239" y="279"/>
                      </a:lnTo>
                      <a:lnTo>
                        <a:pt x="223" y="262"/>
                      </a:lnTo>
                      <a:lnTo>
                        <a:pt x="215" y="252"/>
                      </a:lnTo>
                      <a:lnTo>
                        <a:pt x="210" y="241"/>
                      </a:lnTo>
                      <a:lnTo>
                        <a:pt x="209" y="231"/>
                      </a:lnTo>
                      <a:lnTo>
                        <a:pt x="208" y="209"/>
                      </a:lnTo>
                      <a:lnTo>
                        <a:pt x="209" y="188"/>
                      </a:lnTo>
                      <a:lnTo>
                        <a:pt x="205" y="148"/>
                      </a:lnTo>
                      <a:lnTo>
                        <a:pt x="204" y="114"/>
                      </a:lnTo>
                      <a:lnTo>
                        <a:pt x="203" y="101"/>
                      </a:lnTo>
                      <a:lnTo>
                        <a:pt x="200" y="95"/>
                      </a:lnTo>
                      <a:lnTo>
                        <a:pt x="196" y="89"/>
                      </a:lnTo>
                      <a:lnTo>
                        <a:pt x="194" y="68"/>
                      </a:lnTo>
                      <a:lnTo>
                        <a:pt x="191" y="53"/>
                      </a:lnTo>
                      <a:lnTo>
                        <a:pt x="187" y="48"/>
                      </a:lnTo>
                      <a:lnTo>
                        <a:pt x="180" y="41"/>
                      </a:lnTo>
                      <a:lnTo>
                        <a:pt x="176" y="33"/>
                      </a:lnTo>
                      <a:lnTo>
                        <a:pt x="167" y="27"/>
                      </a:lnTo>
                      <a:lnTo>
                        <a:pt x="166" y="21"/>
                      </a:lnTo>
                      <a:lnTo>
                        <a:pt x="170" y="16"/>
                      </a:lnTo>
                      <a:lnTo>
                        <a:pt x="170" y="11"/>
                      </a:lnTo>
                      <a:lnTo>
                        <a:pt x="173" y="6"/>
                      </a:lnTo>
                      <a:lnTo>
                        <a:pt x="172" y="5"/>
                      </a:lnTo>
                      <a:lnTo>
                        <a:pt x="164" y="4"/>
                      </a:lnTo>
                      <a:lnTo>
                        <a:pt x="162" y="3"/>
                      </a:lnTo>
                      <a:lnTo>
                        <a:pt x="162" y="0"/>
                      </a:lnTo>
                      <a:lnTo>
                        <a:pt x="145" y="3"/>
                      </a:lnTo>
                      <a:lnTo>
                        <a:pt x="133" y="11"/>
                      </a:lnTo>
                      <a:lnTo>
                        <a:pt x="129" y="12"/>
                      </a:lnTo>
                      <a:lnTo>
                        <a:pt x="112" y="11"/>
                      </a:lnTo>
                      <a:lnTo>
                        <a:pt x="86" y="6"/>
                      </a:lnTo>
                      <a:lnTo>
                        <a:pt x="58" y="8"/>
                      </a:lnTo>
                      <a:lnTo>
                        <a:pt x="47" y="5"/>
                      </a:lnTo>
                      <a:lnTo>
                        <a:pt x="36" y="5"/>
                      </a:lnTo>
                      <a:lnTo>
                        <a:pt x="19" y="8"/>
                      </a:lnTo>
                      <a:lnTo>
                        <a:pt x="14" y="16"/>
                      </a:lnTo>
                      <a:lnTo>
                        <a:pt x="14" y="24"/>
                      </a:lnTo>
                      <a:lnTo>
                        <a:pt x="17" y="32"/>
                      </a:lnTo>
                      <a:lnTo>
                        <a:pt x="20" y="35"/>
                      </a:lnTo>
                      <a:lnTo>
                        <a:pt x="20" y="43"/>
                      </a:lnTo>
                      <a:lnTo>
                        <a:pt x="24" y="44"/>
                      </a:lnTo>
                      <a:lnTo>
                        <a:pt x="22" y="57"/>
                      </a:lnTo>
                      <a:lnTo>
                        <a:pt x="25" y="65"/>
                      </a:lnTo>
                      <a:lnTo>
                        <a:pt x="25" y="76"/>
                      </a:lnTo>
                      <a:lnTo>
                        <a:pt x="25" y="82"/>
                      </a:lnTo>
                      <a:lnTo>
                        <a:pt x="28" y="89"/>
                      </a:lnTo>
                      <a:lnTo>
                        <a:pt x="28" y="95"/>
                      </a:lnTo>
                      <a:lnTo>
                        <a:pt x="27" y="98"/>
                      </a:lnTo>
                      <a:lnTo>
                        <a:pt x="30" y="103"/>
                      </a:lnTo>
                      <a:lnTo>
                        <a:pt x="25" y="108"/>
                      </a:lnTo>
                      <a:lnTo>
                        <a:pt x="25" y="111"/>
                      </a:lnTo>
                      <a:lnTo>
                        <a:pt x="28" y="112"/>
                      </a:lnTo>
                      <a:lnTo>
                        <a:pt x="31" y="116"/>
                      </a:lnTo>
                      <a:lnTo>
                        <a:pt x="38" y="143"/>
                      </a:lnTo>
                      <a:lnTo>
                        <a:pt x="41" y="159"/>
                      </a:lnTo>
                      <a:lnTo>
                        <a:pt x="36" y="160"/>
                      </a:lnTo>
                      <a:lnTo>
                        <a:pt x="36" y="165"/>
                      </a:lnTo>
                      <a:lnTo>
                        <a:pt x="32" y="166"/>
                      </a:lnTo>
                      <a:lnTo>
                        <a:pt x="28" y="171"/>
                      </a:lnTo>
                      <a:lnTo>
                        <a:pt x="26" y="173"/>
                      </a:lnTo>
                      <a:lnTo>
                        <a:pt x="22" y="182"/>
                      </a:lnTo>
                      <a:lnTo>
                        <a:pt x="16" y="195"/>
                      </a:lnTo>
                      <a:lnTo>
                        <a:pt x="14" y="204"/>
                      </a:lnTo>
                      <a:lnTo>
                        <a:pt x="14" y="215"/>
                      </a:lnTo>
                      <a:lnTo>
                        <a:pt x="11" y="220"/>
                      </a:lnTo>
                      <a:lnTo>
                        <a:pt x="5" y="227"/>
                      </a:lnTo>
                      <a:lnTo>
                        <a:pt x="1" y="234"/>
                      </a:lnTo>
                      <a:lnTo>
                        <a:pt x="0" y="251"/>
                      </a:lnTo>
                      <a:lnTo>
                        <a:pt x="0" y="259"/>
                      </a:lnTo>
                      <a:lnTo>
                        <a:pt x="8" y="279"/>
                      </a:lnTo>
                      <a:lnTo>
                        <a:pt x="11" y="295"/>
                      </a:lnTo>
                      <a:lnTo>
                        <a:pt x="15" y="300"/>
                      </a:lnTo>
                      <a:lnTo>
                        <a:pt x="22" y="301"/>
                      </a:lnTo>
                      <a:lnTo>
                        <a:pt x="25" y="302"/>
                      </a:lnTo>
                      <a:lnTo>
                        <a:pt x="27" y="315"/>
                      </a:lnTo>
                      <a:lnTo>
                        <a:pt x="27" y="329"/>
                      </a:lnTo>
                      <a:lnTo>
                        <a:pt x="21" y="331"/>
                      </a:lnTo>
                      <a:lnTo>
                        <a:pt x="17" y="328"/>
                      </a:lnTo>
                      <a:lnTo>
                        <a:pt x="11" y="328"/>
                      </a:lnTo>
                      <a:lnTo>
                        <a:pt x="9" y="329"/>
                      </a:lnTo>
                      <a:lnTo>
                        <a:pt x="5" y="336"/>
                      </a:lnTo>
                      <a:lnTo>
                        <a:pt x="41" y="345"/>
                      </a:lnTo>
                      <a:lnTo>
                        <a:pt x="67" y="356"/>
                      </a:lnTo>
                      <a:lnTo>
                        <a:pt x="87" y="345"/>
                      </a:lnTo>
                      <a:lnTo>
                        <a:pt x="95" y="338"/>
                      </a:lnTo>
                      <a:lnTo>
                        <a:pt x="103" y="336"/>
                      </a:lnTo>
                      <a:lnTo>
                        <a:pt x="137" y="328"/>
                      </a:lnTo>
                      <a:lnTo>
                        <a:pt x="166" y="311"/>
                      </a:lnTo>
                      <a:lnTo>
                        <a:pt x="183" y="302"/>
                      </a:lnTo>
                      <a:lnTo>
                        <a:pt x="188" y="300"/>
                      </a:lnTo>
                      <a:lnTo>
                        <a:pt x="196" y="300"/>
                      </a:lnTo>
                      <a:lnTo>
                        <a:pt x="215" y="296"/>
                      </a:lnTo>
                      <a:lnTo>
                        <a:pt x="219" y="300"/>
                      </a:lnTo>
                      <a:lnTo>
                        <a:pt x="229" y="299"/>
                      </a:lnTo>
                      <a:lnTo>
                        <a:pt x="240" y="283"/>
                      </a:lnTo>
                      <a:lnTo>
                        <a:pt x="242" y="28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21" name="Freeform 120"/>
                <p:cNvSpPr>
                  <a:spLocks noChangeAspect="1"/>
                </p:cNvSpPr>
                <p:nvPr/>
              </p:nvSpPr>
              <p:spPr bwMode="gray">
                <a:xfrm>
                  <a:off x="4669631" y="3429347"/>
                  <a:ext cx="131763" cy="98425"/>
                </a:xfrm>
                <a:custGeom>
                  <a:avLst/>
                  <a:gdLst/>
                  <a:ahLst/>
                  <a:cxnLst>
                    <a:cxn ang="0">
                      <a:pos x="242" y="9"/>
                    </a:cxn>
                    <a:cxn ang="0">
                      <a:pos x="182" y="49"/>
                    </a:cxn>
                    <a:cxn ang="0">
                      <a:pos x="113" y="91"/>
                    </a:cxn>
                    <a:cxn ang="0">
                      <a:pos x="83" y="96"/>
                    </a:cxn>
                    <a:cxn ang="0">
                      <a:pos x="64" y="119"/>
                    </a:cxn>
                    <a:cxn ang="0">
                      <a:pos x="46" y="162"/>
                    </a:cxn>
                    <a:cxn ang="0">
                      <a:pos x="16" y="188"/>
                    </a:cxn>
                    <a:cxn ang="0">
                      <a:pos x="1" y="224"/>
                    </a:cxn>
                    <a:cxn ang="0">
                      <a:pos x="1" y="259"/>
                    </a:cxn>
                    <a:cxn ang="0">
                      <a:pos x="5" y="267"/>
                    </a:cxn>
                    <a:cxn ang="0">
                      <a:pos x="11" y="275"/>
                    </a:cxn>
                    <a:cxn ang="0">
                      <a:pos x="15" y="284"/>
                    </a:cxn>
                    <a:cxn ang="0">
                      <a:pos x="24" y="291"/>
                    </a:cxn>
                    <a:cxn ang="0">
                      <a:pos x="35" y="294"/>
                    </a:cxn>
                    <a:cxn ang="0">
                      <a:pos x="40" y="295"/>
                    </a:cxn>
                    <a:cxn ang="0">
                      <a:pos x="53" y="290"/>
                    </a:cxn>
                    <a:cxn ang="0">
                      <a:pos x="79" y="283"/>
                    </a:cxn>
                    <a:cxn ang="0">
                      <a:pos x="107" y="285"/>
                    </a:cxn>
                    <a:cxn ang="0">
                      <a:pos x="119" y="290"/>
                    </a:cxn>
                    <a:cxn ang="0">
                      <a:pos x="130" y="306"/>
                    </a:cxn>
                    <a:cxn ang="0">
                      <a:pos x="141" y="305"/>
                    </a:cxn>
                    <a:cxn ang="0">
                      <a:pos x="138" y="281"/>
                    </a:cxn>
                    <a:cxn ang="0">
                      <a:pos x="133" y="259"/>
                    </a:cxn>
                    <a:cxn ang="0">
                      <a:pos x="127" y="240"/>
                    </a:cxn>
                    <a:cxn ang="0">
                      <a:pos x="149" y="221"/>
                    </a:cxn>
                    <a:cxn ang="0">
                      <a:pos x="199" y="222"/>
                    </a:cxn>
                    <a:cxn ang="0">
                      <a:pos x="246" y="227"/>
                    </a:cxn>
                    <a:cxn ang="0">
                      <a:pos x="275" y="217"/>
                    </a:cxn>
                    <a:cxn ang="0">
                      <a:pos x="317" y="227"/>
                    </a:cxn>
                    <a:cxn ang="0">
                      <a:pos x="336" y="224"/>
                    </a:cxn>
                    <a:cxn ang="0">
                      <a:pos x="344" y="214"/>
                    </a:cxn>
                    <a:cxn ang="0">
                      <a:pos x="350" y="208"/>
                    </a:cxn>
                    <a:cxn ang="0">
                      <a:pos x="364" y="195"/>
                    </a:cxn>
                    <a:cxn ang="0">
                      <a:pos x="387" y="197"/>
                    </a:cxn>
                    <a:cxn ang="0">
                      <a:pos x="410" y="185"/>
                    </a:cxn>
                    <a:cxn ang="0">
                      <a:pos x="415" y="177"/>
                    </a:cxn>
                    <a:cxn ang="0">
                      <a:pos x="417" y="171"/>
                    </a:cxn>
                    <a:cxn ang="0">
                      <a:pos x="398" y="150"/>
                    </a:cxn>
                    <a:cxn ang="0">
                      <a:pos x="408" y="145"/>
                    </a:cxn>
                    <a:cxn ang="0">
                      <a:pos x="402" y="130"/>
                    </a:cxn>
                    <a:cxn ang="0">
                      <a:pos x="387" y="133"/>
                    </a:cxn>
                    <a:cxn ang="0">
                      <a:pos x="368" y="131"/>
                    </a:cxn>
                    <a:cxn ang="0">
                      <a:pos x="345" y="108"/>
                    </a:cxn>
                    <a:cxn ang="0">
                      <a:pos x="317" y="70"/>
                    </a:cxn>
                    <a:cxn ang="0">
                      <a:pos x="302" y="39"/>
                    </a:cxn>
                    <a:cxn ang="0">
                      <a:pos x="290" y="26"/>
                    </a:cxn>
                    <a:cxn ang="0">
                      <a:pos x="295" y="0"/>
                    </a:cxn>
                  </a:cxnLst>
                  <a:rect l="0" t="0" r="r" b="b"/>
                  <a:pathLst>
                    <a:path w="417" h="307">
                      <a:moveTo>
                        <a:pt x="295" y="0"/>
                      </a:moveTo>
                      <a:lnTo>
                        <a:pt x="262" y="1"/>
                      </a:lnTo>
                      <a:lnTo>
                        <a:pt x="242" y="9"/>
                      </a:lnTo>
                      <a:lnTo>
                        <a:pt x="234" y="12"/>
                      </a:lnTo>
                      <a:lnTo>
                        <a:pt x="219" y="25"/>
                      </a:lnTo>
                      <a:lnTo>
                        <a:pt x="182" y="49"/>
                      </a:lnTo>
                      <a:lnTo>
                        <a:pt x="170" y="65"/>
                      </a:lnTo>
                      <a:lnTo>
                        <a:pt x="151" y="79"/>
                      </a:lnTo>
                      <a:lnTo>
                        <a:pt x="113" y="91"/>
                      </a:lnTo>
                      <a:lnTo>
                        <a:pt x="101" y="93"/>
                      </a:lnTo>
                      <a:lnTo>
                        <a:pt x="89" y="95"/>
                      </a:lnTo>
                      <a:lnTo>
                        <a:pt x="83" y="96"/>
                      </a:lnTo>
                      <a:lnTo>
                        <a:pt x="74" y="102"/>
                      </a:lnTo>
                      <a:lnTo>
                        <a:pt x="69" y="108"/>
                      </a:lnTo>
                      <a:lnTo>
                        <a:pt x="64" y="119"/>
                      </a:lnTo>
                      <a:lnTo>
                        <a:pt x="60" y="134"/>
                      </a:lnTo>
                      <a:lnTo>
                        <a:pt x="53" y="152"/>
                      </a:lnTo>
                      <a:lnTo>
                        <a:pt x="46" y="162"/>
                      </a:lnTo>
                      <a:lnTo>
                        <a:pt x="30" y="174"/>
                      </a:lnTo>
                      <a:lnTo>
                        <a:pt x="20" y="183"/>
                      </a:lnTo>
                      <a:lnTo>
                        <a:pt x="16" y="188"/>
                      </a:lnTo>
                      <a:lnTo>
                        <a:pt x="11" y="197"/>
                      </a:lnTo>
                      <a:lnTo>
                        <a:pt x="10" y="206"/>
                      </a:lnTo>
                      <a:lnTo>
                        <a:pt x="1" y="224"/>
                      </a:lnTo>
                      <a:lnTo>
                        <a:pt x="0" y="235"/>
                      </a:lnTo>
                      <a:lnTo>
                        <a:pt x="0" y="248"/>
                      </a:lnTo>
                      <a:lnTo>
                        <a:pt x="1" y="259"/>
                      </a:lnTo>
                      <a:lnTo>
                        <a:pt x="4" y="260"/>
                      </a:lnTo>
                      <a:lnTo>
                        <a:pt x="4" y="262"/>
                      </a:lnTo>
                      <a:lnTo>
                        <a:pt x="5" y="267"/>
                      </a:lnTo>
                      <a:lnTo>
                        <a:pt x="6" y="268"/>
                      </a:lnTo>
                      <a:lnTo>
                        <a:pt x="8" y="269"/>
                      </a:lnTo>
                      <a:lnTo>
                        <a:pt x="11" y="275"/>
                      </a:lnTo>
                      <a:lnTo>
                        <a:pt x="14" y="276"/>
                      </a:lnTo>
                      <a:lnTo>
                        <a:pt x="15" y="279"/>
                      </a:lnTo>
                      <a:lnTo>
                        <a:pt x="15" y="284"/>
                      </a:lnTo>
                      <a:lnTo>
                        <a:pt x="19" y="284"/>
                      </a:lnTo>
                      <a:lnTo>
                        <a:pt x="22" y="287"/>
                      </a:lnTo>
                      <a:lnTo>
                        <a:pt x="24" y="291"/>
                      </a:lnTo>
                      <a:lnTo>
                        <a:pt x="31" y="295"/>
                      </a:lnTo>
                      <a:lnTo>
                        <a:pt x="31" y="294"/>
                      </a:lnTo>
                      <a:lnTo>
                        <a:pt x="35" y="294"/>
                      </a:lnTo>
                      <a:lnTo>
                        <a:pt x="37" y="291"/>
                      </a:lnTo>
                      <a:lnTo>
                        <a:pt x="38" y="291"/>
                      </a:lnTo>
                      <a:lnTo>
                        <a:pt x="40" y="295"/>
                      </a:lnTo>
                      <a:lnTo>
                        <a:pt x="47" y="298"/>
                      </a:lnTo>
                      <a:lnTo>
                        <a:pt x="51" y="296"/>
                      </a:lnTo>
                      <a:lnTo>
                        <a:pt x="53" y="290"/>
                      </a:lnTo>
                      <a:lnTo>
                        <a:pt x="59" y="289"/>
                      </a:lnTo>
                      <a:lnTo>
                        <a:pt x="67" y="286"/>
                      </a:lnTo>
                      <a:lnTo>
                        <a:pt x="79" y="283"/>
                      </a:lnTo>
                      <a:lnTo>
                        <a:pt x="89" y="280"/>
                      </a:lnTo>
                      <a:lnTo>
                        <a:pt x="96" y="280"/>
                      </a:lnTo>
                      <a:lnTo>
                        <a:pt x="107" y="285"/>
                      </a:lnTo>
                      <a:lnTo>
                        <a:pt x="112" y="280"/>
                      </a:lnTo>
                      <a:lnTo>
                        <a:pt x="113" y="280"/>
                      </a:lnTo>
                      <a:lnTo>
                        <a:pt x="119" y="290"/>
                      </a:lnTo>
                      <a:lnTo>
                        <a:pt x="124" y="291"/>
                      </a:lnTo>
                      <a:lnTo>
                        <a:pt x="125" y="296"/>
                      </a:lnTo>
                      <a:lnTo>
                        <a:pt x="130" y="306"/>
                      </a:lnTo>
                      <a:lnTo>
                        <a:pt x="133" y="307"/>
                      </a:lnTo>
                      <a:lnTo>
                        <a:pt x="139" y="307"/>
                      </a:lnTo>
                      <a:lnTo>
                        <a:pt x="141" y="305"/>
                      </a:lnTo>
                      <a:lnTo>
                        <a:pt x="138" y="298"/>
                      </a:lnTo>
                      <a:lnTo>
                        <a:pt x="138" y="292"/>
                      </a:lnTo>
                      <a:lnTo>
                        <a:pt x="138" y="281"/>
                      </a:lnTo>
                      <a:lnTo>
                        <a:pt x="135" y="273"/>
                      </a:lnTo>
                      <a:lnTo>
                        <a:pt x="137" y="260"/>
                      </a:lnTo>
                      <a:lnTo>
                        <a:pt x="133" y="259"/>
                      </a:lnTo>
                      <a:lnTo>
                        <a:pt x="133" y="251"/>
                      </a:lnTo>
                      <a:lnTo>
                        <a:pt x="130" y="248"/>
                      </a:lnTo>
                      <a:lnTo>
                        <a:pt x="127" y="240"/>
                      </a:lnTo>
                      <a:lnTo>
                        <a:pt x="128" y="232"/>
                      </a:lnTo>
                      <a:lnTo>
                        <a:pt x="132" y="224"/>
                      </a:lnTo>
                      <a:lnTo>
                        <a:pt x="149" y="221"/>
                      </a:lnTo>
                      <a:lnTo>
                        <a:pt x="160" y="221"/>
                      </a:lnTo>
                      <a:lnTo>
                        <a:pt x="171" y="224"/>
                      </a:lnTo>
                      <a:lnTo>
                        <a:pt x="199" y="222"/>
                      </a:lnTo>
                      <a:lnTo>
                        <a:pt x="225" y="227"/>
                      </a:lnTo>
                      <a:lnTo>
                        <a:pt x="242" y="228"/>
                      </a:lnTo>
                      <a:lnTo>
                        <a:pt x="246" y="227"/>
                      </a:lnTo>
                      <a:lnTo>
                        <a:pt x="258" y="219"/>
                      </a:lnTo>
                      <a:lnTo>
                        <a:pt x="275" y="216"/>
                      </a:lnTo>
                      <a:lnTo>
                        <a:pt x="275" y="217"/>
                      </a:lnTo>
                      <a:lnTo>
                        <a:pt x="310" y="222"/>
                      </a:lnTo>
                      <a:lnTo>
                        <a:pt x="313" y="227"/>
                      </a:lnTo>
                      <a:lnTo>
                        <a:pt x="317" y="227"/>
                      </a:lnTo>
                      <a:lnTo>
                        <a:pt x="320" y="225"/>
                      </a:lnTo>
                      <a:lnTo>
                        <a:pt x="334" y="225"/>
                      </a:lnTo>
                      <a:lnTo>
                        <a:pt x="336" y="224"/>
                      </a:lnTo>
                      <a:lnTo>
                        <a:pt x="339" y="220"/>
                      </a:lnTo>
                      <a:lnTo>
                        <a:pt x="343" y="220"/>
                      </a:lnTo>
                      <a:lnTo>
                        <a:pt x="344" y="214"/>
                      </a:lnTo>
                      <a:lnTo>
                        <a:pt x="347" y="211"/>
                      </a:lnTo>
                      <a:lnTo>
                        <a:pt x="348" y="210"/>
                      </a:lnTo>
                      <a:lnTo>
                        <a:pt x="350" y="208"/>
                      </a:lnTo>
                      <a:lnTo>
                        <a:pt x="354" y="209"/>
                      </a:lnTo>
                      <a:lnTo>
                        <a:pt x="361" y="197"/>
                      </a:lnTo>
                      <a:lnTo>
                        <a:pt x="364" y="195"/>
                      </a:lnTo>
                      <a:lnTo>
                        <a:pt x="370" y="195"/>
                      </a:lnTo>
                      <a:lnTo>
                        <a:pt x="379" y="199"/>
                      </a:lnTo>
                      <a:lnTo>
                        <a:pt x="387" y="197"/>
                      </a:lnTo>
                      <a:lnTo>
                        <a:pt x="393" y="199"/>
                      </a:lnTo>
                      <a:lnTo>
                        <a:pt x="398" y="197"/>
                      </a:lnTo>
                      <a:lnTo>
                        <a:pt x="410" y="185"/>
                      </a:lnTo>
                      <a:lnTo>
                        <a:pt x="412" y="182"/>
                      </a:lnTo>
                      <a:lnTo>
                        <a:pt x="412" y="181"/>
                      </a:lnTo>
                      <a:lnTo>
                        <a:pt x="415" y="177"/>
                      </a:lnTo>
                      <a:lnTo>
                        <a:pt x="417" y="172"/>
                      </a:lnTo>
                      <a:lnTo>
                        <a:pt x="417" y="170"/>
                      </a:lnTo>
                      <a:lnTo>
                        <a:pt x="417" y="171"/>
                      </a:lnTo>
                      <a:lnTo>
                        <a:pt x="406" y="161"/>
                      </a:lnTo>
                      <a:lnTo>
                        <a:pt x="399" y="154"/>
                      </a:lnTo>
                      <a:lnTo>
                        <a:pt x="398" y="150"/>
                      </a:lnTo>
                      <a:lnTo>
                        <a:pt x="399" y="146"/>
                      </a:lnTo>
                      <a:lnTo>
                        <a:pt x="403" y="145"/>
                      </a:lnTo>
                      <a:lnTo>
                        <a:pt x="408" y="145"/>
                      </a:lnTo>
                      <a:lnTo>
                        <a:pt x="409" y="142"/>
                      </a:lnTo>
                      <a:lnTo>
                        <a:pt x="408" y="140"/>
                      </a:lnTo>
                      <a:lnTo>
                        <a:pt x="402" y="130"/>
                      </a:lnTo>
                      <a:lnTo>
                        <a:pt x="396" y="127"/>
                      </a:lnTo>
                      <a:lnTo>
                        <a:pt x="392" y="128"/>
                      </a:lnTo>
                      <a:lnTo>
                        <a:pt x="387" y="133"/>
                      </a:lnTo>
                      <a:lnTo>
                        <a:pt x="382" y="134"/>
                      </a:lnTo>
                      <a:lnTo>
                        <a:pt x="379" y="134"/>
                      </a:lnTo>
                      <a:lnTo>
                        <a:pt x="368" y="131"/>
                      </a:lnTo>
                      <a:lnTo>
                        <a:pt x="360" y="127"/>
                      </a:lnTo>
                      <a:lnTo>
                        <a:pt x="349" y="114"/>
                      </a:lnTo>
                      <a:lnTo>
                        <a:pt x="345" y="108"/>
                      </a:lnTo>
                      <a:lnTo>
                        <a:pt x="339" y="93"/>
                      </a:lnTo>
                      <a:lnTo>
                        <a:pt x="334" y="84"/>
                      </a:lnTo>
                      <a:lnTo>
                        <a:pt x="317" y="70"/>
                      </a:lnTo>
                      <a:lnTo>
                        <a:pt x="305" y="55"/>
                      </a:lnTo>
                      <a:lnTo>
                        <a:pt x="301" y="48"/>
                      </a:lnTo>
                      <a:lnTo>
                        <a:pt x="302" y="39"/>
                      </a:lnTo>
                      <a:lnTo>
                        <a:pt x="301" y="37"/>
                      </a:lnTo>
                      <a:lnTo>
                        <a:pt x="291" y="28"/>
                      </a:lnTo>
                      <a:lnTo>
                        <a:pt x="290" y="26"/>
                      </a:lnTo>
                      <a:lnTo>
                        <a:pt x="293" y="16"/>
                      </a:lnTo>
                      <a:lnTo>
                        <a:pt x="294" y="5"/>
                      </a:lnTo>
                      <a:lnTo>
                        <a:pt x="295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22" name="Freeform 121"/>
                <p:cNvSpPr>
                  <a:spLocks noChangeAspect="1"/>
                </p:cNvSpPr>
                <p:nvPr/>
              </p:nvSpPr>
              <p:spPr bwMode="gray">
                <a:xfrm>
                  <a:off x="4906168" y="3469034"/>
                  <a:ext cx="133350" cy="195263"/>
                </a:xfrm>
                <a:custGeom>
                  <a:avLst/>
                  <a:gdLst/>
                  <a:ahLst/>
                  <a:cxnLst>
                    <a:cxn ang="0">
                      <a:pos x="220" y="581"/>
                    </a:cxn>
                    <a:cxn ang="0">
                      <a:pos x="170" y="579"/>
                    </a:cxn>
                    <a:cxn ang="0">
                      <a:pos x="74" y="585"/>
                    </a:cxn>
                    <a:cxn ang="0">
                      <a:pos x="79" y="536"/>
                    </a:cxn>
                    <a:cxn ang="0">
                      <a:pos x="75" y="520"/>
                    </a:cxn>
                    <a:cxn ang="0">
                      <a:pos x="63" y="502"/>
                    </a:cxn>
                    <a:cxn ang="0">
                      <a:pos x="68" y="494"/>
                    </a:cxn>
                    <a:cxn ang="0">
                      <a:pos x="58" y="484"/>
                    </a:cxn>
                    <a:cxn ang="0">
                      <a:pos x="32" y="480"/>
                    </a:cxn>
                    <a:cxn ang="0">
                      <a:pos x="11" y="456"/>
                    </a:cxn>
                    <a:cxn ang="0">
                      <a:pos x="3" y="448"/>
                    </a:cxn>
                    <a:cxn ang="0">
                      <a:pos x="7" y="432"/>
                    </a:cxn>
                    <a:cxn ang="0">
                      <a:pos x="19" y="400"/>
                    </a:cxn>
                    <a:cxn ang="0">
                      <a:pos x="39" y="358"/>
                    </a:cxn>
                    <a:cxn ang="0">
                      <a:pos x="62" y="328"/>
                    </a:cxn>
                    <a:cxn ang="0">
                      <a:pos x="101" y="323"/>
                    </a:cxn>
                    <a:cxn ang="0">
                      <a:pos x="130" y="339"/>
                    </a:cxn>
                    <a:cxn ang="0">
                      <a:pos x="143" y="350"/>
                    </a:cxn>
                    <a:cxn ang="0">
                      <a:pos x="168" y="342"/>
                    </a:cxn>
                    <a:cxn ang="0">
                      <a:pos x="198" y="280"/>
                    </a:cxn>
                    <a:cxn ang="0">
                      <a:pos x="210" y="241"/>
                    </a:cxn>
                    <a:cxn ang="0">
                      <a:pos x="238" y="217"/>
                    </a:cxn>
                    <a:cxn ang="0">
                      <a:pos x="249" y="171"/>
                    </a:cxn>
                    <a:cxn ang="0">
                      <a:pos x="263" y="131"/>
                    </a:cxn>
                    <a:cxn ang="0">
                      <a:pos x="279" y="95"/>
                    </a:cxn>
                    <a:cxn ang="0">
                      <a:pos x="307" y="77"/>
                    </a:cxn>
                    <a:cxn ang="0">
                      <a:pos x="327" y="48"/>
                    </a:cxn>
                    <a:cxn ang="0">
                      <a:pos x="323" y="23"/>
                    </a:cxn>
                    <a:cxn ang="0">
                      <a:pos x="310" y="15"/>
                    </a:cxn>
                    <a:cxn ang="0">
                      <a:pos x="332" y="0"/>
                    </a:cxn>
                    <a:cxn ang="0">
                      <a:pos x="340" y="4"/>
                    </a:cxn>
                    <a:cxn ang="0">
                      <a:pos x="355" y="48"/>
                    </a:cxn>
                    <a:cxn ang="0">
                      <a:pos x="349" y="90"/>
                    </a:cxn>
                    <a:cxn ang="0">
                      <a:pos x="374" y="140"/>
                    </a:cxn>
                    <a:cxn ang="0">
                      <a:pos x="376" y="157"/>
                    </a:cxn>
                    <a:cxn ang="0">
                      <a:pos x="337" y="154"/>
                    </a:cxn>
                    <a:cxn ang="0">
                      <a:pos x="315" y="159"/>
                    </a:cxn>
                    <a:cxn ang="0">
                      <a:pos x="311" y="192"/>
                    </a:cxn>
                    <a:cxn ang="0">
                      <a:pos x="338" y="215"/>
                    </a:cxn>
                    <a:cxn ang="0">
                      <a:pos x="360" y="230"/>
                    </a:cxn>
                    <a:cxn ang="0">
                      <a:pos x="376" y="292"/>
                    </a:cxn>
                    <a:cxn ang="0">
                      <a:pos x="370" y="323"/>
                    </a:cxn>
                    <a:cxn ang="0">
                      <a:pos x="343" y="369"/>
                    </a:cxn>
                    <a:cxn ang="0">
                      <a:pos x="335" y="407"/>
                    </a:cxn>
                    <a:cxn ang="0">
                      <a:pos x="345" y="458"/>
                    </a:cxn>
                    <a:cxn ang="0">
                      <a:pos x="390" y="528"/>
                    </a:cxn>
                    <a:cxn ang="0">
                      <a:pos x="418" y="559"/>
                    </a:cxn>
                    <a:cxn ang="0">
                      <a:pos x="413" y="615"/>
                    </a:cxn>
                    <a:cxn ang="0">
                      <a:pos x="366" y="592"/>
                    </a:cxn>
                    <a:cxn ang="0">
                      <a:pos x="264" y="585"/>
                    </a:cxn>
                  </a:cxnLst>
                  <a:rect l="0" t="0" r="r" b="b"/>
                  <a:pathLst>
                    <a:path w="420" h="615">
                      <a:moveTo>
                        <a:pt x="264" y="585"/>
                      </a:moveTo>
                      <a:lnTo>
                        <a:pt x="256" y="582"/>
                      </a:lnTo>
                      <a:lnTo>
                        <a:pt x="220" y="581"/>
                      </a:lnTo>
                      <a:lnTo>
                        <a:pt x="204" y="577"/>
                      </a:lnTo>
                      <a:lnTo>
                        <a:pt x="184" y="581"/>
                      </a:lnTo>
                      <a:lnTo>
                        <a:pt x="170" y="579"/>
                      </a:lnTo>
                      <a:lnTo>
                        <a:pt x="156" y="582"/>
                      </a:lnTo>
                      <a:lnTo>
                        <a:pt x="116" y="582"/>
                      </a:lnTo>
                      <a:lnTo>
                        <a:pt x="74" y="585"/>
                      </a:lnTo>
                      <a:lnTo>
                        <a:pt x="70" y="586"/>
                      </a:lnTo>
                      <a:lnTo>
                        <a:pt x="74" y="552"/>
                      </a:lnTo>
                      <a:lnTo>
                        <a:pt x="79" y="536"/>
                      </a:lnTo>
                      <a:lnTo>
                        <a:pt x="79" y="529"/>
                      </a:lnTo>
                      <a:lnTo>
                        <a:pt x="81" y="527"/>
                      </a:lnTo>
                      <a:lnTo>
                        <a:pt x="75" y="520"/>
                      </a:lnTo>
                      <a:lnTo>
                        <a:pt x="69" y="513"/>
                      </a:lnTo>
                      <a:lnTo>
                        <a:pt x="66" y="509"/>
                      </a:lnTo>
                      <a:lnTo>
                        <a:pt x="63" y="502"/>
                      </a:lnTo>
                      <a:lnTo>
                        <a:pt x="63" y="500"/>
                      </a:lnTo>
                      <a:lnTo>
                        <a:pt x="66" y="499"/>
                      </a:lnTo>
                      <a:lnTo>
                        <a:pt x="68" y="494"/>
                      </a:lnTo>
                      <a:lnTo>
                        <a:pt x="68" y="485"/>
                      </a:lnTo>
                      <a:lnTo>
                        <a:pt x="64" y="483"/>
                      </a:lnTo>
                      <a:lnTo>
                        <a:pt x="58" y="484"/>
                      </a:lnTo>
                      <a:lnTo>
                        <a:pt x="57" y="488"/>
                      </a:lnTo>
                      <a:lnTo>
                        <a:pt x="52" y="489"/>
                      </a:lnTo>
                      <a:lnTo>
                        <a:pt x="32" y="480"/>
                      </a:lnTo>
                      <a:lnTo>
                        <a:pt x="27" y="471"/>
                      </a:lnTo>
                      <a:lnTo>
                        <a:pt x="21" y="456"/>
                      </a:lnTo>
                      <a:lnTo>
                        <a:pt x="11" y="456"/>
                      </a:lnTo>
                      <a:lnTo>
                        <a:pt x="6" y="458"/>
                      </a:lnTo>
                      <a:lnTo>
                        <a:pt x="1" y="455"/>
                      </a:lnTo>
                      <a:lnTo>
                        <a:pt x="3" y="448"/>
                      </a:lnTo>
                      <a:lnTo>
                        <a:pt x="0" y="446"/>
                      </a:lnTo>
                      <a:lnTo>
                        <a:pt x="0" y="439"/>
                      </a:lnTo>
                      <a:lnTo>
                        <a:pt x="7" y="432"/>
                      </a:lnTo>
                      <a:lnTo>
                        <a:pt x="14" y="423"/>
                      </a:lnTo>
                      <a:lnTo>
                        <a:pt x="17" y="414"/>
                      </a:lnTo>
                      <a:lnTo>
                        <a:pt x="19" y="400"/>
                      </a:lnTo>
                      <a:lnTo>
                        <a:pt x="22" y="385"/>
                      </a:lnTo>
                      <a:lnTo>
                        <a:pt x="31" y="369"/>
                      </a:lnTo>
                      <a:lnTo>
                        <a:pt x="39" y="358"/>
                      </a:lnTo>
                      <a:lnTo>
                        <a:pt x="47" y="350"/>
                      </a:lnTo>
                      <a:lnTo>
                        <a:pt x="58" y="345"/>
                      </a:lnTo>
                      <a:lnTo>
                        <a:pt x="62" y="328"/>
                      </a:lnTo>
                      <a:lnTo>
                        <a:pt x="64" y="328"/>
                      </a:lnTo>
                      <a:lnTo>
                        <a:pt x="79" y="328"/>
                      </a:lnTo>
                      <a:lnTo>
                        <a:pt x="101" y="323"/>
                      </a:lnTo>
                      <a:lnTo>
                        <a:pt x="116" y="324"/>
                      </a:lnTo>
                      <a:lnTo>
                        <a:pt x="127" y="334"/>
                      </a:lnTo>
                      <a:lnTo>
                        <a:pt x="130" y="339"/>
                      </a:lnTo>
                      <a:lnTo>
                        <a:pt x="130" y="340"/>
                      </a:lnTo>
                      <a:lnTo>
                        <a:pt x="134" y="343"/>
                      </a:lnTo>
                      <a:lnTo>
                        <a:pt x="143" y="350"/>
                      </a:lnTo>
                      <a:lnTo>
                        <a:pt x="156" y="351"/>
                      </a:lnTo>
                      <a:lnTo>
                        <a:pt x="165" y="348"/>
                      </a:lnTo>
                      <a:lnTo>
                        <a:pt x="168" y="342"/>
                      </a:lnTo>
                      <a:lnTo>
                        <a:pt x="170" y="333"/>
                      </a:lnTo>
                      <a:lnTo>
                        <a:pt x="188" y="302"/>
                      </a:lnTo>
                      <a:lnTo>
                        <a:pt x="198" y="280"/>
                      </a:lnTo>
                      <a:lnTo>
                        <a:pt x="200" y="273"/>
                      </a:lnTo>
                      <a:lnTo>
                        <a:pt x="204" y="257"/>
                      </a:lnTo>
                      <a:lnTo>
                        <a:pt x="210" y="241"/>
                      </a:lnTo>
                      <a:lnTo>
                        <a:pt x="221" y="229"/>
                      </a:lnTo>
                      <a:lnTo>
                        <a:pt x="236" y="222"/>
                      </a:lnTo>
                      <a:lnTo>
                        <a:pt x="238" y="217"/>
                      </a:lnTo>
                      <a:lnTo>
                        <a:pt x="240" y="211"/>
                      </a:lnTo>
                      <a:lnTo>
                        <a:pt x="241" y="199"/>
                      </a:lnTo>
                      <a:lnTo>
                        <a:pt x="249" y="171"/>
                      </a:lnTo>
                      <a:lnTo>
                        <a:pt x="251" y="160"/>
                      </a:lnTo>
                      <a:lnTo>
                        <a:pt x="254" y="149"/>
                      </a:lnTo>
                      <a:lnTo>
                        <a:pt x="263" y="131"/>
                      </a:lnTo>
                      <a:lnTo>
                        <a:pt x="270" y="108"/>
                      </a:lnTo>
                      <a:lnTo>
                        <a:pt x="274" y="101"/>
                      </a:lnTo>
                      <a:lnTo>
                        <a:pt x="279" y="95"/>
                      </a:lnTo>
                      <a:lnTo>
                        <a:pt x="288" y="85"/>
                      </a:lnTo>
                      <a:lnTo>
                        <a:pt x="291" y="84"/>
                      </a:lnTo>
                      <a:lnTo>
                        <a:pt x="307" y="77"/>
                      </a:lnTo>
                      <a:lnTo>
                        <a:pt x="310" y="74"/>
                      </a:lnTo>
                      <a:lnTo>
                        <a:pt x="329" y="61"/>
                      </a:lnTo>
                      <a:lnTo>
                        <a:pt x="327" y="48"/>
                      </a:lnTo>
                      <a:lnTo>
                        <a:pt x="328" y="31"/>
                      </a:lnTo>
                      <a:lnTo>
                        <a:pt x="326" y="26"/>
                      </a:lnTo>
                      <a:lnTo>
                        <a:pt x="323" y="23"/>
                      </a:lnTo>
                      <a:lnTo>
                        <a:pt x="322" y="22"/>
                      </a:lnTo>
                      <a:lnTo>
                        <a:pt x="311" y="18"/>
                      </a:lnTo>
                      <a:lnTo>
                        <a:pt x="310" y="15"/>
                      </a:lnTo>
                      <a:lnTo>
                        <a:pt x="315" y="15"/>
                      </a:lnTo>
                      <a:lnTo>
                        <a:pt x="323" y="3"/>
                      </a:lnTo>
                      <a:lnTo>
                        <a:pt x="332" y="0"/>
                      </a:lnTo>
                      <a:lnTo>
                        <a:pt x="338" y="0"/>
                      </a:lnTo>
                      <a:lnTo>
                        <a:pt x="340" y="1"/>
                      </a:lnTo>
                      <a:lnTo>
                        <a:pt x="340" y="4"/>
                      </a:lnTo>
                      <a:lnTo>
                        <a:pt x="347" y="32"/>
                      </a:lnTo>
                      <a:lnTo>
                        <a:pt x="353" y="41"/>
                      </a:lnTo>
                      <a:lnTo>
                        <a:pt x="355" y="48"/>
                      </a:lnTo>
                      <a:lnTo>
                        <a:pt x="354" y="68"/>
                      </a:lnTo>
                      <a:lnTo>
                        <a:pt x="353" y="79"/>
                      </a:lnTo>
                      <a:lnTo>
                        <a:pt x="349" y="90"/>
                      </a:lnTo>
                      <a:lnTo>
                        <a:pt x="349" y="98"/>
                      </a:lnTo>
                      <a:lnTo>
                        <a:pt x="359" y="119"/>
                      </a:lnTo>
                      <a:lnTo>
                        <a:pt x="374" y="140"/>
                      </a:lnTo>
                      <a:lnTo>
                        <a:pt x="376" y="146"/>
                      </a:lnTo>
                      <a:lnTo>
                        <a:pt x="377" y="155"/>
                      </a:lnTo>
                      <a:lnTo>
                        <a:pt x="376" y="157"/>
                      </a:lnTo>
                      <a:lnTo>
                        <a:pt x="372" y="160"/>
                      </a:lnTo>
                      <a:lnTo>
                        <a:pt x="353" y="156"/>
                      </a:lnTo>
                      <a:lnTo>
                        <a:pt x="337" y="154"/>
                      </a:lnTo>
                      <a:lnTo>
                        <a:pt x="322" y="155"/>
                      </a:lnTo>
                      <a:lnTo>
                        <a:pt x="318" y="156"/>
                      </a:lnTo>
                      <a:lnTo>
                        <a:pt x="315" y="159"/>
                      </a:lnTo>
                      <a:lnTo>
                        <a:pt x="310" y="165"/>
                      </a:lnTo>
                      <a:lnTo>
                        <a:pt x="310" y="179"/>
                      </a:lnTo>
                      <a:lnTo>
                        <a:pt x="311" y="192"/>
                      </a:lnTo>
                      <a:lnTo>
                        <a:pt x="322" y="205"/>
                      </a:lnTo>
                      <a:lnTo>
                        <a:pt x="329" y="211"/>
                      </a:lnTo>
                      <a:lnTo>
                        <a:pt x="338" y="215"/>
                      </a:lnTo>
                      <a:lnTo>
                        <a:pt x="350" y="217"/>
                      </a:lnTo>
                      <a:lnTo>
                        <a:pt x="354" y="220"/>
                      </a:lnTo>
                      <a:lnTo>
                        <a:pt x="360" y="230"/>
                      </a:lnTo>
                      <a:lnTo>
                        <a:pt x="370" y="257"/>
                      </a:lnTo>
                      <a:lnTo>
                        <a:pt x="375" y="275"/>
                      </a:lnTo>
                      <a:lnTo>
                        <a:pt x="376" y="292"/>
                      </a:lnTo>
                      <a:lnTo>
                        <a:pt x="377" y="295"/>
                      </a:lnTo>
                      <a:lnTo>
                        <a:pt x="380" y="297"/>
                      </a:lnTo>
                      <a:lnTo>
                        <a:pt x="370" y="323"/>
                      </a:lnTo>
                      <a:lnTo>
                        <a:pt x="360" y="338"/>
                      </a:lnTo>
                      <a:lnTo>
                        <a:pt x="353" y="354"/>
                      </a:lnTo>
                      <a:lnTo>
                        <a:pt x="343" y="369"/>
                      </a:lnTo>
                      <a:lnTo>
                        <a:pt x="332" y="380"/>
                      </a:lnTo>
                      <a:lnTo>
                        <a:pt x="332" y="393"/>
                      </a:lnTo>
                      <a:lnTo>
                        <a:pt x="335" y="407"/>
                      </a:lnTo>
                      <a:lnTo>
                        <a:pt x="334" y="424"/>
                      </a:lnTo>
                      <a:lnTo>
                        <a:pt x="335" y="440"/>
                      </a:lnTo>
                      <a:lnTo>
                        <a:pt x="345" y="458"/>
                      </a:lnTo>
                      <a:lnTo>
                        <a:pt x="354" y="469"/>
                      </a:lnTo>
                      <a:lnTo>
                        <a:pt x="378" y="516"/>
                      </a:lnTo>
                      <a:lnTo>
                        <a:pt x="390" y="528"/>
                      </a:lnTo>
                      <a:lnTo>
                        <a:pt x="413" y="548"/>
                      </a:lnTo>
                      <a:lnTo>
                        <a:pt x="420" y="548"/>
                      </a:lnTo>
                      <a:lnTo>
                        <a:pt x="418" y="559"/>
                      </a:lnTo>
                      <a:lnTo>
                        <a:pt x="420" y="602"/>
                      </a:lnTo>
                      <a:lnTo>
                        <a:pt x="418" y="612"/>
                      </a:lnTo>
                      <a:lnTo>
                        <a:pt x="413" y="615"/>
                      </a:lnTo>
                      <a:lnTo>
                        <a:pt x="390" y="597"/>
                      </a:lnTo>
                      <a:lnTo>
                        <a:pt x="380" y="597"/>
                      </a:lnTo>
                      <a:lnTo>
                        <a:pt x="366" y="592"/>
                      </a:lnTo>
                      <a:lnTo>
                        <a:pt x="351" y="591"/>
                      </a:lnTo>
                      <a:lnTo>
                        <a:pt x="340" y="585"/>
                      </a:lnTo>
                      <a:lnTo>
                        <a:pt x="264" y="58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23" name="Freeform 122"/>
                <p:cNvSpPr>
                  <a:spLocks noChangeAspect="1"/>
                </p:cNvSpPr>
                <p:nvPr/>
              </p:nvSpPr>
              <p:spPr bwMode="gray">
                <a:xfrm>
                  <a:off x="4772818" y="3475384"/>
                  <a:ext cx="52388" cy="107950"/>
                </a:xfrm>
                <a:custGeom>
                  <a:avLst/>
                  <a:gdLst/>
                  <a:ahLst/>
                  <a:cxnLst>
                    <a:cxn ang="0">
                      <a:pos x="147" y="30"/>
                    </a:cxn>
                    <a:cxn ang="0">
                      <a:pos x="128" y="12"/>
                    </a:cxn>
                    <a:cxn ang="0">
                      <a:pos x="114" y="0"/>
                    </a:cxn>
                    <a:cxn ang="0">
                      <a:pos x="101" y="5"/>
                    </a:cxn>
                    <a:cxn ang="0">
                      <a:pos x="90" y="12"/>
                    </a:cxn>
                    <a:cxn ang="0">
                      <a:pos x="90" y="25"/>
                    </a:cxn>
                    <a:cxn ang="0">
                      <a:pos x="90" y="26"/>
                    </a:cxn>
                    <a:cxn ang="0">
                      <a:pos x="85" y="35"/>
                    </a:cxn>
                    <a:cxn ang="0">
                      <a:pos x="83" y="39"/>
                    </a:cxn>
                    <a:cxn ang="0">
                      <a:pos x="66" y="53"/>
                    </a:cxn>
                    <a:cxn ang="0">
                      <a:pos x="52" y="53"/>
                    </a:cxn>
                    <a:cxn ang="0">
                      <a:pos x="37" y="49"/>
                    </a:cxn>
                    <a:cxn ang="0">
                      <a:pos x="27" y="63"/>
                    </a:cxn>
                    <a:cxn ang="0">
                      <a:pos x="21" y="64"/>
                    </a:cxn>
                    <a:cxn ang="0">
                      <a:pos x="17" y="68"/>
                    </a:cxn>
                    <a:cxn ang="0">
                      <a:pos x="12" y="74"/>
                    </a:cxn>
                    <a:cxn ang="0">
                      <a:pos x="6" y="80"/>
                    </a:cxn>
                    <a:cxn ang="0">
                      <a:pos x="1" y="95"/>
                    </a:cxn>
                    <a:cxn ang="0">
                      <a:pos x="0" y="113"/>
                    </a:cxn>
                    <a:cxn ang="0">
                      <a:pos x="11" y="121"/>
                    </a:cxn>
                    <a:cxn ang="0">
                      <a:pos x="20" y="124"/>
                    </a:cxn>
                    <a:cxn ang="0">
                      <a:pos x="41" y="159"/>
                    </a:cxn>
                    <a:cxn ang="0">
                      <a:pos x="50" y="189"/>
                    </a:cxn>
                    <a:cxn ang="0">
                      <a:pos x="54" y="204"/>
                    </a:cxn>
                    <a:cxn ang="0">
                      <a:pos x="58" y="234"/>
                    </a:cxn>
                    <a:cxn ang="0">
                      <a:pos x="54" y="308"/>
                    </a:cxn>
                    <a:cxn ang="0">
                      <a:pos x="58" y="331"/>
                    </a:cxn>
                    <a:cxn ang="0">
                      <a:pos x="61" y="339"/>
                    </a:cxn>
                    <a:cxn ang="0">
                      <a:pos x="112" y="337"/>
                    </a:cxn>
                    <a:cxn ang="0">
                      <a:pos x="107" y="295"/>
                    </a:cxn>
                    <a:cxn ang="0">
                      <a:pos x="113" y="265"/>
                    </a:cxn>
                    <a:cxn ang="0">
                      <a:pos x="113" y="215"/>
                    </a:cxn>
                    <a:cxn ang="0">
                      <a:pos x="129" y="183"/>
                    </a:cxn>
                    <a:cxn ang="0">
                      <a:pos x="133" y="159"/>
                    </a:cxn>
                    <a:cxn ang="0">
                      <a:pos x="156" y="138"/>
                    </a:cxn>
                    <a:cxn ang="0">
                      <a:pos x="160" y="129"/>
                    </a:cxn>
                    <a:cxn ang="0">
                      <a:pos x="160" y="124"/>
                    </a:cxn>
                    <a:cxn ang="0">
                      <a:pos x="155" y="117"/>
                    </a:cxn>
                    <a:cxn ang="0">
                      <a:pos x="160" y="109"/>
                    </a:cxn>
                    <a:cxn ang="0">
                      <a:pos x="166" y="107"/>
                    </a:cxn>
                    <a:cxn ang="0">
                      <a:pos x="162" y="74"/>
                    </a:cxn>
                    <a:cxn ang="0">
                      <a:pos x="151" y="59"/>
                    </a:cxn>
                    <a:cxn ang="0">
                      <a:pos x="151" y="43"/>
                    </a:cxn>
                  </a:cxnLst>
                  <a:rect l="0" t="0" r="r" b="b"/>
                  <a:pathLst>
                    <a:path w="166" h="340">
                      <a:moveTo>
                        <a:pt x="156" y="37"/>
                      </a:moveTo>
                      <a:lnTo>
                        <a:pt x="147" y="30"/>
                      </a:lnTo>
                      <a:lnTo>
                        <a:pt x="140" y="25"/>
                      </a:lnTo>
                      <a:lnTo>
                        <a:pt x="128" y="12"/>
                      </a:lnTo>
                      <a:lnTo>
                        <a:pt x="117" y="1"/>
                      </a:lnTo>
                      <a:lnTo>
                        <a:pt x="114" y="0"/>
                      </a:lnTo>
                      <a:lnTo>
                        <a:pt x="106" y="4"/>
                      </a:lnTo>
                      <a:lnTo>
                        <a:pt x="101" y="5"/>
                      </a:lnTo>
                      <a:lnTo>
                        <a:pt x="90" y="8"/>
                      </a:lnTo>
                      <a:lnTo>
                        <a:pt x="90" y="12"/>
                      </a:lnTo>
                      <a:lnTo>
                        <a:pt x="97" y="21"/>
                      </a:lnTo>
                      <a:lnTo>
                        <a:pt x="90" y="25"/>
                      </a:lnTo>
                      <a:lnTo>
                        <a:pt x="90" y="24"/>
                      </a:lnTo>
                      <a:lnTo>
                        <a:pt x="90" y="26"/>
                      </a:lnTo>
                      <a:lnTo>
                        <a:pt x="88" y="31"/>
                      </a:lnTo>
                      <a:lnTo>
                        <a:pt x="85" y="35"/>
                      </a:lnTo>
                      <a:lnTo>
                        <a:pt x="85" y="36"/>
                      </a:lnTo>
                      <a:lnTo>
                        <a:pt x="83" y="39"/>
                      </a:lnTo>
                      <a:lnTo>
                        <a:pt x="71" y="51"/>
                      </a:lnTo>
                      <a:lnTo>
                        <a:pt x="66" y="53"/>
                      </a:lnTo>
                      <a:lnTo>
                        <a:pt x="60" y="51"/>
                      </a:lnTo>
                      <a:lnTo>
                        <a:pt x="52" y="53"/>
                      </a:lnTo>
                      <a:lnTo>
                        <a:pt x="43" y="49"/>
                      </a:lnTo>
                      <a:lnTo>
                        <a:pt x="37" y="49"/>
                      </a:lnTo>
                      <a:lnTo>
                        <a:pt x="34" y="51"/>
                      </a:lnTo>
                      <a:lnTo>
                        <a:pt x="27" y="63"/>
                      </a:lnTo>
                      <a:lnTo>
                        <a:pt x="23" y="62"/>
                      </a:lnTo>
                      <a:lnTo>
                        <a:pt x="21" y="64"/>
                      </a:lnTo>
                      <a:lnTo>
                        <a:pt x="20" y="65"/>
                      </a:lnTo>
                      <a:lnTo>
                        <a:pt x="17" y="68"/>
                      </a:lnTo>
                      <a:lnTo>
                        <a:pt x="16" y="74"/>
                      </a:lnTo>
                      <a:lnTo>
                        <a:pt x="12" y="74"/>
                      </a:lnTo>
                      <a:lnTo>
                        <a:pt x="9" y="78"/>
                      </a:lnTo>
                      <a:lnTo>
                        <a:pt x="6" y="80"/>
                      </a:lnTo>
                      <a:lnTo>
                        <a:pt x="5" y="87"/>
                      </a:lnTo>
                      <a:lnTo>
                        <a:pt x="1" y="95"/>
                      </a:lnTo>
                      <a:lnTo>
                        <a:pt x="0" y="105"/>
                      </a:lnTo>
                      <a:lnTo>
                        <a:pt x="0" y="113"/>
                      </a:lnTo>
                      <a:lnTo>
                        <a:pt x="5" y="117"/>
                      </a:lnTo>
                      <a:lnTo>
                        <a:pt x="11" y="121"/>
                      </a:lnTo>
                      <a:lnTo>
                        <a:pt x="15" y="121"/>
                      </a:lnTo>
                      <a:lnTo>
                        <a:pt x="20" y="124"/>
                      </a:lnTo>
                      <a:lnTo>
                        <a:pt x="32" y="139"/>
                      </a:lnTo>
                      <a:lnTo>
                        <a:pt x="41" y="159"/>
                      </a:lnTo>
                      <a:lnTo>
                        <a:pt x="47" y="180"/>
                      </a:lnTo>
                      <a:lnTo>
                        <a:pt x="50" y="189"/>
                      </a:lnTo>
                      <a:lnTo>
                        <a:pt x="52" y="195"/>
                      </a:lnTo>
                      <a:lnTo>
                        <a:pt x="54" y="204"/>
                      </a:lnTo>
                      <a:lnTo>
                        <a:pt x="56" y="215"/>
                      </a:lnTo>
                      <a:lnTo>
                        <a:pt x="58" y="234"/>
                      </a:lnTo>
                      <a:lnTo>
                        <a:pt x="58" y="285"/>
                      </a:lnTo>
                      <a:lnTo>
                        <a:pt x="54" y="308"/>
                      </a:lnTo>
                      <a:lnTo>
                        <a:pt x="54" y="318"/>
                      </a:lnTo>
                      <a:lnTo>
                        <a:pt x="58" y="331"/>
                      </a:lnTo>
                      <a:lnTo>
                        <a:pt x="60" y="338"/>
                      </a:lnTo>
                      <a:lnTo>
                        <a:pt x="61" y="339"/>
                      </a:lnTo>
                      <a:lnTo>
                        <a:pt x="68" y="340"/>
                      </a:lnTo>
                      <a:lnTo>
                        <a:pt x="112" y="337"/>
                      </a:lnTo>
                      <a:lnTo>
                        <a:pt x="109" y="334"/>
                      </a:lnTo>
                      <a:lnTo>
                        <a:pt x="107" y="295"/>
                      </a:lnTo>
                      <a:lnTo>
                        <a:pt x="108" y="286"/>
                      </a:lnTo>
                      <a:lnTo>
                        <a:pt x="113" y="265"/>
                      </a:lnTo>
                      <a:lnTo>
                        <a:pt x="112" y="235"/>
                      </a:lnTo>
                      <a:lnTo>
                        <a:pt x="113" y="215"/>
                      </a:lnTo>
                      <a:lnTo>
                        <a:pt x="117" y="203"/>
                      </a:lnTo>
                      <a:lnTo>
                        <a:pt x="129" y="183"/>
                      </a:lnTo>
                      <a:lnTo>
                        <a:pt x="130" y="168"/>
                      </a:lnTo>
                      <a:lnTo>
                        <a:pt x="133" y="159"/>
                      </a:lnTo>
                      <a:lnTo>
                        <a:pt x="141" y="149"/>
                      </a:lnTo>
                      <a:lnTo>
                        <a:pt x="156" y="138"/>
                      </a:lnTo>
                      <a:lnTo>
                        <a:pt x="156" y="132"/>
                      </a:lnTo>
                      <a:lnTo>
                        <a:pt x="160" y="129"/>
                      </a:lnTo>
                      <a:lnTo>
                        <a:pt x="160" y="128"/>
                      </a:lnTo>
                      <a:lnTo>
                        <a:pt x="160" y="124"/>
                      </a:lnTo>
                      <a:lnTo>
                        <a:pt x="155" y="119"/>
                      </a:lnTo>
                      <a:lnTo>
                        <a:pt x="155" y="117"/>
                      </a:lnTo>
                      <a:lnTo>
                        <a:pt x="157" y="111"/>
                      </a:lnTo>
                      <a:lnTo>
                        <a:pt x="160" y="109"/>
                      </a:lnTo>
                      <a:lnTo>
                        <a:pt x="165" y="109"/>
                      </a:lnTo>
                      <a:lnTo>
                        <a:pt x="166" y="107"/>
                      </a:lnTo>
                      <a:lnTo>
                        <a:pt x="166" y="89"/>
                      </a:lnTo>
                      <a:lnTo>
                        <a:pt x="162" y="74"/>
                      </a:lnTo>
                      <a:lnTo>
                        <a:pt x="161" y="69"/>
                      </a:lnTo>
                      <a:lnTo>
                        <a:pt x="151" y="59"/>
                      </a:lnTo>
                      <a:lnTo>
                        <a:pt x="150" y="54"/>
                      </a:lnTo>
                      <a:lnTo>
                        <a:pt x="151" y="43"/>
                      </a:lnTo>
                      <a:lnTo>
                        <a:pt x="156" y="3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24" name="Freeform 123"/>
                <p:cNvSpPr>
                  <a:spLocks noChangeAspect="1"/>
                </p:cNvSpPr>
                <p:nvPr/>
              </p:nvSpPr>
              <p:spPr bwMode="gray">
                <a:xfrm>
                  <a:off x="4991892" y="3275359"/>
                  <a:ext cx="187325" cy="287338"/>
                </a:xfrm>
                <a:custGeom>
                  <a:avLst/>
                  <a:gdLst/>
                  <a:ahLst/>
                  <a:cxnLst>
                    <a:cxn ang="0">
                      <a:pos x="99" y="122"/>
                    </a:cxn>
                    <a:cxn ang="0">
                      <a:pos x="106" y="143"/>
                    </a:cxn>
                    <a:cxn ang="0">
                      <a:pos x="122" y="160"/>
                    </a:cxn>
                    <a:cxn ang="0">
                      <a:pos x="117" y="276"/>
                    </a:cxn>
                    <a:cxn ang="0">
                      <a:pos x="19" y="479"/>
                    </a:cxn>
                    <a:cxn ang="0">
                      <a:pos x="13" y="502"/>
                    </a:cxn>
                    <a:cxn ang="0">
                      <a:pos x="3" y="520"/>
                    </a:cxn>
                    <a:cxn ang="0">
                      <a:pos x="30" y="534"/>
                    </a:cxn>
                    <a:cxn ang="0">
                      <a:pos x="57" y="568"/>
                    </a:cxn>
                    <a:cxn ang="0">
                      <a:pos x="83" y="571"/>
                    </a:cxn>
                    <a:cxn ang="0">
                      <a:pos x="95" y="587"/>
                    </a:cxn>
                    <a:cxn ang="0">
                      <a:pos x="68" y="608"/>
                    </a:cxn>
                    <a:cxn ang="0">
                      <a:pos x="77" y="640"/>
                    </a:cxn>
                    <a:cxn ang="0">
                      <a:pos x="84" y="676"/>
                    </a:cxn>
                    <a:cxn ang="0">
                      <a:pos x="79" y="706"/>
                    </a:cxn>
                    <a:cxn ang="0">
                      <a:pos x="106" y="754"/>
                    </a:cxn>
                    <a:cxn ang="0">
                      <a:pos x="102" y="768"/>
                    </a:cxn>
                    <a:cxn ang="0">
                      <a:pos x="52" y="763"/>
                    </a:cxn>
                    <a:cxn ang="0">
                      <a:pos x="40" y="773"/>
                    </a:cxn>
                    <a:cxn ang="0">
                      <a:pos x="52" y="813"/>
                    </a:cxn>
                    <a:cxn ang="0">
                      <a:pos x="80" y="825"/>
                    </a:cxn>
                    <a:cxn ang="0">
                      <a:pos x="100" y="865"/>
                    </a:cxn>
                    <a:cxn ang="0">
                      <a:pos x="107" y="903"/>
                    </a:cxn>
                    <a:cxn ang="0">
                      <a:pos x="122" y="902"/>
                    </a:cxn>
                    <a:cxn ang="0">
                      <a:pos x="139" y="903"/>
                    </a:cxn>
                    <a:cxn ang="0">
                      <a:pos x="167" y="892"/>
                    </a:cxn>
                    <a:cxn ang="0">
                      <a:pos x="175" y="882"/>
                    </a:cxn>
                    <a:cxn ang="0">
                      <a:pos x="185" y="889"/>
                    </a:cxn>
                    <a:cxn ang="0">
                      <a:pos x="198" y="897"/>
                    </a:cxn>
                    <a:cxn ang="0">
                      <a:pos x="215" y="888"/>
                    </a:cxn>
                    <a:cxn ang="0">
                      <a:pos x="245" y="875"/>
                    </a:cxn>
                    <a:cxn ang="0">
                      <a:pos x="267" y="871"/>
                    </a:cxn>
                    <a:cxn ang="0">
                      <a:pos x="294" y="864"/>
                    </a:cxn>
                    <a:cxn ang="0">
                      <a:pos x="306" y="857"/>
                    </a:cxn>
                    <a:cxn ang="0">
                      <a:pos x="316" y="841"/>
                    </a:cxn>
                    <a:cxn ang="0">
                      <a:pos x="307" y="827"/>
                    </a:cxn>
                    <a:cxn ang="0">
                      <a:pos x="321" y="818"/>
                    </a:cxn>
                    <a:cxn ang="0">
                      <a:pos x="354" y="814"/>
                    </a:cxn>
                    <a:cxn ang="0">
                      <a:pos x="379" y="811"/>
                    </a:cxn>
                    <a:cxn ang="0">
                      <a:pos x="393" y="807"/>
                    </a:cxn>
                    <a:cxn ang="0">
                      <a:pos x="417" y="792"/>
                    </a:cxn>
                    <a:cxn ang="0">
                      <a:pos x="440" y="763"/>
                    </a:cxn>
                    <a:cxn ang="0">
                      <a:pos x="455" y="749"/>
                    </a:cxn>
                    <a:cxn ang="0">
                      <a:pos x="467" y="720"/>
                    </a:cxn>
                    <a:cxn ang="0">
                      <a:pos x="495" y="711"/>
                    </a:cxn>
                    <a:cxn ang="0">
                      <a:pos x="524" y="701"/>
                    </a:cxn>
                    <a:cxn ang="0">
                      <a:pos x="518" y="679"/>
                    </a:cxn>
                    <a:cxn ang="0">
                      <a:pos x="498" y="640"/>
                    </a:cxn>
                    <a:cxn ang="0">
                      <a:pos x="478" y="612"/>
                    </a:cxn>
                    <a:cxn ang="0">
                      <a:pos x="470" y="597"/>
                    </a:cxn>
                    <a:cxn ang="0">
                      <a:pos x="479" y="572"/>
                    </a:cxn>
                    <a:cxn ang="0">
                      <a:pos x="484" y="544"/>
                    </a:cxn>
                    <a:cxn ang="0">
                      <a:pos x="494" y="533"/>
                    </a:cxn>
                    <a:cxn ang="0">
                      <a:pos x="509" y="494"/>
                    </a:cxn>
                    <a:cxn ang="0">
                      <a:pos x="526" y="455"/>
                    </a:cxn>
                    <a:cxn ang="0">
                      <a:pos x="542" y="443"/>
                    </a:cxn>
                    <a:cxn ang="0">
                      <a:pos x="586" y="441"/>
                    </a:cxn>
                    <a:cxn ang="0">
                      <a:pos x="588" y="283"/>
                    </a:cxn>
                    <a:cxn ang="0">
                      <a:pos x="532" y="202"/>
                    </a:cxn>
                    <a:cxn ang="0">
                      <a:pos x="391" y="129"/>
                    </a:cxn>
                    <a:cxn ang="0">
                      <a:pos x="251" y="54"/>
                    </a:cxn>
                    <a:cxn ang="0">
                      <a:pos x="147" y="0"/>
                    </a:cxn>
                    <a:cxn ang="0">
                      <a:pos x="91" y="106"/>
                    </a:cxn>
                  </a:cxnLst>
                  <a:rect l="0" t="0" r="r" b="b"/>
                  <a:pathLst>
                    <a:path w="588" h="905">
                      <a:moveTo>
                        <a:pt x="91" y="106"/>
                      </a:moveTo>
                      <a:lnTo>
                        <a:pt x="94" y="112"/>
                      </a:lnTo>
                      <a:lnTo>
                        <a:pt x="99" y="122"/>
                      </a:lnTo>
                      <a:lnTo>
                        <a:pt x="99" y="124"/>
                      </a:lnTo>
                      <a:lnTo>
                        <a:pt x="102" y="131"/>
                      </a:lnTo>
                      <a:lnTo>
                        <a:pt x="106" y="143"/>
                      </a:lnTo>
                      <a:lnTo>
                        <a:pt x="110" y="149"/>
                      </a:lnTo>
                      <a:lnTo>
                        <a:pt x="116" y="155"/>
                      </a:lnTo>
                      <a:lnTo>
                        <a:pt x="122" y="160"/>
                      </a:lnTo>
                      <a:lnTo>
                        <a:pt x="145" y="173"/>
                      </a:lnTo>
                      <a:lnTo>
                        <a:pt x="132" y="197"/>
                      </a:lnTo>
                      <a:lnTo>
                        <a:pt x="117" y="276"/>
                      </a:lnTo>
                      <a:lnTo>
                        <a:pt x="111" y="375"/>
                      </a:lnTo>
                      <a:lnTo>
                        <a:pt x="107" y="380"/>
                      </a:lnTo>
                      <a:lnTo>
                        <a:pt x="19" y="479"/>
                      </a:lnTo>
                      <a:lnTo>
                        <a:pt x="19" y="490"/>
                      </a:lnTo>
                      <a:lnTo>
                        <a:pt x="13" y="493"/>
                      </a:lnTo>
                      <a:lnTo>
                        <a:pt x="13" y="502"/>
                      </a:lnTo>
                      <a:lnTo>
                        <a:pt x="5" y="504"/>
                      </a:lnTo>
                      <a:lnTo>
                        <a:pt x="0" y="509"/>
                      </a:lnTo>
                      <a:lnTo>
                        <a:pt x="3" y="520"/>
                      </a:lnTo>
                      <a:lnTo>
                        <a:pt x="19" y="525"/>
                      </a:lnTo>
                      <a:lnTo>
                        <a:pt x="22" y="531"/>
                      </a:lnTo>
                      <a:lnTo>
                        <a:pt x="30" y="534"/>
                      </a:lnTo>
                      <a:lnTo>
                        <a:pt x="36" y="543"/>
                      </a:lnTo>
                      <a:lnTo>
                        <a:pt x="40" y="564"/>
                      </a:lnTo>
                      <a:lnTo>
                        <a:pt x="57" y="568"/>
                      </a:lnTo>
                      <a:lnTo>
                        <a:pt x="69" y="565"/>
                      </a:lnTo>
                      <a:lnTo>
                        <a:pt x="75" y="569"/>
                      </a:lnTo>
                      <a:lnTo>
                        <a:pt x="83" y="571"/>
                      </a:lnTo>
                      <a:lnTo>
                        <a:pt x="90" y="569"/>
                      </a:lnTo>
                      <a:lnTo>
                        <a:pt x="97" y="582"/>
                      </a:lnTo>
                      <a:lnTo>
                        <a:pt x="95" y="587"/>
                      </a:lnTo>
                      <a:lnTo>
                        <a:pt x="94" y="596"/>
                      </a:lnTo>
                      <a:lnTo>
                        <a:pt x="84" y="603"/>
                      </a:lnTo>
                      <a:lnTo>
                        <a:pt x="68" y="608"/>
                      </a:lnTo>
                      <a:lnTo>
                        <a:pt x="70" y="609"/>
                      </a:lnTo>
                      <a:lnTo>
                        <a:pt x="70" y="612"/>
                      </a:lnTo>
                      <a:lnTo>
                        <a:pt x="77" y="640"/>
                      </a:lnTo>
                      <a:lnTo>
                        <a:pt x="83" y="649"/>
                      </a:lnTo>
                      <a:lnTo>
                        <a:pt x="85" y="656"/>
                      </a:lnTo>
                      <a:lnTo>
                        <a:pt x="84" y="676"/>
                      </a:lnTo>
                      <a:lnTo>
                        <a:pt x="83" y="687"/>
                      </a:lnTo>
                      <a:lnTo>
                        <a:pt x="79" y="698"/>
                      </a:lnTo>
                      <a:lnTo>
                        <a:pt x="79" y="706"/>
                      </a:lnTo>
                      <a:lnTo>
                        <a:pt x="89" y="727"/>
                      </a:lnTo>
                      <a:lnTo>
                        <a:pt x="104" y="748"/>
                      </a:lnTo>
                      <a:lnTo>
                        <a:pt x="106" y="754"/>
                      </a:lnTo>
                      <a:lnTo>
                        <a:pt x="107" y="763"/>
                      </a:lnTo>
                      <a:lnTo>
                        <a:pt x="106" y="765"/>
                      </a:lnTo>
                      <a:lnTo>
                        <a:pt x="102" y="768"/>
                      </a:lnTo>
                      <a:lnTo>
                        <a:pt x="83" y="764"/>
                      </a:lnTo>
                      <a:lnTo>
                        <a:pt x="67" y="762"/>
                      </a:lnTo>
                      <a:lnTo>
                        <a:pt x="52" y="763"/>
                      </a:lnTo>
                      <a:lnTo>
                        <a:pt x="48" y="764"/>
                      </a:lnTo>
                      <a:lnTo>
                        <a:pt x="45" y="767"/>
                      </a:lnTo>
                      <a:lnTo>
                        <a:pt x="40" y="773"/>
                      </a:lnTo>
                      <a:lnTo>
                        <a:pt x="40" y="787"/>
                      </a:lnTo>
                      <a:lnTo>
                        <a:pt x="41" y="800"/>
                      </a:lnTo>
                      <a:lnTo>
                        <a:pt x="52" y="813"/>
                      </a:lnTo>
                      <a:lnTo>
                        <a:pt x="59" y="819"/>
                      </a:lnTo>
                      <a:lnTo>
                        <a:pt x="68" y="823"/>
                      </a:lnTo>
                      <a:lnTo>
                        <a:pt x="80" y="825"/>
                      </a:lnTo>
                      <a:lnTo>
                        <a:pt x="84" y="828"/>
                      </a:lnTo>
                      <a:lnTo>
                        <a:pt x="90" y="838"/>
                      </a:lnTo>
                      <a:lnTo>
                        <a:pt x="100" y="865"/>
                      </a:lnTo>
                      <a:lnTo>
                        <a:pt x="105" y="883"/>
                      </a:lnTo>
                      <a:lnTo>
                        <a:pt x="106" y="900"/>
                      </a:lnTo>
                      <a:lnTo>
                        <a:pt x="107" y="903"/>
                      </a:lnTo>
                      <a:lnTo>
                        <a:pt x="110" y="905"/>
                      </a:lnTo>
                      <a:lnTo>
                        <a:pt x="113" y="903"/>
                      </a:lnTo>
                      <a:lnTo>
                        <a:pt x="122" y="902"/>
                      </a:lnTo>
                      <a:lnTo>
                        <a:pt x="128" y="900"/>
                      </a:lnTo>
                      <a:lnTo>
                        <a:pt x="133" y="900"/>
                      </a:lnTo>
                      <a:lnTo>
                        <a:pt x="139" y="903"/>
                      </a:lnTo>
                      <a:lnTo>
                        <a:pt x="144" y="902"/>
                      </a:lnTo>
                      <a:lnTo>
                        <a:pt x="154" y="894"/>
                      </a:lnTo>
                      <a:lnTo>
                        <a:pt x="167" y="892"/>
                      </a:lnTo>
                      <a:lnTo>
                        <a:pt x="170" y="884"/>
                      </a:lnTo>
                      <a:lnTo>
                        <a:pt x="174" y="884"/>
                      </a:lnTo>
                      <a:lnTo>
                        <a:pt x="175" y="882"/>
                      </a:lnTo>
                      <a:lnTo>
                        <a:pt x="178" y="882"/>
                      </a:lnTo>
                      <a:lnTo>
                        <a:pt x="181" y="883"/>
                      </a:lnTo>
                      <a:lnTo>
                        <a:pt x="185" y="889"/>
                      </a:lnTo>
                      <a:lnTo>
                        <a:pt x="187" y="892"/>
                      </a:lnTo>
                      <a:lnTo>
                        <a:pt x="194" y="898"/>
                      </a:lnTo>
                      <a:lnTo>
                        <a:pt x="198" y="897"/>
                      </a:lnTo>
                      <a:lnTo>
                        <a:pt x="201" y="893"/>
                      </a:lnTo>
                      <a:lnTo>
                        <a:pt x="209" y="892"/>
                      </a:lnTo>
                      <a:lnTo>
                        <a:pt x="215" y="888"/>
                      </a:lnTo>
                      <a:lnTo>
                        <a:pt x="219" y="886"/>
                      </a:lnTo>
                      <a:lnTo>
                        <a:pt x="223" y="882"/>
                      </a:lnTo>
                      <a:lnTo>
                        <a:pt x="245" y="875"/>
                      </a:lnTo>
                      <a:lnTo>
                        <a:pt x="251" y="875"/>
                      </a:lnTo>
                      <a:lnTo>
                        <a:pt x="260" y="875"/>
                      </a:lnTo>
                      <a:lnTo>
                        <a:pt x="267" y="871"/>
                      </a:lnTo>
                      <a:lnTo>
                        <a:pt x="291" y="871"/>
                      </a:lnTo>
                      <a:lnTo>
                        <a:pt x="293" y="870"/>
                      </a:lnTo>
                      <a:lnTo>
                        <a:pt x="294" y="864"/>
                      </a:lnTo>
                      <a:lnTo>
                        <a:pt x="296" y="861"/>
                      </a:lnTo>
                      <a:lnTo>
                        <a:pt x="301" y="860"/>
                      </a:lnTo>
                      <a:lnTo>
                        <a:pt x="306" y="857"/>
                      </a:lnTo>
                      <a:lnTo>
                        <a:pt x="309" y="849"/>
                      </a:lnTo>
                      <a:lnTo>
                        <a:pt x="314" y="845"/>
                      </a:lnTo>
                      <a:lnTo>
                        <a:pt x="316" y="841"/>
                      </a:lnTo>
                      <a:lnTo>
                        <a:pt x="314" y="834"/>
                      </a:lnTo>
                      <a:lnTo>
                        <a:pt x="307" y="829"/>
                      </a:lnTo>
                      <a:lnTo>
                        <a:pt x="307" y="827"/>
                      </a:lnTo>
                      <a:lnTo>
                        <a:pt x="309" y="823"/>
                      </a:lnTo>
                      <a:lnTo>
                        <a:pt x="311" y="822"/>
                      </a:lnTo>
                      <a:lnTo>
                        <a:pt x="321" y="818"/>
                      </a:lnTo>
                      <a:lnTo>
                        <a:pt x="332" y="817"/>
                      </a:lnTo>
                      <a:lnTo>
                        <a:pt x="352" y="817"/>
                      </a:lnTo>
                      <a:lnTo>
                        <a:pt x="354" y="814"/>
                      </a:lnTo>
                      <a:lnTo>
                        <a:pt x="364" y="813"/>
                      </a:lnTo>
                      <a:lnTo>
                        <a:pt x="371" y="811"/>
                      </a:lnTo>
                      <a:lnTo>
                        <a:pt x="379" y="811"/>
                      </a:lnTo>
                      <a:lnTo>
                        <a:pt x="384" y="813"/>
                      </a:lnTo>
                      <a:lnTo>
                        <a:pt x="391" y="810"/>
                      </a:lnTo>
                      <a:lnTo>
                        <a:pt x="393" y="807"/>
                      </a:lnTo>
                      <a:lnTo>
                        <a:pt x="398" y="800"/>
                      </a:lnTo>
                      <a:lnTo>
                        <a:pt x="404" y="798"/>
                      </a:lnTo>
                      <a:lnTo>
                        <a:pt x="417" y="792"/>
                      </a:lnTo>
                      <a:lnTo>
                        <a:pt x="420" y="789"/>
                      </a:lnTo>
                      <a:lnTo>
                        <a:pt x="424" y="779"/>
                      </a:lnTo>
                      <a:lnTo>
                        <a:pt x="440" y="763"/>
                      </a:lnTo>
                      <a:lnTo>
                        <a:pt x="445" y="762"/>
                      </a:lnTo>
                      <a:lnTo>
                        <a:pt x="449" y="759"/>
                      </a:lnTo>
                      <a:lnTo>
                        <a:pt x="455" y="749"/>
                      </a:lnTo>
                      <a:lnTo>
                        <a:pt x="462" y="747"/>
                      </a:lnTo>
                      <a:lnTo>
                        <a:pt x="462" y="731"/>
                      </a:lnTo>
                      <a:lnTo>
                        <a:pt x="467" y="720"/>
                      </a:lnTo>
                      <a:lnTo>
                        <a:pt x="473" y="715"/>
                      </a:lnTo>
                      <a:lnTo>
                        <a:pt x="479" y="712"/>
                      </a:lnTo>
                      <a:lnTo>
                        <a:pt x="495" y="711"/>
                      </a:lnTo>
                      <a:lnTo>
                        <a:pt x="504" y="708"/>
                      </a:lnTo>
                      <a:lnTo>
                        <a:pt x="515" y="705"/>
                      </a:lnTo>
                      <a:lnTo>
                        <a:pt x="524" y="701"/>
                      </a:lnTo>
                      <a:lnTo>
                        <a:pt x="524" y="693"/>
                      </a:lnTo>
                      <a:lnTo>
                        <a:pt x="521" y="684"/>
                      </a:lnTo>
                      <a:lnTo>
                        <a:pt x="518" y="679"/>
                      </a:lnTo>
                      <a:lnTo>
                        <a:pt x="511" y="676"/>
                      </a:lnTo>
                      <a:lnTo>
                        <a:pt x="510" y="674"/>
                      </a:lnTo>
                      <a:lnTo>
                        <a:pt x="498" y="640"/>
                      </a:lnTo>
                      <a:lnTo>
                        <a:pt x="493" y="624"/>
                      </a:lnTo>
                      <a:lnTo>
                        <a:pt x="494" y="608"/>
                      </a:lnTo>
                      <a:lnTo>
                        <a:pt x="478" y="612"/>
                      </a:lnTo>
                      <a:lnTo>
                        <a:pt x="473" y="613"/>
                      </a:lnTo>
                      <a:lnTo>
                        <a:pt x="470" y="613"/>
                      </a:lnTo>
                      <a:lnTo>
                        <a:pt x="470" y="597"/>
                      </a:lnTo>
                      <a:lnTo>
                        <a:pt x="471" y="592"/>
                      </a:lnTo>
                      <a:lnTo>
                        <a:pt x="477" y="581"/>
                      </a:lnTo>
                      <a:lnTo>
                        <a:pt x="479" y="572"/>
                      </a:lnTo>
                      <a:lnTo>
                        <a:pt x="479" y="558"/>
                      </a:lnTo>
                      <a:lnTo>
                        <a:pt x="481" y="548"/>
                      </a:lnTo>
                      <a:lnTo>
                        <a:pt x="484" y="544"/>
                      </a:lnTo>
                      <a:lnTo>
                        <a:pt x="492" y="539"/>
                      </a:lnTo>
                      <a:lnTo>
                        <a:pt x="493" y="538"/>
                      </a:lnTo>
                      <a:lnTo>
                        <a:pt x="494" y="533"/>
                      </a:lnTo>
                      <a:lnTo>
                        <a:pt x="493" y="525"/>
                      </a:lnTo>
                      <a:lnTo>
                        <a:pt x="493" y="512"/>
                      </a:lnTo>
                      <a:lnTo>
                        <a:pt x="509" y="494"/>
                      </a:lnTo>
                      <a:lnTo>
                        <a:pt x="521" y="477"/>
                      </a:lnTo>
                      <a:lnTo>
                        <a:pt x="525" y="466"/>
                      </a:lnTo>
                      <a:lnTo>
                        <a:pt x="526" y="455"/>
                      </a:lnTo>
                      <a:lnTo>
                        <a:pt x="529" y="446"/>
                      </a:lnTo>
                      <a:lnTo>
                        <a:pt x="530" y="445"/>
                      </a:lnTo>
                      <a:lnTo>
                        <a:pt x="542" y="443"/>
                      </a:lnTo>
                      <a:lnTo>
                        <a:pt x="551" y="442"/>
                      </a:lnTo>
                      <a:lnTo>
                        <a:pt x="580" y="442"/>
                      </a:lnTo>
                      <a:lnTo>
                        <a:pt x="586" y="441"/>
                      </a:lnTo>
                      <a:lnTo>
                        <a:pt x="588" y="392"/>
                      </a:lnTo>
                      <a:lnTo>
                        <a:pt x="588" y="337"/>
                      </a:lnTo>
                      <a:lnTo>
                        <a:pt x="588" y="283"/>
                      </a:lnTo>
                      <a:lnTo>
                        <a:pt x="588" y="227"/>
                      </a:lnTo>
                      <a:lnTo>
                        <a:pt x="579" y="226"/>
                      </a:lnTo>
                      <a:lnTo>
                        <a:pt x="532" y="202"/>
                      </a:lnTo>
                      <a:lnTo>
                        <a:pt x="486" y="178"/>
                      </a:lnTo>
                      <a:lnTo>
                        <a:pt x="438" y="154"/>
                      </a:lnTo>
                      <a:lnTo>
                        <a:pt x="391" y="129"/>
                      </a:lnTo>
                      <a:lnTo>
                        <a:pt x="344" y="104"/>
                      </a:lnTo>
                      <a:lnTo>
                        <a:pt x="298" y="79"/>
                      </a:lnTo>
                      <a:lnTo>
                        <a:pt x="251" y="54"/>
                      </a:lnTo>
                      <a:lnTo>
                        <a:pt x="204" y="30"/>
                      </a:lnTo>
                      <a:lnTo>
                        <a:pt x="158" y="5"/>
                      </a:lnTo>
                      <a:lnTo>
                        <a:pt x="147" y="0"/>
                      </a:lnTo>
                      <a:lnTo>
                        <a:pt x="97" y="17"/>
                      </a:lnTo>
                      <a:lnTo>
                        <a:pt x="91" y="20"/>
                      </a:lnTo>
                      <a:lnTo>
                        <a:pt x="91" y="10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25" name="Freeform 124"/>
                <p:cNvSpPr>
                  <a:spLocks noChangeAspect="1"/>
                </p:cNvSpPr>
                <p:nvPr/>
              </p:nvSpPr>
              <p:spPr bwMode="gray">
                <a:xfrm>
                  <a:off x="5395117" y="3373784"/>
                  <a:ext cx="114300" cy="103188"/>
                </a:xfrm>
                <a:custGeom>
                  <a:avLst/>
                  <a:gdLst/>
                  <a:ahLst/>
                  <a:cxnLst>
                    <a:cxn ang="0">
                      <a:pos x="100" y="24"/>
                    </a:cxn>
                    <a:cxn ang="0">
                      <a:pos x="58" y="43"/>
                    </a:cxn>
                    <a:cxn ang="0">
                      <a:pos x="31" y="56"/>
                    </a:cxn>
                    <a:cxn ang="0">
                      <a:pos x="23" y="94"/>
                    </a:cxn>
                    <a:cxn ang="0">
                      <a:pos x="4" y="163"/>
                    </a:cxn>
                    <a:cxn ang="0">
                      <a:pos x="3" y="216"/>
                    </a:cxn>
                    <a:cxn ang="0">
                      <a:pos x="23" y="219"/>
                    </a:cxn>
                    <a:cxn ang="0">
                      <a:pos x="31" y="213"/>
                    </a:cxn>
                    <a:cxn ang="0">
                      <a:pos x="47" y="215"/>
                    </a:cxn>
                    <a:cxn ang="0">
                      <a:pos x="75" y="184"/>
                    </a:cxn>
                    <a:cxn ang="0">
                      <a:pos x="92" y="195"/>
                    </a:cxn>
                    <a:cxn ang="0">
                      <a:pos x="103" y="210"/>
                    </a:cxn>
                    <a:cxn ang="0">
                      <a:pos x="129" y="206"/>
                    </a:cxn>
                    <a:cxn ang="0">
                      <a:pos x="140" y="197"/>
                    </a:cxn>
                    <a:cxn ang="0">
                      <a:pos x="150" y="208"/>
                    </a:cxn>
                    <a:cxn ang="0">
                      <a:pos x="163" y="202"/>
                    </a:cxn>
                    <a:cxn ang="0">
                      <a:pos x="182" y="206"/>
                    </a:cxn>
                    <a:cxn ang="0">
                      <a:pos x="189" y="208"/>
                    </a:cxn>
                    <a:cxn ang="0">
                      <a:pos x="224" y="223"/>
                    </a:cxn>
                    <a:cxn ang="0">
                      <a:pos x="251" y="246"/>
                    </a:cxn>
                    <a:cxn ang="0">
                      <a:pos x="285" y="277"/>
                    </a:cxn>
                    <a:cxn ang="0">
                      <a:pos x="297" y="299"/>
                    </a:cxn>
                    <a:cxn ang="0">
                      <a:pos x="317" y="316"/>
                    </a:cxn>
                    <a:cxn ang="0">
                      <a:pos x="343" y="310"/>
                    </a:cxn>
                    <a:cxn ang="0">
                      <a:pos x="350" y="296"/>
                    </a:cxn>
                    <a:cxn ang="0">
                      <a:pos x="340" y="282"/>
                    </a:cxn>
                    <a:cxn ang="0">
                      <a:pos x="326" y="277"/>
                    </a:cxn>
                    <a:cxn ang="0">
                      <a:pos x="318" y="261"/>
                    </a:cxn>
                    <a:cxn ang="0">
                      <a:pos x="307" y="253"/>
                    </a:cxn>
                    <a:cxn ang="0">
                      <a:pos x="296" y="242"/>
                    </a:cxn>
                    <a:cxn ang="0">
                      <a:pos x="286" y="237"/>
                    </a:cxn>
                    <a:cxn ang="0">
                      <a:pos x="264" y="201"/>
                    </a:cxn>
                    <a:cxn ang="0">
                      <a:pos x="240" y="192"/>
                    </a:cxn>
                    <a:cxn ang="0">
                      <a:pos x="229" y="181"/>
                    </a:cxn>
                    <a:cxn ang="0">
                      <a:pos x="215" y="176"/>
                    </a:cxn>
                    <a:cxn ang="0">
                      <a:pos x="205" y="179"/>
                    </a:cxn>
                    <a:cxn ang="0">
                      <a:pos x="194" y="162"/>
                    </a:cxn>
                    <a:cxn ang="0">
                      <a:pos x="192" y="153"/>
                    </a:cxn>
                    <a:cxn ang="0">
                      <a:pos x="182" y="153"/>
                    </a:cxn>
                    <a:cxn ang="0">
                      <a:pos x="184" y="168"/>
                    </a:cxn>
                    <a:cxn ang="0">
                      <a:pos x="176" y="163"/>
                    </a:cxn>
                    <a:cxn ang="0">
                      <a:pos x="171" y="145"/>
                    </a:cxn>
                    <a:cxn ang="0">
                      <a:pos x="162" y="141"/>
                    </a:cxn>
                    <a:cxn ang="0">
                      <a:pos x="160" y="129"/>
                    </a:cxn>
                    <a:cxn ang="0">
                      <a:pos x="145" y="104"/>
                    </a:cxn>
                    <a:cxn ang="0">
                      <a:pos x="139" y="68"/>
                    </a:cxn>
                    <a:cxn ang="0">
                      <a:pos x="132" y="38"/>
                    </a:cxn>
                    <a:cxn ang="0">
                      <a:pos x="120" y="16"/>
                    </a:cxn>
                    <a:cxn ang="0">
                      <a:pos x="113" y="0"/>
                    </a:cxn>
                  </a:cxnLst>
                  <a:rect l="0" t="0" r="r" b="b"/>
                  <a:pathLst>
                    <a:path w="360" h="324">
                      <a:moveTo>
                        <a:pt x="109" y="0"/>
                      </a:moveTo>
                      <a:lnTo>
                        <a:pt x="107" y="9"/>
                      </a:lnTo>
                      <a:lnTo>
                        <a:pt x="100" y="24"/>
                      </a:lnTo>
                      <a:lnTo>
                        <a:pt x="87" y="30"/>
                      </a:lnTo>
                      <a:lnTo>
                        <a:pt x="79" y="33"/>
                      </a:lnTo>
                      <a:lnTo>
                        <a:pt x="58" y="43"/>
                      </a:lnTo>
                      <a:lnTo>
                        <a:pt x="53" y="50"/>
                      </a:lnTo>
                      <a:lnTo>
                        <a:pt x="44" y="55"/>
                      </a:lnTo>
                      <a:lnTo>
                        <a:pt x="31" y="56"/>
                      </a:lnTo>
                      <a:lnTo>
                        <a:pt x="27" y="65"/>
                      </a:lnTo>
                      <a:lnTo>
                        <a:pt x="23" y="86"/>
                      </a:lnTo>
                      <a:lnTo>
                        <a:pt x="23" y="94"/>
                      </a:lnTo>
                      <a:lnTo>
                        <a:pt x="20" y="115"/>
                      </a:lnTo>
                      <a:lnTo>
                        <a:pt x="11" y="149"/>
                      </a:lnTo>
                      <a:lnTo>
                        <a:pt x="4" y="163"/>
                      </a:lnTo>
                      <a:lnTo>
                        <a:pt x="0" y="180"/>
                      </a:lnTo>
                      <a:lnTo>
                        <a:pt x="0" y="200"/>
                      </a:lnTo>
                      <a:lnTo>
                        <a:pt x="3" y="216"/>
                      </a:lnTo>
                      <a:lnTo>
                        <a:pt x="5" y="217"/>
                      </a:lnTo>
                      <a:lnTo>
                        <a:pt x="20" y="217"/>
                      </a:lnTo>
                      <a:lnTo>
                        <a:pt x="23" y="219"/>
                      </a:lnTo>
                      <a:lnTo>
                        <a:pt x="27" y="219"/>
                      </a:lnTo>
                      <a:lnTo>
                        <a:pt x="30" y="216"/>
                      </a:lnTo>
                      <a:lnTo>
                        <a:pt x="31" y="213"/>
                      </a:lnTo>
                      <a:lnTo>
                        <a:pt x="34" y="210"/>
                      </a:lnTo>
                      <a:lnTo>
                        <a:pt x="42" y="210"/>
                      </a:lnTo>
                      <a:lnTo>
                        <a:pt x="47" y="215"/>
                      </a:lnTo>
                      <a:lnTo>
                        <a:pt x="47" y="218"/>
                      </a:lnTo>
                      <a:lnTo>
                        <a:pt x="55" y="228"/>
                      </a:lnTo>
                      <a:lnTo>
                        <a:pt x="75" y="184"/>
                      </a:lnTo>
                      <a:lnTo>
                        <a:pt x="79" y="189"/>
                      </a:lnTo>
                      <a:lnTo>
                        <a:pt x="85" y="195"/>
                      </a:lnTo>
                      <a:lnTo>
                        <a:pt x="92" y="195"/>
                      </a:lnTo>
                      <a:lnTo>
                        <a:pt x="95" y="196"/>
                      </a:lnTo>
                      <a:lnTo>
                        <a:pt x="95" y="199"/>
                      </a:lnTo>
                      <a:lnTo>
                        <a:pt x="103" y="210"/>
                      </a:lnTo>
                      <a:lnTo>
                        <a:pt x="112" y="210"/>
                      </a:lnTo>
                      <a:lnTo>
                        <a:pt x="116" y="208"/>
                      </a:lnTo>
                      <a:lnTo>
                        <a:pt x="129" y="206"/>
                      </a:lnTo>
                      <a:lnTo>
                        <a:pt x="135" y="201"/>
                      </a:lnTo>
                      <a:lnTo>
                        <a:pt x="135" y="197"/>
                      </a:lnTo>
                      <a:lnTo>
                        <a:pt x="140" y="197"/>
                      </a:lnTo>
                      <a:lnTo>
                        <a:pt x="145" y="202"/>
                      </a:lnTo>
                      <a:lnTo>
                        <a:pt x="148" y="208"/>
                      </a:lnTo>
                      <a:lnTo>
                        <a:pt x="150" y="208"/>
                      </a:lnTo>
                      <a:lnTo>
                        <a:pt x="151" y="207"/>
                      </a:lnTo>
                      <a:lnTo>
                        <a:pt x="159" y="206"/>
                      </a:lnTo>
                      <a:lnTo>
                        <a:pt x="163" y="202"/>
                      </a:lnTo>
                      <a:lnTo>
                        <a:pt x="167" y="202"/>
                      </a:lnTo>
                      <a:lnTo>
                        <a:pt x="172" y="206"/>
                      </a:lnTo>
                      <a:lnTo>
                        <a:pt x="182" y="206"/>
                      </a:lnTo>
                      <a:lnTo>
                        <a:pt x="184" y="210"/>
                      </a:lnTo>
                      <a:lnTo>
                        <a:pt x="187" y="210"/>
                      </a:lnTo>
                      <a:lnTo>
                        <a:pt x="189" y="208"/>
                      </a:lnTo>
                      <a:lnTo>
                        <a:pt x="202" y="207"/>
                      </a:lnTo>
                      <a:lnTo>
                        <a:pt x="214" y="218"/>
                      </a:lnTo>
                      <a:lnTo>
                        <a:pt x="224" y="223"/>
                      </a:lnTo>
                      <a:lnTo>
                        <a:pt x="231" y="224"/>
                      </a:lnTo>
                      <a:lnTo>
                        <a:pt x="243" y="235"/>
                      </a:lnTo>
                      <a:lnTo>
                        <a:pt x="251" y="246"/>
                      </a:lnTo>
                      <a:lnTo>
                        <a:pt x="256" y="255"/>
                      </a:lnTo>
                      <a:lnTo>
                        <a:pt x="273" y="267"/>
                      </a:lnTo>
                      <a:lnTo>
                        <a:pt x="285" y="277"/>
                      </a:lnTo>
                      <a:lnTo>
                        <a:pt x="291" y="283"/>
                      </a:lnTo>
                      <a:lnTo>
                        <a:pt x="294" y="292"/>
                      </a:lnTo>
                      <a:lnTo>
                        <a:pt x="297" y="299"/>
                      </a:lnTo>
                      <a:lnTo>
                        <a:pt x="306" y="303"/>
                      </a:lnTo>
                      <a:lnTo>
                        <a:pt x="313" y="309"/>
                      </a:lnTo>
                      <a:lnTo>
                        <a:pt x="317" y="316"/>
                      </a:lnTo>
                      <a:lnTo>
                        <a:pt x="323" y="324"/>
                      </a:lnTo>
                      <a:lnTo>
                        <a:pt x="328" y="318"/>
                      </a:lnTo>
                      <a:lnTo>
                        <a:pt x="343" y="310"/>
                      </a:lnTo>
                      <a:lnTo>
                        <a:pt x="360" y="299"/>
                      </a:lnTo>
                      <a:lnTo>
                        <a:pt x="356" y="293"/>
                      </a:lnTo>
                      <a:lnTo>
                        <a:pt x="350" y="296"/>
                      </a:lnTo>
                      <a:lnTo>
                        <a:pt x="344" y="292"/>
                      </a:lnTo>
                      <a:lnTo>
                        <a:pt x="342" y="289"/>
                      </a:lnTo>
                      <a:lnTo>
                        <a:pt x="340" y="282"/>
                      </a:lnTo>
                      <a:lnTo>
                        <a:pt x="339" y="281"/>
                      </a:lnTo>
                      <a:lnTo>
                        <a:pt x="331" y="280"/>
                      </a:lnTo>
                      <a:lnTo>
                        <a:pt x="326" y="277"/>
                      </a:lnTo>
                      <a:lnTo>
                        <a:pt x="324" y="274"/>
                      </a:lnTo>
                      <a:lnTo>
                        <a:pt x="322" y="264"/>
                      </a:lnTo>
                      <a:lnTo>
                        <a:pt x="318" y="261"/>
                      </a:lnTo>
                      <a:lnTo>
                        <a:pt x="317" y="256"/>
                      </a:lnTo>
                      <a:lnTo>
                        <a:pt x="311" y="255"/>
                      </a:lnTo>
                      <a:lnTo>
                        <a:pt x="307" y="253"/>
                      </a:lnTo>
                      <a:lnTo>
                        <a:pt x="302" y="243"/>
                      </a:lnTo>
                      <a:lnTo>
                        <a:pt x="301" y="240"/>
                      </a:lnTo>
                      <a:lnTo>
                        <a:pt x="296" y="242"/>
                      </a:lnTo>
                      <a:lnTo>
                        <a:pt x="291" y="239"/>
                      </a:lnTo>
                      <a:lnTo>
                        <a:pt x="289" y="239"/>
                      </a:lnTo>
                      <a:lnTo>
                        <a:pt x="286" y="237"/>
                      </a:lnTo>
                      <a:lnTo>
                        <a:pt x="286" y="232"/>
                      </a:lnTo>
                      <a:lnTo>
                        <a:pt x="279" y="223"/>
                      </a:lnTo>
                      <a:lnTo>
                        <a:pt x="264" y="201"/>
                      </a:lnTo>
                      <a:lnTo>
                        <a:pt x="256" y="196"/>
                      </a:lnTo>
                      <a:lnTo>
                        <a:pt x="246" y="196"/>
                      </a:lnTo>
                      <a:lnTo>
                        <a:pt x="240" y="192"/>
                      </a:lnTo>
                      <a:lnTo>
                        <a:pt x="236" y="192"/>
                      </a:lnTo>
                      <a:lnTo>
                        <a:pt x="232" y="189"/>
                      </a:lnTo>
                      <a:lnTo>
                        <a:pt x="229" y="181"/>
                      </a:lnTo>
                      <a:lnTo>
                        <a:pt x="226" y="179"/>
                      </a:lnTo>
                      <a:lnTo>
                        <a:pt x="221" y="176"/>
                      </a:lnTo>
                      <a:lnTo>
                        <a:pt x="215" y="176"/>
                      </a:lnTo>
                      <a:lnTo>
                        <a:pt x="213" y="180"/>
                      </a:lnTo>
                      <a:lnTo>
                        <a:pt x="209" y="181"/>
                      </a:lnTo>
                      <a:lnTo>
                        <a:pt x="205" y="179"/>
                      </a:lnTo>
                      <a:lnTo>
                        <a:pt x="199" y="170"/>
                      </a:lnTo>
                      <a:lnTo>
                        <a:pt x="195" y="165"/>
                      </a:lnTo>
                      <a:lnTo>
                        <a:pt x="194" y="162"/>
                      </a:lnTo>
                      <a:lnTo>
                        <a:pt x="197" y="157"/>
                      </a:lnTo>
                      <a:lnTo>
                        <a:pt x="195" y="154"/>
                      </a:lnTo>
                      <a:lnTo>
                        <a:pt x="192" y="153"/>
                      </a:lnTo>
                      <a:lnTo>
                        <a:pt x="188" y="149"/>
                      </a:lnTo>
                      <a:lnTo>
                        <a:pt x="184" y="151"/>
                      </a:lnTo>
                      <a:lnTo>
                        <a:pt x="182" y="153"/>
                      </a:lnTo>
                      <a:lnTo>
                        <a:pt x="182" y="158"/>
                      </a:lnTo>
                      <a:lnTo>
                        <a:pt x="186" y="162"/>
                      </a:lnTo>
                      <a:lnTo>
                        <a:pt x="184" y="168"/>
                      </a:lnTo>
                      <a:lnTo>
                        <a:pt x="182" y="168"/>
                      </a:lnTo>
                      <a:lnTo>
                        <a:pt x="177" y="165"/>
                      </a:lnTo>
                      <a:lnTo>
                        <a:pt x="176" y="163"/>
                      </a:lnTo>
                      <a:lnTo>
                        <a:pt x="176" y="158"/>
                      </a:lnTo>
                      <a:lnTo>
                        <a:pt x="173" y="156"/>
                      </a:lnTo>
                      <a:lnTo>
                        <a:pt x="171" y="145"/>
                      </a:lnTo>
                      <a:lnTo>
                        <a:pt x="170" y="143"/>
                      </a:lnTo>
                      <a:lnTo>
                        <a:pt x="165" y="142"/>
                      </a:lnTo>
                      <a:lnTo>
                        <a:pt x="162" y="141"/>
                      </a:lnTo>
                      <a:lnTo>
                        <a:pt x="162" y="137"/>
                      </a:lnTo>
                      <a:lnTo>
                        <a:pt x="160" y="136"/>
                      </a:lnTo>
                      <a:lnTo>
                        <a:pt x="160" y="129"/>
                      </a:lnTo>
                      <a:lnTo>
                        <a:pt x="154" y="125"/>
                      </a:lnTo>
                      <a:lnTo>
                        <a:pt x="150" y="120"/>
                      </a:lnTo>
                      <a:lnTo>
                        <a:pt x="145" y="104"/>
                      </a:lnTo>
                      <a:lnTo>
                        <a:pt x="144" y="94"/>
                      </a:lnTo>
                      <a:lnTo>
                        <a:pt x="141" y="84"/>
                      </a:lnTo>
                      <a:lnTo>
                        <a:pt x="139" y="68"/>
                      </a:lnTo>
                      <a:lnTo>
                        <a:pt x="138" y="63"/>
                      </a:lnTo>
                      <a:lnTo>
                        <a:pt x="134" y="49"/>
                      </a:lnTo>
                      <a:lnTo>
                        <a:pt x="132" y="38"/>
                      </a:lnTo>
                      <a:lnTo>
                        <a:pt x="130" y="30"/>
                      </a:lnTo>
                      <a:lnTo>
                        <a:pt x="125" y="20"/>
                      </a:lnTo>
                      <a:lnTo>
                        <a:pt x="120" y="16"/>
                      </a:lnTo>
                      <a:lnTo>
                        <a:pt x="118" y="8"/>
                      </a:lnTo>
                      <a:lnTo>
                        <a:pt x="114" y="1"/>
                      </a:lnTo>
                      <a:lnTo>
                        <a:pt x="113" y="0"/>
                      </a:lnTo>
                      <a:lnTo>
                        <a:pt x="109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26" name="Freeform 125"/>
                <p:cNvSpPr>
                  <a:spLocks noChangeAspect="1"/>
                </p:cNvSpPr>
                <p:nvPr/>
              </p:nvSpPr>
              <p:spPr bwMode="gray">
                <a:xfrm>
                  <a:off x="4548981" y="3245197"/>
                  <a:ext cx="282575" cy="269875"/>
                </a:xfrm>
                <a:custGeom>
                  <a:avLst/>
                  <a:gdLst/>
                  <a:ahLst/>
                  <a:cxnLst>
                    <a:cxn ang="0">
                      <a:pos x="727" y="243"/>
                    </a:cxn>
                    <a:cxn ang="0">
                      <a:pos x="755" y="259"/>
                    </a:cxn>
                    <a:cxn ang="0">
                      <a:pos x="780" y="281"/>
                    </a:cxn>
                    <a:cxn ang="0">
                      <a:pos x="809" y="291"/>
                    </a:cxn>
                    <a:cxn ang="0">
                      <a:pos x="839" y="303"/>
                    </a:cxn>
                    <a:cxn ang="0">
                      <a:pos x="841" y="319"/>
                    </a:cxn>
                    <a:cxn ang="0">
                      <a:pos x="840" y="336"/>
                    </a:cxn>
                    <a:cxn ang="0">
                      <a:pos x="858" y="356"/>
                    </a:cxn>
                    <a:cxn ang="0">
                      <a:pos x="890" y="346"/>
                    </a:cxn>
                    <a:cxn ang="0">
                      <a:pos x="891" y="522"/>
                    </a:cxn>
                    <a:cxn ang="0">
                      <a:pos x="861" y="550"/>
                    </a:cxn>
                    <a:cxn ang="0">
                      <a:pos x="829" y="559"/>
                    </a:cxn>
                    <a:cxn ang="0">
                      <a:pos x="674" y="582"/>
                    </a:cxn>
                    <a:cxn ang="0">
                      <a:pos x="561" y="631"/>
                    </a:cxn>
                    <a:cxn ang="0">
                      <a:pos x="468" y="677"/>
                    </a:cxn>
                    <a:cxn ang="0">
                      <a:pos x="439" y="716"/>
                    </a:cxn>
                    <a:cxn ang="0">
                      <a:pos x="395" y="770"/>
                    </a:cxn>
                    <a:cxn ang="0">
                      <a:pos x="379" y="830"/>
                    </a:cxn>
                    <a:cxn ang="0">
                      <a:pos x="361" y="835"/>
                    </a:cxn>
                    <a:cxn ang="0">
                      <a:pos x="336" y="846"/>
                    </a:cxn>
                    <a:cxn ang="0">
                      <a:pos x="325" y="828"/>
                    </a:cxn>
                    <a:cxn ang="0">
                      <a:pos x="312" y="828"/>
                    </a:cxn>
                    <a:cxn ang="0">
                      <a:pos x="299" y="831"/>
                    </a:cxn>
                    <a:cxn ang="0">
                      <a:pos x="282" y="846"/>
                    </a:cxn>
                    <a:cxn ang="0">
                      <a:pos x="266" y="844"/>
                    </a:cxn>
                    <a:cxn ang="0">
                      <a:pos x="256" y="835"/>
                    </a:cxn>
                    <a:cxn ang="0">
                      <a:pos x="239" y="840"/>
                    </a:cxn>
                    <a:cxn ang="0">
                      <a:pos x="227" y="842"/>
                    </a:cxn>
                    <a:cxn ang="0">
                      <a:pos x="210" y="806"/>
                    </a:cxn>
                    <a:cxn ang="0">
                      <a:pos x="191" y="808"/>
                    </a:cxn>
                    <a:cxn ang="0">
                      <a:pos x="201" y="792"/>
                    </a:cxn>
                    <a:cxn ang="0">
                      <a:pos x="201" y="782"/>
                    </a:cxn>
                    <a:cxn ang="0">
                      <a:pos x="183" y="767"/>
                    </a:cxn>
                    <a:cxn ang="0">
                      <a:pos x="178" y="737"/>
                    </a:cxn>
                    <a:cxn ang="0">
                      <a:pos x="170" y="721"/>
                    </a:cxn>
                    <a:cxn ang="0">
                      <a:pos x="153" y="720"/>
                    </a:cxn>
                    <a:cxn ang="0">
                      <a:pos x="136" y="743"/>
                    </a:cxn>
                    <a:cxn ang="0">
                      <a:pos x="99" y="736"/>
                    </a:cxn>
                    <a:cxn ang="0">
                      <a:pos x="78" y="750"/>
                    </a:cxn>
                    <a:cxn ang="0">
                      <a:pos x="52" y="747"/>
                    </a:cxn>
                    <a:cxn ang="0">
                      <a:pos x="43" y="732"/>
                    </a:cxn>
                    <a:cxn ang="0">
                      <a:pos x="44" y="717"/>
                    </a:cxn>
                    <a:cxn ang="0">
                      <a:pos x="45" y="697"/>
                    </a:cxn>
                    <a:cxn ang="0">
                      <a:pos x="36" y="682"/>
                    </a:cxn>
                    <a:cxn ang="0">
                      <a:pos x="24" y="673"/>
                    </a:cxn>
                    <a:cxn ang="0">
                      <a:pos x="9" y="652"/>
                    </a:cxn>
                    <a:cxn ang="0">
                      <a:pos x="9" y="621"/>
                    </a:cxn>
                    <a:cxn ang="0">
                      <a:pos x="1" y="608"/>
                    </a:cxn>
                    <a:cxn ang="0">
                      <a:pos x="30" y="554"/>
                    </a:cxn>
                    <a:cxn ang="0">
                      <a:pos x="45" y="533"/>
                    </a:cxn>
                    <a:cxn ang="0">
                      <a:pos x="84" y="572"/>
                    </a:cxn>
                    <a:cxn ang="0">
                      <a:pos x="344" y="555"/>
                    </a:cxn>
                    <a:cxn ang="0">
                      <a:pos x="341" y="389"/>
                    </a:cxn>
                    <a:cxn ang="0">
                      <a:pos x="313" y="114"/>
                    </a:cxn>
                  </a:cxnLst>
                  <a:rect l="0" t="0" r="r" b="b"/>
                  <a:pathLst>
                    <a:path w="891" h="851">
                      <a:moveTo>
                        <a:pt x="462" y="44"/>
                      </a:moveTo>
                      <a:lnTo>
                        <a:pt x="724" y="226"/>
                      </a:lnTo>
                      <a:lnTo>
                        <a:pt x="724" y="231"/>
                      </a:lnTo>
                      <a:lnTo>
                        <a:pt x="728" y="234"/>
                      </a:lnTo>
                      <a:lnTo>
                        <a:pt x="727" y="243"/>
                      </a:lnTo>
                      <a:lnTo>
                        <a:pt x="728" y="247"/>
                      </a:lnTo>
                      <a:lnTo>
                        <a:pt x="734" y="250"/>
                      </a:lnTo>
                      <a:lnTo>
                        <a:pt x="742" y="252"/>
                      </a:lnTo>
                      <a:lnTo>
                        <a:pt x="753" y="258"/>
                      </a:lnTo>
                      <a:lnTo>
                        <a:pt x="755" y="259"/>
                      </a:lnTo>
                      <a:lnTo>
                        <a:pt x="756" y="265"/>
                      </a:lnTo>
                      <a:lnTo>
                        <a:pt x="758" y="270"/>
                      </a:lnTo>
                      <a:lnTo>
                        <a:pt x="765" y="276"/>
                      </a:lnTo>
                      <a:lnTo>
                        <a:pt x="770" y="279"/>
                      </a:lnTo>
                      <a:lnTo>
                        <a:pt x="780" y="281"/>
                      </a:lnTo>
                      <a:lnTo>
                        <a:pt x="788" y="280"/>
                      </a:lnTo>
                      <a:lnTo>
                        <a:pt x="791" y="281"/>
                      </a:lnTo>
                      <a:lnTo>
                        <a:pt x="794" y="288"/>
                      </a:lnTo>
                      <a:lnTo>
                        <a:pt x="798" y="291"/>
                      </a:lnTo>
                      <a:lnTo>
                        <a:pt x="809" y="291"/>
                      </a:lnTo>
                      <a:lnTo>
                        <a:pt x="813" y="293"/>
                      </a:lnTo>
                      <a:lnTo>
                        <a:pt x="818" y="293"/>
                      </a:lnTo>
                      <a:lnTo>
                        <a:pt x="826" y="298"/>
                      </a:lnTo>
                      <a:lnTo>
                        <a:pt x="835" y="301"/>
                      </a:lnTo>
                      <a:lnTo>
                        <a:pt x="839" y="303"/>
                      </a:lnTo>
                      <a:lnTo>
                        <a:pt x="840" y="307"/>
                      </a:lnTo>
                      <a:lnTo>
                        <a:pt x="841" y="307"/>
                      </a:lnTo>
                      <a:lnTo>
                        <a:pt x="842" y="313"/>
                      </a:lnTo>
                      <a:lnTo>
                        <a:pt x="841" y="315"/>
                      </a:lnTo>
                      <a:lnTo>
                        <a:pt x="841" y="319"/>
                      </a:lnTo>
                      <a:lnTo>
                        <a:pt x="844" y="324"/>
                      </a:lnTo>
                      <a:lnTo>
                        <a:pt x="844" y="325"/>
                      </a:lnTo>
                      <a:lnTo>
                        <a:pt x="840" y="328"/>
                      </a:lnTo>
                      <a:lnTo>
                        <a:pt x="839" y="330"/>
                      </a:lnTo>
                      <a:lnTo>
                        <a:pt x="840" y="336"/>
                      </a:lnTo>
                      <a:lnTo>
                        <a:pt x="837" y="341"/>
                      </a:lnTo>
                      <a:lnTo>
                        <a:pt x="837" y="346"/>
                      </a:lnTo>
                      <a:lnTo>
                        <a:pt x="845" y="355"/>
                      </a:lnTo>
                      <a:lnTo>
                        <a:pt x="851" y="356"/>
                      </a:lnTo>
                      <a:lnTo>
                        <a:pt x="858" y="356"/>
                      </a:lnTo>
                      <a:lnTo>
                        <a:pt x="867" y="351"/>
                      </a:lnTo>
                      <a:lnTo>
                        <a:pt x="875" y="351"/>
                      </a:lnTo>
                      <a:lnTo>
                        <a:pt x="885" y="346"/>
                      </a:lnTo>
                      <a:lnTo>
                        <a:pt x="890" y="344"/>
                      </a:lnTo>
                      <a:lnTo>
                        <a:pt x="890" y="346"/>
                      </a:lnTo>
                      <a:lnTo>
                        <a:pt x="891" y="347"/>
                      </a:lnTo>
                      <a:lnTo>
                        <a:pt x="891" y="358"/>
                      </a:lnTo>
                      <a:lnTo>
                        <a:pt x="891" y="414"/>
                      </a:lnTo>
                      <a:lnTo>
                        <a:pt x="891" y="468"/>
                      </a:lnTo>
                      <a:lnTo>
                        <a:pt x="891" y="522"/>
                      </a:lnTo>
                      <a:lnTo>
                        <a:pt x="888" y="523"/>
                      </a:lnTo>
                      <a:lnTo>
                        <a:pt x="878" y="529"/>
                      </a:lnTo>
                      <a:lnTo>
                        <a:pt x="874" y="535"/>
                      </a:lnTo>
                      <a:lnTo>
                        <a:pt x="873" y="543"/>
                      </a:lnTo>
                      <a:lnTo>
                        <a:pt x="861" y="550"/>
                      </a:lnTo>
                      <a:lnTo>
                        <a:pt x="857" y="553"/>
                      </a:lnTo>
                      <a:lnTo>
                        <a:pt x="855" y="556"/>
                      </a:lnTo>
                      <a:lnTo>
                        <a:pt x="855" y="561"/>
                      </a:lnTo>
                      <a:lnTo>
                        <a:pt x="842" y="560"/>
                      </a:lnTo>
                      <a:lnTo>
                        <a:pt x="829" y="559"/>
                      </a:lnTo>
                      <a:lnTo>
                        <a:pt x="829" y="562"/>
                      </a:lnTo>
                      <a:lnTo>
                        <a:pt x="824" y="561"/>
                      </a:lnTo>
                      <a:lnTo>
                        <a:pt x="735" y="562"/>
                      </a:lnTo>
                      <a:lnTo>
                        <a:pt x="711" y="582"/>
                      </a:lnTo>
                      <a:lnTo>
                        <a:pt x="674" y="582"/>
                      </a:lnTo>
                      <a:lnTo>
                        <a:pt x="641" y="583"/>
                      </a:lnTo>
                      <a:lnTo>
                        <a:pt x="621" y="591"/>
                      </a:lnTo>
                      <a:lnTo>
                        <a:pt x="613" y="594"/>
                      </a:lnTo>
                      <a:lnTo>
                        <a:pt x="598" y="607"/>
                      </a:lnTo>
                      <a:lnTo>
                        <a:pt x="561" y="631"/>
                      </a:lnTo>
                      <a:lnTo>
                        <a:pt x="549" y="647"/>
                      </a:lnTo>
                      <a:lnTo>
                        <a:pt x="530" y="661"/>
                      </a:lnTo>
                      <a:lnTo>
                        <a:pt x="492" y="673"/>
                      </a:lnTo>
                      <a:lnTo>
                        <a:pt x="480" y="675"/>
                      </a:lnTo>
                      <a:lnTo>
                        <a:pt x="468" y="677"/>
                      </a:lnTo>
                      <a:lnTo>
                        <a:pt x="462" y="678"/>
                      </a:lnTo>
                      <a:lnTo>
                        <a:pt x="453" y="684"/>
                      </a:lnTo>
                      <a:lnTo>
                        <a:pt x="448" y="690"/>
                      </a:lnTo>
                      <a:lnTo>
                        <a:pt x="443" y="701"/>
                      </a:lnTo>
                      <a:lnTo>
                        <a:pt x="439" y="716"/>
                      </a:lnTo>
                      <a:lnTo>
                        <a:pt x="432" y="734"/>
                      </a:lnTo>
                      <a:lnTo>
                        <a:pt x="425" y="744"/>
                      </a:lnTo>
                      <a:lnTo>
                        <a:pt x="409" y="756"/>
                      </a:lnTo>
                      <a:lnTo>
                        <a:pt x="399" y="765"/>
                      </a:lnTo>
                      <a:lnTo>
                        <a:pt x="395" y="770"/>
                      </a:lnTo>
                      <a:lnTo>
                        <a:pt x="390" y="779"/>
                      </a:lnTo>
                      <a:lnTo>
                        <a:pt x="389" y="788"/>
                      </a:lnTo>
                      <a:lnTo>
                        <a:pt x="380" y="806"/>
                      </a:lnTo>
                      <a:lnTo>
                        <a:pt x="379" y="817"/>
                      </a:lnTo>
                      <a:lnTo>
                        <a:pt x="379" y="830"/>
                      </a:lnTo>
                      <a:lnTo>
                        <a:pt x="380" y="841"/>
                      </a:lnTo>
                      <a:lnTo>
                        <a:pt x="369" y="844"/>
                      </a:lnTo>
                      <a:lnTo>
                        <a:pt x="367" y="842"/>
                      </a:lnTo>
                      <a:lnTo>
                        <a:pt x="363" y="836"/>
                      </a:lnTo>
                      <a:lnTo>
                        <a:pt x="361" y="835"/>
                      </a:lnTo>
                      <a:lnTo>
                        <a:pt x="350" y="835"/>
                      </a:lnTo>
                      <a:lnTo>
                        <a:pt x="346" y="836"/>
                      </a:lnTo>
                      <a:lnTo>
                        <a:pt x="344" y="842"/>
                      </a:lnTo>
                      <a:lnTo>
                        <a:pt x="340" y="842"/>
                      </a:lnTo>
                      <a:lnTo>
                        <a:pt x="336" y="846"/>
                      </a:lnTo>
                      <a:lnTo>
                        <a:pt x="326" y="846"/>
                      </a:lnTo>
                      <a:lnTo>
                        <a:pt x="328" y="844"/>
                      </a:lnTo>
                      <a:lnTo>
                        <a:pt x="326" y="833"/>
                      </a:lnTo>
                      <a:lnTo>
                        <a:pt x="325" y="829"/>
                      </a:lnTo>
                      <a:lnTo>
                        <a:pt x="325" y="828"/>
                      </a:lnTo>
                      <a:lnTo>
                        <a:pt x="325" y="823"/>
                      </a:lnTo>
                      <a:lnTo>
                        <a:pt x="323" y="819"/>
                      </a:lnTo>
                      <a:lnTo>
                        <a:pt x="320" y="820"/>
                      </a:lnTo>
                      <a:lnTo>
                        <a:pt x="314" y="820"/>
                      </a:lnTo>
                      <a:lnTo>
                        <a:pt x="312" y="828"/>
                      </a:lnTo>
                      <a:lnTo>
                        <a:pt x="310" y="828"/>
                      </a:lnTo>
                      <a:lnTo>
                        <a:pt x="304" y="824"/>
                      </a:lnTo>
                      <a:lnTo>
                        <a:pt x="302" y="824"/>
                      </a:lnTo>
                      <a:lnTo>
                        <a:pt x="299" y="828"/>
                      </a:lnTo>
                      <a:lnTo>
                        <a:pt x="299" y="831"/>
                      </a:lnTo>
                      <a:lnTo>
                        <a:pt x="301" y="837"/>
                      </a:lnTo>
                      <a:lnTo>
                        <a:pt x="299" y="840"/>
                      </a:lnTo>
                      <a:lnTo>
                        <a:pt x="288" y="840"/>
                      </a:lnTo>
                      <a:lnTo>
                        <a:pt x="282" y="842"/>
                      </a:lnTo>
                      <a:lnTo>
                        <a:pt x="282" y="846"/>
                      </a:lnTo>
                      <a:lnTo>
                        <a:pt x="280" y="851"/>
                      </a:lnTo>
                      <a:lnTo>
                        <a:pt x="276" y="851"/>
                      </a:lnTo>
                      <a:lnTo>
                        <a:pt x="272" y="849"/>
                      </a:lnTo>
                      <a:lnTo>
                        <a:pt x="269" y="844"/>
                      </a:lnTo>
                      <a:lnTo>
                        <a:pt x="266" y="844"/>
                      </a:lnTo>
                      <a:lnTo>
                        <a:pt x="264" y="845"/>
                      </a:lnTo>
                      <a:lnTo>
                        <a:pt x="262" y="846"/>
                      </a:lnTo>
                      <a:lnTo>
                        <a:pt x="261" y="846"/>
                      </a:lnTo>
                      <a:lnTo>
                        <a:pt x="260" y="840"/>
                      </a:lnTo>
                      <a:lnTo>
                        <a:pt x="256" y="835"/>
                      </a:lnTo>
                      <a:lnTo>
                        <a:pt x="253" y="834"/>
                      </a:lnTo>
                      <a:lnTo>
                        <a:pt x="249" y="837"/>
                      </a:lnTo>
                      <a:lnTo>
                        <a:pt x="244" y="836"/>
                      </a:lnTo>
                      <a:lnTo>
                        <a:pt x="242" y="837"/>
                      </a:lnTo>
                      <a:lnTo>
                        <a:pt x="239" y="840"/>
                      </a:lnTo>
                      <a:lnTo>
                        <a:pt x="238" y="844"/>
                      </a:lnTo>
                      <a:lnTo>
                        <a:pt x="235" y="847"/>
                      </a:lnTo>
                      <a:lnTo>
                        <a:pt x="229" y="849"/>
                      </a:lnTo>
                      <a:lnTo>
                        <a:pt x="229" y="846"/>
                      </a:lnTo>
                      <a:lnTo>
                        <a:pt x="227" y="842"/>
                      </a:lnTo>
                      <a:lnTo>
                        <a:pt x="222" y="840"/>
                      </a:lnTo>
                      <a:lnTo>
                        <a:pt x="220" y="835"/>
                      </a:lnTo>
                      <a:lnTo>
                        <a:pt x="215" y="835"/>
                      </a:lnTo>
                      <a:lnTo>
                        <a:pt x="211" y="829"/>
                      </a:lnTo>
                      <a:lnTo>
                        <a:pt x="210" y="806"/>
                      </a:lnTo>
                      <a:lnTo>
                        <a:pt x="210" y="802"/>
                      </a:lnTo>
                      <a:lnTo>
                        <a:pt x="205" y="801"/>
                      </a:lnTo>
                      <a:lnTo>
                        <a:pt x="200" y="801"/>
                      </a:lnTo>
                      <a:lnTo>
                        <a:pt x="194" y="808"/>
                      </a:lnTo>
                      <a:lnTo>
                        <a:pt x="191" y="808"/>
                      </a:lnTo>
                      <a:lnTo>
                        <a:pt x="191" y="801"/>
                      </a:lnTo>
                      <a:lnTo>
                        <a:pt x="192" y="798"/>
                      </a:lnTo>
                      <a:lnTo>
                        <a:pt x="197" y="797"/>
                      </a:lnTo>
                      <a:lnTo>
                        <a:pt x="197" y="792"/>
                      </a:lnTo>
                      <a:lnTo>
                        <a:pt x="201" y="792"/>
                      </a:lnTo>
                      <a:lnTo>
                        <a:pt x="204" y="788"/>
                      </a:lnTo>
                      <a:lnTo>
                        <a:pt x="207" y="788"/>
                      </a:lnTo>
                      <a:lnTo>
                        <a:pt x="207" y="782"/>
                      </a:lnTo>
                      <a:lnTo>
                        <a:pt x="206" y="782"/>
                      </a:lnTo>
                      <a:lnTo>
                        <a:pt x="201" y="782"/>
                      </a:lnTo>
                      <a:lnTo>
                        <a:pt x="197" y="779"/>
                      </a:lnTo>
                      <a:lnTo>
                        <a:pt x="194" y="776"/>
                      </a:lnTo>
                      <a:lnTo>
                        <a:pt x="189" y="766"/>
                      </a:lnTo>
                      <a:lnTo>
                        <a:pt x="184" y="769"/>
                      </a:lnTo>
                      <a:lnTo>
                        <a:pt x="183" y="767"/>
                      </a:lnTo>
                      <a:lnTo>
                        <a:pt x="183" y="750"/>
                      </a:lnTo>
                      <a:lnTo>
                        <a:pt x="181" y="745"/>
                      </a:lnTo>
                      <a:lnTo>
                        <a:pt x="179" y="745"/>
                      </a:lnTo>
                      <a:lnTo>
                        <a:pt x="179" y="739"/>
                      </a:lnTo>
                      <a:lnTo>
                        <a:pt x="178" y="737"/>
                      </a:lnTo>
                      <a:lnTo>
                        <a:pt x="174" y="737"/>
                      </a:lnTo>
                      <a:lnTo>
                        <a:pt x="173" y="737"/>
                      </a:lnTo>
                      <a:lnTo>
                        <a:pt x="174" y="724"/>
                      </a:lnTo>
                      <a:lnTo>
                        <a:pt x="174" y="723"/>
                      </a:lnTo>
                      <a:lnTo>
                        <a:pt x="170" y="721"/>
                      </a:lnTo>
                      <a:lnTo>
                        <a:pt x="168" y="721"/>
                      </a:lnTo>
                      <a:lnTo>
                        <a:pt x="164" y="724"/>
                      </a:lnTo>
                      <a:lnTo>
                        <a:pt x="163" y="724"/>
                      </a:lnTo>
                      <a:lnTo>
                        <a:pt x="156" y="720"/>
                      </a:lnTo>
                      <a:lnTo>
                        <a:pt x="153" y="720"/>
                      </a:lnTo>
                      <a:lnTo>
                        <a:pt x="152" y="721"/>
                      </a:lnTo>
                      <a:lnTo>
                        <a:pt x="152" y="729"/>
                      </a:lnTo>
                      <a:lnTo>
                        <a:pt x="149" y="733"/>
                      </a:lnTo>
                      <a:lnTo>
                        <a:pt x="136" y="737"/>
                      </a:lnTo>
                      <a:lnTo>
                        <a:pt x="136" y="743"/>
                      </a:lnTo>
                      <a:lnTo>
                        <a:pt x="134" y="747"/>
                      </a:lnTo>
                      <a:lnTo>
                        <a:pt x="120" y="743"/>
                      </a:lnTo>
                      <a:lnTo>
                        <a:pt x="110" y="737"/>
                      </a:lnTo>
                      <a:lnTo>
                        <a:pt x="102" y="736"/>
                      </a:lnTo>
                      <a:lnTo>
                        <a:pt x="99" y="736"/>
                      </a:lnTo>
                      <a:lnTo>
                        <a:pt x="95" y="742"/>
                      </a:lnTo>
                      <a:lnTo>
                        <a:pt x="89" y="743"/>
                      </a:lnTo>
                      <a:lnTo>
                        <a:pt x="87" y="749"/>
                      </a:lnTo>
                      <a:lnTo>
                        <a:pt x="83" y="753"/>
                      </a:lnTo>
                      <a:lnTo>
                        <a:pt x="78" y="750"/>
                      </a:lnTo>
                      <a:lnTo>
                        <a:pt x="70" y="739"/>
                      </a:lnTo>
                      <a:lnTo>
                        <a:pt x="67" y="737"/>
                      </a:lnTo>
                      <a:lnTo>
                        <a:pt x="62" y="737"/>
                      </a:lnTo>
                      <a:lnTo>
                        <a:pt x="56" y="743"/>
                      </a:lnTo>
                      <a:lnTo>
                        <a:pt x="52" y="747"/>
                      </a:lnTo>
                      <a:lnTo>
                        <a:pt x="48" y="748"/>
                      </a:lnTo>
                      <a:lnTo>
                        <a:pt x="43" y="744"/>
                      </a:lnTo>
                      <a:lnTo>
                        <a:pt x="38" y="740"/>
                      </a:lnTo>
                      <a:lnTo>
                        <a:pt x="39" y="737"/>
                      </a:lnTo>
                      <a:lnTo>
                        <a:pt x="43" y="732"/>
                      </a:lnTo>
                      <a:lnTo>
                        <a:pt x="43" y="728"/>
                      </a:lnTo>
                      <a:lnTo>
                        <a:pt x="46" y="724"/>
                      </a:lnTo>
                      <a:lnTo>
                        <a:pt x="48" y="723"/>
                      </a:lnTo>
                      <a:lnTo>
                        <a:pt x="48" y="721"/>
                      </a:lnTo>
                      <a:lnTo>
                        <a:pt x="44" y="717"/>
                      </a:lnTo>
                      <a:lnTo>
                        <a:pt x="44" y="710"/>
                      </a:lnTo>
                      <a:lnTo>
                        <a:pt x="46" y="706"/>
                      </a:lnTo>
                      <a:lnTo>
                        <a:pt x="46" y="702"/>
                      </a:lnTo>
                      <a:lnTo>
                        <a:pt x="45" y="699"/>
                      </a:lnTo>
                      <a:lnTo>
                        <a:pt x="45" y="697"/>
                      </a:lnTo>
                      <a:lnTo>
                        <a:pt x="46" y="697"/>
                      </a:lnTo>
                      <a:lnTo>
                        <a:pt x="45" y="694"/>
                      </a:lnTo>
                      <a:lnTo>
                        <a:pt x="41" y="689"/>
                      </a:lnTo>
                      <a:lnTo>
                        <a:pt x="39" y="684"/>
                      </a:lnTo>
                      <a:lnTo>
                        <a:pt x="36" y="682"/>
                      </a:lnTo>
                      <a:lnTo>
                        <a:pt x="35" y="678"/>
                      </a:lnTo>
                      <a:lnTo>
                        <a:pt x="32" y="674"/>
                      </a:lnTo>
                      <a:lnTo>
                        <a:pt x="32" y="670"/>
                      </a:lnTo>
                      <a:lnTo>
                        <a:pt x="27" y="670"/>
                      </a:lnTo>
                      <a:lnTo>
                        <a:pt x="24" y="673"/>
                      </a:lnTo>
                      <a:lnTo>
                        <a:pt x="20" y="673"/>
                      </a:lnTo>
                      <a:lnTo>
                        <a:pt x="19" y="672"/>
                      </a:lnTo>
                      <a:lnTo>
                        <a:pt x="17" y="666"/>
                      </a:lnTo>
                      <a:lnTo>
                        <a:pt x="9" y="654"/>
                      </a:lnTo>
                      <a:lnTo>
                        <a:pt x="9" y="652"/>
                      </a:lnTo>
                      <a:lnTo>
                        <a:pt x="14" y="646"/>
                      </a:lnTo>
                      <a:lnTo>
                        <a:pt x="13" y="641"/>
                      </a:lnTo>
                      <a:lnTo>
                        <a:pt x="11" y="635"/>
                      </a:lnTo>
                      <a:lnTo>
                        <a:pt x="11" y="629"/>
                      </a:lnTo>
                      <a:lnTo>
                        <a:pt x="9" y="621"/>
                      </a:lnTo>
                      <a:lnTo>
                        <a:pt x="6" y="618"/>
                      </a:lnTo>
                      <a:lnTo>
                        <a:pt x="5" y="618"/>
                      </a:lnTo>
                      <a:lnTo>
                        <a:pt x="3" y="614"/>
                      </a:lnTo>
                      <a:lnTo>
                        <a:pt x="1" y="614"/>
                      </a:lnTo>
                      <a:lnTo>
                        <a:pt x="1" y="608"/>
                      </a:lnTo>
                      <a:lnTo>
                        <a:pt x="3" y="600"/>
                      </a:lnTo>
                      <a:lnTo>
                        <a:pt x="2" y="597"/>
                      </a:lnTo>
                      <a:lnTo>
                        <a:pt x="0" y="594"/>
                      </a:lnTo>
                      <a:lnTo>
                        <a:pt x="23" y="572"/>
                      </a:lnTo>
                      <a:lnTo>
                        <a:pt x="30" y="554"/>
                      </a:lnTo>
                      <a:lnTo>
                        <a:pt x="34" y="543"/>
                      </a:lnTo>
                      <a:lnTo>
                        <a:pt x="39" y="532"/>
                      </a:lnTo>
                      <a:lnTo>
                        <a:pt x="41" y="530"/>
                      </a:lnTo>
                      <a:lnTo>
                        <a:pt x="45" y="532"/>
                      </a:lnTo>
                      <a:lnTo>
                        <a:pt x="45" y="533"/>
                      </a:lnTo>
                      <a:lnTo>
                        <a:pt x="51" y="534"/>
                      </a:lnTo>
                      <a:lnTo>
                        <a:pt x="55" y="537"/>
                      </a:lnTo>
                      <a:lnTo>
                        <a:pt x="60" y="550"/>
                      </a:lnTo>
                      <a:lnTo>
                        <a:pt x="70" y="568"/>
                      </a:lnTo>
                      <a:lnTo>
                        <a:pt x="84" y="572"/>
                      </a:lnTo>
                      <a:lnTo>
                        <a:pt x="87" y="572"/>
                      </a:lnTo>
                      <a:lnTo>
                        <a:pt x="113" y="550"/>
                      </a:lnTo>
                      <a:lnTo>
                        <a:pt x="200" y="553"/>
                      </a:lnTo>
                      <a:lnTo>
                        <a:pt x="271" y="554"/>
                      </a:lnTo>
                      <a:lnTo>
                        <a:pt x="344" y="555"/>
                      </a:lnTo>
                      <a:lnTo>
                        <a:pt x="362" y="555"/>
                      </a:lnTo>
                      <a:lnTo>
                        <a:pt x="374" y="508"/>
                      </a:lnTo>
                      <a:lnTo>
                        <a:pt x="352" y="501"/>
                      </a:lnTo>
                      <a:lnTo>
                        <a:pt x="346" y="444"/>
                      </a:lnTo>
                      <a:lnTo>
                        <a:pt x="341" y="389"/>
                      </a:lnTo>
                      <a:lnTo>
                        <a:pt x="335" y="335"/>
                      </a:lnTo>
                      <a:lnTo>
                        <a:pt x="329" y="281"/>
                      </a:lnTo>
                      <a:lnTo>
                        <a:pt x="324" y="226"/>
                      </a:lnTo>
                      <a:lnTo>
                        <a:pt x="318" y="169"/>
                      </a:lnTo>
                      <a:lnTo>
                        <a:pt x="313" y="114"/>
                      </a:lnTo>
                      <a:lnTo>
                        <a:pt x="307" y="58"/>
                      </a:lnTo>
                      <a:lnTo>
                        <a:pt x="301" y="0"/>
                      </a:lnTo>
                      <a:lnTo>
                        <a:pt x="398" y="0"/>
                      </a:lnTo>
                      <a:lnTo>
                        <a:pt x="462" y="4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27" name="Freeform 126"/>
                <p:cNvSpPr>
                  <a:spLocks noChangeAspect="1"/>
                </p:cNvSpPr>
                <p:nvPr/>
              </p:nvSpPr>
              <p:spPr bwMode="gray">
                <a:xfrm>
                  <a:off x="4887118" y="2994372"/>
                  <a:ext cx="69850" cy="147638"/>
                </a:xfrm>
                <a:custGeom>
                  <a:avLst/>
                  <a:gdLst/>
                  <a:ahLst/>
                  <a:cxnLst>
                    <a:cxn ang="0">
                      <a:pos x="123" y="461"/>
                    </a:cxn>
                    <a:cxn ang="0">
                      <a:pos x="145" y="444"/>
                    </a:cxn>
                    <a:cxn ang="0">
                      <a:pos x="151" y="424"/>
                    </a:cxn>
                    <a:cxn ang="0">
                      <a:pos x="147" y="387"/>
                    </a:cxn>
                    <a:cxn ang="0">
                      <a:pos x="164" y="373"/>
                    </a:cxn>
                    <a:cxn ang="0">
                      <a:pos x="178" y="355"/>
                    </a:cxn>
                    <a:cxn ang="0">
                      <a:pos x="213" y="331"/>
                    </a:cxn>
                    <a:cxn ang="0">
                      <a:pos x="217" y="284"/>
                    </a:cxn>
                    <a:cxn ang="0">
                      <a:pos x="212" y="277"/>
                    </a:cxn>
                    <a:cxn ang="0">
                      <a:pos x="202" y="278"/>
                    </a:cxn>
                    <a:cxn ang="0">
                      <a:pos x="198" y="269"/>
                    </a:cxn>
                    <a:cxn ang="0">
                      <a:pos x="186" y="251"/>
                    </a:cxn>
                    <a:cxn ang="0">
                      <a:pos x="172" y="252"/>
                    </a:cxn>
                    <a:cxn ang="0">
                      <a:pos x="164" y="249"/>
                    </a:cxn>
                    <a:cxn ang="0">
                      <a:pos x="153" y="246"/>
                    </a:cxn>
                    <a:cxn ang="0">
                      <a:pos x="138" y="226"/>
                    </a:cxn>
                    <a:cxn ang="0">
                      <a:pos x="150" y="219"/>
                    </a:cxn>
                    <a:cxn ang="0">
                      <a:pos x="153" y="203"/>
                    </a:cxn>
                    <a:cxn ang="0">
                      <a:pos x="166" y="195"/>
                    </a:cxn>
                    <a:cxn ang="0">
                      <a:pos x="185" y="181"/>
                    </a:cxn>
                    <a:cxn ang="0">
                      <a:pos x="198" y="163"/>
                    </a:cxn>
                    <a:cxn ang="0">
                      <a:pos x="204" y="132"/>
                    </a:cxn>
                    <a:cxn ang="0">
                      <a:pos x="194" y="111"/>
                    </a:cxn>
                    <a:cxn ang="0">
                      <a:pos x="181" y="101"/>
                    </a:cxn>
                    <a:cxn ang="0">
                      <a:pos x="172" y="79"/>
                    </a:cxn>
                    <a:cxn ang="0">
                      <a:pos x="183" y="59"/>
                    </a:cxn>
                    <a:cxn ang="0">
                      <a:pos x="207" y="31"/>
                    </a:cxn>
                    <a:cxn ang="0">
                      <a:pos x="194" y="19"/>
                    </a:cxn>
                    <a:cxn ang="0">
                      <a:pos x="182" y="32"/>
                    </a:cxn>
                    <a:cxn ang="0">
                      <a:pos x="171" y="39"/>
                    </a:cxn>
                    <a:cxn ang="0">
                      <a:pos x="161" y="24"/>
                    </a:cxn>
                    <a:cxn ang="0">
                      <a:pos x="155" y="9"/>
                    </a:cxn>
                    <a:cxn ang="0">
                      <a:pos x="138" y="0"/>
                    </a:cxn>
                    <a:cxn ang="0">
                      <a:pos x="115" y="2"/>
                    </a:cxn>
                    <a:cxn ang="0">
                      <a:pos x="91" y="13"/>
                    </a:cxn>
                    <a:cxn ang="0">
                      <a:pos x="79" y="24"/>
                    </a:cxn>
                    <a:cxn ang="0">
                      <a:pos x="73" y="31"/>
                    </a:cxn>
                    <a:cxn ang="0">
                      <a:pos x="62" y="41"/>
                    </a:cxn>
                    <a:cxn ang="0">
                      <a:pos x="51" y="55"/>
                    </a:cxn>
                    <a:cxn ang="0">
                      <a:pos x="58" y="61"/>
                    </a:cxn>
                    <a:cxn ang="0">
                      <a:pos x="52" y="101"/>
                    </a:cxn>
                    <a:cxn ang="0">
                      <a:pos x="56" y="134"/>
                    </a:cxn>
                    <a:cxn ang="0">
                      <a:pos x="59" y="147"/>
                    </a:cxn>
                    <a:cxn ang="0">
                      <a:pos x="49" y="185"/>
                    </a:cxn>
                    <a:cxn ang="0">
                      <a:pos x="27" y="208"/>
                    </a:cxn>
                    <a:cxn ang="0">
                      <a:pos x="14" y="217"/>
                    </a:cxn>
                    <a:cxn ang="0">
                      <a:pos x="3" y="226"/>
                    </a:cxn>
                    <a:cxn ang="0">
                      <a:pos x="3" y="234"/>
                    </a:cxn>
                    <a:cxn ang="0">
                      <a:pos x="14" y="272"/>
                    </a:cxn>
                    <a:cxn ang="0">
                      <a:pos x="37" y="285"/>
                    </a:cxn>
                    <a:cxn ang="0">
                      <a:pos x="46" y="323"/>
                    </a:cxn>
                    <a:cxn ang="0">
                      <a:pos x="89" y="348"/>
                    </a:cxn>
                    <a:cxn ang="0">
                      <a:pos x="91" y="349"/>
                    </a:cxn>
                    <a:cxn ang="0">
                      <a:pos x="110" y="459"/>
                    </a:cxn>
                  </a:cxnLst>
                  <a:rect l="0" t="0" r="r" b="b"/>
                  <a:pathLst>
                    <a:path w="218" h="462">
                      <a:moveTo>
                        <a:pt x="111" y="462"/>
                      </a:moveTo>
                      <a:lnTo>
                        <a:pt x="123" y="461"/>
                      </a:lnTo>
                      <a:lnTo>
                        <a:pt x="135" y="452"/>
                      </a:lnTo>
                      <a:lnTo>
                        <a:pt x="145" y="444"/>
                      </a:lnTo>
                      <a:lnTo>
                        <a:pt x="151" y="434"/>
                      </a:lnTo>
                      <a:lnTo>
                        <a:pt x="151" y="424"/>
                      </a:lnTo>
                      <a:lnTo>
                        <a:pt x="145" y="396"/>
                      </a:lnTo>
                      <a:lnTo>
                        <a:pt x="147" y="387"/>
                      </a:lnTo>
                      <a:lnTo>
                        <a:pt x="151" y="379"/>
                      </a:lnTo>
                      <a:lnTo>
                        <a:pt x="164" y="373"/>
                      </a:lnTo>
                      <a:lnTo>
                        <a:pt x="174" y="365"/>
                      </a:lnTo>
                      <a:lnTo>
                        <a:pt x="178" y="355"/>
                      </a:lnTo>
                      <a:lnTo>
                        <a:pt x="207" y="336"/>
                      </a:lnTo>
                      <a:lnTo>
                        <a:pt x="213" y="331"/>
                      </a:lnTo>
                      <a:lnTo>
                        <a:pt x="218" y="320"/>
                      </a:lnTo>
                      <a:lnTo>
                        <a:pt x="217" y="284"/>
                      </a:lnTo>
                      <a:lnTo>
                        <a:pt x="218" y="281"/>
                      </a:lnTo>
                      <a:lnTo>
                        <a:pt x="212" y="277"/>
                      </a:lnTo>
                      <a:lnTo>
                        <a:pt x="208" y="278"/>
                      </a:lnTo>
                      <a:lnTo>
                        <a:pt x="202" y="278"/>
                      </a:lnTo>
                      <a:lnTo>
                        <a:pt x="198" y="273"/>
                      </a:lnTo>
                      <a:lnTo>
                        <a:pt x="198" y="269"/>
                      </a:lnTo>
                      <a:lnTo>
                        <a:pt x="191" y="251"/>
                      </a:lnTo>
                      <a:lnTo>
                        <a:pt x="186" y="251"/>
                      </a:lnTo>
                      <a:lnTo>
                        <a:pt x="177" y="257"/>
                      </a:lnTo>
                      <a:lnTo>
                        <a:pt x="172" y="252"/>
                      </a:lnTo>
                      <a:lnTo>
                        <a:pt x="170" y="246"/>
                      </a:lnTo>
                      <a:lnTo>
                        <a:pt x="164" y="249"/>
                      </a:lnTo>
                      <a:lnTo>
                        <a:pt x="159" y="249"/>
                      </a:lnTo>
                      <a:lnTo>
                        <a:pt x="153" y="246"/>
                      </a:lnTo>
                      <a:lnTo>
                        <a:pt x="142" y="239"/>
                      </a:lnTo>
                      <a:lnTo>
                        <a:pt x="138" y="226"/>
                      </a:lnTo>
                      <a:lnTo>
                        <a:pt x="138" y="215"/>
                      </a:lnTo>
                      <a:lnTo>
                        <a:pt x="150" y="219"/>
                      </a:lnTo>
                      <a:lnTo>
                        <a:pt x="150" y="210"/>
                      </a:lnTo>
                      <a:lnTo>
                        <a:pt x="153" y="203"/>
                      </a:lnTo>
                      <a:lnTo>
                        <a:pt x="160" y="201"/>
                      </a:lnTo>
                      <a:lnTo>
                        <a:pt x="166" y="195"/>
                      </a:lnTo>
                      <a:lnTo>
                        <a:pt x="172" y="192"/>
                      </a:lnTo>
                      <a:lnTo>
                        <a:pt x="185" y="181"/>
                      </a:lnTo>
                      <a:lnTo>
                        <a:pt x="192" y="174"/>
                      </a:lnTo>
                      <a:lnTo>
                        <a:pt x="198" y="163"/>
                      </a:lnTo>
                      <a:lnTo>
                        <a:pt x="207" y="140"/>
                      </a:lnTo>
                      <a:lnTo>
                        <a:pt x="204" y="132"/>
                      </a:lnTo>
                      <a:lnTo>
                        <a:pt x="202" y="116"/>
                      </a:lnTo>
                      <a:lnTo>
                        <a:pt x="194" y="111"/>
                      </a:lnTo>
                      <a:lnTo>
                        <a:pt x="191" y="104"/>
                      </a:lnTo>
                      <a:lnTo>
                        <a:pt x="181" y="101"/>
                      </a:lnTo>
                      <a:lnTo>
                        <a:pt x="176" y="95"/>
                      </a:lnTo>
                      <a:lnTo>
                        <a:pt x="172" y="79"/>
                      </a:lnTo>
                      <a:lnTo>
                        <a:pt x="175" y="66"/>
                      </a:lnTo>
                      <a:lnTo>
                        <a:pt x="183" y="59"/>
                      </a:lnTo>
                      <a:lnTo>
                        <a:pt x="194" y="55"/>
                      </a:lnTo>
                      <a:lnTo>
                        <a:pt x="207" y="31"/>
                      </a:lnTo>
                      <a:lnTo>
                        <a:pt x="201" y="19"/>
                      </a:lnTo>
                      <a:lnTo>
                        <a:pt x="194" y="19"/>
                      </a:lnTo>
                      <a:lnTo>
                        <a:pt x="188" y="27"/>
                      </a:lnTo>
                      <a:lnTo>
                        <a:pt x="182" y="32"/>
                      </a:lnTo>
                      <a:lnTo>
                        <a:pt x="175" y="35"/>
                      </a:lnTo>
                      <a:lnTo>
                        <a:pt x="171" y="39"/>
                      </a:lnTo>
                      <a:lnTo>
                        <a:pt x="160" y="35"/>
                      </a:lnTo>
                      <a:lnTo>
                        <a:pt x="161" y="24"/>
                      </a:lnTo>
                      <a:lnTo>
                        <a:pt x="156" y="15"/>
                      </a:lnTo>
                      <a:lnTo>
                        <a:pt x="155" y="9"/>
                      </a:lnTo>
                      <a:lnTo>
                        <a:pt x="156" y="7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5" y="2"/>
                      </a:lnTo>
                      <a:lnTo>
                        <a:pt x="104" y="7"/>
                      </a:lnTo>
                      <a:lnTo>
                        <a:pt x="91" y="13"/>
                      </a:lnTo>
                      <a:lnTo>
                        <a:pt x="83" y="19"/>
                      </a:lnTo>
                      <a:lnTo>
                        <a:pt x="79" y="24"/>
                      </a:lnTo>
                      <a:lnTo>
                        <a:pt x="75" y="25"/>
                      </a:lnTo>
                      <a:lnTo>
                        <a:pt x="73" y="31"/>
                      </a:lnTo>
                      <a:lnTo>
                        <a:pt x="68" y="35"/>
                      </a:lnTo>
                      <a:lnTo>
                        <a:pt x="62" y="41"/>
                      </a:lnTo>
                      <a:lnTo>
                        <a:pt x="53" y="50"/>
                      </a:lnTo>
                      <a:lnTo>
                        <a:pt x="51" y="55"/>
                      </a:lnTo>
                      <a:lnTo>
                        <a:pt x="57" y="57"/>
                      </a:lnTo>
                      <a:lnTo>
                        <a:pt x="58" y="61"/>
                      </a:lnTo>
                      <a:lnTo>
                        <a:pt x="53" y="93"/>
                      </a:lnTo>
                      <a:lnTo>
                        <a:pt x="52" y="101"/>
                      </a:lnTo>
                      <a:lnTo>
                        <a:pt x="54" y="111"/>
                      </a:lnTo>
                      <a:lnTo>
                        <a:pt x="56" y="134"/>
                      </a:lnTo>
                      <a:lnTo>
                        <a:pt x="59" y="140"/>
                      </a:lnTo>
                      <a:lnTo>
                        <a:pt x="59" y="147"/>
                      </a:lnTo>
                      <a:lnTo>
                        <a:pt x="53" y="171"/>
                      </a:lnTo>
                      <a:lnTo>
                        <a:pt x="49" y="185"/>
                      </a:lnTo>
                      <a:lnTo>
                        <a:pt x="30" y="197"/>
                      </a:lnTo>
                      <a:lnTo>
                        <a:pt x="27" y="208"/>
                      </a:lnTo>
                      <a:lnTo>
                        <a:pt x="19" y="212"/>
                      </a:lnTo>
                      <a:lnTo>
                        <a:pt x="14" y="217"/>
                      </a:lnTo>
                      <a:lnTo>
                        <a:pt x="13" y="220"/>
                      </a:lnTo>
                      <a:lnTo>
                        <a:pt x="3" y="226"/>
                      </a:lnTo>
                      <a:lnTo>
                        <a:pt x="0" y="226"/>
                      </a:lnTo>
                      <a:lnTo>
                        <a:pt x="3" y="234"/>
                      </a:lnTo>
                      <a:lnTo>
                        <a:pt x="8" y="246"/>
                      </a:lnTo>
                      <a:lnTo>
                        <a:pt x="14" y="272"/>
                      </a:lnTo>
                      <a:lnTo>
                        <a:pt x="32" y="279"/>
                      </a:lnTo>
                      <a:lnTo>
                        <a:pt x="37" y="285"/>
                      </a:lnTo>
                      <a:lnTo>
                        <a:pt x="46" y="305"/>
                      </a:lnTo>
                      <a:lnTo>
                        <a:pt x="46" y="323"/>
                      </a:lnTo>
                      <a:lnTo>
                        <a:pt x="64" y="336"/>
                      </a:lnTo>
                      <a:lnTo>
                        <a:pt x="89" y="348"/>
                      </a:lnTo>
                      <a:lnTo>
                        <a:pt x="91" y="348"/>
                      </a:lnTo>
                      <a:lnTo>
                        <a:pt x="91" y="349"/>
                      </a:lnTo>
                      <a:lnTo>
                        <a:pt x="105" y="422"/>
                      </a:lnTo>
                      <a:lnTo>
                        <a:pt x="110" y="459"/>
                      </a:lnTo>
                      <a:lnTo>
                        <a:pt x="111" y="46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28" name="Freeform 127"/>
                <p:cNvSpPr>
                  <a:spLocks noChangeAspect="1"/>
                </p:cNvSpPr>
                <p:nvPr/>
              </p:nvSpPr>
              <p:spPr bwMode="gray">
                <a:xfrm>
                  <a:off x="5187155" y="3115022"/>
                  <a:ext cx="195263" cy="192088"/>
                </a:xfrm>
                <a:custGeom>
                  <a:avLst/>
                  <a:gdLst/>
                  <a:ahLst/>
                  <a:cxnLst>
                    <a:cxn ang="0">
                      <a:pos x="24" y="438"/>
                    </a:cxn>
                    <a:cxn ang="0">
                      <a:pos x="24" y="265"/>
                    </a:cxn>
                    <a:cxn ang="0">
                      <a:pos x="7" y="146"/>
                    </a:cxn>
                    <a:cxn ang="0">
                      <a:pos x="1" y="120"/>
                    </a:cxn>
                    <a:cxn ang="0">
                      <a:pos x="3" y="90"/>
                    </a:cxn>
                    <a:cxn ang="0">
                      <a:pos x="15" y="74"/>
                    </a:cxn>
                    <a:cxn ang="0">
                      <a:pos x="7" y="22"/>
                    </a:cxn>
                    <a:cxn ang="0">
                      <a:pos x="18" y="2"/>
                    </a:cxn>
                    <a:cxn ang="0">
                      <a:pos x="35" y="8"/>
                    </a:cxn>
                    <a:cxn ang="0">
                      <a:pos x="91" y="7"/>
                    </a:cxn>
                    <a:cxn ang="0">
                      <a:pos x="153" y="27"/>
                    </a:cxn>
                    <a:cxn ang="0">
                      <a:pos x="185" y="38"/>
                    </a:cxn>
                    <a:cxn ang="0">
                      <a:pos x="228" y="45"/>
                    </a:cxn>
                    <a:cxn ang="0">
                      <a:pos x="269" y="40"/>
                    </a:cxn>
                    <a:cxn ang="0">
                      <a:pos x="311" y="13"/>
                    </a:cxn>
                    <a:cxn ang="0">
                      <a:pos x="336" y="8"/>
                    </a:cxn>
                    <a:cxn ang="0">
                      <a:pos x="322" y="20"/>
                    </a:cxn>
                    <a:cxn ang="0">
                      <a:pos x="349" y="13"/>
                    </a:cxn>
                    <a:cxn ang="0">
                      <a:pos x="365" y="11"/>
                    </a:cxn>
                    <a:cxn ang="0">
                      <a:pos x="400" y="6"/>
                    </a:cxn>
                    <a:cxn ang="0">
                      <a:pos x="408" y="16"/>
                    </a:cxn>
                    <a:cxn ang="0">
                      <a:pos x="426" y="28"/>
                    </a:cxn>
                    <a:cxn ang="0">
                      <a:pos x="447" y="40"/>
                    </a:cxn>
                    <a:cxn ang="0">
                      <a:pos x="463" y="34"/>
                    </a:cxn>
                    <a:cxn ang="0">
                      <a:pos x="510" y="29"/>
                    </a:cxn>
                    <a:cxn ang="0">
                      <a:pos x="523" y="35"/>
                    </a:cxn>
                    <a:cxn ang="0">
                      <a:pos x="561" y="144"/>
                    </a:cxn>
                    <a:cxn ang="0">
                      <a:pos x="539" y="211"/>
                    </a:cxn>
                    <a:cxn ang="0">
                      <a:pos x="538" y="234"/>
                    </a:cxn>
                    <a:cxn ang="0">
                      <a:pos x="518" y="242"/>
                    </a:cxn>
                    <a:cxn ang="0">
                      <a:pos x="486" y="207"/>
                    </a:cxn>
                    <a:cxn ang="0">
                      <a:pos x="473" y="175"/>
                    </a:cxn>
                    <a:cxn ang="0">
                      <a:pos x="454" y="144"/>
                    </a:cxn>
                    <a:cxn ang="0">
                      <a:pos x="440" y="109"/>
                    </a:cxn>
                    <a:cxn ang="0">
                      <a:pos x="436" y="104"/>
                    </a:cxn>
                    <a:cxn ang="0">
                      <a:pos x="429" y="119"/>
                    </a:cxn>
                    <a:cxn ang="0">
                      <a:pos x="437" y="143"/>
                    </a:cxn>
                    <a:cxn ang="0">
                      <a:pos x="441" y="167"/>
                    </a:cxn>
                    <a:cxn ang="0">
                      <a:pos x="475" y="223"/>
                    </a:cxn>
                    <a:cxn ang="0">
                      <a:pos x="490" y="256"/>
                    </a:cxn>
                    <a:cxn ang="0">
                      <a:pos x="512" y="304"/>
                    </a:cxn>
                    <a:cxn ang="0">
                      <a:pos x="530" y="346"/>
                    </a:cxn>
                    <a:cxn ang="0">
                      <a:pos x="558" y="401"/>
                    </a:cxn>
                    <a:cxn ang="0">
                      <a:pos x="578" y="444"/>
                    </a:cxn>
                    <a:cxn ang="0">
                      <a:pos x="608" y="471"/>
                    </a:cxn>
                    <a:cxn ang="0">
                      <a:pos x="598" y="476"/>
                    </a:cxn>
                    <a:cxn ang="0">
                      <a:pos x="598" y="488"/>
                    </a:cxn>
                    <a:cxn ang="0">
                      <a:pos x="581" y="545"/>
                    </a:cxn>
                    <a:cxn ang="0">
                      <a:pos x="526" y="578"/>
                    </a:cxn>
                    <a:cxn ang="0">
                      <a:pos x="473" y="592"/>
                    </a:cxn>
                    <a:cxn ang="0">
                      <a:pos x="378" y="579"/>
                    </a:cxn>
                    <a:cxn ang="0">
                      <a:pos x="366" y="590"/>
                    </a:cxn>
                    <a:cxn ang="0">
                      <a:pos x="233" y="590"/>
                    </a:cxn>
                    <a:cxn ang="0">
                      <a:pos x="77" y="590"/>
                    </a:cxn>
                  </a:cxnLst>
                  <a:rect l="0" t="0" r="r" b="b"/>
                  <a:pathLst>
                    <a:path w="612" h="605">
                      <a:moveTo>
                        <a:pt x="24" y="552"/>
                      </a:moveTo>
                      <a:lnTo>
                        <a:pt x="24" y="496"/>
                      </a:lnTo>
                      <a:lnTo>
                        <a:pt x="24" y="438"/>
                      </a:lnTo>
                      <a:lnTo>
                        <a:pt x="24" y="382"/>
                      </a:lnTo>
                      <a:lnTo>
                        <a:pt x="24" y="324"/>
                      </a:lnTo>
                      <a:lnTo>
                        <a:pt x="24" y="265"/>
                      </a:lnTo>
                      <a:lnTo>
                        <a:pt x="24" y="207"/>
                      </a:lnTo>
                      <a:lnTo>
                        <a:pt x="24" y="164"/>
                      </a:lnTo>
                      <a:lnTo>
                        <a:pt x="7" y="146"/>
                      </a:lnTo>
                      <a:lnTo>
                        <a:pt x="10" y="133"/>
                      </a:lnTo>
                      <a:lnTo>
                        <a:pt x="8" y="130"/>
                      </a:lnTo>
                      <a:lnTo>
                        <a:pt x="1" y="120"/>
                      </a:lnTo>
                      <a:lnTo>
                        <a:pt x="0" y="99"/>
                      </a:lnTo>
                      <a:lnTo>
                        <a:pt x="0" y="95"/>
                      </a:lnTo>
                      <a:lnTo>
                        <a:pt x="3" y="90"/>
                      </a:lnTo>
                      <a:lnTo>
                        <a:pt x="13" y="86"/>
                      </a:lnTo>
                      <a:lnTo>
                        <a:pt x="13" y="83"/>
                      </a:lnTo>
                      <a:lnTo>
                        <a:pt x="15" y="74"/>
                      </a:lnTo>
                      <a:lnTo>
                        <a:pt x="12" y="57"/>
                      </a:lnTo>
                      <a:lnTo>
                        <a:pt x="11" y="30"/>
                      </a:lnTo>
                      <a:lnTo>
                        <a:pt x="7" y="22"/>
                      </a:lnTo>
                      <a:lnTo>
                        <a:pt x="7" y="19"/>
                      </a:lnTo>
                      <a:lnTo>
                        <a:pt x="15" y="11"/>
                      </a:lnTo>
                      <a:lnTo>
                        <a:pt x="18" y="2"/>
                      </a:lnTo>
                      <a:lnTo>
                        <a:pt x="26" y="0"/>
                      </a:lnTo>
                      <a:lnTo>
                        <a:pt x="28" y="6"/>
                      </a:lnTo>
                      <a:lnTo>
                        <a:pt x="35" y="8"/>
                      </a:lnTo>
                      <a:lnTo>
                        <a:pt x="54" y="3"/>
                      </a:lnTo>
                      <a:lnTo>
                        <a:pt x="67" y="3"/>
                      </a:lnTo>
                      <a:lnTo>
                        <a:pt x="91" y="7"/>
                      </a:lnTo>
                      <a:lnTo>
                        <a:pt x="123" y="12"/>
                      </a:lnTo>
                      <a:lnTo>
                        <a:pt x="142" y="19"/>
                      </a:lnTo>
                      <a:lnTo>
                        <a:pt x="153" y="27"/>
                      </a:lnTo>
                      <a:lnTo>
                        <a:pt x="169" y="29"/>
                      </a:lnTo>
                      <a:lnTo>
                        <a:pt x="177" y="31"/>
                      </a:lnTo>
                      <a:lnTo>
                        <a:pt x="185" y="38"/>
                      </a:lnTo>
                      <a:lnTo>
                        <a:pt x="201" y="38"/>
                      </a:lnTo>
                      <a:lnTo>
                        <a:pt x="214" y="39"/>
                      </a:lnTo>
                      <a:lnTo>
                        <a:pt x="228" y="45"/>
                      </a:lnTo>
                      <a:lnTo>
                        <a:pt x="239" y="52"/>
                      </a:lnTo>
                      <a:lnTo>
                        <a:pt x="255" y="47"/>
                      </a:lnTo>
                      <a:lnTo>
                        <a:pt x="269" y="40"/>
                      </a:lnTo>
                      <a:lnTo>
                        <a:pt x="285" y="28"/>
                      </a:lnTo>
                      <a:lnTo>
                        <a:pt x="301" y="20"/>
                      </a:lnTo>
                      <a:lnTo>
                        <a:pt x="311" y="13"/>
                      </a:lnTo>
                      <a:lnTo>
                        <a:pt x="324" y="12"/>
                      </a:lnTo>
                      <a:lnTo>
                        <a:pt x="334" y="8"/>
                      </a:lnTo>
                      <a:lnTo>
                        <a:pt x="336" y="8"/>
                      </a:lnTo>
                      <a:lnTo>
                        <a:pt x="336" y="11"/>
                      </a:lnTo>
                      <a:lnTo>
                        <a:pt x="324" y="16"/>
                      </a:lnTo>
                      <a:lnTo>
                        <a:pt x="322" y="20"/>
                      </a:lnTo>
                      <a:lnTo>
                        <a:pt x="324" y="20"/>
                      </a:lnTo>
                      <a:lnTo>
                        <a:pt x="344" y="17"/>
                      </a:lnTo>
                      <a:lnTo>
                        <a:pt x="349" y="13"/>
                      </a:lnTo>
                      <a:lnTo>
                        <a:pt x="354" y="7"/>
                      </a:lnTo>
                      <a:lnTo>
                        <a:pt x="361" y="11"/>
                      </a:lnTo>
                      <a:lnTo>
                        <a:pt x="365" y="11"/>
                      </a:lnTo>
                      <a:lnTo>
                        <a:pt x="388" y="11"/>
                      </a:lnTo>
                      <a:lnTo>
                        <a:pt x="390" y="11"/>
                      </a:lnTo>
                      <a:lnTo>
                        <a:pt x="400" y="6"/>
                      </a:lnTo>
                      <a:lnTo>
                        <a:pt x="401" y="8"/>
                      </a:lnTo>
                      <a:lnTo>
                        <a:pt x="405" y="14"/>
                      </a:lnTo>
                      <a:lnTo>
                        <a:pt x="408" y="16"/>
                      </a:lnTo>
                      <a:lnTo>
                        <a:pt x="411" y="20"/>
                      </a:lnTo>
                      <a:lnTo>
                        <a:pt x="416" y="24"/>
                      </a:lnTo>
                      <a:lnTo>
                        <a:pt x="426" y="28"/>
                      </a:lnTo>
                      <a:lnTo>
                        <a:pt x="431" y="35"/>
                      </a:lnTo>
                      <a:lnTo>
                        <a:pt x="435" y="40"/>
                      </a:lnTo>
                      <a:lnTo>
                        <a:pt x="447" y="40"/>
                      </a:lnTo>
                      <a:lnTo>
                        <a:pt x="456" y="39"/>
                      </a:lnTo>
                      <a:lnTo>
                        <a:pt x="459" y="35"/>
                      </a:lnTo>
                      <a:lnTo>
                        <a:pt x="463" y="34"/>
                      </a:lnTo>
                      <a:lnTo>
                        <a:pt x="468" y="40"/>
                      </a:lnTo>
                      <a:lnTo>
                        <a:pt x="491" y="38"/>
                      </a:lnTo>
                      <a:lnTo>
                        <a:pt x="510" y="29"/>
                      </a:lnTo>
                      <a:lnTo>
                        <a:pt x="521" y="20"/>
                      </a:lnTo>
                      <a:lnTo>
                        <a:pt x="523" y="30"/>
                      </a:lnTo>
                      <a:lnTo>
                        <a:pt x="523" y="35"/>
                      </a:lnTo>
                      <a:lnTo>
                        <a:pt x="527" y="41"/>
                      </a:lnTo>
                      <a:lnTo>
                        <a:pt x="545" y="99"/>
                      </a:lnTo>
                      <a:lnTo>
                        <a:pt x="561" y="144"/>
                      </a:lnTo>
                      <a:lnTo>
                        <a:pt x="554" y="164"/>
                      </a:lnTo>
                      <a:lnTo>
                        <a:pt x="549" y="187"/>
                      </a:lnTo>
                      <a:lnTo>
                        <a:pt x="539" y="211"/>
                      </a:lnTo>
                      <a:lnTo>
                        <a:pt x="539" y="221"/>
                      </a:lnTo>
                      <a:lnTo>
                        <a:pt x="539" y="228"/>
                      </a:lnTo>
                      <a:lnTo>
                        <a:pt x="538" y="234"/>
                      </a:lnTo>
                      <a:lnTo>
                        <a:pt x="534" y="238"/>
                      </a:lnTo>
                      <a:lnTo>
                        <a:pt x="527" y="242"/>
                      </a:lnTo>
                      <a:lnTo>
                        <a:pt x="518" y="242"/>
                      </a:lnTo>
                      <a:lnTo>
                        <a:pt x="510" y="235"/>
                      </a:lnTo>
                      <a:lnTo>
                        <a:pt x="499" y="219"/>
                      </a:lnTo>
                      <a:lnTo>
                        <a:pt x="486" y="207"/>
                      </a:lnTo>
                      <a:lnTo>
                        <a:pt x="476" y="192"/>
                      </a:lnTo>
                      <a:lnTo>
                        <a:pt x="474" y="189"/>
                      </a:lnTo>
                      <a:lnTo>
                        <a:pt x="473" y="175"/>
                      </a:lnTo>
                      <a:lnTo>
                        <a:pt x="469" y="165"/>
                      </a:lnTo>
                      <a:lnTo>
                        <a:pt x="458" y="154"/>
                      </a:lnTo>
                      <a:lnTo>
                        <a:pt x="454" y="144"/>
                      </a:lnTo>
                      <a:lnTo>
                        <a:pt x="447" y="135"/>
                      </a:lnTo>
                      <a:lnTo>
                        <a:pt x="442" y="115"/>
                      </a:lnTo>
                      <a:lnTo>
                        <a:pt x="440" y="109"/>
                      </a:lnTo>
                      <a:lnTo>
                        <a:pt x="438" y="105"/>
                      </a:lnTo>
                      <a:lnTo>
                        <a:pt x="436" y="104"/>
                      </a:lnTo>
                      <a:lnTo>
                        <a:pt x="436" y="104"/>
                      </a:lnTo>
                      <a:lnTo>
                        <a:pt x="432" y="108"/>
                      </a:lnTo>
                      <a:lnTo>
                        <a:pt x="433" y="113"/>
                      </a:lnTo>
                      <a:lnTo>
                        <a:pt x="429" y="119"/>
                      </a:lnTo>
                      <a:lnTo>
                        <a:pt x="427" y="131"/>
                      </a:lnTo>
                      <a:lnTo>
                        <a:pt x="429" y="135"/>
                      </a:lnTo>
                      <a:lnTo>
                        <a:pt x="437" y="143"/>
                      </a:lnTo>
                      <a:lnTo>
                        <a:pt x="440" y="148"/>
                      </a:lnTo>
                      <a:lnTo>
                        <a:pt x="442" y="154"/>
                      </a:lnTo>
                      <a:lnTo>
                        <a:pt x="441" y="167"/>
                      </a:lnTo>
                      <a:lnTo>
                        <a:pt x="443" y="174"/>
                      </a:lnTo>
                      <a:lnTo>
                        <a:pt x="458" y="203"/>
                      </a:lnTo>
                      <a:lnTo>
                        <a:pt x="475" y="223"/>
                      </a:lnTo>
                      <a:lnTo>
                        <a:pt x="483" y="230"/>
                      </a:lnTo>
                      <a:lnTo>
                        <a:pt x="487" y="232"/>
                      </a:lnTo>
                      <a:lnTo>
                        <a:pt x="490" y="256"/>
                      </a:lnTo>
                      <a:lnTo>
                        <a:pt x="495" y="265"/>
                      </a:lnTo>
                      <a:lnTo>
                        <a:pt x="506" y="278"/>
                      </a:lnTo>
                      <a:lnTo>
                        <a:pt x="512" y="304"/>
                      </a:lnTo>
                      <a:lnTo>
                        <a:pt x="515" y="314"/>
                      </a:lnTo>
                      <a:lnTo>
                        <a:pt x="517" y="323"/>
                      </a:lnTo>
                      <a:lnTo>
                        <a:pt x="530" y="346"/>
                      </a:lnTo>
                      <a:lnTo>
                        <a:pt x="535" y="362"/>
                      </a:lnTo>
                      <a:lnTo>
                        <a:pt x="545" y="374"/>
                      </a:lnTo>
                      <a:lnTo>
                        <a:pt x="558" y="401"/>
                      </a:lnTo>
                      <a:lnTo>
                        <a:pt x="562" y="412"/>
                      </a:lnTo>
                      <a:lnTo>
                        <a:pt x="567" y="418"/>
                      </a:lnTo>
                      <a:lnTo>
                        <a:pt x="578" y="444"/>
                      </a:lnTo>
                      <a:lnTo>
                        <a:pt x="588" y="455"/>
                      </a:lnTo>
                      <a:lnTo>
                        <a:pt x="604" y="469"/>
                      </a:lnTo>
                      <a:lnTo>
                        <a:pt x="608" y="471"/>
                      </a:lnTo>
                      <a:lnTo>
                        <a:pt x="612" y="476"/>
                      </a:lnTo>
                      <a:lnTo>
                        <a:pt x="612" y="479"/>
                      </a:lnTo>
                      <a:lnTo>
                        <a:pt x="598" y="476"/>
                      </a:lnTo>
                      <a:lnTo>
                        <a:pt x="596" y="476"/>
                      </a:lnTo>
                      <a:lnTo>
                        <a:pt x="594" y="479"/>
                      </a:lnTo>
                      <a:lnTo>
                        <a:pt x="598" y="488"/>
                      </a:lnTo>
                      <a:lnTo>
                        <a:pt x="599" y="513"/>
                      </a:lnTo>
                      <a:lnTo>
                        <a:pt x="603" y="525"/>
                      </a:lnTo>
                      <a:lnTo>
                        <a:pt x="581" y="545"/>
                      </a:lnTo>
                      <a:lnTo>
                        <a:pt x="567" y="540"/>
                      </a:lnTo>
                      <a:lnTo>
                        <a:pt x="555" y="571"/>
                      </a:lnTo>
                      <a:lnTo>
                        <a:pt x="526" y="578"/>
                      </a:lnTo>
                      <a:lnTo>
                        <a:pt x="518" y="603"/>
                      </a:lnTo>
                      <a:lnTo>
                        <a:pt x="491" y="605"/>
                      </a:lnTo>
                      <a:lnTo>
                        <a:pt x="473" y="592"/>
                      </a:lnTo>
                      <a:lnTo>
                        <a:pt x="376" y="590"/>
                      </a:lnTo>
                      <a:lnTo>
                        <a:pt x="381" y="579"/>
                      </a:lnTo>
                      <a:lnTo>
                        <a:pt x="378" y="579"/>
                      </a:lnTo>
                      <a:lnTo>
                        <a:pt x="376" y="578"/>
                      </a:lnTo>
                      <a:lnTo>
                        <a:pt x="373" y="578"/>
                      </a:lnTo>
                      <a:lnTo>
                        <a:pt x="366" y="590"/>
                      </a:lnTo>
                      <a:lnTo>
                        <a:pt x="338" y="590"/>
                      </a:lnTo>
                      <a:lnTo>
                        <a:pt x="285" y="590"/>
                      </a:lnTo>
                      <a:lnTo>
                        <a:pt x="233" y="590"/>
                      </a:lnTo>
                      <a:lnTo>
                        <a:pt x="180" y="590"/>
                      </a:lnTo>
                      <a:lnTo>
                        <a:pt x="129" y="590"/>
                      </a:lnTo>
                      <a:lnTo>
                        <a:pt x="77" y="590"/>
                      </a:lnTo>
                      <a:lnTo>
                        <a:pt x="24" y="590"/>
                      </a:lnTo>
                      <a:lnTo>
                        <a:pt x="24" y="55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29" name="Freeform 128"/>
                <p:cNvSpPr>
                  <a:spLocks noChangeAspect="1"/>
                </p:cNvSpPr>
                <p:nvPr/>
              </p:nvSpPr>
              <p:spPr bwMode="gray">
                <a:xfrm>
                  <a:off x="4610893" y="2999134"/>
                  <a:ext cx="352425" cy="358775"/>
                </a:xfrm>
                <a:custGeom>
                  <a:avLst/>
                  <a:gdLst/>
                  <a:ahLst/>
                  <a:cxnLst>
                    <a:cxn ang="0">
                      <a:pos x="0" y="608"/>
                    </a:cxn>
                    <a:cxn ang="0">
                      <a:pos x="66" y="499"/>
                    </a:cxn>
                    <a:cxn ang="0">
                      <a:pos x="97" y="485"/>
                    </a:cxn>
                    <a:cxn ang="0">
                      <a:pos x="114" y="474"/>
                    </a:cxn>
                    <a:cxn ang="0">
                      <a:pos x="178" y="463"/>
                    </a:cxn>
                    <a:cxn ang="0">
                      <a:pos x="196" y="437"/>
                    </a:cxn>
                    <a:cxn ang="0">
                      <a:pos x="274" y="403"/>
                    </a:cxn>
                    <a:cxn ang="0">
                      <a:pos x="267" y="390"/>
                    </a:cxn>
                    <a:cxn ang="0">
                      <a:pos x="268" y="372"/>
                    </a:cxn>
                    <a:cxn ang="0">
                      <a:pos x="268" y="355"/>
                    </a:cxn>
                    <a:cxn ang="0">
                      <a:pos x="308" y="348"/>
                    </a:cxn>
                    <a:cxn ang="0">
                      <a:pos x="316" y="328"/>
                    </a:cxn>
                    <a:cxn ang="0">
                      <a:pos x="371" y="324"/>
                    </a:cxn>
                    <a:cxn ang="0">
                      <a:pos x="409" y="327"/>
                    </a:cxn>
                    <a:cxn ang="0">
                      <a:pos x="416" y="304"/>
                    </a:cxn>
                    <a:cxn ang="0">
                      <a:pos x="393" y="268"/>
                    </a:cxn>
                    <a:cxn ang="0">
                      <a:pos x="391" y="238"/>
                    </a:cxn>
                    <a:cxn ang="0">
                      <a:pos x="387" y="204"/>
                    </a:cxn>
                    <a:cxn ang="0">
                      <a:pos x="381" y="167"/>
                    </a:cxn>
                    <a:cxn ang="0">
                      <a:pos x="373" y="155"/>
                    </a:cxn>
                    <a:cxn ang="0">
                      <a:pos x="371" y="137"/>
                    </a:cxn>
                    <a:cxn ang="0">
                      <a:pos x="438" y="91"/>
                    </a:cxn>
                    <a:cxn ang="0">
                      <a:pos x="484" y="73"/>
                    </a:cxn>
                    <a:cxn ang="0">
                      <a:pos x="543" y="41"/>
                    </a:cxn>
                    <a:cxn ang="0">
                      <a:pos x="640" y="20"/>
                    </a:cxn>
                    <a:cxn ang="0">
                      <a:pos x="689" y="14"/>
                    </a:cxn>
                    <a:cxn ang="0">
                      <a:pos x="764" y="27"/>
                    </a:cxn>
                    <a:cxn ang="0">
                      <a:pos x="819" y="0"/>
                    </a:cxn>
                    <a:cxn ang="0">
                      <a:pos x="866" y="9"/>
                    </a:cxn>
                    <a:cxn ang="0">
                      <a:pos x="921" y="10"/>
                    </a:cxn>
                    <a:cxn ang="0">
                      <a:pos x="935" y="26"/>
                    </a:cxn>
                    <a:cxn ang="0">
                      <a:pos x="926" y="78"/>
                    </a:cxn>
                    <a:cxn ang="0">
                      <a:pos x="932" y="132"/>
                    </a:cxn>
                    <a:cxn ang="0">
                      <a:pos x="892" y="197"/>
                    </a:cxn>
                    <a:cxn ang="0">
                      <a:pos x="876" y="219"/>
                    </a:cxn>
                    <a:cxn ang="0">
                      <a:pos x="919" y="290"/>
                    </a:cxn>
                    <a:cxn ang="0">
                      <a:pos x="964" y="334"/>
                    </a:cxn>
                    <a:cxn ang="0">
                      <a:pos x="973" y="457"/>
                    </a:cxn>
                    <a:cxn ang="0">
                      <a:pos x="1001" y="554"/>
                    </a:cxn>
                    <a:cxn ang="0">
                      <a:pos x="999" y="684"/>
                    </a:cxn>
                    <a:cxn ang="0">
                      <a:pos x="1001" y="737"/>
                    </a:cxn>
                    <a:cxn ang="0">
                      <a:pos x="1048" y="801"/>
                    </a:cxn>
                    <a:cxn ang="0">
                      <a:pos x="1112" y="864"/>
                    </a:cxn>
                    <a:cxn ang="0">
                      <a:pos x="911" y="1005"/>
                    </a:cxn>
                    <a:cxn ang="0">
                      <a:pos x="704" y="1115"/>
                    </a:cxn>
                    <a:cxn ang="0">
                      <a:pos x="663" y="1129"/>
                    </a:cxn>
                    <a:cxn ang="0">
                      <a:pos x="645" y="1109"/>
                    </a:cxn>
                    <a:cxn ang="0">
                      <a:pos x="646" y="1092"/>
                    </a:cxn>
                    <a:cxn ang="0">
                      <a:pos x="644" y="1076"/>
                    </a:cxn>
                    <a:cxn ang="0">
                      <a:pos x="614" y="1064"/>
                    </a:cxn>
                    <a:cxn ang="0">
                      <a:pos x="585" y="1054"/>
                    </a:cxn>
                    <a:cxn ang="0">
                      <a:pos x="560" y="1032"/>
                    </a:cxn>
                    <a:cxn ang="0">
                      <a:pos x="532" y="1016"/>
                    </a:cxn>
                    <a:cxn ang="0">
                      <a:pos x="203" y="773"/>
                    </a:cxn>
                  </a:cxnLst>
                  <a:rect l="0" t="0" r="r" b="b"/>
                  <a:pathLst>
                    <a:path w="1112" h="1129">
                      <a:moveTo>
                        <a:pt x="203" y="773"/>
                      </a:moveTo>
                      <a:lnTo>
                        <a:pt x="126" y="722"/>
                      </a:lnTo>
                      <a:lnTo>
                        <a:pt x="67" y="684"/>
                      </a:lnTo>
                      <a:lnTo>
                        <a:pt x="0" y="640"/>
                      </a:lnTo>
                      <a:lnTo>
                        <a:pt x="0" y="608"/>
                      </a:lnTo>
                      <a:lnTo>
                        <a:pt x="0" y="539"/>
                      </a:lnTo>
                      <a:lnTo>
                        <a:pt x="26" y="519"/>
                      </a:lnTo>
                      <a:lnTo>
                        <a:pt x="47" y="505"/>
                      </a:lnTo>
                      <a:lnTo>
                        <a:pt x="59" y="505"/>
                      </a:lnTo>
                      <a:lnTo>
                        <a:pt x="66" y="499"/>
                      </a:lnTo>
                      <a:lnTo>
                        <a:pt x="72" y="495"/>
                      </a:lnTo>
                      <a:lnTo>
                        <a:pt x="79" y="489"/>
                      </a:lnTo>
                      <a:lnTo>
                        <a:pt x="83" y="485"/>
                      </a:lnTo>
                      <a:lnTo>
                        <a:pt x="90" y="487"/>
                      </a:lnTo>
                      <a:lnTo>
                        <a:pt x="97" y="485"/>
                      </a:lnTo>
                      <a:lnTo>
                        <a:pt x="102" y="488"/>
                      </a:lnTo>
                      <a:lnTo>
                        <a:pt x="110" y="488"/>
                      </a:lnTo>
                      <a:lnTo>
                        <a:pt x="113" y="487"/>
                      </a:lnTo>
                      <a:lnTo>
                        <a:pt x="113" y="478"/>
                      </a:lnTo>
                      <a:lnTo>
                        <a:pt x="114" y="474"/>
                      </a:lnTo>
                      <a:lnTo>
                        <a:pt x="131" y="476"/>
                      </a:lnTo>
                      <a:lnTo>
                        <a:pt x="136" y="473"/>
                      </a:lnTo>
                      <a:lnTo>
                        <a:pt x="145" y="473"/>
                      </a:lnTo>
                      <a:lnTo>
                        <a:pt x="161" y="471"/>
                      </a:lnTo>
                      <a:lnTo>
                        <a:pt x="178" y="463"/>
                      </a:lnTo>
                      <a:lnTo>
                        <a:pt x="184" y="458"/>
                      </a:lnTo>
                      <a:lnTo>
                        <a:pt x="190" y="453"/>
                      </a:lnTo>
                      <a:lnTo>
                        <a:pt x="193" y="447"/>
                      </a:lnTo>
                      <a:lnTo>
                        <a:pt x="193" y="445"/>
                      </a:lnTo>
                      <a:lnTo>
                        <a:pt x="196" y="437"/>
                      </a:lnTo>
                      <a:lnTo>
                        <a:pt x="206" y="430"/>
                      </a:lnTo>
                      <a:lnTo>
                        <a:pt x="221" y="424"/>
                      </a:lnTo>
                      <a:lnTo>
                        <a:pt x="227" y="424"/>
                      </a:lnTo>
                      <a:lnTo>
                        <a:pt x="253" y="407"/>
                      </a:lnTo>
                      <a:lnTo>
                        <a:pt x="274" y="403"/>
                      </a:lnTo>
                      <a:lnTo>
                        <a:pt x="276" y="399"/>
                      </a:lnTo>
                      <a:lnTo>
                        <a:pt x="275" y="396"/>
                      </a:lnTo>
                      <a:lnTo>
                        <a:pt x="270" y="392"/>
                      </a:lnTo>
                      <a:lnTo>
                        <a:pt x="269" y="390"/>
                      </a:lnTo>
                      <a:lnTo>
                        <a:pt x="267" y="390"/>
                      </a:lnTo>
                      <a:lnTo>
                        <a:pt x="264" y="391"/>
                      </a:lnTo>
                      <a:lnTo>
                        <a:pt x="263" y="391"/>
                      </a:lnTo>
                      <a:lnTo>
                        <a:pt x="264" y="380"/>
                      </a:lnTo>
                      <a:lnTo>
                        <a:pt x="269" y="375"/>
                      </a:lnTo>
                      <a:lnTo>
                        <a:pt x="268" y="372"/>
                      </a:lnTo>
                      <a:lnTo>
                        <a:pt x="263" y="372"/>
                      </a:lnTo>
                      <a:lnTo>
                        <a:pt x="262" y="370"/>
                      </a:lnTo>
                      <a:lnTo>
                        <a:pt x="262" y="364"/>
                      </a:lnTo>
                      <a:lnTo>
                        <a:pt x="263" y="359"/>
                      </a:lnTo>
                      <a:lnTo>
                        <a:pt x="268" y="355"/>
                      </a:lnTo>
                      <a:lnTo>
                        <a:pt x="273" y="355"/>
                      </a:lnTo>
                      <a:lnTo>
                        <a:pt x="280" y="356"/>
                      </a:lnTo>
                      <a:lnTo>
                        <a:pt x="287" y="355"/>
                      </a:lnTo>
                      <a:lnTo>
                        <a:pt x="295" y="354"/>
                      </a:lnTo>
                      <a:lnTo>
                        <a:pt x="308" y="348"/>
                      </a:lnTo>
                      <a:lnTo>
                        <a:pt x="311" y="345"/>
                      </a:lnTo>
                      <a:lnTo>
                        <a:pt x="312" y="339"/>
                      </a:lnTo>
                      <a:lnTo>
                        <a:pt x="311" y="334"/>
                      </a:lnTo>
                      <a:lnTo>
                        <a:pt x="313" y="329"/>
                      </a:lnTo>
                      <a:lnTo>
                        <a:pt x="316" y="328"/>
                      </a:lnTo>
                      <a:lnTo>
                        <a:pt x="323" y="331"/>
                      </a:lnTo>
                      <a:lnTo>
                        <a:pt x="327" y="329"/>
                      </a:lnTo>
                      <a:lnTo>
                        <a:pt x="330" y="327"/>
                      </a:lnTo>
                      <a:lnTo>
                        <a:pt x="340" y="324"/>
                      </a:lnTo>
                      <a:lnTo>
                        <a:pt x="371" y="324"/>
                      </a:lnTo>
                      <a:lnTo>
                        <a:pt x="376" y="323"/>
                      </a:lnTo>
                      <a:lnTo>
                        <a:pt x="387" y="324"/>
                      </a:lnTo>
                      <a:lnTo>
                        <a:pt x="399" y="324"/>
                      </a:lnTo>
                      <a:lnTo>
                        <a:pt x="407" y="328"/>
                      </a:lnTo>
                      <a:lnTo>
                        <a:pt x="409" y="327"/>
                      </a:lnTo>
                      <a:lnTo>
                        <a:pt x="409" y="324"/>
                      </a:lnTo>
                      <a:lnTo>
                        <a:pt x="407" y="320"/>
                      </a:lnTo>
                      <a:lnTo>
                        <a:pt x="408" y="313"/>
                      </a:lnTo>
                      <a:lnTo>
                        <a:pt x="411" y="306"/>
                      </a:lnTo>
                      <a:lnTo>
                        <a:pt x="416" y="304"/>
                      </a:lnTo>
                      <a:lnTo>
                        <a:pt x="416" y="302"/>
                      </a:lnTo>
                      <a:lnTo>
                        <a:pt x="409" y="297"/>
                      </a:lnTo>
                      <a:lnTo>
                        <a:pt x="400" y="289"/>
                      </a:lnTo>
                      <a:lnTo>
                        <a:pt x="393" y="274"/>
                      </a:lnTo>
                      <a:lnTo>
                        <a:pt x="393" y="268"/>
                      </a:lnTo>
                      <a:lnTo>
                        <a:pt x="391" y="261"/>
                      </a:lnTo>
                      <a:lnTo>
                        <a:pt x="388" y="253"/>
                      </a:lnTo>
                      <a:lnTo>
                        <a:pt x="389" y="248"/>
                      </a:lnTo>
                      <a:lnTo>
                        <a:pt x="391" y="242"/>
                      </a:lnTo>
                      <a:lnTo>
                        <a:pt x="391" y="238"/>
                      </a:lnTo>
                      <a:lnTo>
                        <a:pt x="391" y="234"/>
                      </a:lnTo>
                      <a:lnTo>
                        <a:pt x="383" y="226"/>
                      </a:lnTo>
                      <a:lnTo>
                        <a:pt x="386" y="223"/>
                      </a:lnTo>
                      <a:lnTo>
                        <a:pt x="386" y="213"/>
                      </a:lnTo>
                      <a:lnTo>
                        <a:pt x="387" y="204"/>
                      </a:lnTo>
                      <a:lnTo>
                        <a:pt x="384" y="193"/>
                      </a:lnTo>
                      <a:lnTo>
                        <a:pt x="382" y="186"/>
                      </a:lnTo>
                      <a:lnTo>
                        <a:pt x="386" y="178"/>
                      </a:lnTo>
                      <a:lnTo>
                        <a:pt x="380" y="170"/>
                      </a:lnTo>
                      <a:lnTo>
                        <a:pt x="381" y="167"/>
                      </a:lnTo>
                      <a:lnTo>
                        <a:pt x="382" y="167"/>
                      </a:lnTo>
                      <a:lnTo>
                        <a:pt x="383" y="165"/>
                      </a:lnTo>
                      <a:lnTo>
                        <a:pt x="381" y="161"/>
                      </a:lnTo>
                      <a:lnTo>
                        <a:pt x="377" y="160"/>
                      </a:lnTo>
                      <a:lnTo>
                        <a:pt x="373" y="155"/>
                      </a:lnTo>
                      <a:lnTo>
                        <a:pt x="372" y="153"/>
                      </a:lnTo>
                      <a:lnTo>
                        <a:pt x="366" y="148"/>
                      </a:lnTo>
                      <a:lnTo>
                        <a:pt x="364" y="143"/>
                      </a:lnTo>
                      <a:lnTo>
                        <a:pt x="364" y="138"/>
                      </a:lnTo>
                      <a:lnTo>
                        <a:pt x="371" y="137"/>
                      </a:lnTo>
                      <a:lnTo>
                        <a:pt x="384" y="132"/>
                      </a:lnTo>
                      <a:lnTo>
                        <a:pt x="399" y="123"/>
                      </a:lnTo>
                      <a:lnTo>
                        <a:pt x="418" y="100"/>
                      </a:lnTo>
                      <a:lnTo>
                        <a:pt x="429" y="92"/>
                      </a:lnTo>
                      <a:lnTo>
                        <a:pt x="438" y="91"/>
                      </a:lnTo>
                      <a:lnTo>
                        <a:pt x="445" y="92"/>
                      </a:lnTo>
                      <a:lnTo>
                        <a:pt x="456" y="82"/>
                      </a:lnTo>
                      <a:lnTo>
                        <a:pt x="467" y="87"/>
                      </a:lnTo>
                      <a:lnTo>
                        <a:pt x="478" y="82"/>
                      </a:lnTo>
                      <a:lnTo>
                        <a:pt x="484" y="73"/>
                      </a:lnTo>
                      <a:lnTo>
                        <a:pt x="491" y="65"/>
                      </a:lnTo>
                      <a:lnTo>
                        <a:pt x="497" y="62"/>
                      </a:lnTo>
                      <a:lnTo>
                        <a:pt x="505" y="59"/>
                      </a:lnTo>
                      <a:lnTo>
                        <a:pt x="516" y="51"/>
                      </a:lnTo>
                      <a:lnTo>
                        <a:pt x="543" y="41"/>
                      </a:lnTo>
                      <a:lnTo>
                        <a:pt x="555" y="37"/>
                      </a:lnTo>
                      <a:lnTo>
                        <a:pt x="608" y="33"/>
                      </a:lnTo>
                      <a:lnTo>
                        <a:pt x="620" y="33"/>
                      </a:lnTo>
                      <a:lnTo>
                        <a:pt x="630" y="28"/>
                      </a:lnTo>
                      <a:lnTo>
                        <a:pt x="640" y="20"/>
                      </a:lnTo>
                      <a:lnTo>
                        <a:pt x="646" y="22"/>
                      </a:lnTo>
                      <a:lnTo>
                        <a:pt x="658" y="21"/>
                      </a:lnTo>
                      <a:lnTo>
                        <a:pt x="663" y="24"/>
                      </a:lnTo>
                      <a:lnTo>
                        <a:pt x="673" y="21"/>
                      </a:lnTo>
                      <a:lnTo>
                        <a:pt x="689" y="14"/>
                      </a:lnTo>
                      <a:lnTo>
                        <a:pt x="705" y="14"/>
                      </a:lnTo>
                      <a:lnTo>
                        <a:pt x="720" y="12"/>
                      </a:lnTo>
                      <a:lnTo>
                        <a:pt x="744" y="15"/>
                      </a:lnTo>
                      <a:lnTo>
                        <a:pt x="753" y="24"/>
                      </a:lnTo>
                      <a:lnTo>
                        <a:pt x="764" y="27"/>
                      </a:lnTo>
                      <a:lnTo>
                        <a:pt x="775" y="25"/>
                      </a:lnTo>
                      <a:lnTo>
                        <a:pt x="784" y="20"/>
                      </a:lnTo>
                      <a:lnTo>
                        <a:pt x="801" y="16"/>
                      </a:lnTo>
                      <a:lnTo>
                        <a:pt x="812" y="12"/>
                      </a:lnTo>
                      <a:lnTo>
                        <a:pt x="819" y="0"/>
                      </a:lnTo>
                      <a:lnTo>
                        <a:pt x="832" y="4"/>
                      </a:lnTo>
                      <a:lnTo>
                        <a:pt x="840" y="10"/>
                      </a:lnTo>
                      <a:lnTo>
                        <a:pt x="846" y="10"/>
                      </a:lnTo>
                      <a:lnTo>
                        <a:pt x="855" y="14"/>
                      </a:lnTo>
                      <a:lnTo>
                        <a:pt x="866" y="9"/>
                      </a:lnTo>
                      <a:lnTo>
                        <a:pt x="872" y="1"/>
                      </a:lnTo>
                      <a:lnTo>
                        <a:pt x="892" y="9"/>
                      </a:lnTo>
                      <a:lnTo>
                        <a:pt x="900" y="15"/>
                      </a:lnTo>
                      <a:lnTo>
                        <a:pt x="913" y="14"/>
                      </a:lnTo>
                      <a:lnTo>
                        <a:pt x="921" y="10"/>
                      </a:lnTo>
                      <a:lnTo>
                        <a:pt x="935" y="12"/>
                      </a:lnTo>
                      <a:lnTo>
                        <a:pt x="948" y="10"/>
                      </a:lnTo>
                      <a:lnTo>
                        <a:pt x="946" y="16"/>
                      </a:lnTo>
                      <a:lnTo>
                        <a:pt x="941" y="20"/>
                      </a:lnTo>
                      <a:lnTo>
                        <a:pt x="935" y="26"/>
                      </a:lnTo>
                      <a:lnTo>
                        <a:pt x="926" y="35"/>
                      </a:lnTo>
                      <a:lnTo>
                        <a:pt x="924" y="40"/>
                      </a:lnTo>
                      <a:lnTo>
                        <a:pt x="930" y="42"/>
                      </a:lnTo>
                      <a:lnTo>
                        <a:pt x="931" y="46"/>
                      </a:lnTo>
                      <a:lnTo>
                        <a:pt x="926" y="78"/>
                      </a:lnTo>
                      <a:lnTo>
                        <a:pt x="925" y="86"/>
                      </a:lnTo>
                      <a:lnTo>
                        <a:pt x="927" y="96"/>
                      </a:lnTo>
                      <a:lnTo>
                        <a:pt x="929" y="119"/>
                      </a:lnTo>
                      <a:lnTo>
                        <a:pt x="932" y="125"/>
                      </a:lnTo>
                      <a:lnTo>
                        <a:pt x="932" y="132"/>
                      </a:lnTo>
                      <a:lnTo>
                        <a:pt x="926" y="156"/>
                      </a:lnTo>
                      <a:lnTo>
                        <a:pt x="922" y="170"/>
                      </a:lnTo>
                      <a:lnTo>
                        <a:pt x="903" y="182"/>
                      </a:lnTo>
                      <a:lnTo>
                        <a:pt x="900" y="193"/>
                      </a:lnTo>
                      <a:lnTo>
                        <a:pt x="892" y="197"/>
                      </a:lnTo>
                      <a:lnTo>
                        <a:pt x="887" y="202"/>
                      </a:lnTo>
                      <a:lnTo>
                        <a:pt x="886" y="205"/>
                      </a:lnTo>
                      <a:lnTo>
                        <a:pt x="876" y="211"/>
                      </a:lnTo>
                      <a:lnTo>
                        <a:pt x="873" y="211"/>
                      </a:lnTo>
                      <a:lnTo>
                        <a:pt x="876" y="219"/>
                      </a:lnTo>
                      <a:lnTo>
                        <a:pt x="881" y="231"/>
                      </a:lnTo>
                      <a:lnTo>
                        <a:pt x="887" y="257"/>
                      </a:lnTo>
                      <a:lnTo>
                        <a:pt x="905" y="264"/>
                      </a:lnTo>
                      <a:lnTo>
                        <a:pt x="910" y="270"/>
                      </a:lnTo>
                      <a:lnTo>
                        <a:pt x="919" y="290"/>
                      </a:lnTo>
                      <a:lnTo>
                        <a:pt x="919" y="308"/>
                      </a:lnTo>
                      <a:lnTo>
                        <a:pt x="937" y="321"/>
                      </a:lnTo>
                      <a:lnTo>
                        <a:pt x="962" y="333"/>
                      </a:lnTo>
                      <a:lnTo>
                        <a:pt x="964" y="333"/>
                      </a:lnTo>
                      <a:lnTo>
                        <a:pt x="964" y="334"/>
                      </a:lnTo>
                      <a:lnTo>
                        <a:pt x="978" y="407"/>
                      </a:lnTo>
                      <a:lnTo>
                        <a:pt x="983" y="444"/>
                      </a:lnTo>
                      <a:lnTo>
                        <a:pt x="984" y="447"/>
                      </a:lnTo>
                      <a:lnTo>
                        <a:pt x="983" y="450"/>
                      </a:lnTo>
                      <a:lnTo>
                        <a:pt x="973" y="457"/>
                      </a:lnTo>
                      <a:lnTo>
                        <a:pt x="972" y="473"/>
                      </a:lnTo>
                      <a:lnTo>
                        <a:pt x="983" y="487"/>
                      </a:lnTo>
                      <a:lnTo>
                        <a:pt x="995" y="509"/>
                      </a:lnTo>
                      <a:lnTo>
                        <a:pt x="1000" y="532"/>
                      </a:lnTo>
                      <a:lnTo>
                        <a:pt x="1001" y="554"/>
                      </a:lnTo>
                      <a:lnTo>
                        <a:pt x="1001" y="585"/>
                      </a:lnTo>
                      <a:lnTo>
                        <a:pt x="1004" y="593"/>
                      </a:lnTo>
                      <a:lnTo>
                        <a:pt x="1004" y="606"/>
                      </a:lnTo>
                      <a:lnTo>
                        <a:pt x="1000" y="628"/>
                      </a:lnTo>
                      <a:lnTo>
                        <a:pt x="999" y="684"/>
                      </a:lnTo>
                      <a:lnTo>
                        <a:pt x="990" y="691"/>
                      </a:lnTo>
                      <a:lnTo>
                        <a:pt x="979" y="693"/>
                      </a:lnTo>
                      <a:lnTo>
                        <a:pt x="978" y="702"/>
                      </a:lnTo>
                      <a:lnTo>
                        <a:pt x="983" y="715"/>
                      </a:lnTo>
                      <a:lnTo>
                        <a:pt x="1001" y="737"/>
                      </a:lnTo>
                      <a:lnTo>
                        <a:pt x="1011" y="753"/>
                      </a:lnTo>
                      <a:lnTo>
                        <a:pt x="1012" y="773"/>
                      </a:lnTo>
                      <a:lnTo>
                        <a:pt x="1015" y="785"/>
                      </a:lnTo>
                      <a:lnTo>
                        <a:pt x="1029" y="800"/>
                      </a:lnTo>
                      <a:lnTo>
                        <a:pt x="1048" y="801"/>
                      </a:lnTo>
                      <a:lnTo>
                        <a:pt x="1059" y="801"/>
                      </a:lnTo>
                      <a:lnTo>
                        <a:pt x="1088" y="815"/>
                      </a:lnTo>
                      <a:lnTo>
                        <a:pt x="1106" y="844"/>
                      </a:lnTo>
                      <a:lnTo>
                        <a:pt x="1110" y="858"/>
                      </a:lnTo>
                      <a:lnTo>
                        <a:pt x="1112" y="864"/>
                      </a:lnTo>
                      <a:lnTo>
                        <a:pt x="1086" y="882"/>
                      </a:lnTo>
                      <a:lnTo>
                        <a:pt x="1042" y="913"/>
                      </a:lnTo>
                      <a:lnTo>
                        <a:pt x="999" y="944"/>
                      </a:lnTo>
                      <a:lnTo>
                        <a:pt x="956" y="974"/>
                      </a:lnTo>
                      <a:lnTo>
                        <a:pt x="911" y="1005"/>
                      </a:lnTo>
                      <a:lnTo>
                        <a:pt x="867" y="1036"/>
                      </a:lnTo>
                      <a:lnTo>
                        <a:pt x="824" y="1066"/>
                      </a:lnTo>
                      <a:lnTo>
                        <a:pt x="781" y="1096"/>
                      </a:lnTo>
                      <a:lnTo>
                        <a:pt x="766" y="1101"/>
                      </a:lnTo>
                      <a:lnTo>
                        <a:pt x="704" y="1115"/>
                      </a:lnTo>
                      <a:lnTo>
                        <a:pt x="695" y="1117"/>
                      </a:lnTo>
                      <a:lnTo>
                        <a:pt x="690" y="1119"/>
                      </a:lnTo>
                      <a:lnTo>
                        <a:pt x="680" y="1124"/>
                      </a:lnTo>
                      <a:lnTo>
                        <a:pt x="672" y="1124"/>
                      </a:lnTo>
                      <a:lnTo>
                        <a:pt x="663" y="1129"/>
                      </a:lnTo>
                      <a:lnTo>
                        <a:pt x="656" y="1129"/>
                      </a:lnTo>
                      <a:lnTo>
                        <a:pt x="650" y="1128"/>
                      </a:lnTo>
                      <a:lnTo>
                        <a:pt x="642" y="1119"/>
                      </a:lnTo>
                      <a:lnTo>
                        <a:pt x="642" y="1114"/>
                      </a:lnTo>
                      <a:lnTo>
                        <a:pt x="645" y="1109"/>
                      </a:lnTo>
                      <a:lnTo>
                        <a:pt x="644" y="1103"/>
                      </a:lnTo>
                      <a:lnTo>
                        <a:pt x="645" y="1101"/>
                      </a:lnTo>
                      <a:lnTo>
                        <a:pt x="649" y="1098"/>
                      </a:lnTo>
                      <a:lnTo>
                        <a:pt x="649" y="1096"/>
                      </a:lnTo>
                      <a:lnTo>
                        <a:pt x="646" y="1092"/>
                      </a:lnTo>
                      <a:lnTo>
                        <a:pt x="646" y="1088"/>
                      </a:lnTo>
                      <a:lnTo>
                        <a:pt x="647" y="1086"/>
                      </a:lnTo>
                      <a:lnTo>
                        <a:pt x="646" y="1080"/>
                      </a:lnTo>
                      <a:lnTo>
                        <a:pt x="645" y="1080"/>
                      </a:lnTo>
                      <a:lnTo>
                        <a:pt x="644" y="1076"/>
                      </a:lnTo>
                      <a:lnTo>
                        <a:pt x="640" y="1074"/>
                      </a:lnTo>
                      <a:lnTo>
                        <a:pt x="631" y="1071"/>
                      </a:lnTo>
                      <a:lnTo>
                        <a:pt x="623" y="1066"/>
                      </a:lnTo>
                      <a:lnTo>
                        <a:pt x="618" y="1066"/>
                      </a:lnTo>
                      <a:lnTo>
                        <a:pt x="614" y="1064"/>
                      </a:lnTo>
                      <a:lnTo>
                        <a:pt x="603" y="1064"/>
                      </a:lnTo>
                      <a:lnTo>
                        <a:pt x="599" y="1061"/>
                      </a:lnTo>
                      <a:lnTo>
                        <a:pt x="596" y="1054"/>
                      </a:lnTo>
                      <a:lnTo>
                        <a:pt x="593" y="1053"/>
                      </a:lnTo>
                      <a:lnTo>
                        <a:pt x="585" y="1054"/>
                      </a:lnTo>
                      <a:lnTo>
                        <a:pt x="575" y="1052"/>
                      </a:lnTo>
                      <a:lnTo>
                        <a:pt x="570" y="1049"/>
                      </a:lnTo>
                      <a:lnTo>
                        <a:pt x="563" y="1043"/>
                      </a:lnTo>
                      <a:lnTo>
                        <a:pt x="561" y="1038"/>
                      </a:lnTo>
                      <a:lnTo>
                        <a:pt x="560" y="1032"/>
                      </a:lnTo>
                      <a:lnTo>
                        <a:pt x="558" y="1031"/>
                      </a:lnTo>
                      <a:lnTo>
                        <a:pt x="547" y="1025"/>
                      </a:lnTo>
                      <a:lnTo>
                        <a:pt x="539" y="1023"/>
                      </a:lnTo>
                      <a:lnTo>
                        <a:pt x="533" y="1020"/>
                      </a:lnTo>
                      <a:lnTo>
                        <a:pt x="532" y="1016"/>
                      </a:lnTo>
                      <a:lnTo>
                        <a:pt x="533" y="1007"/>
                      </a:lnTo>
                      <a:lnTo>
                        <a:pt x="529" y="1004"/>
                      </a:lnTo>
                      <a:lnTo>
                        <a:pt x="529" y="999"/>
                      </a:lnTo>
                      <a:lnTo>
                        <a:pt x="267" y="817"/>
                      </a:lnTo>
                      <a:lnTo>
                        <a:pt x="203" y="77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30" name="Freeform 129"/>
                <p:cNvSpPr>
                  <a:spLocks noChangeAspect="1"/>
                </p:cNvSpPr>
                <p:nvPr/>
              </p:nvSpPr>
              <p:spPr bwMode="gray">
                <a:xfrm>
                  <a:off x="4464843" y="3202334"/>
                  <a:ext cx="209550" cy="231775"/>
                </a:xfrm>
                <a:custGeom>
                  <a:avLst/>
                  <a:gdLst/>
                  <a:ahLst/>
                  <a:cxnLst>
                    <a:cxn ang="0">
                      <a:pos x="96" y="347"/>
                    </a:cxn>
                    <a:cxn ang="0">
                      <a:pos x="14" y="353"/>
                    </a:cxn>
                    <a:cxn ang="0">
                      <a:pos x="5" y="364"/>
                    </a:cxn>
                    <a:cxn ang="0">
                      <a:pos x="0" y="369"/>
                    </a:cxn>
                    <a:cxn ang="0">
                      <a:pos x="22" y="391"/>
                    </a:cxn>
                    <a:cxn ang="0">
                      <a:pos x="40" y="409"/>
                    </a:cxn>
                    <a:cxn ang="0">
                      <a:pos x="41" y="437"/>
                    </a:cxn>
                    <a:cxn ang="0">
                      <a:pos x="28" y="460"/>
                    </a:cxn>
                    <a:cxn ang="0">
                      <a:pos x="49" y="501"/>
                    </a:cxn>
                    <a:cxn ang="0">
                      <a:pos x="50" y="563"/>
                    </a:cxn>
                    <a:cxn ang="0">
                      <a:pos x="30" y="623"/>
                    </a:cxn>
                    <a:cxn ang="0">
                      <a:pos x="24" y="650"/>
                    </a:cxn>
                    <a:cxn ang="0">
                      <a:pos x="37" y="627"/>
                    </a:cxn>
                    <a:cxn ang="0">
                      <a:pos x="50" y="627"/>
                    </a:cxn>
                    <a:cxn ang="0">
                      <a:pos x="76" y="628"/>
                    </a:cxn>
                    <a:cxn ang="0">
                      <a:pos x="98" y="624"/>
                    </a:cxn>
                    <a:cxn ang="0">
                      <a:pos x="102" y="619"/>
                    </a:cxn>
                    <a:cxn ang="0">
                      <a:pos x="119" y="620"/>
                    </a:cxn>
                    <a:cxn ang="0">
                      <a:pos x="141" y="620"/>
                    </a:cxn>
                    <a:cxn ang="0">
                      <a:pos x="161" y="635"/>
                    </a:cxn>
                    <a:cxn ang="0">
                      <a:pos x="173" y="647"/>
                    </a:cxn>
                    <a:cxn ang="0">
                      <a:pos x="183" y="651"/>
                    </a:cxn>
                    <a:cxn ang="0">
                      <a:pos x="200" y="662"/>
                    </a:cxn>
                    <a:cxn ang="0">
                      <a:pos x="209" y="677"/>
                    </a:cxn>
                    <a:cxn ang="0">
                      <a:pos x="215" y="686"/>
                    </a:cxn>
                    <a:cxn ang="0">
                      <a:pos x="222" y="692"/>
                    </a:cxn>
                    <a:cxn ang="0">
                      <a:pos x="223" y="698"/>
                    </a:cxn>
                    <a:cxn ang="0">
                      <a:pos x="231" y="704"/>
                    </a:cxn>
                    <a:cxn ang="0">
                      <a:pos x="244" y="709"/>
                    </a:cxn>
                    <a:cxn ang="0">
                      <a:pos x="250" y="719"/>
                    </a:cxn>
                    <a:cxn ang="0">
                      <a:pos x="286" y="705"/>
                    </a:cxn>
                    <a:cxn ang="0">
                      <a:pos x="302" y="665"/>
                    </a:cxn>
                    <a:cxn ang="0">
                      <a:pos x="308" y="666"/>
                    </a:cxn>
                    <a:cxn ang="0">
                      <a:pos x="323" y="683"/>
                    </a:cxn>
                    <a:cxn ang="0">
                      <a:pos x="350" y="705"/>
                    </a:cxn>
                    <a:cxn ang="0">
                      <a:pos x="534" y="687"/>
                    </a:cxn>
                    <a:cxn ang="0">
                      <a:pos x="637" y="641"/>
                    </a:cxn>
                    <a:cxn ang="0">
                      <a:pos x="604" y="522"/>
                    </a:cxn>
                    <a:cxn ang="0">
                      <a:pos x="587" y="359"/>
                    </a:cxn>
                    <a:cxn ang="0">
                      <a:pos x="570" y="191"/>
                    </a:cxn>
                    <a:cxn ang="0">
                      <a:pos x="584" y="82"/>
                    </a:cxn>
                    <a:cxn ang="0">
                      <a:pos x="458" y="70"/>
                    </a:cxn>
                    <a:cxn ang="0">
                      <a:pos x="299" y="70"/>
                    </a:cxn>
                    <a:cxn ang="0">
                      <a:pos x="281" y="187"/>
                    </a:cxn>
                    <a:cxn ang="0">
                      <a:pos x="244" y="231"/>
                    </a:cxn>
                    <a:cxn ang="0">
                      <a:pos x="220" y="245"/>
                    </a:cxn>
                    <a:cxn ang="0">
                      <a:pos x="215" y="290"/>
                    </a:cxn>
                    <a:cxn ang="0">
                      <a:pos x="222" y="347"/>
                    </a:cxn>
                  </a:cxnLst>
                  <a:rect l="0" t="0" r="r" b="b"/>
                  <a:pathLst>
                    <a:path w="661" h="727">
                      <a:moveTo>
                        <a:pt x="196" y="347"/>
                      </a:moveTo>
                      <a:lnTo>
                        <a:pt x="148" y="347"/>
                      </a:lnTo>
                      <a:lnTo>
                        <a:pt x="96" y="347"/>
                      </a:lnTo>
                      <a:lnTo>
                        <a:pt x="45" y="347"/>
                      </a:lnTo>
                      <a:lnTo>
                        <a:pt x="16" y="347"/>
                      </a:lnTo>
                      <a:lnTo>
                        <a:pt x="14" y="353"/>
                      </a:lnTo>
                      <a:lnTo>
                        <a:pt x="6" y="360"/>
                      </a:lnTo>
                      <a:lnTo>
                        <a:pt x="2" y="365"/>
                      </a:lnTo>
                      <a:lnTo>
                        <a:pt x="5" y="364"/>
                      </a:lnTo>
                      <a:lnTo>
                        <a:pt x="0" y="369"/>
                      </a:lnTo>
                      <a:lnTo>
                        <a:pt x="0" y="371"/>
                      </a:lnTo>
                      <a:lnTo>
                        <a:pt x="0" y="369"/>
                      </a:lnTo>
                      <a:lnTo>
                        <a:pt x="10" y="365"/>
                      </a:lnTo>
                      <a:lnTo>
                        <a:pt x="12" y="369"/>
                      </a:lnTo>
                      <a:lnTo>
                        <a:pt x="22" y="391"/>
                      </a:lnTo>
                      <a:lnTo>
                        <a:pt x="23" y="393"/>
                      </a:lnTo>
                      <a:lnTo>
                        <a:pt x="30" y="391"/>
                      </a:lnTo>
                      <a:lnTo>
                        <a:pt x="40" y="409"/>
                      </a:lnTo>
                      <a:lnTo>
                        <a:pt x="41" y="414"/>
                      </a:lnTo>
                      <a:lnTo>
                        <a:pt x="41" y="429"/>
                      </a:lnTo>
                      <a:lnTo>
                        <a:pt x="41" y="437"/>
                      </a:lnTo>
                      <a:lnTo>
                        <a:pt x="35" y="455"/>
                      </a:lnTo>
                      <a:lnTo>
                        <a:pt x="33" y="458"/>
                      </a:lnTo>
                      <a:lnTo>
                        <a:pt x="28" y="460"/>
                      </a:lnTo>
                      <a:lnTo>
                        <a:pt x="27" y="463"/>
                      </a:lnTo>
                      <a:lnTo>
                        <a:pt x="45" y="488"/>
                      </a:lnTo>
                      <a:lnTo>
                        <a:pt x="49" y="501"/>
                      </a:lnTo>
                      <a:lnTo>
                        <a:pt x="50" y="515"/>
                      </a:lnTo>
                      <a:lnTo>
                        <a:pt x="51" y="527"/>
                      </a:lnTo>
                      <a:lnTo>
                        <a:pt x="50" y="563"/>
                      </a:lnTo>
                      <a:lnTo>
                        <a:pt x="46" y="577"/>
                      </a:lnTo>
                      <a:lnTo>
                        <a:pt x="32" y="614"/>
                      </a:lnTo>
                      <a:lnTo>
                        <a:pt x="30" y="623"/>
                      </a:lnTo>
                      <a:lnTo>
                        <a:pt x="24" y="639"/>
                      </a:lnTo>
                      <a:lnTo>
                        <a:pt x="23" y="651"/>
                      </a:lnTo>
                      <a:lnTo>
                        <a:pt x="24" y="650"/>
                      </a:lnTo>
                      <a:lnTo>
                        <a:pt x="28" y="647"/>
                      </a:lnTo>
                      <a:lnTo>
                        <a:pt x="32" y="640"/>
                      </a:lnTo>
                      <a:lnTo>
                        <a:pt x="37" y="627"/>
                      </a:lnTo>
                      <a:lnTo>
                        <a:pt x="40" y="627"/>
                      </a:lnTo>
                      <a:lnTo>
                        <a:pt x="43" y="625"/>
                      </a:lnTo>
                      <a:lnTo>
                        <a:pt x="50" y="627"/>
                      </a:lnTo>
                      <a:lnTo>
                        <a:pt x="59" y="627"/>
                      </a:lnTo>
                      <a:lnTo>
                        <a:pt x="69" y="629"/>
                      </a:lnTo>
                      <a:lnTo>
                        <a:pt x="76" y="628"/>
                      </a:lnTo>
                      <a:lnTo>
                        <a:pt x="78" y="625"/>
                      </a:lnTo>
                      <a:lnTo>
                        <a:pt x="89" y="623"/>
                      </a:lnTo>
                      <a:lnTo>
                        <a:pt x="98" y="624"/>
                      </a:lnTo>
                      <a:lnTo>
                        <a:pt x="100" y="623"/>
                      </a:lnTo>
                      <a:lnTo>
                        <a:pt x="100" y="619"/>
                      </a:lnTo>
                      <a:lnTo>
                        <a:pt x="102" y="619"/>
                      </a:lnTo>
                      <a:lnTo>
                        <a:pt x="108" y="619"/>
                      </a:lnTo>
                      <a:lnTo>
                        <a:pt x="113" y="618"/>
                      </a:lnTo>
                      <a:lnTo>
                        <a:pt x="119" y="620"/>
                      </a:lnTo>
                      <a:lnTo>
                        <a:pt x="135" y="620"/>
                      </a:lnTo>
                      <a:lnTo>
                        <a:pt x="136" y="622"/>
                      </a:lnTo>
                      <a:lnTo>
                        <a:pt x="141" y="620"/>
                      </a:lnTo>
                      <a:lnTo>
                        <a:pt x="143" y="625"/>
                      </a:lnTo>
                      <a:lnTo>
                        <a:pt x="150" y="627"/>
                      </a:lnTo>
                      <a:lnTo>
                        <a:pt x="161" y="635"/>
                      </a:lnTo>
                      <a:lnTo>
                        <a:pt x="162" y="641"/>
                      </a:lnTo>
                      <a:lnTo>
                        <a:pt x="169" y="649"/>
                      </a:lnTo>
                      <a:lnTo>
                        <a:pt x="173" y="647"/>
                      </a:lnTo>
                      <a:lnTo>
                        <a:pt x="179" y="646"/>
                      </a:lnTo>
                      <a:lnTo>
                        <a:pt x="179" y="650"/>
                      </a:lnTo>
                      <a:lnTo>
                        <a:pt x="183" y="651"/>
                      </a:lnTo>
                      <a:lnTo>
                        <a:pt x="188" y="647"/>
                      </a:lnTo>
                      <a:lnTo>
                        <a:pt x="190" y="647"/>
                      </a:lnTo>
                      <a:lnTo>
                        <a:pt x="200" y="662"/>
                      </a:lnTo>
                      <a:lnTo>
                        <a:pt x="205" y="672"/>
                      </a:lnTo>
                      <a:lnTo>
                        <a:pt x="205" y="676"/>
                      </a:lnTo>
                      <a:lnTo>
                        <a:pt x="209" y="677"/>
                      </a:lnTo>
                      <a:lnTo>
                        <a:pt x="212" y="682"/>
                      </a:lnTo>
                      <a:lnTo>
                        <a:pt x="212" y="684"/>
                      </a:lnTo>
                      <a:lnTo>
                        <a:pt x="215" y="686"/>
                      </a:lnTo>
                      <a:lnTo>
                        <a:pt x="218" y="684"/>
                      </a:lnTo>
                      <a:lnTo>
                        <a:pt x="220" y="684"/>
                      </a:lnTo>
                      <a:lnTo>
                        <a:pt x="222" y="692"/>
                      </a:lnTo>
                      <a:lnTo>
                        <a:pt x="225" y="693"/>
                      </a:lnTo>
                      <a:lnTo>
                        <a:pt x="227" y="697"/>
                      </a:lnTo>
                      <a:lnTo>
                        <a:pt x="223" y="698"/>
                      </a:lnTo>
                      <a:lnTo>
                        <a:pt x="223" y="699"/>
                      </a:lnTo>
                      <a:lnTo>
                        <a:pt x="228" y="700"/>
                      </a:lnTo>
                      <a:lnTo>
                        <a:pt x="231" y="704"/>
                      </a:lnTo>
                      <a:lnTo>
                        <a:pt x="234" y="706"/>
                      </a:lnTo>
                      <a:lnTo>
                        <a:pt x="238" y="706"/>
                      </a:lnTo>
                      <a:lnTo>
                        <a:pt x="244" y="709"/>
                      </a:lnTo>
                      <a:lnTo>
                        <a:pt x="247" y="713"/>
                      </a:lnTo>
                      <a:lnTo>
                        <a:pt x="248" y="717"/>
                      </a:lnTo>
                      <a:lnTo>
                        <a:pt x="250" y="719"/>
                      </a:lnTo>
                      <a:lnTo>
                        <a:pt x="256" y="721"/>
                      </a:lnTo>
                      <a:lnTo>
                        <a:pt x="263" y="727"/>
                      </a:lnTo>
                      <a:lnTo>
                        <a:pt x="286" y="705"/>
                      </a:lnTo>
                      <a:lnTo>
                        <a:pt x="293" y="687"/>
                      </a:lnTo>
                      <a:lnTo>
                        <a:pt x="297" y="676"/>
                      </a:lnTo>
                      <a:lnTo>
                        <a:pt x="302" y="665"/>
                      </a:lnTo>
                      <a:lnTo>
                        <a:pt x="304" y="663"/>
                      </a:lnTo>
                      <a:lnTo>
                        <a:pt x="307" y="665"/>
                      </a:lnTo>
                      <a:lnTo>
                        <a:pt x="308" y="666"/>
                      </a:lnTo>
                      <a:lnTo>
                        <a:pt x="314" y="667"/>
                      </a:lnTo>
                      <a:lnTo>
                        <a:pt x="318" y="670"/>
                      </a:lnTo>
                      <a:lnTo>
                        <a:pt x="323" y="683"/>
                      </a:lnTo>
                      <a:lnTo>
                        <a:pt x="333" y="701"/>
                      </a:lnTo>
                      <a:lnTo>
                        <a:pt x="347" y="705"/>
                      </a:lnTo>
                      <a:lnTo>
                        <a:pt x="350" y="705"/>
                      </a:lnTo>
                      <a:lnTo>
                        <a:pt x="376" y="683"/>
                      </a:lnTo>
                      <a:lnTo>
                        <a:pt x="463" y="686"/>
                      </a:lnTo>
                      <a:lnTo>
                        <a:pt x="534" y="687"/>
                      </a:lnTo>
                      <a:lnTo>
                        <a:pt x="607" y="688"/>
                      </a:lnTo>
                      <a:lnTo>
                        <a:pt x="625" y="688"/>
                      </a:lnTo>
                      <a:lnTo>
                        <a:pt x="637" y="641"/>
                      </a:lnTo>
                      <a:lnTo>
                        <a:pt x="615" y="634"/>
                      </a:lnTo>
                      <a:lnTo>
                        <a:pt x="609" y="577"/>
                      </a:lnTo>
                      <a:lnTo>
                        <a:pt x="604" y="522"/>
                      </a:lnTo>
                      <a:lnTo>
                        <a:pt x="598" y="468"/>
                      </a:lnTo>
                      <a:lnTo>
                        <a:pt x="592" y="414"/>
                      </a:lnTo>
                      <a:lnTo>
                        <a:pt x="587" y="359"/>
                      </a:lnTo>
                      <a:lnTo>
                        <a:pt x="581" y="302"/>
                      </a:lnTo>
                      <a:lnTo>
                        <a:pt x="576" y="247"/>
                      </a:lnTo>
                      <a:lnTo>
                        <a:pt x="570" y="191"/>
                      </a:lnTo>
                      <a:lnTo>
                        <a:pt x="564" y="133"/>
                      </a:lnTo>
                      <a:lnTo>
                        <a:pt x="661" y="133"/>
                      </a:lnTo>
                      <a:lnTo>
                        <a:pt x="584" y="82"/>
                      </a:lnTo>
                      <a:lnTo>
                        <a:pt x="525" y="44"/>
                      </a:lnTo>
                      <a:lnTo>
                        <a:pt x="458" y="0"/>
                      </a:lnTo>
                      <a:lnTo>
                        <a:pt x="458" y="70"/>
                      </a:lnTo>
                      <a:lnTo>
                        <a:pt x="405" y="70"/>
                      </a:lnTo>
                      <a:lnTo>
                        <a:pt x="352" y="70"/>
                      </a:lnTo>
                      <a:lnTo>
                        <a:pt x="299" y="70"/>
                      </a:lnTo>
                      <a:lnTo>
                        <a:pt x="281" y="70"/>
                      </a:lnTo>
                      <a:lnTo>
                        <a:pt x="281" y="128"/>
                      </a:lnTo>
                      <a:lnTo>
                        <a:pt x="281" y="187"/>
                      </a:lnTo>
                      <a:lnTo>
                        <a:pt x="281" y="222"/>
                      </a:lnTo>
                      <a:lnTo>
                        <a:pt x="261" y="229"/>
                      </a:lnTo>
                      <a:lnTo>
                        <a:pt x="244" y="231"/>
                      </a:lnTo>
                      <a:lnTo>
                        <a:pt x="228" y="236"/>
                      </a:lnTo>
                      <a:lnTo>
                        <a:pt x="223" y="240"/>
                      </a:lnTo>
                      <a:lnTo>
                        <a:pt x="220" y="245"/>
                      </a:lnTo>
                      <a:lnTo>
                        <a:pt x="215" y="256"/>
                      </a:lnTo>
                      <a:lnTo>
                        <a:pt x="213" y="264"/>
                      </a:lnTo>
                      <a:lnTo>
                        <a:pt x="215" y="290"/>
                      </a:lnTo>
                      <a:lnTo>
                        <a:pt x="218" y="310"/>
                      </a:lnTo>
                      <a:lnTo>
                        <a:pt x="218" y="331"/>
                      </a:lnTo>
                      <a:lnTo>
                        <a:pt x="222" y="347"/>
                      </a:lnTo>
                      <a:lnTo>
                        <a:pt x="196" y="34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31" name="Freeform 130"/>
                <p:cNvSpPr>
                  <a:spLocks noChangeAspect="1"/>
                </p:cNvSpPr>
                <p:nvPr/>
              </p:nvSpPr>
              <p:spPr bwMode="gray">
                <a:xfrm>
                  <a:off x="4534693" y="3026122"/>
                  <a:ext cx="207963" cy="166688"/>
                </a:xfrm>
                <a:custGeom>
                  <a:avLst/>
                  <a:gdLst/>
                  <a:ahLst/>
                  <a:cxnLst>
                    <a:cxn ang="0">
                      <a:pos x="204" y="526"/>
                    </a:cxn>
                    <a:cxn ang="0">
                      <a:pos x="79" y="526"/>
                    </a:cxn>
                    <a:cxn ang="0">
                      <a:pos x="0" y="526"/>
                    </a:cxn>
                    <a:cxn ang="0">
                      <a:pos x="27" y="511"/>
                    </a:cxn>
                    <a:cxn ang="0">
                      <a:pos x="86" y="487"/>
                    </a:cxn>
                    <a:cxn ang="0">
                      <a:pos x="112" y="464"/>
                    </a:cxn>
                    <a:cxn ang="0">
                      <a:pos x="144" y="439"/>
                    </a:cxn>
                    <a:cxn ang="0">
                      <a:pos x="166" y="411"/>
                    </a:cxn>
                    <a:cxn ang="0">
                      <a:pos x="182" y="362"/>
                    </a:cxn>
                    <a:cxn ang="0">
                      <a:pos x="175" y="305"/>
                    </a:cxn>
                    <a:cxn ang="0">
                      <a:pos x="194" y="263"/>
                    </a:cxn>
                    <a:cxn ang="0">
                      <a:pos x="214" y="235"/>
                    </a:cxn>
                    <a:cxn ang="0">
                      <a:pos x="244" y="184"/>
                    </a:cxn>
                    <a:cxn ang="0">
                      <a:pos x="299" y="155"/>
                    </a:cxn>
                    <a:cxn ang="0">
                      <a:pos x="348" y="120"/>
                    </a:cxn>
                    <a:cxn ang="0">
                      <a:pos x="376" y="56"/>
                    </a:cxn>
                    <a:cxn ang="0">
                      <a:pos x="419" y="0"/>
                    </a:cxn>
                    <a:cxn ang="0">
                      <a:pos x="465" y="48"/>
                    </a:cxn>
                    <a:cxn ang="0">
                      <a:pos x="507" y="45"/>
                    </a:cxn>
                    <a:cxn ang="0">
                      <a:pos x="548" y="40"/>
                    </a:cxn>
                    <a:cxn ang="0">
                      <a:pos x="574" y="53"/>
                    </a:cxn>
                    <a:cxn ang="0">
                      <a:pos x="604" y="56"/>
                    </a:cxn>
                    <a:cxn ang="0">
                      <a:pos x="612" y="71"/>
                    </a:cxn>
                    <a:cxn ang="0">
                      <a:pos x="621" y="79"/>
                    </a:cxn>
                    <a:cxn ang="0">
                      <a:pos x="621" y="85"/>
                    </a:cxn>
                    <a:cxn ang="0">
                      <a:pos x="622" y="104"/>
                    </a:cxn>
                    <a:cxn ang="0">
                      <a:pos x="626" y="131"/>
                    </a:cxn>
                    <a:cxn ang="0">
                      <a:pos x="631" y="152"/>
                    </a:cxn>
                    <a:cxn ang="0">
                      <a:pos x="629" y="166"/>
                    </a:cxn>
                    <a:cxn ang="0">
                      <a:pos x="633" y="186"/>
                    </a:cxn>
                    <a:cxn ang="0">
                      <a:pos x="649" y="215"/>
                    </a:cxn>
                    <a:cxn ang="0">
                      <a:pos x="651" y="224"/>
                    </a:cxn>
                    <a:cxn ang="0">
                      <a:pos x="649" y="242"/>
                    </a:cxn>
                    <a:cxn ang="0">
                      <a:pos x="639" y="242"/>
                    </a:cxn>
                    <a:cxn ang="0">
                      <a:pos x="611" y="242"/>
                    </a:cxn>
                    <a:cxn ang="0">
                      <a:pos x="567" y="247"/>
                    </a:cxn>
                    <a:cxn ang="0">
                      <a:pos x="553" y="247"/>
                    </a:cxn>
                    <a:cxn ang="0">
                      <a:pos x="551" y="263"/>
                    </a:cxn>
                    <a:cxn ang="0">
                      <a:pos x="527" y="273"/>
                    </a:cxn>
                    <a:cxn ang="0">
                      <a:pos x="508" y="273"/>
                    </a:cxn>
                    <a:cxn ang="0">
                      <a:pos x="502" y="288"/>
                    </a:cxn>
                    <a:cxn ang="0">
                      <a:pos x="509" y="293"/>
                    </a:cxn>
                    <a:cxn ang="0">
                      <a:pos x="504" y="309"/>
                    </a:cxn>
                    <a:cxn ang="0">
                      <a:pos x="510" y="310"/>
                    </a:cxn>
                    <a:cxn ang="0">
                      <a:pos x="514" y="321"/>
                    </a:cxn>
                    <a:cxn ang="0">
                      <a:pos x="461" y="342"/>
                    </a:cxn>
                    <a:cxn ang="0">
                      <a:pos x="433" y="363"/>
                    </a:cxn>
                    <a:cxn ang="0">
                      <a:pos x="424" y="376"/>
                    </a:cxn>
                    <a:cxn ang="0">
                      <a:pos x="385" y="391"/>
                    </a:cxn>
                    <a:cxn ang="0">
                      <a:pos x="354" y="392"/>
                    </a:cxn>
                    <a:cxn ang="0">
                      <a:pos x="350" y="406"/>
                    </a:cxn>
                    <a:cxn ang="0">
                      <a:pos x="330" y="405"/>
                    </a:cxn>
                    <a:cxn ang="0">
                      <a:pos x="312" y="413"/>
                    </a:cxn>
                    <a:cxn ang="0">
                      <a:pos x="287" y="423"/>
                    </a:cxn>
                  </a:cxnLst>
                  <a:rect l="0" t="0" r="r" b="b"/>
                  <a:pathLst>
                    <a:path w="656" h="526">
                      <a:moveTo>
                        <a:pt x="240" y="457"/>
                      </a:moveTo>
                      <a:lnTo>
                        <a:pt x="240" y="526"/>
                      </a:lnTo>
                      <a:lnTo>
                        <a:pt x="204" y="526"/>
                      </a:lnTo>
                      <a:lnTo>
                        <a:pt x="161" y="526"/>
                      </a:lnTo>
                      <a:lnTo>
                        <a:pt x="120" y="526"/>
                      </a:lnTo>
                      <a:lnTo>
                        <a:pt x="79" y="526"/>
                      </a:lnTo>
                      <a:lnTo>
                        <a:pt x="43" y="526"/>
                      </a:lnTo>
                      <a:lnTo>
                        <a:pt x="9" y="526"/>
                      </a:lnTo>
                      <a:lnTo>
                        <a:pt x="0" y="526"/>
                      </a:lnTo>
                      <a:lnTo>
                        <a:pt x="5" y="515"/>
                      </a:lnTo>
                      <a:lnTo>
                        <a:pt x="14" y="511"/>
                      </a:lnTo>
                      <a:lnTo>
                        <a:pt x="27" y="511"/>
                      </a:lnTo>
                      <a:lnTo>
                        <a:pt x="46" y="507"/>
                      </a:lnTo>
                      <a:lnTo>
                        <a:pt x="77" y="495"/>
                      </a:lnTo>
                      <a:lnTo>
                        <a:pt x="86" y="487"/>
                      </a:lnTo>
                      <a:lnTo>
                        <a:pt x="97" y="475"/>
                      </a:lnTo>
                      <a:lnTo>
                        <a:pt x="101" y="472"/>
                      </a:lnTo>
                      <a:lnTo>
                        <a:pt x="112" y="464"/>
                      </a:lnTo>
                      <a:lnTo>
                        <a:pt x="129" y="456"/>
                      </a:lnTo>
                      <a:lnTo>
                        <a:pt x="140" y="445"/>
                      </a:lnTo>
                      <a:lnTo>
                        <a:pt x="144" y="439"/>
                      </a:lnTo>
                      <a:lnTo>
                        <a:pt x="149" y="437"/>
                      </a:lnTo>
                      <a:lnTo>
                        <a:pt x="154" y="433"/>
                      </a:lnTo>
                      <a:lnTo>
                        <a:pt x="166" y="411"/>
                      </a:lnTo>
                      <a:lnTo>
                        <a:pt x="182" y="384"/>
                      </a:lnTo>
                      <a:lnTo>
                        <a:pt x="183" y="379"/>
                      </a:lnTo>
                      <a:lnTo>
                        <a:pt x="182" y="362"/>
                      </a:lnTo>
                      <a:lnTo>
                        <a:pt x="172" y="343"/>
                      </a:lnTo>
                      <a:lnTo>
                        <a:pt x="175" y="332"/>
                      </a:lnTo>
                      <a:lnTo>
                        <a:pt x="175" y="305"/>
                      </a:lnTo>
                      <a:lnTo>
                        <a:pt x="177" y="297"/>
                      </a:lnTo>
                      <a:lnTo>
                        <a:pt x="194" y="267"/>
                      </a:lnTo>
                      <a:lnTo>
                        <a:pt x="194" y="263"/>
                      </a:lnTo>
                      <a:lnTo>
                        <a:pt x="207" y="256"/>
                      </a:lnTo>
                      <a:lnTo>
                        <a:pt x="204" y="258"/>
                      </a:lnTo>
                      <a:lnTo>
                        <a:pt x="214" y="235"/>
                      </a:lnTo>
                      <a:lnTo>
                        <a:pt x="213" y="224"/>
                      </a:lnTo>
                      <a:lnTo>
                        <a:pt x="235" y="198"/>
                      </a:lnTo>
                      <a:lnTo>
                        <a:pt x="244" y="184"/>
                      </a:lnTo>
                      <a:lnTo>
                        <a:pt x="253" y="175"/>
                      </a:lnTo>
                      <a:lnTo>
                        <a:pt x="271" y="166"/>
                      </a:lnTo>
                      <a:lnTo>
                        <a:pt x="299" y="155"/>
                      </a:lnTo>
                      <a:lnTo>
                        <a:pt x="314" y="148"/>
                      </a:lnTo>
                      <a:lnTo>
                        <a:pt x="337" y="132"/>
                      </a:lnTo>
                      <a:lnTo>
                        <a:pt x="348" y="120"/>
                      </a:lnTo>
                      <a:lnTo>
                        <a:pt x="354" y="102"/>
                      </a:lnTo>
                      <a:lnTo>
                        <a:pt x="365" y="89"/>
                      </a:lnTo>
                      <a:lnTo>
                        <a:pt x="376" y="56"/>
                      </a:lnTo>
                      <a:lnTo>
                        <a:pt x="392" y="12"/>
                      </a:lnTo>
                      <a:lnTo>
                        <a:pt x="398" y="7"/>
                      </a:lnTo>
                      <a:lnTo>
                        <a:pt x="419" y="0"/>
                      </a:lnTo>
                      <a:lnTo>
                        <a:pt x="429" y="18"/>
                      </a:lnTo>
                      <a:lnTo>
                        <a:pt x="443" y="32"/>
                      </a:lnTo>
                      <a:lnTo>
                        <a:pt x="465" y="48"/>
                      </a:lnTo>
                      <a:lnTo>
                        <a:pt x="475" y="51"/>
                      </a:lnTo>
                      <a:lnTo>
                        <a:pt x="499" y="42"/>
                      </a:lnTo>
                      <a:lnTo>
                        <a:pt x="507" y="45"/>
                      </a:lnTo>
                      <a:lnTo>
                        <a:pt x="525" y="45"/>
                      </a:lnTo>
                      <a:lnTo>
                        <a:pt x="541" y="43"/>
                      </a:lnTo>
                      <a:lnTo>
                        <a:pt x="548" y="40"/>
                      </a:lnTo>
                      <a:lnTo>
                        <a:pt x="557" y="45"/>
                      </a:lnTo>
                      <a:lnTo>
                        <a:pt x="564" y="51"/>
                      </a:lnTo>
                      <a:lnTo>
                        <a:pt x="574" y="53"/>
                      </a:lnTo>
                      <a:lnTo>
                        <a:pt x="580" y="53"/>
                      </a:lnTo>
                      <a:lnTo>
                        <a:pt x="585" y="52"/>
                      </a:lnTo>
                      <a:lnTo>
                        <a:pt x="604" y="56"/>
                      </a:lnTo>
                      <a:lnTo>
                        <a:pt x="604" y="61"/>
                      </a:lnTo>
                      <a:lnTo>
                        <a:pt x="606" y="66"/>
                      </a:lnTo>
                      <a:lnTo>
                        <a:pt x="612" y="71"/>
                      </a:lnTo>
                      <a:lnTo>
                        <a:pt x="613" y="73"/>
                      </a:lnTo>
                      <a:lnTo>
                        <a:pt x="617" y="78"/>
                      </a:lnTo>
                      <a:lnTo>
                        <a:pt x="621" y="79"/>
                      </a:lnTo>
                      <a:lnTo>
                        <a:pt x="623" y="83"/>
                      </a:lnTo>
                      <a:lnTo>
                        <a:pt x="622" y="85"/>
                      </a:lnTo>
                      <a:lnTo>
                        <a:pt x="621" y="85"/>
                      </a:lnTo>
                      <a:lnTo>
                        <a:pt x="620" y="88"/>
                      </a:lnTo>
                      <a:lnTo>
                        <a:pt x="626" y="96"/>
                      </a:lnTo>
                      <a:lnTo>
                        <a:pt x="622" y="104"/>
                      </a:lnTo>
                      <a:lnTo>
                        <a:pt x="624" y="111"/>
                      </a:lnTo>
                      <a:lnTo>
                        <a:pt x="627" y="122"/>
                      </a:lnTo>
                      <a:lnTo>
                        <a:pt x="626" y="131"/>
                      </a:lnTo>
                      <a:lnTo>
                        <a:pt x="626" y="141"/>
                      </a:lnTo>
                      <a:lnTo>
                        <a:pt x="623" y="144"/>
                      </a:lnTo>
                      <a:lnTo>
                        <a:pt x="631" y="152"/>
                      </a:lnTo>
                      <a:lnTo>
                        <a:pt x="631" y="156"/>
                      </a:lnTo>
                      <a:lnTo>
                        <a:pt x="631" y="160"/>
                      </a:lnTo>
                      <a:lnTo>
                        <a:pt x="629" y="166"/>
                      </a:lnTo>
                      <a:lnTo>
                        <a:pt x="628" y="171"/>
                      </a:lnTo>
                      <a:lnTo>
                        <a:pt x="631" y="179"/>
                      </a:lnTo>
                      <a:lnTo>
                        <a:pt x="633" y="186"/>
                      </a:lnTo>
                      <a:lnTo>
                        <a:pt x="633" y="192"/>
                      </a:lnTo>
                      <a:lnTo>
                        <a:pt x="640" y="207"/>
                      </a:lnTo>
                      <a:lnTo>
                        <a:pt x="649" y="215"/>
                      </a:lnTo>
                      <a:lnTo>
                        <a:pt x="656" y="220"/>
                      </a:lnTo>
                      <a:lnTo>
                        <a:pt x="656" y="222"/>
                      </a:lnTo>
                      <a:lnTo>
                        <a:pt x="651" y="224"/>
                      </a:lnTo>
                      <a:lnTo>
                        <a:pt x="648" y="231"/>
                      </a:lnTo>
                      <a:lnTo>
                        <a:pt x="647" y="238"/>
                      </a:lnTo>
                      <a:lnTo>
                        <a:pt x="649" y="242"/>
                      </a:lnTo>
                      <a:lnTo>
                        <a:pt x="649" y="245"/>
                      </a:lnTo>
                      <a:lnTo>
                        <a:pt x="647" y="246"/>
                      </a:lnTo>
                      <a:lnTo>
                        <a:pt x="639" y="242"/>
                      </a:lnTo>
                      <a:lnTo>
                        <a:pt x="627" y="242"/>
                      </a:lnTo>
                      <a:lnTo>
                        <a:pt x="616" y="241"/>
                      </a:lnTo>
                      <a:lnTo>
                        <a:pt x="611" y="242"/>
                      </a:lnTo>
                      <a:lnTo>
                        <a:pt x="580" y="242"/>
                      </a:lnTo>
                      <a:lnTo>
                        <a:pt x="570" y="245"/>
                      </a:lnTo>
                      <a:lnTo>
                        <a:pt x="567" y="247"/>
                      </a:lnTo>
                      <a:lnTo>
                        <a:pt x="563" y="249"/>
                      </a:lnTo>
                      <a:lnTo>
                        <a:pt x="556" y="246"/>
                      </a:lnTo>
                      <a:lnTo>
                        <a:pt x="553" y="247"/>
                      </a:lnTo>
                      <a:lnTo>
                        <a:pt x="551" y="252"/>
                      </a:lnTo>
                      <a:lnTo>
                        <a:pt x="552" y="257"/>
                      </a:lnTo>
                      <a:lnTo>
                        <a:pt x="551" y="263"/>
                      </a:lnTo>
                      <a:lnTo>
                        <a:pt x="548" y="266"/>
                      </a:lnTo>
                      <a:lnTo>
                        <a:pt x="535" y="272"/>
                      </a:lnTo>
                      <a:lnTo>
                        <a:pt x="527" y="273"/>
                      </a:lnTo>
                      <a:lnTo>
                        <a:pt x="520" y="274"/>
                      </a:lnTo>
                      <a:lnTo>
                        <a:pt x="513" y="273"/>
                      </a:lnTo>
                      <a:lnTo>
                        <a:pt x="508" y="273"/>
                      </a:lnTo>
                      <a:lnTo>
                        <a:pt x="503" y="277"/>
                      </a:lnTo>
                      <a:lnTo>
                        <a:pt x="502" y="282"/>
                      </a:lnTo>
                      <a:lnTo>
                        <a:pt x="502" y="288"/>
                      </a:lnTo>
                      <a:lnTo>
                        <a:pt x="503" y="290"/>
                      </a:lnTo>
                      <a:lnTo>
                        <a:pt x="508" y="290"/>
                      </a:lnTo>
                      <a:lnTo>
                        <a:pt x="509" y="293"/>
                      </a:lnTo>
                      <a:lnTo>
                        <a:pt x="504" y="298"/>
                      </a:lnTo>
                      <a:lnTo>
                        <a:pt x="503" y="309"/>
                      </a:lnTo>
                      <a:lnTo>
                        <a:pt x="504" y="309"/>
                      </a:lnTo>
                      <a:lnTo>
                        <a:pt x="507" y="308"/>
                      </a:lnTo>
                      <a:lnTo>
                        <a:pt x="509" y="308"/>
                      </a:lnTo>
                      <a:lnTo>
                        <a:pt x="510" y="310"/>
                      </a:lnTo>
                      <a:lnTo>
                        <a:pt x="515" y="314"/>
                      </a:lnTo>
                      <a:lnTo>
                        <a:pt x="516" y="317"/>
                      </a:lnTo>
                      <a:lnTo>
                        <a:pt x="514" y="321"/>
                      </a:lnTo>
                      <a:lnTo>
                        <a:pt x="493" y="325"/>
                      </a:lnTo>
                      <a:lnTo>
                        <a:pt x="467" y="342"/>
                      </a:lnTo>
                      <a:lnTo>
                        <a:pt x="461" y="342"/>
                      </a:lnTo>
                      <a:lnTo>
                        <a:pt x="446" y="348"/>
                      </a:lnTo>
                      <a:lnTo>
                        <a:pt x="436" y="355"/>
                      </a:lnTo>
                      <a:lnTo>
                        <a:pt x="433" y="363"/>
                      </a:lnTo>
                      <a:lnTo>
                        <a:pt x="433" y="365"/>
                      </a:lnTo>
                      <a:lnTo>
                        <a:pt x="430" y="371"/>
                      </a:lnTo>
                      <a:lnTo>
                        <a:pt x="424" y="376"/>
                      </a:lnTo>
                      <a:lnTo>
                        <a:pt x="418" y="381"/>
                      </a:lnTo>
                      <a:lnTo>
                        <a:pt x="401" y="389"/>
                      </a:lnTo>
                      <a:lnTo>
                        <a:pt x="385" y="391"/>
                      </a:lnTo>
                      <a:lnTo>
                        <a:pt x="376" y="391"/>
                      </a:lnTo>
                      <a:lnTo>
                        <a:pt x="371" y="394"/>
                      </a:lnTo>
                      <a:lnTo>
                        <a:pt x="354" y="392"/>
                      </a:lnTo>
                      <a:lnTo>
                        <a:pt x="353" y="396"/>
                      </a:lnTo>
                      <a:lnTo>
                        <a:pt x="353" y="405"/>
                      </a:lnTo>
                      <a:lnTo>
                        <a:pt x="350" y="406"/>
                      </a:lnTo>
                      <a:lnTo>
                        <a:pt x="342" y="406"/>
                      </a:lnTo>
                      <a:lnTo>
                        <a:pt x="337" y="403"/>
                      </a:lnTo>
                      <a:lnTo>
                        <a:pt x="330" y="405"/>
                      </a:lnTo>
                      <a:lnTo>
                        <a:pt x="323" y="403"/>
                      </a:lnTo>
                      <a:lnTo>
                        <a:pt x="319" y="407"/>
                      </a:lnTo>
                      <a:lnTo>
                        <a:pt x="312" y="413"/>
                      </a:lnTo>
                      <a:lnTo>
                        <a:pt x="306" y="417"/>
                      </a:lnTo>
                      <a:lnTo>
                        <a:pt x="299" y="423"/>
                      </a:lnTo>
                      <a:lnTo>
                        <a:pt x="287" y="423"/>
                      </a:lnTo>
                      <a:lnTo>
                        <a:pt x="266" y="437"/>
                      </a:lnTo>
                      <a:lnTo>
                        <a:pt x="240" y="45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32" name="Freeform 131"/>
                <p:cNvSpPr>
                  <a:spLocks noChangeAspect="1"/>
                </p:cNvSpPr>
                <p:nvPr/>
              </p:nvSpPr>
              <p:spPr bwMode="gray">
                <a:xfrm>
                  <a:off x="5474492" y="3484909"/>
                  <a:ext cx="177800" cy="234950"/>
                </a:xfrm>
                <a:custGeom>
                  <a:avLst/>
                  <a:gdLst/>
                  <a:ahLst/>
                  <a:cxnLst>
                    <a:cxn ang="0">
                      <a:pos x="6" y="708"/>
                    </a:cxn>
                    <a:cxn ang="0">
                      <a:pos x="0" y="604"/>
                    </a:cxn>
                    <a:cxn ang="0">
                      <a:pos x="3" y="496"/>
                    </a:cxn>
                    <a:cxn ang="0">
                      <a:pos x="48" y="437"/>
                    </a:cxn>
                    <a:cxn ang="0">
                      <a:pos x="102" y="414"/>
                    </a:cxn>
                    <a:cxn ang="0">
                      <a:pos x="148" y="384"/>
                    </a:cxn>
                    <a:cxn ang="0">
                      <a:pos x="302" y="297"/>
                    </a:cxn>
                    <a:cxn ang="0">
                      <a:pos x="384" y="212"/>
                    </a:cxn>
                    <a:cxn ang="0">
                      <a:pos x="166" y="154"/>
                    </a:cxn>
                    <a:cxn ang="0">
                      <a:pos x="132" y="122"/>
                    </a:cxn>
                    <a:cxn ang="0">
                      <a:pos x="119" y="107"/>
                    </a:cxn>
                    <a:cxn ang="0">
                      <a:pos x="103" y="88"/>
                    </a:cxn>
                    <a:cxn ang="0">
                      <a:pos x="103" y="55"/>
                    </a:cxn>
                    <a:cxn ang="0">
                      <a:pos x="120" y="25"/>
                    </a:cxn>
                    <a:cxn ang="0">
                      <a:pos x="130" y="29"/>
                    </a:cxn>
                    <a:cxn ang="0">
                      <a:pos x="151" y="57"/>
                    </a:cxn>
                    <a:cxn ang="0">
                      <a:pos x="186" y="84"/>
                    </a:cxn>
                    <a:cxn ang="0">
                      <a:pos x="222" y="77"/>
                    </a:cxn>
                    <a:cxn ang="0">
                      <a:pos x="248" y="64"/>
                    </a:cxn>
                    <a:cxn ang="0">
                      <a:pos x="258" y="57"/>
                    </a:cxn>
                    <a:cxn ang="0">
                      <a:pos x="269" y="61"/>
                    </a:cxn>
                    <a:cxn ang="0">
                      <a:pos x="291" y="67"/>
                    </a:cxn>
                    <a:cxn ang="0">
                      <a:pos x="317" y="61"/>
                    </a:cxn>
                    <a:cxn ang="0">
                      <a:pos x="336" y="48"/>
                    </a:cxn>
                    <a:cxn ang="0">
                      <a:pos x="365" y="46"/>
                    </a:cxn>
                    <a:cxn ang="0">
                      <a:pos x="393" y="43"/>
                    </a:cxn>
                    <a:cxn ang="0">
                      <a:pos x="417" y="33"/>
                    </a:cxn>
                    <a:cxn ang="0">
                      <a:pos x="451" y="28"/>
                    </a:cxn>
                    <a:cxn ang="0">
                      <a:pos x="473" y="25"/>
                    </a:cxn>
                    <a:cxn ang="0">
                      <a:pos x="501" y="17"/>
                    </a:cxn>
                    <a:cxn ang="0">
                      <a:pos x="527" y="0"/>
                    </a:cxn>
                    <a:cxn ang="0">
                      <a:pos x="555" y="7"/>
                    </a:cxn>
                    <a:cxn ang="0">
                      <a:pos x="555" y="19"/>
                    </a:cxn>
                    <a:cxn ang="0">
                      <a:pos x="548" y="41"/>
                    </a:cxn>
                    <a:cxn ang="0">
                      <a:pos x="552" y="59"/>
                    </a:cxn>
                    <a:cxn ang="0">
                      <a:pos x="551" y="78"/>
                    </a:cxn>
                    <a:cxn ang="0">
                      <a:pos x="551" y="84"/>
                    </a:cxn>
                    <a:cxn ang="0">
                      <a:pos x="556" y="84"/>
                    </a:cxn>
                    <a:cxn ang="0">
                      <a:pos x="560" y="91"/>
                    </a:cxn>
                    <a:cxn ang="0">
                      <a:pos x="545" y="88"/>
                    </a:cxn>
                    <a:cxn ang="0">
                      <a:pos x="539" y="99"/>
                    </a:cxn>
                    <a:cxn ang="0">
                      <a:pos x="530" y="145"/>
                    </a:cxn>
                    <a:cxn ang="0">
                      <a:pos x="518" y="164"/>
                    </a:cxn>
                    <a:cxn ang="0">
                      <a:pos x="497" y="202"/>
                    </a:cxn>
                    <a:cxn ang="0">
                      <a:pos x="485" y="215"/>
                    </a:cxn>
                    <a:cxn ang="0">
                      <a:pos x="479" y="237"/>
                    </a:cxn>
                    <a:cxn ang="0">
                      <a:pos x="444" y="303"/>
                    </a:cxn>
                    <a:cxn ang="0">
                      <a:pos x="422" y="351"/>
                    </a:cxn>
                    <a:cxn ang="0">
                      <a:pos x="414" y="358"/>
                    </a:cxn>
                    <a:cxn ang="0">
                      <a:pos x="389" y="389"/>
                    </a:cxn>
                    <a:cxn ang="0">
                      <a:pos x="382" y="405"/>
                    </a:cxn>
                    <a:cxn ang="0">
                      <a:pos x="363" y="432"/>
                    </a:cxn>
                    <a:cxn ang="0">
                      <a:pos x="334" y="461"/>
                    </a:cxn>
                    <a:cxn ang="0">
                      <a:pos x="297" y="492"/>
                    </a:cxn>
                    <a:cxn ang="0">
                      <a:pos x="277" y="520"/>
                    </a:cxn>
                    <a:cxn ang="0">
                      <a:pos x="243" y="545"/>
                    </a:cxn>
                    <a:cxn ang="0">
                      <a:pos x="216" y="554"/>
                    </a:cxn>
                    <a:cxn ang="0">
                      <a:pos x="120" y="640"/>
                    </a:cxn>
                    <a:cxn ang="0">
                      <a:pos x="91" y="663"/>
                    </a:cxn>
                    <a:cxn ang="0">
                      <a:pos x="87" y="665"/>
                    </a:cxn>
                    <a:cxn ang="0">
                      <a:pos x="83" y="674"/>
                    </a:cxn>
                    <a:cxn ang="0">
                      <a:pos x="61" y="705"/>
                    </a:cxn>
                    <a:cxn ang="0">
                      <a:pos x="32" y="739"/>
                    </a:cxn>
                  </a:cxnLst>
                  <a:rect l="0" t="0" r="r" b="b"/>
                  <a:pathLst>
                    <a:path w="561" h="740">
                      <a:moveTo>
                        <a:pt x="30" y="740"/>
                      </a:moveTo>
                      <a:lnTo>
                        <a:pt x="29" y="737"/>
                      </a:lnTo>
                      <a:lnTo>
                        <a:pt x="6" y="708"/>
                      </a:lnTo>
                      <a:lnTo>
                        <a:pt x="0" y="700"/>
                      </a:lnTo>
                      <a:lnTo>
                        <a:pt x="0" y="657"/>
                      </a:lnTo>
                      <a:lnTo>
                        <a:pt x="0" y="604"/>
                      </a:lnTo>
                      <a:lnTo>
                        <a:pt x="0" y="551"/>
                      </a:lnTo>
                      <a:lnTo>
                        <a:pt x="0" y="498"/>
                      </a:lnTo>
                      <a:lnTo>
                        <a:pt x="3" y="496"/>
                      </a:lnTo>
                      <a:lnTo>
                        <a:pt x="25" y="474"/>
                      </a:lnTo>
                      <a:lnTo>
                        <a:pt x="46" y="442"/>
                      </a:lnTo>
                      <a:lnTo>
                        <a:pt x="48" y="437"/>
                      </a:lnTo>
                      <a:lnTo>
                        <a:pt x="51" y="433"/>
                      </a:lnTo>
                      <a:lnTo>
                        <a:pt x="66" y="426"/>
                      </a:lnTo>
                      <a:lnTo>
                        <a:pt x="102" y="414"/>
                      </a:lnTo>
                      <a:lnTo>
                        <a:pt x="114" y="401"/>
                      </a:lnTo>
                      <a:lnTo>
                        <a:pt x="127" y="393"/>
                      </a:lnTo>
                      <a:lnTo>
                        <a:pt x="148" y="384"/>
                      </a:lnTo>
                      <a:lnTo>
                        <a:pt x="157" y="379"/>
                      </a:lnTo>
                      <a:lnTo>
                        <a:pt x="221" y="379"/>
                      </a:lnTo>
                      <a:lnTo>
                        <a:pt x="302" y="297"/>
                      </a:lnTo>
                      <a:lnTo>
                        <a:pt x="373" y="227"/>
                      </a:lnTo>
                      <a:lnTo>
                        <a:pt x="383" y="215"/>
                      </a:lnTo>
                      <a:lnTo>
                        <a:pt x="384" y="212"/>
                      </a:lnTo>
                      <a:lnTo>
                        <a:pt x="331" y="213"/>
                      </a:lnTo>
                      <a:lnTo>
                        <a:pt x="244" y="181"/>
                      </a:lnTo>
                      <a:lnTo>
                        <a:pt x="166" y="154"/>
                      </a:lnTo>
                      <a:lnTo>
                        <a:pt x="159" y="147"/>
                      </a:lnTo>
                      <a:lnTo>
                        <a:pt x="140" y="132"/>
                      </a:lnTo>
                      <a:lnTo>
                        <a:pt x="132" y="122"/>
                      </a:lnTo>
                      <a:lnTo>
                        <a:pt x="126" y="116"/>
                      </a:lnTo>
                      <a:lnTo>
                        <a:pt x="124" y="110"/>
                      </a:lnTo>
                      <a:lnTo>
                        <a:pt x="119" y="107"/>
                      </a:lnTo>
                      <a:lnTo>
                        <a:pt x="113" y="100"/>
                      </a:lnTo>
                      <a:lnTo>
                        <a:pt x="110" y="95"/>
                      </a:lnTo>
                      <a:lnTo>
                        <a:pt x="103" y="88"/>
                      </a:lnTo>
                      <a:lnTo>
                        <a:pt x="98" y="65"/>
                      </a:lnTo>
                      <a:lnTo>
                        <a:pt x="99" y="60"/>
                      </a:lnTo>
                      <a:lnTo>
                        <a:pt x="103" y="55"/>
                      </a:lnTo>
                      <a:lnTo>
                        <a:pt x="105" y="49"/>
                      </a:lnTo>
                      <a:lnTo>
                        <a:pt x="115" y="37"/>
                      </a:lnTo>
                      <a:lnTo>
                        <a:pt x="120" y="25"/>
                      </a:lnTo>
                      <a:lnTo>
                        <a:pt x="123" y="23"/>
                      </a:lnTo>
                      <a:lnTo>
                        <a:pt x="125" y="27"/>
                      </a:lnTo>
                      <a:lnTo>
                        <a:pt x="130" y="29"/>
                      </a:lnTo>
                      <a:lnTo>
                        <a:pt x="135" y="38"/>
                      </a:lnTo>
                      <a:lnTo>
                        <a:pt x="140" y="41"/>
                      </a:lnTo>
                      <a:lnTo>
                        <a:pt x="151" y="57"/>
                      </a:lnTo>
                      <a:lnTo>
                        <a:pt x="167" y="73"/>
                      </a:lnTo>
                      <a:lnTo>
                        <a:pt x="179" y="82"/>
                      </a:lnTo>
                      <a:lnTo>
                        <a:pt x="186" y="84"/>
                      </a:lnTo>
                      <a:lnTo>
                        <a:pt x="193" y="82"/>
                      </a:lnTo>
                      <a:lnTo>
                        <a:pt x="215" y="83"/>
                      </a:lnTo>
                      <a:lnTo>
                        <a:pt x="222" y="77"/>
                      </a:lnTo>
                      <a:lnTo>
                        <a:pt x="231" y="72"/>
                      </a:lnTo>
                      <a:lnTo>
                        <a:pt x="238" y="70"/>
                      </a:lnTo>
                      <a:lnTo>
                        <a:pt x="248" y="64"/>
                      </a:lnTo>
                      <a:lnTo>
                        <a:pt x="253" y="62"/>
                      </a:lnTo>
                      <a:lnTo>
                        <a:pt x="255" y="60"/>
                      </a:lnTo>
                      <a:lnTo>
                        <a:pt x="258" y="57"/>
                      </a:lnTo>
                      <a:lnTo>
                        <a:pt x="260" y="57"/>
                      </a:lnTo>
                      <a:lnTo>
                        <a:pt x="265" y="61"/>
                      </a:lnTo>
                      <a:lnTo>
                        <a:pt x="269" y="61"/>
                      </a:lnTo>
                      <a:lnTo>
                        <a:pt x="271" y="62"/>
                      </a:lnTo>
                      <a:lnTo>
                        <a:pt x="283" y="61"/>
                      </a:lnTo>
                      <a:lnTo>
                        <a:pt x="291" y="67"/>
                      </a:lnTo>
                      <a:lnTo>
                        <a:pt x="302" y="67"/>
                      </a:lnTo>
                      <a:lnTo>
                        <a:pt x="312" y="65"/>
                      </a:lnTo>
                      <a:lnTo>
                        <a:pt x="317" y="61"/>
                      </a:lnTo>
                      <a:lnTo>
                        <a:pt x="322" y="56"/>
                      </a:lnTo>
                      <a:lnTo>
                        <a:pt x="331" y="54"/>
                      </a:lnTo>
                      <a:lnTo>
                        <a:pt x="336" y="48"/>
                      </a:lnTo>
                      <a:lnTo>
                        <a:pt x="342" y="44"/>
                      </a:lnTo>
                      <a:lnTo>
                        <a:pt x="353" y="41"/>
                      </a:lnTo>
                      <a:lnTo>
                        <a:pt x="365" y="46"/>
                      </a:lnTo>
                      <a:lnTo>
                        <a:pt x="372" y="45"/>
                      </a:lnTo>
                      <a:lnTo>
                        <a:pt x="382" y="44"/>
                      </a:lnTo>
                      <a:lnTo>
                        <a:pt x="393" y="43"/>
                      </a:lnTo>
                      <a:lnTo>
                        <a:pt x="398" y="41"/>
                      </a:lnTo>
                      <a:lnTo>
                        <a:pt x="411" y="33"/>
                      </a:lnTo>
                      <a:lnTo>
                        <a:pt x="417" y="33"/>
                      </a:lnTo>
                      <a:lnTo>
                        <a:pt x="430" y="37"/>
                      </a:lnTo>
                      <a:lnTo>
                        <a:pt x="447" y="29"/>
                      </a:lnTo>
                      <a:lnTo>
                        <a:pt x="451" y="28"/>
                      </a:lnTo>
                      <a:lnTo>
                        <a:pt x="458" y="29"/>
                      </a:lnTo>
                      <a:lnTo>
                        <a:pt x="462" y="24"/>
                      </a:lnTo>
                      <a:lnTo>
                        <a:pt x="473" y="25"/>
                      </a:lnTo>
                      <a:lnTo>
                        <a:pt x="481" y="24"/>
                      </a:lnTo>
                      <a:lnTo>
                        <a:pt x="496" y="21"/>
                      </a:lnTo>
                      <a:lnTo>
                        <a:pt x="501" y="17"/>
                      </a:lnTo>
                      <a:lnTo>
                        <a:pt x="514" y="12"/>
                      </a:lnTo>
                      <a:lnTo>
                        <a:pt x="518" y="2"/>
                      </a:lnTo>
                      <a:lnTo>
                        <a:pt x="527" y="0"/>
                      </a:lnTo>
                      <a:lnTo>
                        <a:pt x="535" y="0"/>
                      </a:lnTo>
                      <a:lnTo>
                        <a:pt x="546" y="7"/>
                      </a:lnTo>
                      <a:lnTo>
                        <a:pt x="555" y="7"/>
                      </a:lnTo>
                      <a:lnTo>
                        <a:pt x="556" y="8"/>
                      </a:lnTo>
                      <a:lnTo>
                        <a:pt x="555" y="14"/>
                      </a:lnTo>
                      <a:lnTo>
                        <a:pt x="555" y="19"/>
                      </a:lnTo>
                      <a:lnTo>
                        <a:pt x="549" y="27"/>
                      </a:lnTo>
                      <a:lnTo>
                        <a:pt x="548" y="33"/>
                      </a:lnTo>
                      <a:lnTo>
                        <a:pt x="548" y="41"/>
                      </a:lnTo>
                      <a:lnTo>
                        <a:pt x="554" y="46"/>
                      </a:lnTo>
                      <a:lnTo>
                        <a:pt x="551" y="52"/>
                      </a:lnTo>
                      <a:lnTo>
                        <a:pt x="552" y="59"/>
                      </a:lnTo>
                      <a:lnTo>
                        <a:pt x="551" y="66"/>
                      </a:lnTo>
                      <a:lnTo>
                        <a:pt x="552" y="75"/>
                      </a:lnTo>
                      <a:lnTo>
                        <a:pt x="551" y="78"/>
                      </a:lnTo>
                      <a:lnTo>
                        <a:pt x="544" y="83"/>
                      </a:lnTo>
                      <a:lnTo>
                        <a:pt x="545" y="86"/>
                      </a:lnTo>
                      <a:lnTo>
                        <a:pt x="551" y="84"/>
                      </a:lnTo>
                      <a:lnTo>
                        <a:pt x="552" y="82"/>
                      </a:lnTo>
                      <a:lnTo>
                        <a:pt x="554" y="82"/>
                      </a:lnTo>
                      <a:lnTo>
                        <a:pt x="556" y="84"/>
                      </a:lnTo>
                      <a:lnTo>
                        <a:pt x="561" y="86"/>
                      </a:lnTo>
                      <a:lnTo>
                        <a:pt x="561" y="89"/>
                      </a:lnTo>
                      <a:lnTo>
                        <a:pt x="560" y="91"/>
                      </a:lnTo>
                      <a:lnTo>
                        <a:pt x="559" y="91"/>
                      </a:lnTo>
                      <a:lnTo>
                        <a:pt x="552" y="88"/>
                      </a:lnTo>
                      <a:lnTo>
                        <a:pt x="545" y="88"/>
                      </a:lnTo>
                      <a:lnTo>
                        <a:pt x="540" y="91"/>
                      </a:lnTo>
                      <a:lnTo>
                        <a:pt x="539" y="92"/>
                      </a:lnTo>
                      <a:lnTo>
                        <a:pt x="539" y="99"/>
                      </a:lnTo>
                      <a:lnTo>
                        <a:pt x="533" y="125"/>
                      </a:lnTo>
                      <a:lnTo>
                        <a:pt x="533" y="141"/>
                      </a:lnTo>
                      <a:lnTo>
                        <a:pt x="530" y="145"/>
                      </a:lnTo>
                      <a:lnTo>
                        <a:pt x="528" y="156"/>
                      </a:lnTo>
                      <a:lnTo>
                        <a:pt x="524" y="159"/>
                      </a:lnTo>
                      <a:lnTo>
                        <a:pt x="518" y="164"/>
                      </a:lnTo>
                      <a:lnTo>
                        <a:pt x="511" y="181"/>
                      </a:lnTo>
                      <a:lnTo>
                        <a:pt x="502" y="190"/>
                      </a:lnTo>
                      <a:lnTo>
                        <a:pt x="497" y="202"/>
                      </a:lnTo>
                      <a:lnTo>
                        <a:pt x="497" y="204"/>
                      </a:lnTo>
                      <a:lnTo>
                        <a:pt x="492" y="207"/>
                      </a:lnTo>
                      <a:lnTo>
                        <a:pt x="485" y="215"/>
                      </a:lnTo>
                      <a:lnTo>
                        <a:pt x="482" y="220"/>
                      </a:lnTo>
                      <a:lnTo>
                        <a:pt x="480" y="226"/>
                      </a:lnTo>
                      <a:lnTo>
                        <a:pt x="479" y="237"/>
                      </a:lnTo>
                      <a:lnTo>
                        <a:pt x="462" y="271"/>
                      </a:lnTo>
                      <a:lnTo>
                        <a:pt x="447" y="296"/>
                      </a:lnTo>
                      <a:lnTo>
                        <a:pt x="444" y="303"/>
                      </a:lnTo>
                      <a:lnTo>
                        <a:pt x="438" y="325"/>
                      </a:lnTo>
                      <a:lnTo>
                        <a:pt x="431" y="344"/>
                      </a:lnTo>
                      <a:lnTo>
                        <a:pt x="422" y="351"/>
                      </a:lnTo>
                      <a:lnTo>
                        <a:pt x="419" y="353"/>
                      </a:lnTo>
                      <a:lnTo>
                        <a:pt x="416" y="357"/>
                      </a:lnTo>
                      <a:lnTo>
                        <a:pt x="414" y="358"/>
                      </a:lnTo>
                      <a:lnTo>
                        <a:pt x="409" y="363"/>
                      </a:lnTo>
                      <a:lnTo>
                        <a:pt x="394" y="378"/>
                      </a:lnTo>
                      <a:lnTo>
                        <a:pt x="389" y="389"/>
                      </a:lnTo>
                      <a:lnTo>
                        <a:pt x="389" y="390"/>
                      </a:lnTo>
                      <a:lnTo>
                        <a:pt x="388" y="395"/>
                      </a:lnTo>
                      <a:lnTo>
                        <a:pt x="382" y="405"/>
                      </a:lnTo>
                      <a:lnTo>
                        <a:pt x="373" y="420"/>
                      </a:lnTo>
                      <a:lnTo>
                        <a:pt x="362" y="432"/>
                      </a:lnTo>
                      <a:lnTo>
                        <a:pt x="363" y="432"/>
                      </a:lnTo>
                      <a:lnTo>
                        <a:pt x="352" y="442"/>
                      </a:lnTo>
                      <a:lnTo>
                        <a:pt x="340" y="453"/>
                      </a:lnTo>
                      <a:lnTo>
                        <a:pt x="334" y="461"/>
                      </a:lnTo>
                      <a:lnTo>
                        <a:pt x="323" y="474"/>
                      </a:lnTo>
                      <a:lnTo>
                        <a:pt x="306" y="486"/>
                      </a:lnTo>
                      <a:lnTo>
                        <a:pt x="297" y="492"/>
                      </a:lnTo>
                      <a:lnTo>
                        <a:pt x="297" y="495"/>
                      </a:lnTo>
                      <a:lnTo>
                        <a:pt x="290" y="506"/>
                      </a:lnTo>
                      <a:lnTo>
                        <a:pt x="277" y="520"/>
                      </a:lnTo>
                      <a:lnTo>
                        <a:pt x="264" y="532"/>
                      </a:lnTo>
                      <a:lnTo>
                        <a:pt x="249" y="541"/>
                      </a:lnTo>
                      <a:lnTo>
                        <a:pt x="243" y="545"/>
                      </a:lnTo>
                      <a:lnTo>
                        <a:pt x="231" y="549"/>
                      </a:lnTo>
                      <a:lnTo>
                        <a:pt x="223" y="550"/>
                      </a:lnTo>
                      <a:lnTo>
                        <a:pt x="216" y="554"/>
                      </a:lnTo>
                      <a:lnTo>
                        <a:pt x="193" y="572"/>
                      </a:lnTo>
                      <a:lnTo>
                        <a:pt x="139" y="620"/>
                      </a:lnTo>
                      <a:lnTo>
                        <a:pt x="120" y="640"/>
                      </a:lnTo>
                      <a:lnTo>
                        <a:pt x="113" y="648"/>
                      </a:lnTo>
                      <a:lnTo>
                        <a:pt x="103" y="659"/>
                      </a:lnTo>
                      <a:lnTo>
                        <a:pt x="91" y="663"/>
                      </a:lnTo>
                      <a:lnTo>
                        <a:pt x="87" y="660"/>
                      </a:lnTo>
                      <a:lnTo>
                        <a:pt x="84" y="665"/>
                      </a:lnTo>
                      <a:lnTo>
                        <a:pt x="87" y="665"/>
                      </a:lnTo>
                      <a:lnTo>
                        <a:pt x="88" y="669"/>
                      </a:lnTo>
                      <a:lnTo>
                        <a:pt x="87" y="672"/>
                      </a:lnTo>
                      <a:lnTo>
                        <a:pt x="83" y="674"/>
                      </a:lnTo>
                      <a:lnTo>
                        <a:pt x="81" y="681"/>
                      </a:lnTo>
                      <a:lnTo>
                        <a:pt x="75" y="691"/>
                      </a:lnTo>
                      <a:lnTo>
                        <a:pt x="61" y="705"/>
                      </a:lnTo>
                      <a:lnTo>
                        <a:pt x="50" y="718"/>
                      </a:lnTo>
                      <a:lnTo>
                        <a:pt x="37" y="730"/>
                      </a:lnTo>
                      <a:lnTo>
                        <a:pt x="32" y="739"/>
                      </a:lnTo>
                      <a:lnTo>
                        <a:pt x="30" y="74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33" name="Freeform 132"/>
                <p:cNvSpPr>
                  <a:spLocks noChangeAspect="1"/>
                </p:cNvSpPr>
                <p:nvPr/>
              </p:nvSpPr>
              <p:spPr bwMode="gray">
                <a:xfrm>
                  <a:off x="4761706" y="3272184"/>
                  <a:ext cx="276225" cy="215900"/>
                </a:xfrm>
                <a:custGeom>
                  <a:avLst/>
                  <a:gdLst/>
                  <a:ahLst/>
                  <a:cxnLst>
                    <a:cxn ang="0">
                      <a:pos x="222" y="381"/>
                    </a:cxn>
                    <a:cxn ang="0">
                      <a:pos x="209" y="442"/>
                    </a:cxn>
                    <a:cxn ang="0">
                      <a:pos x="192" y="463"/>
                    </a:cxn>
                    <a:cxn ang="0">
                      <a:pos x="186" y="474"/>
                    </a:cxn>
                    <a:cxn ang="0">
                      <a:pos x="160" y="475"/>
                    </a:cxn>
                    <a:cxn ang="0">
                      <a:pos x="42" y="495"/>
                    </a:cxn>
                    <a:cxn ang="0">
                      <a:pos x="3" y="511"/>
                    </a:cxn>
                    <a:cxn ang="0">
                      <a:pos x="11" y="532"/>
                    </a:cxn>
                    <a:cxn ang="0">
                      <a:pos x="15" y="550"/>
                    </a:cxn>
                    <a:cxn ang="0">
                      <a:pos x="49" y="588"/>
                    </a:cxn>
                    <a:cxn ang="0">
                      <a:pos x="70" y="622"/>
                    </a:cxn>
                    <a:cxn ang="0">
                      <a:pos x="92" y="629"/>
                    </a:cxn>
                    <a:cxn ang="0">
                      <a:pos x="106" y="622"/>
                    </a:cxn>
                    <a:cxn ang="0">
                      <a:pos x="119" y="637"/>
                    </a:cxn>
                    <a:cxn ang="0">
                      <a:pos x="109" y="641"/>
                    </a:cxn>
                    <a:cxn ang="0">
                      <a:pos x="116" y="656"/>
                    </a:cxn>
                    <a:cxn ang="0">
                      <a:pos x="127" y="653"/>
                    </a:cxn>
                    <a:cxn ang="0">
                      <a:pos x="143" y="645"/>
                    </a:cxn>
                    <a:cxn ang="0">
                      <a:pos x="165" y="653"/>
                    </a:cxn>
                    <a:cxn ang="0">
                      <a:pos x="193" y="678"/>
                    </a:cxn>
                    <a:cxn ang="0">
                      <a:pos x="193" y="637"/>
                    </a:cxn>
                    <a:cxn ang="0">
                      <a:pos x="206" y="624"/>
                    </a:cxn>
                    <a:cxn ang="0">
                      <a:pos x="221" y="586"/>
                    </a:cxn>
                    <a:cxn ang="0">
                      <a:pos x="259" y="565"/>
                    </a:cxn>
                    <a:cxn ang="0">
                      <a:pos x="291" y="561"/>
                    </a:cxn>
                    <a:cxn ang="0">
                      <a:pos x="365" y="602"/>
                    </a:cxn>
                    <a:cxn ang="0">
                      <a:pos x="386" y="609"/>
                    </a:cxn>
                    <a:cxn ang="0">
                      <a:pos x="418" y="588"/>
                    </a:cxn>
                    <a:cxn ang="0">
                      <a:pos x="471" y="613"/>
                    </a:cxn>
                    <a:cxn ang="0">
                      <a:pos x="519" y="618"/>
                    </a:cxn>
                    <a:cxn ang="0">
                      <a:pos x="559" y="588"/>
                    </a:cxn>
                    <a:cxn ang="0">
                      <a:pos x="613" y="587"/>
                    </a:cxn>
                    <a:cxn ang="0">
                      <a:pos x="647" y="591"/>
                    </a:cxn>
                    <a:cxn ang="0">
                      <a:pos x="672" y="597"/>
                    </a:cxn>
                    <a:cxn ang="0">
                      <a:pos x="688" y="582"/>
                    </a:cxn>
                    <a:cxn ang="0">
                      <a:pos x="708" y="576"/>
                    </a:cxn>
                    <a:cxn ang="0">
                      <a:pos x="718" y="561"/>
                    </a:cxn>
                    <a:cxn ang="0">
                      <a:pos x="709" y="545"/>
                    </a:cxn>
                    <a:cxn ang="0">
                      <a:pos x="725" y="533"/>
                    </a:cxn>
                    <a:cxn ang="0">
                      <a:pos x="732" y="515"/>
                    </a:cxn>
                    <a:cxn ang="0">
                      <a:pos x="746" y="501"/>
                    </a:cxn>
                    <a:cxn ang="0">
                      <a:pos x="838" y="386"/>
                    </a:cxn>
                    <a:cxn ang="0">
                      <a:pos x="872" y="184"/>
                    </a:cxn>
                    <a:cxn ang="0">
                      <a:pos x="837" y="160"/>
                    </a:cxn>
                    <a:cxn ang="0">
                      <a:pos x="826" y="135"/>
                    </a:cxn>
                    <a:cxn ang="0">
                      <a:pos x="818" y="117"/>
                    </a:cxn>
                    <a:cxn ang="0">
                      <a:pos x="795" y="26"/>
                    </a:cxn>
                    <a:cxn ang="0">
                      <a:pos x="773" y="11"/>
                    </a:cxn>
                    <a:cxn ang="0">
                      <a:pos x="720" y="1"/>
                    </a:cxn>
                    <a:cxn ang="0">
                      <a:pos x="643" y="1"/>
                    </a:cxn>
                    <a:cxn ang="0">
                      <a:pos x="568" y="53"/>
                    </a:cxn>
                    <a:cxn ang="0">
                      <a:pos x="437" y="145"/>
                    </a:cxn>
                    <a:cxn ang="0">
                      <a:pos x="307" y="236"/>
                    </a:cxn>
                    <a:cxn ang="0">
                      <a:pos x="221" y="257"/>
                    </a:cxn>
                    <a:cxn ang="0">
                      <a:pos x="222" y="271"/>
                    </a:cxn>
                  </a:cxnLst>
                  <a:rect l="0" t="0" r="r" b="b"/>
                  <a:pathLst>
                    <a:path w="872" h="678">
                      <a:moveTo>
                        <a:pt x="222" y="271"/>
                      </a:moveTo>
                      <a:lnTo>
                        <a:pt x="222" y="327"/>
                      </a:lnTo>
                      <a:lnTo>
                        <a:pt x="222" y="381"/>
                      </a:lnTo>
                      <a:lnTo>
                        <a:pt x="222" y="435"/>
                      </a:lnTo>
                      <a:lnTo>
                        <a:pt x="219" y="436"/>
                      </a:lnTo>
                      <a:lnTo>
                        <a:pt x="209" y="442"/>
                      </a:lnTo>
                      <a:lnTo>
                        <a:pt x="205" y="448"/>
                      </a:lnTo>
                      <a:lnTo>
                        <a:pt x="204" y="456"/>
                      </a:lnTo>
                      <a:lnTo>
                        <a:pt x="192" y="463"/>
                      </a:lnTo>
                      <a:lnTo>
                        <a:pt x="188" y="466"/>
                      </a:lnTo>
                      <a:lnTo>
                        <a:pt x="186" y="469"/>
                      </a:lnTo>
                      <a:lnTo>
                        <a:pt x="186" y="474"/>
                      </a:lnTo>
                      <a:lnTo>
                        <a:pt x="173" y="473"/>
                      </a:lnTo>
                      <a:lnTo>
                        <a:pt x="160" y="472"/>
                      </a:lnTo>
                      <a:lnTo>
                        <a:pt x="160" y="475"/>
                      </a:lnTo>
                      <a:lnTo>
                        <a:pt x="155" y="474"/>
                      </a:lnTo>
                      <a:lnTo>
                        <a:pt x="66" y="475"/>
                      </a:lnTo>
                      <a:lnTo>
                        <a:pt x="42" y="495"/>
                      </a:lnTo>
                      <a:lnTo>
                        <a:pt x="5" y="495"/>
                      </a:lnTo>
                      <a:lnTo>
                        <a:pt x="4" y="499"/>
                      </a:lnTo>
                      <a:lnTo>
                        <a:pt x="3" y="511"/>
                      </a:lnTo>
                      <a:lnTo>
                        <a:pt x="0" y="521"/>
                      </a:lnTo>
                      <a:lnTo>
                        <a:pt x="1" y="523"/>
                      </a:lnTo>
                      <a:lnTo>
                        <a:pt x="11" y="532"/>
                      </a:lnTo>
                      <a:lnTo>
                        <a:pt x="12" y="534"/>
                      </a:lnTo>
                      <a:lnTo>
                        <a:pt x="11" y="543"/>
                      </a:lnTo>
                      <a:lnTo>
                        <a:pt x="15" y="550"/>
                      </a:lnTo>
                      <a:lnTo>
                        <a:pt x="27" y="565"/>
                      </a:lnTo>
                      <a:lnTo>
                        <a:pt x="44" y="579"/>
                      </a:lnTo>
                      <a:lnTo>
                        <a:pt x="49" y="588"/>
                      </a:lnTo>
                      <a:lnTo>
                        <a:pt x="55" y="603"/>
                      </a:lnTo>
                      <a:lnTo>
                        <a:pt x="59" y="609"/>
                      </a:lnTo>
                      <a:lnTo>
                        <a:pt x="70" y="622"/>
                      </a:lnTo>
                      <a:lnTo>
                        <a:pt x="78" y="626"/>
                      </a:lnTo>
                      <a:lnTo>
                        <a:pt x="89" y="629"/>
                      </a:lnTo>
                      <a:lnTo>
                        <a:pt x="92" y="629"/>
                      </a:lnTo>
                      <a:lnTo>
                        <a:pt x="97" y="628"/>
                      </a:lnTo>
                      <a:lnTo>
                        <a:pt x="102" y="623"/>
                      </a:lnTo>
                      <a:lnTo>
                        <a:pt x="106" y="622"/>
                      </a:lnTo>
                      <a:lnTo>
                        <a:pt x="112" y="625"/>
                      </a:lnTo>
                      <a:lnTo>
                        <a:pt x="118" y="635"/>
                      </a:lnTo>
                      <a:lnTo>
                        <a:pt x="119" y="637"/>
                      </a:lnTo>
                      <a:lnTo>
                        <a:pt x="118" y="640"/>
                      </a:lnTo>
                      <a:lnTo>
                        <a:pt x="113" y="640"/>
                      </a:lnTo>
                      <a:lnTo>
                        <a:pt x="109" y="641"/>
                      </a:lnTo>
                      <a:lnTo>
                        <a:pt x="108" y="645"/>
                      </a:lnTo>
                      <a:lnTo>
                        <a:pt x="109" y="649"/>
                      </a:lnTo>
                      <a:lnTo>
                        <a:pt x="116" y="656"/>
                      </a:lnTo>
                      <a:lnTo>
                        <a:pt x="127" y="666"/>
                      </a:lnTo>
                      <a:lnTo>
                        <a:pt x="134" y="662"/>
                      </a:lnTo>
                      <a:lnTo>
                        <a:pt x="127" y="653"/>
                      </a:lnTo>
                      <a:lnTo>
                        <a:pt x="127" y="649"/>
                      </a:lnTo>
                      <a:lnTo>
                        <a:pt x="138" y="646"/>
                      </a:lnTo>
                      <a:lnTo>
                        <a:pt x="143" y="645"/>
                      </a:lnTo>
                      <a:lnTo>
                        <a:pt x="151" y="641"/>
                      </a:lnTo>
                      <a:lnTo>
                        <a:pt x="154" y="642"/>
                      </a:lnTo>
                      <a:lnTo>
                        <a:pt x="165" y="653"/>
                      </a:lnTo>
                      <a:lnTo>
                        <a:pt x="177" y="666"/>
                      </a:lnTo>
                      <a:lnTo>
                        <a:pt x="184" y="671"/>
                      </a:lnTo>
                      <a:lnTo>
                        <a:pt x="193" y="678"/>
                      </a:lnTo>
                      <a:lnTo>
                        <a:pt x="194" y="671"/>
                      </a:lnTo>
                      <a:lnTo>
                        <a:pt x="192" y="646"/>
                      </a:lnTo>
                      <a:lnTo>
                        <a:pt x="193" y="637"/>
                      </a:lnTo>
                      <a:lnTo>
                        <a:pt x="195" y="633"/>
                      </a:lnTo>
                      <a:lnTo>
                        <a:pt x="199" y="628"/>
                      </a:lnTo>
                      <a:lnTo>
                        <a:pt x="206" y="624"/>
                      </a:lnTo>
                      <a:lnTo>
                        <a:pt x="211" y="618"/>
                      </a:lnTo>
                      <a:lnTo>
                        <a:pt x="219" y="604"/>
                      </a:lnTo>
                      <a:lnTo>
                        <a:pt x="221" y="586"/>
                      </a:lnTo>
                      <a:lnTo>
                        <a:pt x="222" y="582"/>
                      </a:lnTo>
                      <a:lnTo>
                        <a:pt x="240" y="570"/>
                      </a:lnTo>
                      <a:lnTo>
                        <a:pt x="259" y="565"/>
                      </a:lnTo>
                      <a:lnTo>
                        <a:pt x="277" y="565"/>
                      </a:lnTo>
                      <a:lnTo>
                        <a:pt x="283" y="564"/>
                      </a:lnTo>
                      <a:lnTo>
                        <a:pt x="291" y="561"/>
                      </a:lnTo>
                      <a:lnTo>
                        <a:pt x="306" y="563"/>
                      </a:lnTo>
                      <a:lnTo>
                        <a:pt x="343" y="581"/>
                      </a:lnTo>
                      <a:lnTo>
                        <a:pt x="365" y="602"/>
                      </a:lnTo>
                      <a:lnTo>
                        <a:pt x="372" y="607"/>
                      </a:lnTo>
                      <a:lnTo>
                        <a:pt x="377" y="609"/>
                      </a:lnTo>
                      <a:lnTo>
                        <a:pt x="386" y="609"/>
                      </a:lnTo>
                      <a:lnTo>
                        <a:pt x="392" y="599"/>
                      </a:lnTo>
                      <a:lnTo>
                        <a:pt x="408" y="591"/>
                      </a:lnTo>
                      <a:lnTo>
                        <a:pt x="418" y="588"/>
                      </a:lnTo>
                      <a:lnTo>
                        <a:pt x="430" y="588"/>
                      </a:lnTo>
                      <a:lnTo>
                        <a:pt x="447" y="598"/>
                      </a:lnTo>
                      <a:lnTo>
                        <a:pt x="471" y="613"/>
                      </a:lnTo>
                      <a:lnTo>
                        <a:pt x="483" y="617"/>
                      </a:lnTo>
                      <a:lnTo>
                        <a:pt x="506" y="619"/>
                      </a:lnTo>
                      <a:lnTo>
                        <a:pt x="519" y="618"/>
                      </a:lnTo>
                      <a:lnTo>
                        <a:pt x="533" y="608"/>
                      </a:lnTo>
                      <a:lnTo>
                        <a:pt x="550" y="593"/>
                      </a:lnTo>
                      <a:lnTo>
                        <a:pt x="559" y="588"/>
                      </a:lnTo>
                      <a:lnTo>
                        <a:pt x="585" y="588"/>
                      </a:lnTo>
                      <a:lnTo>
                        <a:pt x="603" y="591"/>
                      </a:lnTo>
                      <a:lnTo>
                        <a:pt x="613" y="587"/>
                      </a:lnTo>
                      <a:lnTo>
                        <a:pt x="633" y="585"/>
                      </a:lnTo>
                      <a:lnTo>
                        <a:pt x="640" y="587"/>
                      </a:lnTo>
                      <a:lnTo>
                        <a:pt x="647" y="591"/>
                      </a:lnTo>
                      <a:lnTo>
                        <a:pt x="655" y="593"/>
                      </a:lnTo>
                      <a:lnTo>
                        <a:pt x="661" y="597"/>
                      </a:lnTo>
                      <a:lnTo>
                        <a:pt x="672" y="597"/>
                      </a:lnTo>
                      <a:lnTo>
                        <a:pt x="678" y="593"/>
                      </a:lnTo>
                      <a:lnTo>
                        <a:pt x="688" y="583"/>
                      </a:lnTo>
                      <a:lnTo>
                        <a:pt x="688" y="582"/>
                      </a:lnTo>
                      <a:lnTo>
                        <a:pt x="694" y="577"/>
                      </a:lnTo>
                      <a:lnTo>
                        <a:pt x="702" y="576"/>
                      </a:lnTo>
                      <a:lnTo>
                        <a:pt x="708" y="576"/>
                      </a:lnTo>
                      <a:lnTo>
                        <a:pt x="714" y="564"/>
                      </a:lnTo>
                      <a:lnTo>
                        <a:pt x="715" y="564"/>
                      </a:lnTo>
                      <a:lnTo>
                        <a:pt x="718" y="561"/>
                      </a:lnTo>
                      <a:lnTo>
                        <a:pt x="713" y="556"/>
                      </a:lnTo>
                      <a:lnTo>
                        <a:pt x="709" y="550"/>
                      </a:lnTo>
                      <a:lnTo>
                        <a:pt x="709" y="545"/>
                      </a:lnTo>
                      <a:lnTo>
                        <a:pt x="714" y="538"/>
                      </a:lnTo>
                      <a:lnTo>
                        <a:pt x="720" y="534"/>
                      </a:lnTo>
                      <a:lnTo>
                        <a:pt x="725" y="533"/>
                      </a:lnTo>
                      <a:lnTo>
                        <a:pt x="730" y="531"/>
                      </a:lnTo>
                      <a:lnTo>
                        <a:pt x="727" y="520"/>
                      </a:lnTo>
                      <a:lnTo>
                        <a:pt x="732" y="515"/>
                      </a:lnTo>
                      <a:lnTo>
                        <a:pt x="740" y="513"/>
                      </a:lnTo>
                      <a:lnTo>
                        <a:pt x="740" y="504"/>
                      </a:lnTo>
                      <a:lnTo>
                        <a:pt x="746" y="501"/>
                      </a:lnTo>
                      <a:lnTo>
                        <a:pt x="746" y="490"/>
                      </a:lnTo>
                      <a:lnTo>
                        <a:pt x="834" y="391"/>
                      </a:lnTo>
                      <a:lnTo>
                        <a:pt x="838" y="386"/>
                      </a:lnTo>
                      <a:lnTo>
                        <a:pt x="844" y="287"/>
                      </a:lnTo>
                      <a:lnTo>
                        <a:pt x="859" y="208"/>
                      </a:lnTo>
                      <a:lnTo>
                        <a:pt x="872" y="184"/>
                      </a:lnTo>
                      <a:lnTo>
                        <a:pt x="849" y="171"/>
                      </a:lnTo>
                      <a:lnTo>
                        <a:pt x="843" y="166"/>
                      </a:lnTo>
                      <a:lnTo>
                        <a:pt x="837" y="160"/>
                      </a:lnTo>
                      <a:lnTo>
                        <a:pt x="833" y="154"/>
                      </a:lnTo>
                      <a:lnTo>
                        <a:pt x="829" y="142"/>
                      </a:lnTo>
                      <a:lnTo>
                        <a:pt x="826" y="135"/>
                      </a:lnTo>
                      <a:lnTo>
                        <a:pt x="826" y="133"/>
                      </a:lnTo>
                      <a:lnTo>
                        <a:pt x="821" y="123"/>
                      </a:lnTo>
                      <a:lnTo>
                        <a:pt x="818" y="117"/>
                      </a:lnTo>
                      <a:lnTo>
                        <a:pt x="818" y="31"/>
                      </a:lnTo>
                      <a:lnTo>
                        <a:pt x="801" y="36"/>
                      </a:lnTo>
                      <a:lnTo>
                        <a:pt x="795" y="26"/>
                      </a:lnTo>
                      <a:lnTo>
                        <a:pt x="791" y="22"/>
                      </a:lnTo>
                      <a:lnTo>
                        <a:pt x="776" y="15"/>
                      </a:lnTo>
                      <a:lnTo>
                        <a:pt x="773" y="11"/>
                      </a:lnTo>
                      <a:lnTo>
                        <a:pt x="768" y="7"/>
                      </a:lnTo>
                      <a:lnTo>
                        <a:pt x="759" y="5"/>
                      </a:lnTo>
                      <a:lnTo>
                        <a:pt x="720" y="1"/>
                      </a:lnTo>
                      <a:lnTo>
                        <a:pt x="677" y="2"/>
                      </a:lnTo>
                      <a:lnTo>
                        <a:pt x="646" y="0"/>
                      </a:lnTo>
                      <a:lnTo>
                        <a:pt x="643" y="1"/>
                      </a:lnTo>
                      <a:lnTo>
                        <a:pt x="638" y="4"/>
                      </a:lnTo>
                      <a:lnTo>
                        <a:pt x="612" y="22"/>
                      </a:lnTo>
                      <a:lnTo>
                        <a:pt x="568" y="53"/>
                      </a:lnTo>
                      <a:lnTo>
                        <a:pt x="525" y="84"/>
                      </a:lnTo>
                      <a:lnTo>
                        <a:pt x="482" y="114"/>
                      </a:lnTo>
                      <a:lnTo>
                        <a:pt x="437" y="145"/>
                      </a:lnTo>
                      <a:lnTo>
                        <a:pt x="393" y="176"/>
                      </a:lnTo>
                      <a:lnTo>
                        <a:pt x="350" y="206"/>
                      </a:lnTo>
                      <a:lnTo>
                        <a:pt x="307" y="236"/>
                      </a:lnTo>
                      <a:lnTo>
                        <a:pt x="292" y="241"/>
                      </a:lnTo>
                      <a:lnTo>
                        <a:pt x="230" y="255"/>
                      </a:lnTo>
                      <a:lnTo>
                        <a:pt x="221" y="257"/>
                      </a:lnTo>
                      <a:lnTo>
                        <a:pt x="221" y="259"/>
                      </a:lnTo>
                      <a:lnTo>
                        <a:pt x="222" y="260"/>
                      </a:lnTo>
                      <a:lnTo>
                        <a:pt x="222" y="27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34" name="Freeform 18"/>
                <p:cNvSpPr>
                  <a:spLocks noChangeAspect="1"/>
                </p:cNvSpPr>
                <p:nvPr/>
              </p:nvSpPr>
              <p:spPr bwMode="gray">
                <a:xfrm>
                  <a:off x="5334792" y="3432522"/>
                  <a:ext cx="261938" cy="198438"/>
                </a:xfrm>
                <a:custGeom>
                  <a:avLst/>
                  <a:gdLst/>
                  <a:ahLst/>
                  <a:cxnLst>
                    <a:cxn ang="0">
                      <a:pos x="174" y="105"/>
                    </a:cxn>
                    <a:cxn ang="0">
                      <a:pos x="149" y="125"/>
                    </a:cxn>
                    <a:cxn ang="0">
                      <a:pos x="104" y="215"/>
                    </a:cxn>
                    <a:cxn ang="0">
                      <a:pos x="81" y="225"/>
                    </a:cxn>
                    <a:cxn ang="0">
                      <a:pos x="67" y="242"/>
                    </a:cxn>
                    <a:cxn ang="0">
                      <a:pos x="67" y="270"/>
                    </a:cxn>
                    <a:cxn ang="0">
                      <a:pos x="61" y="346"/>
                    </a:cxn>
                    <a:cxn ang="0">
                      <a:pos x="21" y="355"/>
                    </a:cxn>
                    <a:cxn ang="0">
                      <a:pos x="5" y="378"/>
                    </a:cxn>
                    <a:cxn ang="0">
                      <a:pos x="12" y="390"/>
                    </a:cxn>
                    <a:cxn ang="0">
                      <a:pos x="39" y="399"/>
                    </a:cxn>
                    <a:cxn ang="0">
                      <a:pos x="58" y="424"/>
                    </a:cxn>
                    <a:cxn ang="0">
                      <a:pos x="93" y="453"/>
                    </a:cxn>
                    <a:cxn ang="0">
                      <a:pos x="113" y="502"/>
                    </a:cxn>
                    <a:cxn ang="0">
                      <a:pos x="150" y="522"/>
                    </a:cxn>
                    <a:cxn ang="0">
                      <a:pos x="157" y="544"/>
                    </a:cxn>
                    <a:cxn ang="0">
                      <a:pos x="185" y="569"/>
                    </a:cxn>
                    <a:cxn ang="0">
                      <a:pos x="255" y="600"/>
                    </a:cxn>
                    <a:cxn ang="0">
                      <a:pos x="303" y="619"/>
                    </a:cxn>
                    <a:cxn ang="0">
                      <a:pos x="373" y="614"/>
                    </a:cxn>
                    <a:cxn ang="0">
                      <a:pos x="427" y="588"/>
                    </a:cxn>
                    <a:cxn ang="0">
                      <a:pos x="483" y="604"/>
                    </a:cxn>
                    <a:cxn ang="0">
                      <a:pos x="506" y="592"/>
                    </a:cxn>
                    <a:cxn ang="0">
                      <a:pos x="567" y="559"/>
                    </a:cxn>
                    <a:cxn ang="0">
                      <a:pos x="661" y="545"/>
                    </a:cxn>
                    <a:cxn ang="0">
                      <a:pos x="823" y="381"/>
                    </a:cxn>
                    <a:cxn ang="0">
                      <a:pos x="684" y="347"/>
                    </a:cxn>
                    <a:cxn ang="0">
                      <a:pos x="579" y="298"/>
                    </a:cxn>
                    <a:cxn ang="0">
                      <a:pos x="564" y="276"/>
                    </a:cxn>
                    <a:cxn ang="0">
                      <a:pos x="550" y="261"/>
                    </a:cxn>
                    <a:cxn ang="0">
                      <a:pos x="539" y="226"/>
                    </a:cxn>
                    <a:cxn ang="0">
                      <a:pos x="534" y="212"/>
                    </a:cxn>
                    <a:cxn ang="0">
                      <a:pos x="516" y="218"/>
                    </a:cxn>
                    <a:cxn ang="0">
                      <a:pos x="504" y="220"/>
                    </a:cxn>
                    <a:cxn ang="0">
                      <a:pos x="484" y="203"/>
                    </a:cxn>
                    <a:cxn ang="0">
                      <a:pos x="499" y="177"/>
                    </a:cxn>
                    <a:cxn ang="0">
                      <a:pos x="512" y="140"/>
                    </a:cxn>
                    <a:cxn ang="0">
                      <a:pos x="495" y="119"/>
                    </a:cxn>
                    <a:cxn ang="0">
                      <a:pos x="480" y="99"/>
                    </a:cxn>
                    <a:cxn ang="0">
                      <a:pos x="445" y="71"/>
                    </a:cxn>
                    <a:cxn ang="0">
                      <a:pos x="420" y="40"/>
                    </a:cxn>
                    <a:cxn ang="0">
                      <a:pos x="389" y="23"/>
                    </a:cxn>
                    <a:cxn ang="0">
                      <a:pos x="372" y="26"/>
                    </a:cxn>
                    <a:cxn ang="0">
                      <a:pos x="356" y="18"/>
                    </a:cxn>
                    <a:cxn ang="0">
                      <a:pos x="340" y="23"/>
                    </a:cxn>
                    <a:cxn ang="0">
                      <a:pos x="334" y="18"/>
                    </a:cxn>
                    <a:cxn ang="0">
                      <a:pos x="324" y="17"/>
                    </a:cxn>
                    <a:cxn ang="0">
                      <a:pos x="301" y="26"/>
                    </a:cxn>
                    <a:cxn ang="0">
                      <a:pos x="284" y="12"/>
                    </a:cxn>
                    <a:cxn ang="0">
                      <a:pos x="268" y="5"/>
                    </a:cxn>
                    <a:cxn ang="0">
                      <a:pos x="236" y="34"/>
                    </a:cxn>
                    <a:cxn ang="0">
                      <a:pos x="223" y="26"/>
                    </a:cxn>
                    <a:cxn ang="0">
                      <a:pos x="216" y="35"/>
                    </a:cxn>
                    <a:cxn ang="0">
                      <a:pos x="194" y="33"/>
                    </a:cxn>
                  </a:cxnLst>
                  <a:rect l="0" t="0" r="r" b="b"/>
                  <a:pathLst>
                    <a:path w="824" h="626">
                      <a:moveTo>
                        <a:pt x="192" y="32"/>
                      </a:moveTo>
                      <a:lnTo>
                        <a:pt x="192" y="48"/>
                      </a:lnTo>
                      <a:lnTo>
                        <a:pt x="174" y="105"/>
                      </a:lnTo>
                      <a:lnTo>
                        <a:pt x="167" y="113"/>
                      </a:lnTo>
                      <a:lnTo>
                        <a:pt x="158" y="115"/>
                      </a:lnTo>
                      <a:lnTo>
                        <a:pt x="149" y="125"/>
                      </a:lnTo>
                      <a:lnTo>
                        <a:pt x="114" y="174"/>
                      </a:lnTo>
                      <a:lnTo>
                        <a:pt x="109" y="188"/>
                      </a:lnTo>
                      <a:lnTo>
                        <a:pt x="104" y="215"/>
                      </a:lnTo>
                      <a:lnTo>
                        <a:pt x="99" y="220"/>
                      </a:lnTo>
                      <a:lnTo>
                        <a:pt x="88" y="220"/>
                      </a:lnTo>
                      <a:lnTo>
                        <a:pt x="81" y="225"/>
                      </a:lnTo>
                      <a:lnTo>
                        <a:pt x="74" y="237"/>
                      </a:lnTo>
                      <a:lnTo>
                        <a:pt x="71" y="244"/>
                      </a:lnTo>
                      <a:lnTo>
                        <a:pt x="67" y="242"/>
                      </a:lnTo>
                      <a:lnTo>
                        <a:pt x="67" y="253"/>
                      </a:lnTo>
                      <a:lnTo>
                        <a:pt x="69" y="259"/>
                      </a:lnTo>
                      <a:lnTo>
                        <a:pt x="67" y="270"/>
                      </a:lnTo>
                      <a:lnTo>
                        <a:pt x="63" y="286"/>
                      </a:lnTo>
                      <a:lnTo>
                        <a:pt x="63" y="331"/>
                      </a:lnTo>
                      <a:lnTo>
                        <a:pt x="61" y="346"/>
                      </a:lnTo>
                      <a:lnTo>
                        <a:pt x="54" y="352"/>
                      </a:lnTo>
                      <a:lnTo>
                        <a:pt x="43" y="357"/>
                      </a:lnTo>
                      <a:lnTo>
                        <a:pt x="21" y="355"/>
                      </a:lnTo>
                      <a:lnTo>
                        <a:pt x="11" y="359"/>
                      </a:lnTo>
                      <a:lnTo>
                        <a:pt x="11" y="373"/>
                      </a:lnTo>
                      <a:lnTo>
                        <a:pt x="5" y="378"/>
                      </a:lnTo>
                      <a:lnTo>
                        <a:pt x="0" y="386"/>
                      </a:lnTo>
                      <a:lnTo>
                        <a:pt x="6" y="390"/>
                      </a:lnTo>
                      <a:lnTo>
                        <a:pt x="12" y="390"/>
                      </a:lnTo>
                      <a:lnTo>
                        <a:pt x="20" y="397"/>
                      </a:lnTo>
                      <a:lnTo>
                        <a:pt x="28" y="395"/>
                      </a:lnTo>
                      <a:lnTo>
                        <a:pt x="39" y="399"/>
                      </a:lnTo>
                      <a:lnTo>
                        <a:pt x="48" y="404"/>
                      </a:lnTo>
                      <a:lnTo>
                        <a:pt x="56" y="414"/>
                      </a:lnTo>
                      <a:lnTo>
                        <a:pt x="58" y="424"/>
                      </a:lnTo>
                      <a:lnTo>
                        <a:pt x="64" y="432"/>
                      </a:lnTo>
                      <a:lnTo>
                        <a:pt x="71" y="440"/>
                      </a:lnTo>
                      <a:lnTo>
                        <a:pt x="93" y="453"/>
                      </a:lnTo>
                      <a:lnTo>
                        <a:pt x="98" y="463"/>
                      </a:lnTo>
                      <a:lnTo>
                        <a:pt x="103" y="475"/>
                      </a:lnTo>
                      <a:lnTo>
                        <a:pt x="113" y="502"/>
                      </a:lnTo>
                      <a:lnTo>
                        <a:pt x="118" y="511"/>
                      </a:lnTo>
                      <a:lnTo>
                        <a:pt x="126" y="517"/>
                      </a:lnTo>
                      <a:lnTo>
                        <a:pt x="150" y="522"/>
                      </a:lnTo>
                      <a:lnTo>
                        <a:pt x="157" y="527"/>
                      </a:lnTo>
                      <a:lnTo>
                        <a:pt x="158" y="534"/>
                      </a:lnTo>
                      <a:lnTo>
                        <a:pt x="157" y="544"/>
                      </a:lnTo>
                      <a:lnTo>
                        <a:pt x="156" y="566"/>
                      </a:lnTo>
                      <a:lnTo>
                        <a:pt x="169" y="571"/>
                      </a:lnTo>
                      <a:lnTo>
                        <a:pt x="185" y="569"/>
                      </a:lnTo>
                      <a:lnTo>
                        <a:pt x="200" y="570"/>
                      </a:lnTo>
                      <a:lnTo>
                        <a:pt x="217" y="578"/>
                      </a:lnTo>
                      <a:lnTo>
                        <a:pt x="255" y="600"/>
                      </a:lnTo>
                      <a:lnTo>
                        <a:pt x="266" y="613"/>
                      </a:lnTo>
                      <a:lnTo>
                        <a:pt x="286" y="619"/>
                      </a:lnTo>
                      <a:lnTo>
                        <a:pt x="303" y="619"/>
                      </a:lnTo>
                      <a:lnTo>
                        <a:pt x="325" y="625"/>
                      </a:lnTo>
                      <a:lnTo>
                        <a:pt x="350" y="626"/>
                      </a:lnTo>
                      <a:lnTo>
                        <a:pt x="373" y="614"/>
                      </a:lnTo>
                      <a:lnTo>
                        <a:pt x="389" y="598"/>
                      </a:lnTo>
                      <a:lnTo>
                        <a:pt x="408" y="592"/>
                      </a:lnTo>
                      <a:lnTo>
                        <a:pt x="427" y="588"/>
                      </a:lnTo>
                      <a:lnTo>
                        <a:pt x="461" y="604"/>
                      </a:lnTo>
                      <a:lnTo>
                        <a:pt x="474" y="603"/>
                      </a:lnTo>
                      <a:lnTo>
                        <a:pt x="483" y="604"/>
                      </a:lnTo>
                      <a:lnTo>
                        <a:pt x="488" y="603"/>
                      </a:lnTo>
                      <a:lnTo>
                        <a:pt x="491" y="599"/>
                      </a:lnTo>
                      <a:lnTo>
                        <a:pt x="506" y="592"/>
                      </a:lnTo>
                      <a:lnTo>
                        <a:pt x="542" y="580"/>
                      </a:lnTo>
                      <a:lnTo>
                        <a:pt x="554" y="567"/>
                      </a:lnTo>
                      <a:lnTo>
                        <a:pt x="567" y="559"/>
                      </a:lnTo>
                      <a:lnTo>
                        <a:pt x="588" y="550"/>
                      </a:lnTo>
                      <a:lnTo>
                        <a:pt x="596" y="545"/>
                      </a:lnTo>
                      <a:lnTo>
                        <a:pt x="661" y="545"/>
                      </a:lnTo>
                      <a:lnTo>
                        <a:pt x="742" y="463"/>
                      </a:lnTo>
                      <a:lnTo>
                        <a:pt x="813" y="393"/>
                      </a:lnTo>
                      <a:lnTo>
                        <a:pt x="823" y="381"/>
                      </a:lnTo>
                      <a:lnTo>
                        <a:pt x="824" y="378"/>
                      </a:lnTo>
                      <a:lnTo>
                        <a:pt x="771" y="379"/>
                      </a:lnTo>
                      <a:lnTo>
                        <a:pt x="684" y="347"/>
                      </a:lnTo>
                      <a:lnTo>
                        <a:pt x="606" y="320"/>
                      </a:lnTo>
                      <a:lnTo>
                        <a:pt x="599" y="313"/>
                      </a:lnTo>
                      <a:lnTo>
                        <a:pt x="579" y="298"/>
                      </a:lnTo>
                      <a:lnTo>
                        <a:pt x="572" y="288"/>
                      </a:lnTo>
                      <a:lnTo>
                        <a:pt x="566" y="282"/>
                      </a:lnTo>
                      <a:lnTo>
                        <a:pt x="564" y="276"/>
                      </a:lnTo>
                      <a:lnTo>
                        <a:pt x="559" y="273"/>
                      </a:lnTo>
                      <a:lnTo>
                        <a:pt x="553" y="266"/>
                      </a:lnTo>
                      <a:lnTo>
                        <a:pt x="550" y="261"/>
                      </a:lnTo>
                      <a:lnTo>
                        <a:pt x="543" y="254"/>
                      </a:lnTo>
                      <a:lnTo>
                        <a:pt x="538" y="231"/>
                      </a:lnTo>
                      <a:lnTo>
                        <a:pt x="539" y="226"/>
                      </a:lnTo>
                      <a:lnTo>
                        <a:pt x="543" y="221"/>
                      </a:lnTo>
                      <a:lnTo>
                        <a:pt x="543" y="220"/>
                      </a:lnTo>
                      <a:lnTo>
                        <a:pt x="534" y="212"/>
                      </a:lnTo>
                      <a:lnTo>
                        <a:pt x="529" y="211"/>
                      </a:lnTo>
                      <a:lnTo>
                        <a:pt x="517" y="216"/>
                      </a:lnTo>
                      <a:lnTo>
                        <a:pt x="516" y="218"/>
                      </a:lnTo>
                      <a:lnTo>
                        <a:pt x="515" y="220"/>
                      </a:lnTo>
                      <a:lnTo>
                        <a:pt x="508" y="217"/>
                      </a:lnTo>
                      <a:lnTo>
                        <a:pt x="504" y="220"/>
                      </a:lnTo>
                      <a:lnTo>
                        <a:pt x="491" y="218"/>
                      </a:lnTo>
                      <a:lnTo>
                        <a:pt x="485" y="212"/>
                      </a:lnTo>
                      <a:lnTo>
                        <a:pt x="484" y="203"/>
                      </a:lnTo>
                      <a:lnTo>
                        <a:pt x="484" y="200"/>
                      </a:lnTo>
                      <a:lnTo>
                        <a:pt x="493" y="190"/>
                      </a:lnTo>
                      <a:lnTo>
                        <a:pt x="499" y="177"/>
                      </a:lnTo>
                      <a:lnTo>
                        <a:pt x="501" y="166"/>
                      </a:lnTo>
                      <a:lnTo>
                        <a:pt x="506" y="144"/>
                      </a:lnTo>
                      <a:lnTo>
                        <a:pt x="512" y="140"/>
                      </a:lnTo>
                      <a:lnTo>
                        <a:pt x="506" y="132"/>
                      </a:lnTo>
                      <a:lnTo>
                        <a:pt x="502" y="125"/>
                      </a:lnTo>
                      <a:lnTo>
                        <a:pt x="495" y="119"/>
                      </a:lnTo>
                      <a:lnTo>
                        <a:pt x="486" y="115"/>
                      </a:lnTo>
                      <a:lnTo>
                        <a:pt x="483" y="109"/>
                      </a:lnTo>
                      <a:lnTo>
                        <a:pt x="480" y="99"/>
                      </a:lnTo>
                      <a:lnTo>
                        <a:pt x="474" y="93"/>
                      </a:lnTo>
                      <a:lnTo>
                        <a:pt x="462" y="83"/>
                      </a:lnTo>
                      <a:lnTo>
                        <a:pt x="445" y="71"/>
                      </a:lnTo>
                      <a:lnTo>
                        <a:pt x="440" y="62"/>
                      </a:lnTo>
                      <a:lnTo>
                        <a:pt x="432" y="51"/>
                      </a:lnTo>
                      <a:lnTo>
                        <a:pt x="420" y="40"/>
                      </a:lnTo>
                      <a:lnTo>
                        <a:pt x="413" y="39"/>
                      </a:lnTo>
                      <a:lnTo>
                        <a:pt x="403" y="34"/>
                      </a:lnTo>
                      <a:lnTo>
                        <a:pt x="389" y="23"/>
                      </a:lnTo>
                      <a:lnTo>
                        <a:pt x="378" y="24"/>
                      </a:lnTo>
                      <a:lnTo>
                        <a:pt x="376" y="26"/>
                      </a:lnTo>
                      <a:lnTo>
                        <a:pt x="372" y="26"/>
                      </a:lnTo>
                      <a:lnTo>
                        <a:pt x="371" y="22"/>
                      </a:lnTo>
                      <a:lnTo>
                        <a:pt x="361" y="22"/>
                      </a:lnTo>
                      <a:lnTo>
                        <a:pt x="356" y="18"/>
                      </a:lnTo>
                      <a:lnTo>
                        <a:pt x="352" y="18"/>
                      </a:lnTo>
                      <a:lnTo>
                        <a:pt x="348" y="22"/>
                      </a:lnTo>
                      <a:lnTo>
                        <a:pt x="340" y="23"/>
                      </a:lnTo>
                      <a:lnTo>
                        <a:pt x="339" y="24"/>
                      </a:lnTo>
                      <a:lnTo>
                        <a:pt x="337" y="24"/>
                      </a:lnTo>
                      <a:lnTo>
                        <a:pt x="334" y="18"/>
                      </a:lnTo>
                      <a:lnTo>
                        <a:pt x="329" y="13"/>
                      </a:lnTo>
                      <a:lnTo>
                        <a:pt x="324" y="13"/>
                      </a:lnTo>
                      <a:lnTo>
                        <a:pt x="324" y="17"/>
                      </a:lnTo>
                      <a:lnTo>
                        <a:pt x="318" y="22"/>
                      </a:lnTo>
                      <a:lnTo>
                        <a:pt x="305" y="24"/>
                      </a:lnTo>
                      <a:lnTo>
                        <a:pt x="301" y="26"/>
                      </a:lnTo>
                      <a:lnTo>
                        <a:pt x="292" y="26"/>
                      </a:lnTo>
                      <a:lnTo>
                        <a:pt x="284" y="15"/>
                      </a:lnTo>
                      <a:lnTo>
                        <a:pt x="284" y="12"/>
                      </a:lnTo>
                      <a:lnTo>
                        <a:pt x="281" y="11"/>
                      </a:lnTo>
                      <a:lnTo>
                        <a:pt x="274" y="11"/>
                      </a:lnTo>
                      <a:lnTo>
                        <a:pt x="268" y="5"/>
                      </a:lnTo>
                      <a:lnTo>
                        <a:pt x="264" y="0"/>
                      </a:lnTo>
                      <a:lnTo>
                        <a:pt x="244" y="44"/>
                      </a:lnTo>
                      <a:lnTo>
                        <a:pt x="236" y="34"/>
                      </a:lnTo>
                      <a:lnTo>
                        <a:pt x="236" y="31"/>
                      </a:lnTo>
                      <a:lnTo>
                        <a:pt x="231" y="26"/>
                      </a:lnTo>
                      <a:lnTo>
                        <a:pt x="223" y="26"/>
                      </a:lnTo>
                      <a:lnTo>
                        <a:pt x="220" y="29"/>
                      </a:lnTo>
                      <a:lnTo>
                        <a:pt x="219" y="33"/>
                      </a:lnTo>
                      <a:lnTo>
                        <a:pt x="216" y="35"/>
                      </a:lnTo>
                      <a:lnTo>
                        <a:pt x="212" y="35"/>
                      </a:lnTo>
                      <a:lnTo>
                        <a:pt x="208" y="33"/>
                      </a:lnTo>
                      <a:lnTo>
                        <a:pt x="194" y="33"/>
                      </a:lnTo>
                      <a:lnTo>
                        <a:pt x="192" y="3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35" name="Freeform 134"/>
                <p:cNvSpPr>
                  <a:spLocks noChangeAspect="1"/>
                </p:cNvSpPr>
                <p:nvPr/>
              </p:nvSpPr>
              <p:spPr bwMode="gray">
                <a:xfrm>
                  <a:off x="5296692" y="4153247"/>
                  <a:ext cx="20638" cy="28575"/>
                </a:xfrm>
                <a:custGeom>
                  <a:avLst/>
                  <a:gdLst/>
                  <a:ahLst/>
                  <a:cxnLst>
                    <a:cxn ang="0">
                      <a:pos x="67" y="63"/>
                    </a:cxn>
                    <a:cxn ang="0">
                      <a:pos x="65" y="35"/>
                    </a:cxn>
                    <a:cxn ang="0">
                      <a:pos x="65" y="14"/>
                    </a:cxn>
                    <a:cxn ang="0">
                      <a:pos x="63" y="6"/>
                    </a:cxn>
                    <a:cxn ang="0">
                      <a:pos x="56" y="15"/>
                    </a:cxn>
                    <a:cxn ang="0">
                      <a:pos x="33" y="0"/>
                    </a:cxn>
                    <a:cxn ang="0">
                      <a:pos x="19" y="9"/>
                    </a:cxn>
                    <a:cxn ang="0">
                      <a:pos x="12" y="21"/>
                    </a:cxn>
                    <a:cxn ang="0">
                      <a:pos x="4" y="38"/>
                    </a:cxn>
                    <a:cxn ang="0">
                      <a:pos x="0" y="54"/>
                    </a:cxn>
                    <a:cxn ang="0">
                      <a:pos x="2" y="67"/>
                    </a:cxn>
                    <a:cxn ang="0">
                      <a:pos x="12" y="86"/>
                    </a:cxn>
                    <a:cxn ang="0">
                      <a:pos x="35" y="89"/>
                    </a:cxn>
                    <a:cxn ang="0">
                      <a:pos x="47" y="90"/>
                    </a:cxn>
                    <a:cxn ang="0">
                      <a:pos x="55" y="81"/>
                    </a:cxn>
                    <a:cxn ang="0">
                      <a:pos x="61" y="67"/>
                    </a:cxn>
                    <a:cxn ang="0">
                      <a:pos x="67" y="63"/>
                    </a:cxn>
                  </a:cxnLst>
                  <a:rect l="0" t="0" r="r" b="b"/>
                  <a:pathLst>
                    <a:path w="67" h="90">
                      <a:moveTo>
                        <a:pt x="67" y="63"/>
                      </a:moveTo>
                      <a:lnTo>
                        <a:pt x="65" y="35"/>
                      </a:lnTo>
                      <a:lnTo>
                        <a:pt x="65" y="14"/>
                      </a:lnTo>
                      <a:lnTo>
                        <a:pt x="63" y="6"/>
                      </a:lnTo>
                      <a:lnTo>
                        <a:pt x="56" y="15"/>
                      </a:lnTo>
                      <a:lnTo>
                        <a:pt x="33" y="0"/>
                      </a:lnTo>
                      <a:lnTo>
                        <a:pt x="19" y="9"/>
                      </a:lnTo>
                      <a:lnTo>
                        <a:pt x="12" y="21"/>
                      </a:lnTo>
                      <a:lnTo>
                        <a:pt x="4" y="38"/>
                      </a:lnTo>
                      <a:lnTo>
                        <a:pt x="0" y="54"/>
                      </a:lnTo>
                      <a:lnTo>
                        <a:pt x="2" y="67"/>
                      </a:lnTo>
                      <a:lnTo>
                        <a:pt x="12" y="86"/>
                      </a:lnTo>
                      <a:lnTo>
                        <a:pt x="35" y="89"/>
                      </a:lnTo>
                      <a:lnTo>
                        <a:pt x="47" y="90"/>
                      </a:lnTo>
                      <a:lnTo>
                        <a:pt x="55" y="81"/>
                      </a:lnTo>
                      <a:lnTo>
                        <a:pt x="61" y="67"/>
                      </a:lnTo>
                      <a:lnTo>
                        <a:pt x="67" y="6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36" name="Freeform 135"/>
                <p:cNvSpPr>
                  <a:spLocks noChangeAspect="1"/>
                </p:cNvSpPr>
                <p:nvPr/>
              </p:nvSpPr>
              <p:spPr bwMode="gray">
                <a:xfrm>
                  <a:off x="5045867" y="4083397"/>
                  <a:ext cx="285750" cy="250825"/>
                </a:xfrm>
                <a:custGeom>
                  <a:avLst/>
                  <a:gdLst/>
                  <a:ahLst/>
                  <a:cxnLst>
                    <a:cxn ang="0">
                      <a:pos x="188" y="334"/>
                    </a:cxn>
                    <a:cxn ang="0">
                      <a:pos x="157" y="406"/>
                    </a:cxn>
                    <a:cxn ang="0">
                      <a:pos x="101" y="418"/>
                    </a:cxn>
                    <a:cxn ang="0">
                      <a:pos x="59" y="396"/>
                    </a:cxn>
                    <a:cxn ang="0">
                      <a:pos x="8" y="398"/>
                    </a:cxn>
                    <a:cxn ang="0">
                      <a:pos x="1" y="411"/>
                    </a:cxn>
                    <a:cxn ang="0">
                      <a:pos x="37" y="491"/>
                    </a:cxn>
                    <a:cxn ang="0">
                      <a:pos x="70" y="562"/>
                    </a:cxn>
                    <a:cxn ang="0">
                      <a:pos x="90" y="665"/>
                    </a:cxn>
                    <a:cxn ang="0">
                      <a:pos x="77" y="678"/>
                    </a:cxn>
                    <a:cxn ang="0">
                      <a:pos x="88" y="701"/>
                    </a:cxn>
                    <a:cxn ang="0">
                      <a:pos x="108" y="734"/>
                    </a:cxn>
                    <a:cxn ang="0">
                      <a:pos x="109" y="770"/>
                    </a:cxn>
                    <a:cxn ang="0">
                      <a:pos x="112" y="750"/>
                    </a:cxn>
                    <a:cxn ang="0">
                      <a:pos x="128" y="769"/>
                    </a:cxn>
                    <a:cxn ang="0">
                      <a:pos x="155" y="782"/>
                    </a:cxn>
                    <a:cxn ang="0">
                      <a:pos x="195" y="791"/>
                    </a:cxn>
                    <a:cxn ang="0">
                      <a:pos x="236" y="771"/>
                    </a:cxn>
                    <a:cxn ang="0">
                      <a:pos x="287" y="771"/>
                    </a:cxn>
                    <a:cxn ang="0">
                      <a:pos x="311" y="753"/>
                    </a:cxn>
                    <a:cxn ang="0">
                      <a:pos x="365" y="753"/>
                    </a:cxn>
                    <a:cxn ang="0">
                      <a:pos x="408" y="746"/>
                    </a:cxn>
                    <a:cxn ang="0">
                      <a:pos x="479" y="743"/>
                    </a:cxn>
                    <a:cxn ang="0">
                      <a:pos x="505" y="733"/>
                    </a:cxn>
                    <a:cxn ang="0">
                      <a:pos x="553" y="727"/>
                    </a:cxn>
                    <a:cxn ang="0">
                      <a:pos x="633" y="679"/>
                    </a:cxn>
                    <a:cxn ang="0">
                      <a:pos x="705" y="600"/>
                    </a:cxn>
                    <a:cxn ang="0">
                      <a:pos x="765" y="533"/>
                    </a:cxn>
                    <a:cxn ang="0">
                      <a:pos x="804" y="465"/>
                    </a:cxn>
                    <a:cxn ang="0">
                      <a:pos x="836" y="420"/>
                    </a:cxn>
                    <a:cxn ang="0">
                      <a:pos x="881" y="357"/>
                    </a:cxn>
                    <a:cxn ang="0">
                      <a:pos x="894" y="305"/>
                    </a:cxn>
                    <a:cxn ang="0">
                      <a:pos x="856" y="281"/>
                    </a:cxn>
                    <a:cxn ang="0">
                      <a:pos x="824" y="307"/>
                    </a:cxn>
                    <a:cxn ang="0">
                      <a:pos x="793" y="256"/>
                    </a:cxn>
                    <a:cxn ang="0">
                      <a:pos x="845" y="233"/>
                    </a:cxn>
                    <a:cxn ang="0">
                      <a:pos x="830" y="55"/>
                    </a:cxn>
                    <a:cxn ang="0">
                      <a:pos x="807" y="17"/>
                    </a:cxn>
                    <a:cxn ang="0">
                      <a:pos x="749" y="9"/>
                    </a:cxn>
                    <a:cxn ang="0">
                      <a:pos x="704" y="8"/>
                    </a:cxn>
                    <a:cxn ang="0">
                      <a:pos x="625" y="57"/>
                    </a:cxn>
                    <a:cxn ang="0">
                      <a:pos x="558" y="129"/>
                    </a:cxn>
                    <a:cxn ang="0">
                      <a:pos x="496" y="207"/>
                    </a:cxn>
                    <a:cxn ang="0">
                      <a:pos x="437" y="217"/>
                    </a:cxn>
                    <a:cxn ang="0">
                      <a:pos x="376" y="201"/>
                    </a:cxn>
                    <a:cxn ang="0">
                      <a:pos x="339" y="248"/>
                    </a:cxn>
                    <a:cxn ang="0">
                      <a:pos x="277" y="286"/>
                    </a:cxn>
                    <a:cxn ang="0">
                      <a:pos x="230" y="271"/>
                    </a:cxn>
                    <a:cxn ang="0">
                      <a:pos x="238" y="213"/>
                    </a:cxn>
                    <a:cxn ang="0">
                      <a:pos x="200" y="170"/>
                    </a:cxn>
                  </a:cxnLst>
                  <a:rect l="0" t="0" r="r" b="b"/>
                  <a:pathLst>
                    <a:path w="898" h="791">
                      <a:moveTo>
                        <a:pt x="188" y="161"/>
                      </a:moveTo>
                      <a:lnTo>
                        <a:pt x="188" y="216"/>
                      </a:lnTo>
                      <a:lnTo>
                        <a:pt x="188" y="275"/>
                      </a:lnTo>
                      <a:lnTo>
                        <a:pt x="188" y="334"/>
                      </a:lnTo>
                      <a:lnTo>
                        <a:pt x="188" y="390"/>
                      </a:lnTo>
                      <a:lnTo>
                        <a:pt x="182" y="394"/>
                      </a:lnTo>
                      <a:lnTo>
                        <a:pt x="171" y="396"/>
                      </a:lnTo>
                      <a:lnTo>
                        <a:pt x="157" y="406"/>
                      </a:lnTo>
                      <a:lnTo>
                        <a:pt x="141" y="421"/>
                      </a:lnTo>
                      <a:lnTo>
                        <a:pt x="129" y="421"/>
                      </a:lnTo>
                      <a:lnTo>
                        <a:pt x="120" y="418"/>
                      </a:lnTo>
                      <a:lnTo>
                        <a:pt x="101" y="418"/>
                      </a:lnTo>
                      <a:lnTo>
                        <a:pt x="86" y="423"/>
                      </a:lnTo>
                      <a:lnTo>
                        <a:pt x="70" y="421"/>
                      </a:lnTo>
                      <a:lnTo>
                        <a:pt x="59" y="409"/>
                      </a:lnTo>
                      <a:lnTo>
                        <a:pt x="59" y="396"/>
                      </a:lnTo>
                      <a:lnTo>
                        <a:pt x="33" y="378"/>
                      </a:lnTo>
                      <a:lnTo>
                        <a:pt x="21" y="379"/>
                      </a:lnTo>
                      <a:lnTo>
                        <a:pt x="15" y="390"/>
                      </a:lnTo>
                      <a:lnTo>
                        <a:pt x="8" y="398"/>
                      </a:lnTo>
                      <a:lnTo>
                        <a:pt x="5" y="400"/>
                      </a:lnTo>
                      <a:lnTo>
                        <a:pt x="0" y="401"/>
                      </a:lnTo>
                      <a:lnTo>
                        <a:pt x="2" y="405"/>
                      </a:lnTo>
                      <a:lnTo>
                        <a:pt x="1" y="411"/>
                      </a:lnTo>
                      <a:lnTo>
                        <a:pt x="5" y="416"/>
                      </a:lnTo>
                      <a:lnTo>
                        <a:pt x="13" y="426"/>
                      </a:lnTo>
                      <a:lnTo>
                        <a:pt x="28" y="464"/>
                      </a:lnTo>
                      <a:lnTo>
                        <a:pt x="37" y="491"/>
                      </a:lnTo>
                      <a:lnTo>
                        <a:pt x="51" y="528"/>
                      </a:lnTo>
                      <a:lnTo>
                        <a:pt x="59" y="536"/>
                      </a:lnTo>
                      <a:lnTo>
                        <a:pt x="64" y="552"/>
                      </a:lnTo>
                      <a:lnTo>
                        <a:pt x="70" y="562"/>
                      </a:lnTo>
                      <a:lnTo>
                        <a:pt x="91" y="595"/>
                      </a:lnTo>
                      <a:lnTo>
                        <a:pt x="97" y="608"/>
                      </a:lnTo>
                      <a:lnTo>
                        <a:pt x="99" y="648"/>
                      </a:lnTo>
                      <a:lnTo>
                        <a:pt x="90" y="665"/>
                      </a:lnTo>
                      <a:lnTo>
                        <a:pt x="78" y="660"/>
                      </a:lnTo>
                      <a:lnTo>
                        <a:pt x="76" y="667"/>
                      </a:lnTo>
                      <a:lnTo>
                        <a:pt x="75" y="678"/>
                      </a:lnTo>
                      <a:lnTo>
                        <a:pt x="77" y="678"/>
                      </a:lnTo>
                      <a:lnTo>
                        <a:pt x="85" y="683"/>
                      </a:lnTo>
                      <a:lnTo>
                        <a:pt x="87" y="690"/>
                      </a:lnTo>
                      <a:lnTo>
                        <a:pt x="83" y="691"/>
                      </a:lnTo>
                      <a:lnTo>
                        <a:pt x="88" y="701"/>
                      </a:lnTo>
                      <a:lnTo>
                        <a:pt x="93" y="705"/>
                      </a:lnTo>
                      <a:lnTo>
                        <a:pt x="99" y="716"/>
                      </a:lnTo>
                      <a:lnTo>
                        <a:pt x="107" y="726"/>
                      </a:lnTo>
                      <a:lnTo>
                        <a:pt x="108" y="734"/>
                      </a:lnTo>
                      <a:lnTo>
                        <a:pt x="103" y="742"/>
                      </a:lnTo>
                      <a:lnTo>
                        <a:pt x="103" y="749"/>
                      </a:lnTo>
                      <a:lnTo>
                        <a:pt x="103" y="760"/>
                      </a:lnTo>
                      <a:lnTo>
                        <a:pt x="109" y="770"/>
                      </a:lnTo>
                      <a:lnTo>
                        <a:pt x="110" y="769"/>
                      </a:lnTo>
                      <a:lnTo>
                        <a:pt x="109" y="761"/>
                      </a:lnTo>
                      <a:lnTo>
                        <a:pt x="109" y="754"/>
                      </a:lnTo>
                      <a:lnTo>
                        <a:pt x="112" y="750"/>
                      </a:lnTo>
                      <a:lnTo>
                        <a:pt x="119" y="749"/>
                      </a:lnTo>
                      <a:lnTo>
                        <a:pt x="128" y="750"/>
                      </a:lnTo>
                      <a:lnTo>
                        <a:pt x="129" y="762"/>
                      </a:lnTo>
                      <a:lnTo>
                        <a:pt x="128" y="769"/>
                      </a:lnTo>
                      <a:lnTo>
                        <a:pt x="133" y="771"/>
                      </a:lnTo>
                      <a:lnTo>
                        <a:pt x="151" y="770"/>
                      </a:lnTo>
                      <a:lnTo>
                        <a:pt x="156" y="775"/>
                      </a:lnTo>
                      <a:lnTo>
                        <a:pt x="155" y="782"/>
                      </a:lnTo>
                      <a:lnTo>
                        <a:pt x="166" y="788"/>
                      </a:lnTo>
                      <a:lnTo>
                        <a:pt x="174" y="788"/>
                      </a:lnTo>
                      <a:lnTo>
                        <a:pt x="183" y="791"/>
                      </a:lnTo>
                      <a:lnTo>
                        <a:pt x="195" y="791"/>
                      </a:lnTo>
                      <a:lnTo>
                        <a:pt x="204" y="788"/>
                      </a:lnTo>
                      <a:lnTo>
                        <a:pt x="214" y="776"/>
                      </a:lnTo>
                      <a:lnTo>
                        <a:pt x="232" y="775"/>
                      </a:lnTo>
                      <a:lnTo>
                        <a:pt x="236" y="771"/>
                      </a:lnTo>
                      <a:lnTo>
                        <a:pt x="244" y="770"/>
                      </a:lnTo>
                      <a:lnTo>
                        <a:pt x="264" y="772"/>
                      </a:lnTo>
                      <a:lnTo>
                        <a:pt x="266" y="769"/>
                      </a:lnTo>
                      <a:lnTo>
                        <a:pt x="287" y="771"/>
                      </a:lnTo>
                      <a:lnTo>
                        <a:pt x="293" y="769"/>
                      </a:lnTo>
                      <a:lnTo>
                        <a:pt x="296" y="761"/>
                      </a:lnTo>
                      <a:lnTo>
                        <a:pt x="305" y="758"/>
                      </a:lnTo>
                      <a:lnTo>
                        <a:pt x="311" y="753"/>
                      </a:lnTo>
                      <a:lnTo>
                        <a:pt x="316" y="748"/>
                      </a:lnTo>
                      <a:lnTo>
                        <a:pt x="333" y="745"/>
                      </a:lnTo>
                      <a:lnTo>
                        <a:pt x="341" y="746"/>
                      </a:lnTo>
                      <a:lnTo>
                        <a:pt x="365" y="753"/>
                      </a:lnTo>
                      <a:lnTo>
                        <a:pt x="372" y="753"/>
                      </a:lnTo>
                      <a:lnTo>
                        <a:pt x="381" y="745"/>
                      </a:lnTo>
                      <a:lnTo>
                        <a:pt x="394" y="744"/>
                      </a:lnTo>
                      <a:lnTo>
                        <a:pt x="408" y="746"/>
                      </a:lnTo>
                      <a:lnTo>
                        <a:pt x="446" y="758"/>
                      </a:lnTo>
                      <a:lnTo>
                        <a:pt x="459" y="758"/>
                      </a:lnTo>
                      <a:lnTo>
                        <a:pt x="467" y="744"/>
                      </a:lnTo>
                      <a:lnTo>
                        <a:pt x="479" y="743"/>
                      </a:lnTo>
                      <a:lnTo>
                        <a:pt x="491" y="748"/>
                      </a:lnTo>
                      <a:lnTo>
                        <a:pt x="507" y="749"/>
                      </a:lnTo>
                      <a:lnTo>
                        <a:pt x="508" y="743"/>
                      </a:lnTo>
                      <a:lnTo>
                        <a:pt x="505" y="733"/>
                      </a:lnTo>
                      <a:lnTo>
                        <a:pt x="512" y="728"/>
                      </a:lnTo>
                      <a:lnTo>
                        <a:pt x="519" y="727"/>
                      </a:lnTo>
                      <a:lnTo>
                        <a:pt x="532" y="726"/>
                      </a:lnTo>
                      <a:lnTo>
                        <a:pt x="553" y="727"/>
                      </a:lnTo>
                      <a:lnTo>
                        <a:pt x="564" y="726"/>
                      </a:lnTo>
                      <a:lnTo>
                        <a:pt x="586" y="715"/>
                      </a:lnTo>
                      <a:lnTo>
                        <a:pt x="623" y="689"/>
                      </a:lnTo>
                      <a:lnTo>
                        <a:pt x="633" y="679"/>
                      </a:lnTo>
                      <a:lnTo>
                        <a:pt x="642" y="668"/>
                      </a:lnTo>
                      <a:lnTo>
                        <a:pt x="663" y="652"/>
                      </a:lnTo>
                      <a:lnTo>
                        <a:pt x="689" y="624"/>
                      </a:lnTo>
                      <a:lnTo>
                        <a:pt x="705" y="600"/>
                      </a:lnTo>
                      <a:lnTo>
                        <a:pt x="714" y="589"/>
                      </a:lnTo>
                      <a:lnTo>
                        <a:pt x="723" y="582"/>
                      </a:lnTo>
                      <a:lnTo>
                        <a:pt x="747" y="561"/>
                      </a:lnTo>
                      <a:lnTo>
                        <a:pt x="765" y="533"/>
                      </a:lnTo>
                      <a:lnTo>
                        <a:pt x="774" y="520"/>
                      </a:lnTo>
                      <a:lnTo>
                        <a:pt x="796" y="480"/>
                      </a:lnTo>
                      <a:lnTo>
                        <a:pt x="800" y="473"/>
                      </a:lnTo>
                      <a:lnTo>
                        <a:pt x="804" y="465"/>
                      </a:lnTo>
                      <a:lnTo>
                        <a:pt x="808" y="454"/>
                      </a:lnTo>
                      <a:lnTo>
                        <a:pt x="819" y="437"/>
                      </a:lnTo>
                      <a:lnTo>
                        <a:pt x="828" y="426"/>
                      </a:lnTo>
                      <a:lnTo>
                        <a:pt x="836" y="420"/>
                      </a:lnTo>
                      <a:lnTo>
                        <a:pt x="846" y="417"/>
                      </a:lnTo>
                      <a:lnTo>
                        <a:pt x="866" y="401"/>
                      </a:lnTo>
                      <a:lnTo>
                        <a:pt x="875" y="388"/>
                      </a:lnTo>
                      <a:lnTo>
                        <a:pt x="881" y="357"/>
                      </a:lnTo>
                      <a:lnTo>
                        <a:pt x="886" y="345"/>
                      </a:lnTo>
                      <a:lnTo>
                        <a:pt x="888" y="331"/>
                      </a:lnTo>
                      <a:lnTo>
                        <a:pt x="888" y="318"/>
                      </a:lnTo>
                      <a:lnTo>
                        <a:pt x="894" y="305"/>
                      </a:lnTo>
                      <a:lnTo>
                        <a:pt x="897" y="294"/>
                      </a:lnTo>
                      <a:lnTo>
                        <a:pt x="898" y="282"/>
                      </a:lnTo>
                      <a:lnTo>
                        <a:pt x="892" y="281"/>
                      </a:lnTo>
                      <a:lnTo>
                        <a:pt x="856" y="281"/>
                      </a:lnTo>
                      <a:lnTo>
                        <a:pt x="850" y="285"/>
                      </a:lnTo>
                      <a:lnTo>
                        <a:pt x="844" y="299"/>
                      </a:lnTo>
                      <a:lnTo>
                        <a:pt x="836" y="308"/>
                      </a:lnTo>
                      <a:lnTo>
                        <a:pt x="824" y="307"/>
                      </a:lnTo>
                      <a:lnTo>
                        <a:pt x="801" y="304"/>
                      </a:lnTo>
                      <a:lnTo>
                        <a:pt x="791" y="285"/>
                      </a:lnTo>
                      <a:lnTo>
                        <a:pt x="789" y="272"/>
                      </a:lnTo>
                      <a:lnTo>
                        <a:pt x="793" y="256"/>
                      </a:lnTo>
                      <a:lnTo>
                        <a:pt x="801" y="239"/>
                      </a:lnTo>
                      <a:lnTo>
                        <a:pt x="808" y="227"/>
                      </a:lnTo>
                      <a:lnTo>
                        <a:pt x="822" y="218"/>
                      </a:lnTo>
                      <a:lnTo>
                        <a:pt x="845" y="233"/>
                      </a:lnTo>
                      <a:lnTo>
                        <a:pt x="852" y="224"/>
                      </a:lnTo>
                      <a:lnTo>
                        <a:pt x="849" y="131"/>
                      </a:lnTo>
                      <a:lnTo>
                        <a:pt x="836" y="87"/>
                      </a:lnTo>
                      <a:lnTo>
                        <a:pt x="830" y="55"/>
                      </a:lnTo>
                      <a:lnTo>
                        <a:pt x="828" y="34"/>
                      </a:lnTo>
                      <a:lnTo>
                        <a:pt x="827" y="33"/>
                      </a:lnTo>
                      <a:lnTo>
                        <a:pt x="822" y="32"/>
                      </a:lnTo>
                      <a:lnTo>
                        <a:pt x="807" y="17"/>
                      </a:lnTo>
                      <a:lnTo>
                        <a:pt x="786" y="11"/>
                      </a:lnTo>
                      <a:lnTo>
                        <a:pt x="774" y="9"/>
                      </a:lnTo>
                      <a:lnTo>
                        <a:pt x="761" y="12"/>
                      </a:lnTo>
                      <a:lnTo>
                        <a:pt x="749" y="9"/>
                      </a:lnTo>
                      <a:lnTo>
                        <a:pt x="726" y="2"/>
                      </a:lnTo>
                      <a:lnTo>
                        <a:pt x="717" y="0"/>
                      </a:lnTo>
                      <a:lnTo>
                        <a:pt x="705" y="5"/>
                      </a:lnTo>
                      <a:lnTo>
                        <a:pt x="704" y="8"/>
                      </a:lnTo>
                      <a:lnTo>
                        <a:pt x="693" y="13"/>
                      </a:lnTo>
                      <a:lnTo>
                        <a:pt x="679" y="22"/>
                      </a:lnTo>
                      <a:lnTo>
                        <a:pt x="641" y="40"/>
                      </a:lnTo>
                      <a:lnTo>
                        <a:pt x="625" y="57"/>
                      </a:lnTo>
                      <a:lnTo>
                        <a:pt x="605" y="70"/>
                      </a:lnTo>
                      <a:lnTo>
                        <a:pt x="586" y="88"/>
                      </a:lnTo>
                      <a:lnTo>
                        <a:pt x="575" y="104"/>
                      </a:lnTo>
                      <a:lnTo>
                        <a:pt x="558" y="129"/>
                      </a:lnTo>
                      <a:lnTo>
                        <a:pt x="531" y="148"/>
                      </a:lnTo>
                      <a:lnTo>
                        <a:pt x="516" y="167"/>
                      </a:lnTo>
                      <a:lnTo>
                        <a:pt x="501" y="201"/>
                      </a:lnTo>
                      <a:lnTo>
                        <a:pt x="496" y="207"/>
                      </a:lnTo>
                      <a:lnTo>
                        <a:pt x="488" y="211"/>
                      </a:lnTo>
                      <a:lnTo>
                        <a:pt x="477" y="212"/>
                      </a:lnTo>
                      <a:lnTo>
                        <a:pt x="452" y="218"/>
                      </a:lnTo>
                      <a:lnTo>
                        <a:pt x="437" y="217"/>
                      </a:lnTo>
                      <a:lnTo>
                        <a:pt x="414" y="204"/>
                      </a:lnTo>
                      <a:lnTo>
                        <a:pt x="402" y="199"/>
                      </a:lnTo>
                      <a:lnTo>
                        <a:pt x="388" y="197"/>
                      </a:lnTo>
                      <a:lnTo>
                        <a:pt x="376" y="201"/>
                      </a:lnTo>
                      <a:lnTo>
                        <a:pt x="357" y="221"/>
                      </a:lnTo>
                      <a:lnTo>
                        <a:pt x="351" y="229"/>
                      </a:lnTo>
                      <a:lnTo>
                        <a:pt x="348" y="237"/>
                      </a:lnTo>
                      <a:lnTo>
                        <a:pt x="339" y="248"/>
                      </a:lnTo>
                      <a:lnTo>
                        <a:pt x="327" y="255"/>
                      </a:lnTo>
                      <a:lnTo>
                        <a:pt x="322" y="260"/>
                      </a:lnTo>
                      <a:lnTo>
                        <a:pt x="312" y="277"/>
                      </a:lnTo>
                      <a:lnTo>
                        <a:pt x="277" y="286"/>
                      </a:lnTo>
                      <a:lnTo>
                        <a:pt x="259" y="285"/>
                      </a:lnTo>
                      <a:lnTo>
                        <a:pt x="243" y="282"/>
                      </a:lnTo>
                      <a:lnTo>
                        <a:pt x="233" y="280"/>
                      </a:lnTo>
                      <a:lnTo>
                        <a:pt x="230" y="271"/>
                      </a:lnTo>
                      <a:lnTo>
                        <a:pt x="237" y="250"/>
                      </a:lnTo>
                      <a:lnTo>
                        <a:pt x="239" y="237"/>
                      </a:lnTo>
                      <a:lnTo>
                        <a:pt x="239" y="231"/>
                      </a:lnTo>
                      <a:lnTo>
                        <a:pt x="238" y="213"/>
                      </a:lnTo>
                      <a:lnTo>
                        <a:pt x="231" y="201"/>
                      </a:lnTo>
                      <a:lnTo>
                        <a:pt x="217" y="190"/>
                      </a:lnTo>
                      <a:lnTo>
                        <a:pt x="212" y="181"/>
                      </a:lnTo>
                      <a:lnTo>
                        <a:pt x="200" y="170"/>
                      </a:lnTo>
                      <a:lnTo>
                        <a:pt x="198" y="167"/>
                      </a:lnTo>
                      <a:lnTo>
                        <a:pt x="192" y="161"/>
                      </a:lnTo>
                      <a:lnTo>
                        <a:pt x="188" y="16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37" name="Freeform 136"/>
                <p:cNvSpPr>
                  <a:spLocks noChangeAspect="1"/>
                </p:cNvSpPr>
                <p:nvPr/>
              </p:nvSpPr>
              <p:spPr bwMode="gray">
                <a:xfrm>
                  <a:off x="5330030" y="3854797"/>
                  <a:ext cx="55563" cy="138113"/>
                </a:xfrm>
                <a:custGeom>
                  <a:avLst/>
                  <a:gdLst/>
                  <a:ahLst/>
                  <a:cxnLst>
                    <a:cxn ang="0">
                      <a:pos x="61" y="11"/>
                    </a:cxn>
                    <a:cxn ang="0">
                      <a:pos x="42" y="14"/>
                    </a:cxn>
                    <a:cxn ang="0">
                      <a:pos x="25" y="8"/>
                    </a:cxn>
                    <a:cxn ang="0">
                      <a:pos x="13" y="8"/>
                    </a:cxn>
                    <a:cxn ang="0">
                      <a:pos x="25" y="15"/>
                    </a:cxn>
                    <a:cxn ang="0">
                      <a:pos x="37" y="40"/>
                    </a:cxn>
                    <a:cxn ang="0">
                      <a:pos x="50" y="65"/>
                    </a:cxn>
                    <a:cxn ang="0">
                      <a:pos x="42" y="80"/>
                    </a:cxn>
                    <a:cxn ang="0">
                      <a:pos x="35" y="94"/>
                    </a:cxn>
                    <a:cxn ang="0">
                      <a:pos x="31" y="127"/>
                    </a:cxn>
                    <a:cxn ang="0">
                      <a:pos x="31" y="159"/>
                    </a:cxn>
                    <a:cxn ang="0">
                      <a:pos x="41" y="172"/>
                    </a:cxn>
                    <a:cxn ang="0">
                      <a:pos x="24" y="181"/>
                    </a:cxn>
                    <a:cxn ang="0">
                      <a:pos x="14" y="198"/>
                    </a:cxn>
                    <a:cxn ang="0">
                      <a:pos x="2" y="235"/>
                    </a:cxn>
                    <a:cxn ang="0">
                      <a:pos x="8" y="248"/>
                    </a:cxn>
                    <a:cxn ang="0">
                      <a:pos x="23" y="257"/>
                    </a:cxn>
                    <a:cxn ang="0">
                      <a:pos x="30" y="263"/>
                    </a:cxn>
                    <a:cxn ang="0">
                      <a:pos x="51" y="289"/>
                    </a:cxn>
                    <a:cxn ang="0">
                      <a:pos x="93" y="284"/>
                    </a:cxn>
                    <a:cxn ang="0">
                      <a:pos x="101" y="310"/>
                    </a:cxn>
                    <a:cxn ang="0">
                      <a:pos x="94" y="343"/>
                    </a:cxn>
                    <a:cxn ang="0">
                      <a:pos x="86" y="365"/>
                    </a:cxn>
                    <a:cxn ang="0">
                      <a:pos x="97" y="388"/>
                    </a:cxn>
                    <a:cxn ang="0">
                      <a:pos x="112" y="404"/>
                    </a:cxn>
                    <a:cxn ang="0">
                      <a:pos x="128" y="414"/>
                    </a:cxn>
                    <a:cxn ang="0">
                      <a:pos x="127" y="429"/>
                    </a:cxn>
                    <a:cxn ang="0">
                      <a:pos x="142" y="430"/>
                    </a:cxn>
                    <a:cxn ang="0">
                      <a:pos x="139" y="409"/>
                    </a:cxn>
                    <a:cxn ang="0">
                      <a:pos x="139" y="392"/>
                    </a:cxn>
                    <a:cxn ang="0">
                      <a:pos x="153" y="377"/>
                    </a:cxn>
                    <a:cxn ang="0">
                      <a:pos x="169" y="368"/>
                    </a:cxn>
                    <a:cxn ang="0">
                      <a:pos x="169" y="325"/>
                    </a:cxn>
                    <a:cxn ang="0">
                      <a:pos x="172" y="295"/>
                    </a:cxn>
                    <a:cxn ang="0">
                      <a:pos x="148" y="266"/>
                    </a:cxn>
                    <a:cxn ang="0">
                      <a:pos x="116" y="230"/>
                    </a:cxn>
                    <a:cxn ang="0">
                      <a:pos x="116" y="242"/>
                    </a:cxn>
                    <a:cxn ang="0">
                      <a:pos x="126" y="250"/>
                    </a:cxn>
                    <a:cxn ang="0">
                      <a:pos x="134" y="282"/>
                    </a:cxn>
                    <a:cxn ang="0">
                      <a:pos x="121" y="269"/>
                    </a:cxn>
                    <a:cxn ang="0">
                      <a:pos x="115" y="262"/>
                    </a:cxn>
                    <a:cxn ang="0">
                      <a:pos x="102" y="272"/>
                    </a:cxn>
                    <a:cxn ang="0">
                      <a:pos x="97" y="261"/>
                    </a:cxn>
                    <a:cxn ang="0">
                      <a:pos x="100" y="245"/>
                    </a:cxn>
                    <a:cxn ang="0">
                      <a:pos x="89" y="231"/>
                    </a:cxn>
                    <a:cxn ang="0">
                      <a:pos x="85" y="208"/>
                    </a:cxn>
                    <a:cxn ang="0">
                      <a:pos x="68" y="159"/>
                    </a:cxn>
                    <a:cxn ang="0">
                      <a:pos x="79" y="140"/>
                    </a:cxn>
                    <a:cxn ang="0">
                      <a:pos x="79" y="70"/>
                    </a:cxn>
                    <a:cxn ang="0">
                      <a:pos x="78" y="51"/>
                    </a:cxn>
                    <a:cxn ang="0">
                      <a:pos x="63" y="32"/>
                    </a:cxn>
                    <a:cxn ang="0">
                      <a:pos x="69" y="10"/>
                    </a:cxn>
                  </a:cxnLst>
                  <a:rect l="0" t="0" r="r" b="b"/>
                  <a:pathLst>
                    <a:path w="175" h="431">
                      <a:moveTo>
                        <a:pt x="64" y="18"/>
                      </a:moveTo>
                      <a:lnTo>
                        <a:pt x="62" y="14"/>
                      </a:lnTo>
                      <a:lnTo>
                        <a:pt x="61" y="11"/>
                      </a:lnTo>
                      <a:lnTo>
                        <a:pt x="58" y="10"/>
                      </a:lnTo>
                      <a:lnTo>
                        <a:pt x="53" y="10"/>
                      </a:lnTo>
                      <a:lnTo>
                        <a:pt x="42" y="14"/>
                      </a:lnTo>
                      <a:lnTo>
                        <a:pt x="40" y="13"/>
                      </a:lnTo>
                      <a:lnTo>
                        <a:pt x="35" y="6"/>
                      </a:lnTo>
                      <a:lnTo>
                        <a:pt x="25" y="8"/>
                      </a:lnTo>
                      <a:lnTo>
                        <a:pt x="14" y="0"/>
                      </a:lnTo>
                      <a:lnTo>
                        <a:pt x="13" y="3"/>
                      </a:lnTo>
                      <a:lnTo>
                        <a:pt x="13" y="8"/>
                      </a:lnTo>
                      <a:lnTo>
                        <a:pt x="14" y="9"/>
                      </a:lnTo>
                      <a:lnTo>
                        <a:pt x="16" y="15"/>
                      </a:lnTo>
                      <a:lnTo>
                        <a:pt x="25" y="15"/>
                      </a:lnTo>
                      <a:lnTo>
                        <a:pt x="32" y="24"/>
                      </a:lnTo>
                      <a:lnTo>
                        <a:pt x="34" y="29"/>
                      </a:lnTo>
                      <a:lnTo>
                        <a:pt x="37" y="40"/>
                      </a:lnTo>
                      <a:lnTo>
                        <a:pt x="43" y="45"/>
                      </a:lnTo>
                      <a:lnTo>
                        <a:pt x="46" y="63"/>
                      </a:lnTo>
                      <a:lnTo>
                        <a:pt x="50" y="65"/>
                      </a:lnTo>
                      <a:lnTo>
                        <a:pt x="51" y="72"/>
                      </a:lnTo>
                      <a:lnTo>
                        <a:pt x="51" y="75"/>
                      </a:lnTo>
                      <a:lnTo>
                        <a:pt x="42" y="80"/>
                      </a:lnTo>
                      <a:lnTo>
                        <a:pt x="40" y="81"/>
                      </a:lnTo>
                      <a:lnTo>
                        <a:pt x="36" y="84"/>
                      </a:lnTo>
                      <a:lnTo>
                        <a:pt x="35" y="94"/>
                      </a:lnTo>
                      <a:lnTo>
                        <a:pt x="36" y="102"/>
                      </a:lnTo>
                      <a:lnTo>
                        <a:pt x="30" y="119"/>
                      </a:lnTo>
                      <a:lnTo>
                        <a:pt x="31" y="127"/>
                      </a:lnTo>
                      <a:lnTo>
                        <a:pt x="32" y="142"/>
                      </a:lnTo>
                      <a:lnTo>
                        <a:pt x="30" y="156"/>
                      </a:lnTo>
                      <a:lnTo>
                        <a:pt x="31" y="159"/>
                      </a:lnTo>
                      <a:lnTo>
                        <a:pt x="35" y="164"/>
                      </a:lnTo>
                      <a:lnTo>
                        <a:pt x="40" y="166"/>
                      </a:lnTo>
                      <a:lnTo>
                        <a:pt x="41" y="172"/>
                      </a:lnTo>
                      <a:lnTo>
                        <a:pt x="38" y="175"/>
                      </a:lnTo>
                      <a:lnTo>
                        <a:pt x="30" y="176"/>
                      </a:lnTo>
                      <a:lnTo>
                        <a:pt x="24" y="181"/>
                      </a:lnTo>
                      <a:lnTo>
                        <a:pt x="19" y="182"/>
                      </a:lnTo>
                      <a:lnTo>
                        <a:pt x="18" y="183"/>
                      </a:lnTo>
                      <a:lnTo>
                        <a:pt x="14" y="198"/>
                      </a:lnTo>
                      <a:lnTo>
                        <a:pt x="14" y="213"/>
                      </a:lnTo>
                      <a:lnTo>
                        <a:pt x="9" y="228"/>
                      </a:lnTo>
                      <a:lnTo>
                        <a:pt x="2" y="235"/>
                      </a:lnTo>
                      <a:lnTo>
                        <a:pt x="0" y="239"/>
                      </a:lnTo>
                      <a:lnTo>
                        <a:pt x="3" y="247"/>
                      </a:lnTo>
                      <a:lnTo>
                        <a:pt x="8" y="248"/>
                      </a:lnTo>
                      <a:lnTo>
                        <a:pt x="11" y="256"/>
                      </a:lnTo>
                      <a:lnTo>
                        <a:pt x="19" y="255"/>
                      </a:lnTo>
                      <a:lnTo>
                        <a:pt x="23" y="257"/>
                      </a:lnTo>
                      <a:lnTo>
                        <a:pt x="23" y="258"/>
                      </a:lnTo>
                      <a:lnTo>
                        <a:pt x="24" y="261"/>
                      </a:lnTo>
                      <a:lnTo>
                        <a:pt x="30" y="263"/>
                      </a:lnTo>
                      <a:lnTo>
                        <a:pt x="37" y="279"/>
                      </a:lnTo>
                      <a:lnTo>
                        <a:pt x="47" y="289"/>
                      </a:lnTo>
                      <a:lnTo>
                        <a:pt x="51" y="289"/>
                      </a:lnTo>
                      <a:lnTo>
                        <a:pt x="59" y="287"/>
                      </a:lnTo>
                      <a:lnTo>
                        <a:pt x="89" y="283"/>
                      </a:lnTo>
                      <a:lnTo>
                        <a:pt x="93" y="284"/>
                      </a:lnTo>
                      <a:lnTo>
                        <a:pt x="96" y="289"/>
                      </a:lnTo>
                      <a:lnTo>
                        <a:pt x="100" y="302"/>
                      </a:lnTo>
                      <a:lnTo>
                        <a:pt x="101" y="310"/>
                      </a:lnTo>
                      <a:lnTo>
                        <a:pt x="102" y="328"/>
                      </a:lnTo>
                      <a:lnTo>
                        <a:pt x="100" y="336"/>
                      </a:lnTo>
                      <a:lnTo>
                        <a:pt x="94" y="343"/>
                      </a:lnTo>
                      <a:lnTo>
                        <a:pt x="95" y="349"/>
                      </a:lnTo>
                      <a:lnTo>
                        <a:pt x="89" y="354"/>
                      </a:lnTo>
                      <a:lnTo>
                        <a:pt x="86" y="365"/>
                      </a:lnTo>
                      <a:lnTo>
                        <a:pt x="89" y="369"/>
                      </a:lnTo>
                      <a:lnTo>
                        <a:pt x="94" y="385"/>
                      </a:lnTo>
                      <a:lnTo>
                        <a:pt x="97" y="388"/>
                      </a:lnTo>
                      <a:lnTo>
                        <a:pt x="101" y="390"/>
                      </a:lnTo>
                      <a:lnTo>
                        <a:pt x="104" y="395"/>
                      </a:lnTo>
                      <a:lnTo>
                        <a:pt x="112" y="404"/>
                      </a:lnTo>
                      <a:lnTo>
                        <a:pt x="117" y="411"/>
                      </a:lnTo>
                      <a:lnTo>
                        <a:pt x="121" y="413"/>
                      </a:lnTo>
                      <a:lnTo>
                        <a:pt x="128" y="414"/>
                      </a:lnTo>
                      <a:lnTo>
                        <a:pt x="132" y="419"/>
                      </a:lnTo>
                      <a:lnTo>
                        <a:pt x="132" y="423"/>
                      </a:lnTo>
                      <a:lnTo>
                        <a:pt x="127" y="429"/>
                      </a:lnTo>
                      <a:lnTo>
                        <a:pt x="128" y="431"/>
                      </a:lnTo>
                      <a:lnTo>
                        <a:pt x="140" y="431"/>
                      </a:lnTo>
                      <a:lnTo>
                        <a:pt x="142" y="430"/>
                      </a:lnTo>
                      <a:lnTo>
                        <a:pt x="140" y="420"/>
                      </a:lnTo>
                      <a:lnTo>
                        <a:pt x="142" y="414"/>
                      </a:lnTo>
                      <a:lnTo>
                        <a:pt x="139" y="409"/>
                      </a:lnTo>
                      <a:lnTo>
                        <a:pt x="136" y="406"/>
                      </a:lnTo>
                      <a:lnTo>
                        <a:pt x="136" y="400"/>
                      </a:lnTo>
                      <a:lnTo>
                        <a:pt x="139" y="392"/>
                      </a:lnTo>
                      <a:lnTo>
                        <a:pt x="139" y="388"/>
                      </a:lnTo>
                      <a:lnTo>
                        <a:pt x="140" y="385"/>
                      </a:lnTo>
                      <a:lnTo>
                        <a:pt x="153" y="377"/>
                      </a:lnTo>
                      <a:lnTo>
                        <a:pt x="159" y="376"/>
                      </a:lnTo>
                      <a:lnTo>
                        <a:pt x="165" y="374"/>
                      </a:lnTo>
                      <a:lnTo>
                        <a:pt x="169" y="368"/>
                      </a:lnTo>
                      <a:lnTo>
                        <a:pt x="170" y="347"/>
                      </a:lnTo>
                      <a:lnTo>
                        <a:pt x="172" y="339"/>
                      </a:lnTo>
                      <a:lnTo>
                        <a:pt x="169" y="325"/>
                      </a:lnTo>
                      <a:lnTo>
                        <a:pt x="172" y="315"/>
                      </a:lnTo>
                      <a:lnTo>
                        <a:pt x="175" y="307"/>
                      </a:lnTo>
                      <a:lnTo>
                        <a:pt x="172" y="295"/>
                      </a:lnTo>
                      <a:lnTo>
                        <a:pt x="167" y="288"/>
                      </a:lnTo>
                      <a:lnTo>
                        <a:pt x="154" y="275"/>
                      </a:lnTo>
                      <a:lnTo>
                        <a:pt x="148" y="266"/>
                      </a:lnTo>
                      <a:lnTo>
                        <a:pt x="133" y="247"/>
                      </a:lnTo>
                      <a:lnTo>
                        <a:pt x="123" y="240"/>
                      </a:lnTo>
                      <a:lnTo>
                        <a:pt x="116" y="230"/>
                      </a:lnTo>
                      <a:lnTo>
                        <a:pt x="115" y="231"/>
                      </a:lnTo>
                      <a:lnTo>
                        <a:pt x="115" y="239"/>
                      </a:lnTo>
                      <a:lnTo>
                        <a:pt x="116" y="242"/>
                      </a:lnTo>
                      <a:lnTo>
                        <a:pt x="117" y="245"/>
                      </a:lnTo>
                      <a:lnTo>
                        <a:pt x="122" y="246"/>
                      </a:lnTo>
                      <a:lnTo>
                        <a:pt x="126" y="250"/>
                      </a:lnTo>
                      <a:lnTo>
                        <a:pt x="136" y="274"/>
                      </a:lnTo>
                      <a:lnTo>
                        <a:pt x="136" y="280"/>
                      </a:lnTo>
                      <a:lnTo>
                        <a:pt x="134" y="282"/>
                      </a:lnTo>
                      <a:lnTo>
                        <a:pt x="132" y="280"/>
                      </a:lnTo>
                      <a:lnTo>
                        <a:pt x="126" y="272"/>
                      </a:lnTo>
                      <a:lnTo>
                        <a:pt x="121" y="269"/>
                      </a:lnTo>
                      <a:lnTo>
                        <a:pt x="117" y="262"/>
                      </a:lnTo>
                      <a:lnTo>
                        <a:pt x="116" y="262"/>
                      </a:lnTo>
                      <a:lnTo>
                        <a:pt x="115" y="262"/>
                      </a:lnTo>
                      <a:lnTo>
                        <a:pt x="111" y="271"/>
                      </a:lnTo>
                      <a:lnTo>
                        <a:pt x="109" y="272"/>
                      </a:lnTo>
                      <a:lnTo>
                        <a:pt x="102" y="272"/>
                      </a:lnTo>
                      <a:lnTo>
                        <a:pt x="101" y="269"/>
                      </a:lnTo>
                      <a:lnTo>
                        <a:pt x="99" y="266"/>
                      </a:lnTo>
                      <a:lnTo>
                        <a:pt x="97" y="261"/>
                      </a:lnTo>
                      <a:lnTo>
                        <a:pt x="97" y="256"/>
                      </a:lnTo>
                      <a:lnTo>
                        <a:pt x="100" y="247"/>
                      </a:lnTo>
                      <a:lnTo>
                        <a:pt x="100" y="245"/>
                      </a:lnTo>
                      <a:lnTo>
                        <a:pt x="97" y="241"/>
                      </a:lnTo>
                      <a:lnTo>
                        <a:pt x="91" y="235"/>
                      </a:lnTo>
                      <a:lnTo>
                        <a:pt x="89" y="231"/>
                      </a:lnTo>
                      <a:lnTo>
                        <a:pt x="86" y="223"/>
                      </a:lnTo>
                      <a:lnTo>
                        <a:pt x="86" y="209"/>
                      </a:lnTo>
                      <a:lnTo>
                        <a:pt x="85" y="208"/>
                      </a:lnTo>
                      <a:lnTo>
                        <a:pt x="80" y="187"/>
                      </a:lnTo>
                      <a:lnTo>
                        <a:pt x="68" y="164"/>
                      </a:lnTo>
                      <a:lnTo>
                        <a:pt x="68" y="159"/>
                      </a:lnTo>
                      <a:lnTo>
                        <a:pt x="68" y="154"/>
                      </a:lnTo>
                      <a:lnTo>
                        <a:pt x="73" y="145"/>
                      </a:lnTo>
                      <a:lnTo>
                        <a:pt x="79" y="140"/>
                      </a:lnTo>
                      <a:lnTo>
                        <a:pt x="83" y="128"/>
                      </a:lnTo>
                      <a:lnTo>
                        <a:pt x="81" y="94"/>
                      </a:lnTo>
                      <a:lnTo>
                        <a:pt x="79" y="70"/>
                      </a:lnTo>
                      <a:lnTo>
                        <a:pt x="81" y="63"/>
                      </a:lnTo>
                      <a:lnTo>
                        <a:pt x="81" y="57"/>
                      </a:lnTo>
                      <a:lnTo>
                        <a:pt x="78" y="51"/>
                      </a:lnTo>
                      <a:lnTo>
                        <a:pt x="72" y="48"/>
                      </a:lnTo>
                      <a:lnTo>
                        <a:pt x="69" y="46"/>
                      </a:lnTo>
                      <a:lnTo>
                        <a:pt x="63" y="32"/>
                      </a:lnTo>
                      <a:lnTo>
                        <a:pt x="62" y="26"/>
                      </a:lnTo>
                      <a:lnTo>
                        <a:pt x="64" y="18"/>
                      </a:lnTo>
                      <a:lnTo>
                        <a:pt x="69" y="10"/>
                      </a:lnTo>
                      <a:lnTo>
                        <a:pt x="64" y="1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38" name="Freeform 137"/>
                <p:cNvSpPr>
                  <a:spLocks noChangeAspect="1"/>
                </p:cNvSpPr>
                <p:nvPr/>
              </p:nvSpPr>
              <p:spPr bwMode="gray">
                <a:xfrm>
                  <a:off x="5511005" y="3904009"/>
                  <a:ext cx="123825" cy="247650"/>
                </a:xfrm>
                <a:custGeom>
                  <a:avLst/>
                  <a:gdLst/>
                  <a:ahLst/>
                  <a:cxnLst>
                    <a:cxn ang="0">
                      <a:pos x="76" y="226"/>
                    </a:cxn>
                    <a:cxn ang="0">
                      <a:pos x="107" y="215"/>
                    </a:cxn>
                    <a:cxn ang="0">
                      <a:pos x="118" y="215"/>
                    </a:cxn>
                    <a:cxn ang="0">
                      <a:pos x="130" y="204"/>
                    </a:cxn>
                    <a:cxn ang="0">
                      <a:pos x="152" y="199"/>
                    </a:cxn>
                    <a:cxn ang="0">
                      <a:pos x="170" y="219"/>
                    </a:cxn>
                    <a:cxn ang="0">
                      <a:pos x="182" y="210"/>
                    </a:cxn>
                    <a:cxn ang="0">
                      <a:pos x="183" y="181"/>
                    </a:cxn>
                    <a:cxn ang="0">
                      <a:pos x="204" y="189"/>
                    </a:cxn>
                    <a:cxn ang="0">
                      <a:pos x="208" y="167"/>
                    </a:cxn>
                    <a:cxn ang="0">
                      <a:pos x="221" y="149"/>
                    </a:cxn>
                    <a:cxn ang="0">
                      <a:pos x="229" y="160"/>
                    </a:cxn>
                    <a:cxn ang="0">
                      <a:pos x="258" y="140"/>
                    </a:cxn>
                    <a:cxn ang="0">
                      <a:pos x="242" y="125"/>
                    </a:cxn>
                    <a:cxn ang="0">
                      <a:pos x="258" y="113"/>
                    </a:cxn>
                    <a:cxn ang="0">
                      <a:pos x="253" y="81"/>
                    </a:cxn>
                    <a:cxn ang="0">
                      <a:pos x="270" y="92"/>
                    </a:cxn>
                    <a:cxn ang="0">
                      <a:pos x="293" y="68"/>
                    </a:cxn>
                    <a:cxn ang="0">
                      <a:pos x="307" y="25"/>
                    </a:cxn>
                    <a:cxn ang="0">
                      <a:pos x="316" y="5"/>
                    </a:cxn>
                    <a:cxn ang="0">
                      <a:pos x="344" y="23"/>
                    </a:cxn>
                    <a:cxn ang="0">
                      <a:pos x="365" y="60"/>
                    </a:cxn>
                    <a:cxn ang="0">
                      <a:pos x="374" y="106"/>
                    </a:cxn>
                    <a:cxn ang="0">
                      <a:pos x="382" y="151"/>
                    </a:cxn>
                    <a:cxn ang="0">
                      <a:pos x="388" y="198"/>
                    </a:cxn>
                    <a:cxn ang="0">
                      <a:pos x="370" y="198"/>
                    </a:cxn>
                    <a:cxn ang="0">
                      <a:pos x="353" y="206"/>
                    </a:cxn>
                    <a:cxn ang="0">
                      <a:pos x="360" y="251"/>
                    </a:cxn>
                    <a:cxn ang="0">
                      <a:pos x="342" y="283"/>
                    </a:cxn>
                    <a:cxn ang="0">
                      <a:pos x="329" y="366"/>
                    </a:cxn>
                    <a:cxn ang="0">
                      <a:pos x="316" y="405"/>
                    </a:cxn>
                    <a:cxn ang="0">
                      <a:pos x="283" y="511"/>
                    </a:cxn>
                    <a:cxn ang="0">
                      <a:pos x="254" y="606"/>
                    </a:cxn>
                    <a:cxn ang="0">
                      <a:pos x="236" y="684"/>
                    </a:cxn>
                    <a:cxn ang="0">
                      <a:pos x="210" y="736"/>
                    </a:cxn>
                    <a:cxn ang="0">
                      <a:pos x="183" y="748"/>
                    </a:cxn>
                    <a:cxn ang="0">
                      <a:pos x="106" y="776"/>
                    </a:cxn>
                    <a:cxn ang="0">
                      <a:pos x="59" y="746"/>
                    </a:cxn>
                    <a:cxn ang="0">
                      <a:pos x="27" y="697"/>
                    </a:cxn>
                    <a:cxn ang="0">
                      <a:pos x="28" y="654"/>
                    </a:cxn>
                    <a:cxn ang="0">
                      <a:pos x="9" y="615"/>
                    </a:cxn>
                    <a:cxn ang="0">
                      <a:pos x="0" y="574"/>
                    </a:cxn>
                    <a:cxn ang="0">
                      <a:pos x="15" y="527"/>
                    </a:cxn>
                    <a:cxn ang="0">
                      <a:pos x="38" y="489"/>
                    </a:cxn>
                    <a:cxn ang="0">
                      <a:pos x="69" y="435"/>
                    </a:cxn>
                    <a:cxn ang="0">
                      <a:pos x="69" y="409"/>
                    </a:cxn>
                    <a:cxn ang="0">
                      <a:pos x="48" y="348"/>
                    </a:cxn>
                    <a:cxn ang="0">
                      <a:pos x="51" y="280"/>
                    </a:cxn>
                  </a:cxnLst>
                  <a:rect l="0" t="0" r="r" b="b"/>
                  <a:pathLst>
                    <a:path w="391" h="776">
                      <a:moveTo>
                        <a:pt x="64" y="230"/>
                      </a:moveTo>
                      <a:lnTo>
                        <a:pt x="69" y="224"/>
                      </a:lnTo>
                      <a:lnTo>
                        <a:pt x="76" y="226"/>
                      </a:lnTo>
                      <a:lnTo>
                        <a:pt x="92" y="225"/>
                      </a:lnTo>
                      <a:lnTo>
                        <a:pt x="96" y="221"/>
                      </a:lnTo>
                      <a:lnTo>
                        <a:pt x="107" y="215"/>
                      </a:lnTo>
                      <a:lnTo>
                        <a:pt x="109" y="220"/>
                      </a:lnTo>
                      <a:lnTo>
                        <a:pt x="113" y="221"/>
                      </a:lnTo>
                      <a:lnTo>
                        <a:pt x="118" y="215"/>
                      </a:lnTo>
                      <a:lnTo>
                        <a:pt x="124" y="217"/>
                      </a:lnTo>
                      <a:lnTo>
                        <a:pt x="129" y="211"/>
                      </a:lnTo>
                      <a:lnTo>
                        <a:pt x="130" y="204"/>
                      </a:lnTo>
                      <a:lnTo>
                        <a:pt x="140" y="202"/>
                      </a:lnTo>
                      <a:lnTo>
                        <a:pt x="146" y="205"/>
                      </a:lnTo>
                      <a:lnTo>
                        <a:pt x="152" y="199"/>
                      </a:lnTo>
                      <a:lnTo>
                        <a:pt x="159" y="202"/>
                      </a:lnTo>
                      <a:lnTo>
                        <a:pt x="164" y="211"/>
                      </a:lnTo>
                      <a:lnTo>
                        <a:pt x="170" y="219"/>
                      </a:lnTo>
                      <a:lnTo>
                        <a:pt x="178" y="221"/>
                      </a:lnTo>
                      <a:lnTo>
                        <a:pt x="184" y="220"/>
                      </a:lnTo>
                      <a:lnTo>
                        <a:pt x="182" y="210"/>
                      </a:lnTo>
                      <a:lnTo>
                        <a:pt x="172" y="202"/>
                      </a:lnTo>
                      <a:lnTo>
                        <a:pt x="173" y="192"/>
                      </a:lnTo>
                      <a:lnTo>
                        <a:pt x="183" y="181"/>
                      </a:lnTo>
                      <a:lnTo>
                        <a:pt x="195" y="173"/>
                      </a:lnTo>
                      <a:lnTo>
                        <a:pt x="202" y="176"/>
                      </a:lnTo>
                      <a:lnTo>
                        <a:pt x="204" y="189"/>
                      </a:lnTo>
                      <a:lnTo>
                        <a:pt x="211" y="189"/>
                      </a:lnTo>
                      <a:lnTo>
                        <a:pt x="218" y="186"/>
                      </a:lnTo>
                      <a:lnTo>
                        <a:pt x="208" y="167"/>
                      </a:lnTo>
                      <a:lnTo>
                        <a:pt x="215" y="161"/>
                      </a:lnTo>
                      <a:lnTo>
                        <a:pt x="224" y="150"/>
                      </a:lnTo>
                      <a:lnTo>
                        <a:pt x="221" y="149"/>
                      </a:lnTo>
                      <a:lnTo>
                        <a:pt x="227" y="141"/>
                      </a:lnTo>
                      <a:lnTo>
                        <a:pt x="231" y="149"/>
                      </a:lnTo>
                      <a:lnTo>
                        <a:pt x="229" y="160"/>
                      </a:lnTo>
                      <a:lnTo>
                        <a:pt x="245" y="140"/>
                      </a:lnTo>
                      <a:lnTo>
                        <a:pt x="253" y="141"/>
                      </a:lnTo>
                      <a:lnTo>
                        <a:pt x="258" y="140"/>
                      </a:lnTo>
                      <a:lnTo>
                        <a:pt x="256" y="135"/>
                      </a:lnTo>
                      <a:lnTo>
                        <a:pt x="247" y="133"/>
                      </a:lnTo>
                      <a:lnTo>
                        <a:pt x="242" y="125"/>
                      </a:lnTo>
                      <a:lnTo>
                        <a:pt x="245" y="119"/>
                      </a:lnTo>
                      <a:lnTo>
                        <a:pt x="253" y="108"/>
                      </a:lnTo>
                      <a:lnTo>
                        <a:pt x="258" y="113"/>
                      </a:lnTo>
                      <a:lnTo>
                        <a:pt x="259" y="101"/>
                      </a:lnTo>
                      <a:lnTo>
                        <a:pt x="256" y="93"/>
                      </a:lnTo>
                      <a:lnTo>
                        <a:pt x="253" y="81"/>
                      </a:lnTo>
                      <a:lnTo>
                        <a:pt x="256" y="77"/>
                      </a:lnTo>
                      <a:lnTo>
                        <a:pt x="267" y="81"/>
                      </a:lnTo>
                      <a:lnTo>
                        <a:pt x="270" y="92"/>
                      </a:lnTo>
                      <a:lnTo>
                        <a:pt x="283" y="74"/>
                      </a:lnTo>
                      <a:lnTo>
                        <a:pt x="285" y="63"/>
                      </a:lnTo>
                      <a:lnTo>
                        <a:pt x="293" y="68"/>
                      </a:lnTo>
                      <a:lnTo>
                        <a:pt x="301" y="61"/>
                      </a:lnTo>
                      <a:lnTo>
                        <a:pt x="306" y="47"/>
                      </a:lnTo>
                      <a:lnTo>
                        <a:pt x="307" y="25"/>
                      </a:lnTo>
                      <a:lnTo>
                        <a:pt x="301" y="15"/>
                      </a:lnTo>
                      <a:lnTo>
                        <a:pt x="306" y="17"/>
                      </a:lnTo>
                      <a:lnTo>
                        <a:pt x="316" y="5"/>
                      </a:lnTo>
                      <a:lnTo>
                        <a:pt x="323" y="0"/>
                      </a:lnTo>
                      <a:lnTo>
                        <a:pt x="334" y="10"/>
                      </a:lnTo>
                      <a:lnTo>
                        <a:pt x="344" y="23"/>
                      </a:lnTo>
                      <a:lnTo>
                        <a:pt x="354" y="33"/>
                      </a:lnTo>
                      <a:lnTo>
                        <a:pt x="361" y="47"/>
                      </a:lnTo>
                      <a:lnTo>
                        <a:pt x="365" y="60"/>
                      </a:lnTo>
                      <a:lnTo>
                        <a:pt x="366" y="73"/>
                      </a:lnTo>
                      <a:lnTo>
                        <a:pt x="371" y="89"/>
                      </a:lnTo>
                      <a:lnTo>
                        <a:pt x="374" y="106"/>
                      </a:lnTo>
                      <a:lnTo>
                        <a:pt x="377" y="120"/>
                      </a:lnTo>
                      <a:lnTo>
                        <a:pt x="379" y="135"/>
                      </a:lnTo>
                      <a:lnTo>
                        <a:pt x="382" y="151"/>
                      </a:lnTo>
                      <a:lnTo>
                        <a:pt x="388" y="167"/>
                      </a:lnTo>
                      <a:lnTo>
                        <a:pt x="391" y="183"/>
                      </a:lnTo>
                      <a:lnTo>
                        <a:pt x="388" y="198"/>
                      </a:lnTo>
                      <a:lnTo>
                        <a:pt x="383" y="210"/>
                      </a:lnTo>
                      <a:lnTo>
                        <a:pt x="376" y="211"/>
                      </a:lnTo>
                      <a:lnTo>
                        <a:pt x="370" y="198"/>
                      </a:lnTo>
                      <a:lnTo>
                        <a:pt x="366" y="183"/>
                      </a:lnTo>
                      <a:lnTo>
                        <a:pt x="356" y="184"/>
                      </a:lnTo>
                      <a:lnTo>
                        <a:pt x="353" y="206"/>
                      </a:lnTo>
                      <a:lnTo>
                        <a:pt x="353" y="222"/>
                      </a:lnTo>
                      <a:lnTo>
                        <a:pt x="360" y="235"/>
                      </a:lnTo>
                      <a:lnTo>
                        <a:pt x="360" y="251"/>
                      </a:lnTo>
                      <a:lnTo>
                        <a:pt x="355" y="262"/>
                      </a:lnTo>
                      <a:lnTo>
                        <a:pt x="349" y="268"/>
                      </a:lnTo>
                      <a:lnTo>
                        <a:pt x="342" y="283"/>
                      </a:lnTo>
                      <a:lnTo>
                        <a:pt x="339" y="300"/>
                      </a:lnTo>
                      <a:lnTo>
                        <a:pt x="339" y="315"/>
                      </a:lnTo>
                      <a:lnTo>
                        <a:pt x="329" y="366"/>
                      </a:lnTo>
                      <a:lnTo>
                        <a:pt x="318" y="397"/>
                      </a:lnTo>
                      <a:lnTo>
                        <a:pt x="317" y="397"/>
                      </a:lnTo>
                      <a:lnTo>
                        <a:pt x="316" y="405"/>
                      </a:lnTo>
                      <a:lnTo>
                        <a:pt x="300" y="459"/>
                      </a:lnTo>
                      <a:lnTo>
                        <a:pt x="288" y="488"/>
                      </a:lnTo>
                      <a:lnTo>
                        <a:pt x="283" y="511"/>
                      </a:lnTo>
                      <a:lnTo>
                        <a:pt x="273" y="549"/>
                      </a:lnTo>
                      <a:lnTo>
                        <a:pt x="266" y="566"/>
                      </a:lnTo>
                      <a:lnTo>
                        <a:pt x="254" y="606"/>
                      </a:lnTo>
                      <a:lnTo>
                        <a:pt x="248" y="635"/>
                      </a:lnTo>
                      <a:lnTo>
                        <a:pt x="243" y="651"/>
                      </a:lnTo>
                      <a:lnTo>
                        <a:pt x="236" y="684"/>
                      </a:lnTo>
                      <a:lnTo>
                        <a:pt x="227" y="700"/>
                      </a:lnTo>
                      <a:lnTo>
                        <a:pt x="223" y="715"/>
                      </a:lnTo>
                      <a:lnTo>
                        <a:pt x="210" y="736"/>
                      </a:lnTo>
                      <a:lnTo>
                        <a:pt x="200" y="744"/>
                      </a:lnTo>
                      <a:lnTo>
                        <a:pt x="192" y="749"/>
                      </a:lnTo>
                      <a:lnTo>
                        <a:pt x="183" y="748"/>
                      </a:lnTo>
                      <a:lnTo>
                        <a:pt x="151" y="755"/>
                      </a:lnTo>
                      <a:lnTo>
                        <a:pt x="119" y="774"/>
                      </a:lnTo>
                      <a:lnTo>
                        <a:pt x="106" y="776"/>
                      </a:lnTo>
                      <a:lnTo>
                        <a:pt x="86" y="762"/>
                      </a:lnTo>
                      <a:lnTo>
                        <a:pt x="71" y="753"/>
                      </a:lnTo>
                      <a:lnTo>
                        <a:pt x="59" y="746"/>
                      </a:lnTo>
                      <a:lnTo>
                        <a:pt x="47" y="736"/>
                      </a:lnTo>
                      <a:lnTo>
                        <a:pt x="32" y="714"/>
                      </a:lnTo>
                      <a:lnTo>
                        <a:pt x="27" y="697"/>
                      </a:lnTo>
                      <a:lnTo>
                        <a:pt x="24" y="678"/>
                      </a:lnTo>
                      <a:lnTo>
                        <a:pt x="24" y="663"/>
                      </a:lnTo>
                      <a:lnTo>
                        <a:pt x="28" y="654"/>
                      </a:lnTo>
                      <a:lnTo>
                        <a:pt x="24" y="638"/>
                      </a:lnTo>
                      <a:lnTo>
                        <a:pt x="17" y="624"/>
                      </a:lnTo>
                      <a:lnTo>
                        <a:pt x="9" y="615"/>
                      </a:lnTo>
                      <a:lnTo>
                        <a:pt x="1" y="601"/>
                      </a:lnTo>
                      <a:lnTo>
                        <a:pt x="1" y="586"/>
                      </a:lnTo>
                      <a:lnTo>
                        <a:pt x="0" y="574"/>
                      </a:lnTo>
                      <a:lnTo>
                        <a:pt x="0" y="555"/>
                      </a:lnTo>
                      <a:lnTo>
                        <a:pt x="8" y="543"/>
                      </a:lnTo>
                      <a:lnTo>
                        <a:pt x="15" y="527"/>
                      </a:lnTo>
                      <a:lnTo>
                        <a:pt x="21" y="518"/>
                      </a:lnTo>
                      <a:lnTo>
                        <a:pt x="30" y="516"/>
                      </a:lnTo>
                      <a:lnTo>
                        <a:pt x="38" y="489"/>
                      </a:lnTo>
                      <a:lnTo>
                        <a:pt x="55" y="457"/>
                      </a:lnTo>
                      <a:lnTo>
                        <a:pt x="65" y="446"/>
                      </a:lnTo>
                      <a:lnTo>
                        <a:pt x="69" y="435"/>
                      </a:lnTo>
                      <a:lnTo>
                        <a:pt x="68" y="425"/>
                      </a:lnTo>
                      <a:lnTo>
                        <a:pt x="71" y="419"/>
                      </a:lnTo>
                      <a:lnTo>
                        <a:pt x="69" y="409"/>
                      </a:lnTo>
                      <a:lnTo>
                        <a:pt x="60" y="396"/>
                      </a:lnTo>
                      <a:lnTo>
                        <a:pt x="54" y="376"/>
                      </a:lnTo>
                      <a:lnTo>
                        <a:pt x="48" y="348"/>
                      </a:lnTo>
                      <a:lnTo>
                        <a:pt x="47" y="318"/>
                      </a:lnTo>
                      <a:lnTo>
                        <a:pt x="37" y="302"/>
                      </a:lnTo>
                      <a:lnTo>
                        <a:pt x="51" y="280"/>
                      </a:lnTo>
                      <a:lnTo>
                        <a:pt x="65" y="247"/>
                      </a:lnTo>
                      <a:lnTo>
                        <a:pt x="64" y="23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grpSp>
              <p:nvGrpSpPr>
                <p:cNvPr id="139" name="Group 25"/>
                <p:cNvGrpSpPr>
                  <a:grpSpLocks noChangeAspect="1"/>
                </p:cNvGrpSpPr>
                <p:nvPr/>
              </p:nvGrpSpPr>
              <p:grpSpPr bwMode="gray">
                <a:xfrm>
                  <a:off x="4961730" y="3769072"/>
                  <a:ext cx="219075" cy="239713"/>
                  <a:chOff x="2643" y="2535"/>
                  <a:chExt cx="138" cy="151"/>
                </a:xfrm>
                <a:grpFill/>
              </p:grpSpPr>
              <p:sp>
                <p:nvSpPr>
                  <p:cNvPr id="169" name="Freeform 26"/>
                  <p:cNvSpPr>
                    <a:spLocks noChangeAspect="1"/>
                  </p:cNvSpPr>
                  <p:nvPr/>
                </p:nvSpPr>
                <p:spPr bwMode="gray">
                  <a:xfrm>
                    <a:off x="2643" y="2550"/>
                    <a:ext cx="138" cy="136"/>
                  </a:xfrm>
                  <a:custGeom>
                    <a:avLst/>
                    <a:gdLst/>
                    <a:ahLst/>
                    <a:cxnLst>
                      <a:cxn ang="0">
                        <a:pos x="14" y="557"/>
                      </a:cxn>
                      <a:cxn ang="0">
                        <a:pos x="30" y="499"/>
                      </a:cxn>
                      <a:cxn ang="0">
                        <a:pos x="43" y="451"/>
                      </a:cxn>
                      <a:cxn ang="0">
                        <a:pos x="53" y="418"/>
                      </a:cxn>
                      <a:cxn ang="0">
                        <a:pos x="90" y="381"/>
                      </a:cxn>
                      <a:cxn ang="0">
                        <a:pos x="116" y="331"/>
                      </a:cxn>
                      <a:cxn ang="0">
                        <a:pos x="122" y="283"/>
                      </a:cxn>
                      <a:cxn ang="0">
                        <a:pos x="95" y="235"/>
                      </a:cxn>
                      <a:cxn ang="0">
                        <a:pos x="86" y="175"/>
                      </a:cxn>
                      <a:cxn ang="0">
                        <a:pos x="84" y="128"/>
                      </a:cxn>
                      <a:cxn ang="0">
                        <a:pos x="53" y="53"/>
                      </a:cxn>
                      <a:cxn ang="0">
                        <a:pos x="40" y="26"/>
                      </a:cxn>
                      <a:cxn ang="0">
                        <a:pos x="79" y="9"/>
                      </a:cxn>
                      <a:cxn ang="0">
                        <a:pos x="132" y="4"/>
                      </a:cxn>
                      <a:cxn ang="0">
                        <a:pos x="193" y="3"/>
                      </a:cxn>
                      <a:cxn ang="0">
                        <a:pos x="258" y="3"/>
                      </a:cxn>
                      <a:cxn ang="0">
                        <a:pos x="275" y="19"/>
                      </a:cxn>
                      <a:cxn ang="0">
                        <a:pos x="290" y="68"/>
                      </a:cxn>
                      <a:cxn ang="0">
                        <a:pos x="339" y="129"/>
                      </a:cxn>
                      <a:cxn ang="0">
                        <a:pos x="404" y="122"/>
                      </a:cxn>
                      <a:cxn ang="0">
                        <a:pos x="430" y="95"/>
                      </a:cxn>
                      <a:cxn ang="0">
                        <a:pos x="436" y="67"/>
                      </a:cxn>
                      <a:cxn ang="0">
                        <a:pos x="504" y="83"/>
                      </a:cxn>
                      <a:cxn ang="0">
                        <a:pos x="560" y="128"/>
                      </a:cxn>
                      <a:cxn ang="0">
                        <a:pos x="565" y="178"/>
                      </a:cxn>
                      <a:cxn ang="0">
                        <a:pos x="573" y="226"/>
                      </a:cxn>
                      <a:cxn ang="0">
                        <a:pos x="580" y="278"/>
                      </a:cxn>
                      <a:cxn ang="0">
                        <a:pos x="572" y="295"/>
                      </a:cxn>
                      <a:cxn ang="0">
                        <a:pos x="590" y="304"/>
                      </a:cxn>
                      <a:cxn ang="0">
                        <a:pos x="651" y="288"/>
                      </a:cxn>
                      <a:cxn ang="0">
                        <a:pos x="682" y="279"/>
                      </a:cxn>
                      <a:cxn ang="0">
                        <a:pos x="686" y="288"/>
                      </a:cxn>
                      <a:cxn ang="0">
                        <a:pos x="683" y="311"/>
                      </a:cxn>
                      <a:cxn ang="0">
                        <a:pos x="681" y="364"/>
                      </a:cxn>
                      <a:cxn ang="0">
                        <a:pos x="683" y="396"/>
                      </a:cxn>
                      <a:cxn ang="0">
                        <a:pos x="573" y="452"/>
                      </a:cxn>
                      <a:cxn ang="0">
                        <a:pos x="573" y="601"/>
                      </a:cxn>
                      <a:cxn ang="0">
                        <a:pos x="603" y="630"/>
                      </a:cxn>
                      <a:cxn ang="0">
                        <a:pos x="630" y="654"/>
                      </a:cxn>
                      <a:cxn ang="0">
                        <a:pos x="549" y="683"/>
                      </a:cxn>
                      <a:cxn ang="0">
                        <a:pos x="513" y="677"/>
                      </a:cxn>
                      <a:cxn ang="0">
                        <a:pos x="417" y="671"/>
                      </a:cxn>
                      <a:cxn ang="0">
                        <a:pos x="369" y="644"/>
                      </a:cxn>
                      <a:cxn ang="0">
                        <a:pos x="201" y="644"/>
                      </a:cxn>
                      <a:cxn ang="0">
                        <a:pos x="112" y="633"/>
                      </a:cxn>
                      <a:cxn ang="0">
                        <a:pos x="62" y="618"/>
                      </a:cxn>
                      <a:cxn ang="0">
                        <a:pos x="26" y="629"/>
                      </a:cxn>
                      <a:cxn ang="0">
                        <a:pos x="0" y="617"/>
                      </a:cxn>
                    </a:cxnLst>
                    <a:rect l="0" t="0" r="r" b="b"/>
                    <a:pathLst>
                      <a:path w="692" h="684">
                        <a:moveTo>
                          <a:pt x="5" y="597"/>
                        </a:moveTo>
                        <a:lnTo>
                          <a:pt x="5" y="576"/>
                        </a:lnTo>
                        <a:lnTo>
                          <a:pt x="6" y="565"/>
                        </a:lnTo>
                        <a:lnTo>
                          <a:pt x="14" y="557"/>
                        </a:lnTo>
                        <a:lnTo>
                          <a:pt x="21" y="532"/>
                        </a:lnTo>
                        <a:lnTo>
                          <a:pt x="25" y="522"/>
                        </a:lnTo>
                        <a:lnTo>
                          <a:pt x="26" y="508"/>
                        </a:lnTo>
                        <a:lnTo>
                          <a:pt x="30" y="499"/>
                        </a:lnTo>
                        <a:lnTo>
                          <a:pt x="31" y="487"/>
                        </a:lnTo>
                        <a:lnTo>
                          <a:pt x="33" y="481"/>
                        </a:lnTo>
                        <a:lnTo>
                          <a:pt x="36" y="470"/>
                        </a:lnTo>
                        <a:lnTo>
                          <a:pt x="43" y="451"/>
                        </a:lnTo>
                        <a:lnTo>
                          <a:pt x="43" y="444"/>
                        </a:lnTo>
                        <a:lnTo>
                          <a:pt x="47" y="439"/>
                        </a:lnTo>
                        <a:lnTo>
                          <a:pt x="47" y="433"/>
                        </a:lnTo>
                        <a:lnTo>
                          <a:pt x="53" y="418"/>
                        </a:lnTo>
                        <a:lnTo>
                          <a:pt x="63" y="411"/>
                        </a:lnTo>
                        <a:lnTo>
                          <a:pt x="69" y="403"/>
                        </a:lnTo>
                        <a:lnTo>
                          <a:pt x="70" y="391"/>
                        </a:lnTo>
                        <a:lnTo>
                          <a:pt x="90" y="381"/>
                        </a:lnTo>
                        <a:lnTo>
                          <a:pt x="103" y="366"/>
                        </a:lnTo>
                        <a:lnTo>
                          <a:pt x="108" y="358"/>
                        </a:lnTo>
                        <a:lnTo>
                          <a:pt x="113" y="347"/>
                        </a:lnTo>
                        <a:lnTo>
                          <a:pt x="116" y="331"/>
                        </a:lnTo>
                        <a:lnTo>
                          <a:pt x="116" y="315"/>
                        </a:lnTo>
                        <a:lnTo>
                          <a:pt x="118" y="306"/>
                        </a:lnTo>
                        <a:lnTo>
                          <a:pt x="117" y="290"/>
                        </a:lnTo>
                        <a:lnTo>
                          <a:pt x="122" y="283"/>
                        </a:lnTo>
                        <a:lnTo>
                          <a:pt x="117" y="264"/>
                        </a:lnTo>
                        <a:lnTo>
                          <a:pt x="105" y="253"/>
                        </a:lnTo>
                        <a:lnTo>
                          <a:pt x="100" y="242"/>
                        </a:lnTo>
                        <a:lnTo>
                          <a:pt x="95" y="235"/>
                        </a:lnTo>
                        <a:lnTo>
                          <a:pt x="89" y="219"/>
                        </a:lnTo>
                        <a:lnTo>
                          <a:pt x="81" y="188"/>
                        </a:lnTo>
                        <a:lnTo>
                          <a:pt x="81" y="182"/>
                        </a:lnTo>
                        <a:lnTo>
                          <a:pt x="86" y="175"/>
                        </a:lnTo>
                        <a:lnTo>
                          <a:pt x="94" y="169"/>
                        </a:lnTo>
                        <a:lnTo>
                          <a:pt x="94" y="151"/>
                        </a:lnTo>
                        <a:lnTo>
                          <a:pt x="90" y="137"/>
                        </a:lnTo>
                        <a:lnTo>
                          <a:pt x="84" y="128"/>
                        </a:lnTo>
                        <a:lnTo>
                          <a:pt x="73" y="91"/>
                        </a:lnTo>
                        <a:lnTo>
                          <a:pt x="70" y="79"/>
                        </a:lnTo>
                        <a:lnTo>
                          <a:pt x="67" y="70"/>
                        </a:lnTo>
                        <a:lnTo>
                          <a:pt x="53" y="53"/>
                        </a:lnTo>
                        <a:lnTo>
                          <a:pt x="48" y="45"/>
                        </a:lnTo>
                        <a:lnTo>
                          <a:pt x="43" y="36"/>
                        </a:lnTo>
                        <a:lnTo>
                          <a:pt x="40" y="30"/>
                        </a:lnTo>
                        <a:lnTo>
                          <a:pt x="40" y="26"/>
                        </a:lnTo>
                        <a:lnTo>
                          <a:pt x="41" y="24"/>
                        </a:lnTo>
                        <a:lnTo>
                          <a:pt x="47" y="21"/>
                        </a:lnTo>
                        <a:lnTo>
                          <a:pt x="65" y="16"/>
                        </a:lnTo>
                        <a:lnTo>
                          <a:pt x="79" y="9"/>
                        </a:lnTo>
                        <a:lnTo>
                          <a:pt x="92" y="4"/>
                        </a:lnTo>
                        <a:lnTo>
                          <a:pt x="101" y="4"/>
                        </a:lnTo>
                        <a:lnTo>
                          <a:pt x="108" y="3"/>
                        </a:lnTo>
                        <a:lnTo>
                          <a:pt x="132" y="4"/>
                        </a:lnTo>
                        <a:lnTo>
                          <a:pt x="154" y="2"/>
                        </a:lnTo>
                        <a:lnTo>
                          <a:pt x="161" y="4"/>
                        </a:lnTo>
                        <a:lnTo>
                          <a:pt x="180" y="5"/>
                        </a:lnTo>
                        <a:lnTo>
                          <a:pt x="193" y="3"/>
                        </a:lnTo>
                        <a:lnTo>
                          <a:pt x="207" y="3"/>
                        </a:lnTo>
                        <a:lnTo>
                          <a:pt x="240" y="0"/>
                        </a:lnTo>
                        <a:lnTo>
                          <a:pt x="256" y="2"/>
                        </a:lnTo>
                        <a:lnTo>
                          <a:pt x="258" y="3"/>
                        </a:lnTo>
                        <a:lnTo>
                          <a:pt x="263" y="10"/>
                        </a:lnTo>
                        <a:lnTo>
                          <a:pt x="267" y="11"/>
                        </a:lnTo>
                        <a:lnTo>
                          <a:pt x="271" y="10"/>
                        </a:lnTo>
                        <a:lnTo>
                          <a:pt x="275" y="19"/>
                        </a:lnTo>
                        <a:lnTo>
                          <a:pt x="280" y="37"/>
                        </a:lnTo>
                        <a:lnTo>
                          <a:pt x="282" y="51"/>
                        </a:lnTo>
                        <a:lnTo>
                          <a:pt x="283" y="56"/>
                        </a:lnTo>
                        <a:lnTo>
                          <a:pt x="290" y="68"/>
                        </a:lnTo>
                        <a:lnTo>
                          <a:pt x="294" y="84"/>
                        </a:lnTo>
                        <a:lnTo>
                          <a:pt x="306" y="97"/>
                        </a:lnTo>
                        <a:lnTo>
                          <a:pt x="327" y="124"/>
                        </a:lnTo>
                        <a:lnTo>
                          <a:pt x="339" y="129"/>
                        </a:lnTo>
                        <a:lnTo>
                          <a:pt x="353" y="129"/>
                        </a:lnTo>
                        <a:lnTo>
                          <a:pt x="374" y="122"/>
                        </a:lnTo>
                        <a:lnTo>
                          <a:pt x="387" y="119"/>
                        </a:lnTo>
                        <a:lnTo>
                          <a:pt x="404" y="122"/>
                        </a:lnTo>
                        <a:lnTo>
                          <a:pt x="424" y="122"/>
                        </a:lnTo>
                        <a:lnTo>
                          <a:pt x="427" y="107"/>
                        </a:lnTo>
                        <a:lnTo>
                          <a:pt x="428" y="100"/>
                        </a:lnTo>
                        <a:lnTo>
                          <a:pt x="430" y="95"/>
                        </a:lnTo>
                        <a:lnTo>
                          <a:pt x="431" y="91"/>
                        </a:lnTo>
                        <a:lnTo>
                          <a:pt x="433" y="86"/>
                        </a:lnTo>
                        <a:lnTo>
                          <a:pt x="434" y="75"/>
                        </a:lnTo>
                        <a:lnTo>
                          <a:pt x="436" y="67"/>
                        </a:lnTo>
                        <a:lnTo>
                          <a:pt x="479" y="67"/>
                        </a:lnTo>
                        <a:lnTo>
                          <a:pt x="482" y="61"/>
                        </a:lnTo>
                        <a:lnTo>
                          <a:pt x="505" y="61"/>
                        </a:lnTo>
                        <a:lnTo>
                          <a:pt x="504" y="83"/>
                        </a:lnTo>
                        <a:lnTo>
                          <a:pt x="552" y="84"/>
                        </a:lnTo>
                        <a:lnTo>
                          <a:pt x="556" y="88"/>
                        </a:lnTo>
                        <a:lnTo>
                          <a:pt x="558" y="96"/>
                        </a:lnTo>
                        <a:lnTo>
                          <a:pt x="560" y="128"/>
                        </a:lnTo>
                        <a:lnTo>
                          <a:pt x="563" y="140"/>
                        </a:lnTo>
                        <a:lnTo>
                          <a:pt x="563" y="156"/>
                        </a:lnTo>
                        <a:lnTo>
                          <a:pt x="565" y="172"/>
                        </a:lnTo>
                        <a:lnTo>
                          <a:pt x="565" y="178"/>
                        </a:lnTo>
                        <a:lnTo>
                          <a:pt x="562" y="189"/>
                        </a:lnTo>
                        <a:lnTo>
                          <a:pt x="562" y="203"/>
                        </a:lnTo>
                        <a:lnTo>
                          <a:pt x="564" y="212"/>
                        </a:lnTo>
                        <a:lnTo>
                          <a:pt x="573" y="226"/>
                        </a:lnTo>
                        <a:lnTo>
                          <a:pt x="579" y="247"/>
                        </a:lnTo>
                        <a:lnTo>
                          <a:pt x="585" y="263"/>
                        </a:lnTo>
                        <a:lnTo>
                          <a:pt x="585" y="271"/>
                        </a:lnTo>
                        <a:lnTo>
                          <a:pt x="580" y="278"/>
                        </a:lnTo>
                        <a:lnTo>
                          <a:pt x="569" y="289"/>
                        </a:lnTo>
                        <a:lnTo>
                          <a:pt x="569" y="291"/>
                        </a:lnTo>
                        <a:lnTo>
                          <a:pt x="570" y="294"/>
                        </a:lnTo>
                        <a:lnTo>
                          <a:pt x="572" y="295"/>
                        </a:lnTo>
                        <a:lnTo>
                          <a:pt x="575" y="296"/>
                        </a:lnTo>
                        <a:lnTo>
                          <a:pt x="581" y="304"/>
                        </a:lnTo>
                        <a:lnTo>
                          <a:pt x="587" y="305"/>
                        </a:lnTo>
                        <a:lnTo>
                          <a:pt x="590" y="304"/>
                        </a:lnTo>
                        <a:lnTo>
                          <a:pt x="592" y="298"/>
                        </a:lnTo>
                        <a:lnTo>
                          <a:pt x="595" y="290"/>
                        </a:lnTo>
                        <a:lnTo>
                          <a:pt x="600" y="288"/>
                        </a:lnTo>
                        <a:lnTo>
                          <a:pt x="651" y="288"/>
                        </a:lnTo>
                        <a:lnTo>
                          <a:pt x="661" y="284"/>
                        </a:lnTo>
                        <a:lnTo>
                          <a:pt x="670" y="287"/>
                        </a:lnTo>
                        <a:lnTo>
                          <a:pt x="672" y="287"/>
                        </a:lnTo>
                        <a:lnTo>
                          <a:pt x="682" y="279"/>
                        </a:lnTo>
                        <a:lnTo>
                          <a:pt x="683" y="279"/>
                        </a:lnTo>
                        <a:lnTo>
                          <a:pt x="687" y="283"/>
                        </a:lnTo>
                        <a:lnTo>
                          <a:pt x="687" y="287"/>
                        </a:lnTo>
                        <a:lnTo>
                          <a:pt x="686" y="288"/>
                        </a:lnTo>
                        <a:lnTo>
                          <a:pt x="685" y="290"/>
                        </a:lnTo>
                        <a:lnTo>
                          <a:pt x="686" y="300"/>
                        </a:lnTo>
                        <a:lnTo>
                          <a:pt x="686" y="305"/>
                        </a:lnTo>
                        <a:lnTo>
                          <a:pt x="683" y="311"/>
                        </a:lnTo>
                        <a:lnTo>
                          <a:pt x="683" y="323"/>
                        </a:lnTo>
                        <a:lnTo>
                          <a:pt x="681" y="336"/>
                        </a:lnTo>
                        <a:lnTo>
                          <a:pt x="682" y="350"/>
                        </a:lnTo>
                        <a:lnTo>
                          <a:pt x="681" y="364"/>
                        </a:lnTo>
                        <a:lnTo>
                          <a:pt x="678" y="373"/>
                        </a:lnTo>
                        <a:lnTo>
                          <a:pt x="678" y="388"/>
                        </a:lnTo>
                        <a:lnTo>
                          <a:pt x="680" y="392"/>
                        </a:lnTo>
                        <a:lnTo>
                          <a:pt x="683" y="396"/>
                        </a:lnTo>
                        <a:lnTo>
                          <a:pt x="692" y="398"/>
                        </a:lnTo>
                        <a:lnTo>
                          <a:pt x="633" y="398"/>
                        </a:lnTo>
                        <a:lnTo>
                          <a:pt x="573" y="398"/>
                        </a:lnTo>
                        <a:lnTo>
                          <a:pt x="573" y="452"/>
                        </a:lnTo>
                        <a:lnTo>
                          <a:pt x="573" y="508"/>
                        </a:lnTo>
                        <a:lnTo>
                          <a:pt x="573" y="562"/>
                        </a:lnTo>
                        <a:lnTo>
                          <a:pt x="573" y="600"/>
                        </a:lnTo>
                        <a:lnTo>
                          <a:pt x="573" y="601"/>
                        </a:lnTo>
                        <a:lnTo>
                          <a:pt x="580" y="607"/>
                        </a:lnTo>
                        <a:lnTo>
                          <a:pt x="584" y="614"/>
                        </a:lnTo>
                        <a:lnTo>
                          <a:pt x="597" y="623"/>
                        </a:lnTo>
                        <a:lnTo>
                          <a:pt x="603" y="630"/>
                        </a:lnTo>
                        <a:lnTo>
                          <a:pt x="613" y="639"/>
                        </a:lnTo>
                        <a:lnTo>
                          <a:pt x="617" y="644"/>
                        </a:lnTo>
                        <a:lnTo>
                          <a:pt x="626" y="648"/>
                        </a:lnTo>
                        <a:lnTo>
                          <a:pt x="630" y="654"/>
                        </a:lnTo>
                        <a:lnTo>
                          <a:pt x="638" y="659"/>
                        </a:lnTo>
                        <a:lnTo>
                          <a:pt x="635" y="661"/>
                        </a:lnTo>
                        <a:lnTo>
                          <a:pt x="624" y="664"/>
                        </a:lnTo>
                        <a:lnTo>
                          <a:pt x="549" y="683"/>
                        </a:lnTo>
                        <a:lnTo>
                          <a:pt x="541" y="684"/>
                        </a:lnTo>
                        <a:lnTo>
                          <a:pt x="537" y="682"/>
                        </a:lnTo>
                        <a:lnTo>
                          <a:pt x="525" y="681"/>
                        </a:lnTo>
                        <a:lnTo>
                          <a:pt x="513" y="677"/>
                        </a:lnTo>
                        <a:lnTo>
                          <a:pt x="497" y="676"/>
                        </a:lnTo>
                        <a:lnTo>
                          <a:pt x="463" y="669"/>
                        </a:lnTo>
                        <a:lnTo>
                          <a:pt x="436" y="669"/>
                        </a:lnTo>
                        <a:lnTo>
                          <a:pt x="417" y="671"/>
                        </a:lnTo>
                        <a:lnTo>
                          <a:pt x="408" y="671"/>
                        </a:lnTo>
                        <a:lnTo>
                          <a:pt x="391" y="665"/>
                        </a:lnTo>
                        <a:lnTo>
                          <a:pt x="385" y="655"/>
                        </a:lnTo>
                        <a:lnTo>
                          <a:pt x="369" y="644"/>
                        </a:lnTo>
                        <a:lnTo>
                          <a:pt x="349" y="644"/>
                        </a:lnTo>
                        <a:lnTo>
                          <a:pt x="302" y="644"/>
                        </a:lnTo>
                        <a:lnTo>
                          <a:pt x="255" y="644"/>
                        </a:lnTo>
                        <a:lnTo>
                          <a:pt x="201" y="644"/>
                        </a:lnTo>
                        <a:lnTo>
                          <a:pt x="151" y="644"/>
                        </a:lnTo>
                        <a:lnTo>
                          <a:pt x="133" y="644"/>
                        </a:lnTo>
                        <a:lnTo>
                          <a:pt x="126" y="646"/>
                        </a:lnTo>
                        <a:lnTo>
                          <a:pt x="112" y="633"/>
                        </a:lnTo>
                        <a:lnTo>
                          <a:pt x="99" y="628"/>
                        </a:lnTo>
                        <a:lnTo>
                          <a:pt x="94" y="619"/>
                        </a:lnTo>
                        <a:lnTo>
                          <a:pt x="84" y="618"/>
                        </a:lnTo>
                        <a:lnTo>
                          <a:pt x="62" y="618"/>
                        </a:lnTo>
                        <a:lnTo>
                          <a:pt x="52" y="622"/>
                        </a:lnTo>
                        <a:lnTo>
                          <a:pt x="42" y="632"/>
                        </a:lnTo>
                        <a:lnTo>
                          <a:pt x="36" y="635"/>
                        </a:lnTo>
                        <a:lnTo>
                          <a:pt x="26" y="629"/>
                        </a:lnTo>
                        <a:lnTo>
                          <a:pt x="15" y="638"/>
                        </a:lnTo>
                        <a:lnTo>
                          <a:pt x="4" y="644"/>
                        </a:lnTo>
                        <a:lnTo>
                          <a:pt x="4" y="638"/>
                        </a:lnTo>
                        <a:lnTo>
                          <a:pt x="0" y="617"/>
                        </a:lnTo>
                        <a:lnTo>
                          <a:pt x="0" y="606"/>
                        </a:lnTo>
                        <a:lnTo>
                          <a:pt x="5" y="608"/>
                        </a:lnTo>
                        <a:lnTo>
                          <a:pt x="5" y="597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US" dirty="0">
                      <a:latin typeface="+mj-ea"/>
                      <a:ea typeface="+mj-ea"/>
                    </a:endParaRPr>
                  </a:p>
                </p:txBody>
              </p:sp>
              <p:sp>
                <p:nvSpPr>
                  <p:cNvPr id="170" name="Freeform 27"/>
                  <p:cNvSpPr>
                    <a:spLocks noChangeAspect="1"/>
                  </p:cNvSpPr>
                  <p:nvPr/>
                </p:nvSpPr>
                <p:spPr bwMode="gray">
                  <a:xfrm>
                    <a:off x="2647" y="2535"/>
                    <a:ext cx="11" cy="16"/>
                  </a:xfrm>
                  <a:custGeom>
                    <a:avLst/>
                    <a:gdLst/>
                    <a:ahLst/>
                    <a:cxnLst>
                      <a:cxn ang="0">
                        <a:pos x="56" y="14"/>
                      </a:cxn>
                      <a:cxn ang="0">
                        <a:pos x="51" y="3"/>
                      </a:cxn>
                      <a:cxn ang="0">
                        <a:pos x="41" y="0"/>
                      </a:cxn>
                      <a:cxn ang="0">
                        <a:pos x="31" y="5"/>
                      </a:cxn>
                      <a:cxn ang="0">
                        <a:pos x="24" y="19"/>
                      </a:cxn>
                      <a:cxn ang="0">
                        <a:pos x="14" y="25"/>
                      </a:cxn>
                      <a:cxn ang="0">
                        <a:pos x="0" y="35"/>
                      </a:cxn>
                      <a:cxn ang="0">
                        <a:pos x="5" y="40"/>
                      </a:cxn>
                      <a:cxn ang="0">
                        <a:pos x="8" y="55"/>
                      </a:cxn>
                      <a:cxn ang="0">
                        <a:pos x="8" y="64"/>
                      </a:cxn>
                      <a:cxn ang="0">
                        <a:pos x="9" y="71"/>
                      </a:cxn>
                      <a:cxn ang="0">
                        <a:pos x="18" y="78"/>
                      </a:cxn>
                      <a:cxn ang="0">
                        <a:pos x="26" y="73"/>
                      </a:cxn>
                      <a:cxn ang="0">
                        <a:pos x="27" y="61"/>
                      </a:cxn>
                      <a:cxn ang="0">
                        <a:pos x="30" y="46"/>
                      </a:cxn>
                      <a:cxn ang="0">
                        <a:pos x="34" y="30"/>
                      </a:cxn>
                      <a:cxn ang="0">
                        <a:pos x="43" y="22"/>
                      </a:cxn>
                      <a:cxn ang="0">
                        <a:pos x="52" y="16"/>
                      </a:cxn>
                      <a:cxn ang="0">
                        <a:pos x="56" y="14"/>
                      </a:cxn>
                    </a:cxnLst>
                    <a:rect l="0" t="0" r="r" b="b"/>
                    <a:pathLst>
                      <a:path w="56" h="78">
                        <a:moveTo>
                          <a:pt x="56" y="14"/>
                        </a:moveTo>
                        <a:lnTo>
                          <a:pt x="51" y="3"/>
                        </a:lnTo>
                        <a:lnTo>
                          <a:pt x="41" y="0"/>
                        </a:lnTo>
                        <a:lnTo>
                          <a:pt x="31" y="5"/>
                        </a:lnTo>
                        <a:lnTo>
                          <a:pt x="24" y="19"/>
                        </a:lnTo>
                        <a:lnTo>
                          <a:pt x="14" y="25"/>
                        </a:lnTo>
                        <a:lnTo>
                          <a:pt x="0" y="35"/>
                        </a:lnTo>
                        <a:lnTo>
                          <a:pt x="5" y="40"/>
                        </a:lnTo>
                        <a:lnTo>
                          <a:pt x="8" y="55"/>
                        </a:lnTo>
                        <a:lnTo>
                          <a:pt x="8" y="64"/>
                        </a:lnTo>
                        <a:lnTo>
                          <a:pt x="9" y="71"/>
                        </a:lnTo>
                        <a:lnTo>
                          <a:pt x="18" y="78"/>
                        </a:lnTo>
                        <a:lnTo>
                          <a:pt x="26" y="73"/>
                        </a:lnTo>
                        <a:lnTo>
                          <a:pt x="27" y="61"/>
                        </a:lnTo>
                        <a:lnTo>
                          <a:pt x="30" y="46"/>
                        </a:lnTo>
                        <a:lnTo>
                          <a:pt x="34" y="30"/>
                        </a:lnTo>
                        <a:lnTo>
                          <a:pt x="43" y="22"/>
                        </a:lnTo>
                        <a:lnTo>
                          <a:pt x="52" y="16"/>
                        </a:lnTo>
                        <a:lnTo>
                          <a:pt x="56" y="14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US" dirty="0">
                      <a:latin typeface="+mj-ea"/>
                      <a:ea typeface="+mj-ea"/>
                    </a:endParaRPr>
                  </a:p>
                </p:txBody>
              </p:sp>
            </p:grpSp>
            <p:sp>
              <p:nvSpPr>
                <p:cNvPr id="140" name="Freeform 28"/>
                <p:cNvSpPr>
                  <a:spLocks noChangeAspect="1"/>
                </p:cNvSpPr>
                <p:nvPr/>
              </p:nvSpPr>
              <p:spPr bwMode="gray">
                <a:xfrm>
                  <a:off x="5231605" y="4207222"/>
                  <a:ext cx="39688" cy="41275"/>
                </a:xfrm>
                <a:custGeom>
                  <a:avLst/>
                  <a:gdLst/>
                  <a:ahLst/>
                  <a:cxnLst>
                    <a:cxn ang="0">
                      <a:pos x="125" y="52"/>
                    </a:cxn>
                    <a:cxn ang="0">
                      <a:pos x="127" y="49"/>
                    </a:cxn>
                    <a:cxn ang="0">
                      <a:pos x="126" y="58"/>
                    </a:cxn>
                    <a:cxn ang="0">
                      <a:pos x="103" y="98"/>
                    </a:cxn>
                    <a:cxn ang="0">
                      <a:pos x="73" y="109"/>
                    </a:cxn>
                    <a:cxn ang="0">
                      <a:pos x="63" y="125"/>
                    </a:cxn>
                    <a:cxn ang="0">
                      <a:pos x="55" y="129"/>
                    </a:cxn>
                    <a:cxn ang="0">
                      <a:pos x="43" y="131"/>
                    </a:cxn>
                    <a:cxn ang="0">
                      <a:pos x="23" y="113"/>
                    </a:cxn>
                    <a:cxn ang="0">
                      <a:pos x="11" y="100"/>
                    </a:cxn>
                    <a:cxn ang="0">
                      <a:pos x="5" y="88"/>
                    </a:cxn>
                    <a:cxn ang="0">
                      <a:pos x="0" y="74"/>
                    </a:cxn>
                    <a:cxn ang="0">
                      <a:pos x="2" y="61"/>
                    </a:cxn>
                    <a:cxn ang="0">
                      <a:pos x="28" y="27"/>
                    </a:cxn>
                    <a:cxn ang="0">
                      <a:pos x="40" y="16"/>
                    </a:cxn>
                    <a:cxn ang="0">
                      <a:pos x="68" y="1"/>
                    </a:cxn>
                    <a:cxn ang="0">
                      <a:pos x="83" y="0"/>
                    </a:cxn>
                    <a:cxn ang="0">
                      <a:pos x="95" y="6"/>
                    </a:cxn>
                    <a:cxn ang="0">
                      <a:pos x="105" y="18"/>
                    </a:cxn>
                    <a:cxn ang="0">
                      <a:pos x="113" y="29"/>
                    </a:cxn>
                    <a:cxn ang="0">
                      <a:pos x="121" y="42"/>
                    </a:cxn>
                    <a:cxn ang="0">
                      <a:pos x="125" y="52"/>
                    </a:cxn>
                  </a:cxnLst>
                  <a:rect l="0" t="0" r="r" b="b"/>
                  <a:pathLst>
                    <a:path w="127" h="131">
                      <a:moveTo>
                        <a:pt x="125" y="52"/>
                      </a:moveTo>
                      <a:lnTo>
                        <a:pt x="127" y="49"/>
                      </a:lnTo>
                      <a:lnTo>
                        <a:pt x="126" y="58"/>
                      </a:lnTo>
                      <a:lnTo>
                        <a:pt x="103" y="98"/>
                      </a:lnTo>
                      <a:lnTo>
                        <a:pt x="73" y="109"/>
                      </a:lnTo>
                      <a:lnTo>
                        <a:pt x="63" y="125"/>
                      </a:lnTo>
                      <a:lnTo>
                        <a:pt x="55" y="129"/>
                      </a:lnTo>
                      <a:lnTo>
                        <a:pt x="43" y="131"/>
                      </a:lnTo>
                      <a:lnTo>
                        <a:pt x="23" y="113"/>
                      </a:lnTo>
                      <a:lnTo>
                        <a:pt x="11" y="100"/>
                      </a:lnTo>
                      <a:lnTo>
                        <a:pt x="5" y="88"/>
                      </a:lnTo>
                      <a:lnTo>
                        <a:pt x="0" y="74"/>
                      </a:lnTo>
                      <a:lnTo>
                        <a:pt x="2" y="61"/>
                      </a:lnTo>
                      <a:lnTo>
                        <a:pt x="28" y="27"/>
                      </a:lnTo>
                      <a:lnTo>
                        <a:pt x="40" y="16"/>
                      </a:lnTo>
                      <a:lnTo>
                        <a:pt x="68" y="1"/>
                      </a:lnTo>
                      <a:lnTo>
                        <a:pt x="83" y="0"/>
                      </a:lnTo>
                      <a:lnTo>
                        <a:pt x="95" y="6"/>
                      </a:lnTo>
                      <a:lnTo>
                        <a:pt x="105" y="18"/>
                      </a:lnTo>
                      <a:lnTo>
                        <a:pt x="113" y="29"/>
                      </a:lnTo>
                      <a:lnTo>
                        <a:pt x="121" y="42"/>
                      </a:lnTo>
                      <a:lnTo>
                        <a:pt x="125" y="5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41" name="Freeform 29"/>
                <p:cNvSpPr>
                  <a:spLocks noChangeAspect="1"/>
                </p:cNvSpPr>
                <p:nvPr/>
              </p:nvSpPr>
              <p:spPr bwMode="gray">
                <a:xfrm>
                  <a:off x="5142705" y="3834159"/>
                  <a:ext cx="203200" cy="174625"/>
                </a:xfrm>
                <a:custGeom>
                  <a:avLst/>
                  <a:gdLst/>
                  <a:ahLst/>
                  <a:cxnLst>
                    <a:cxn ang="0">
                      <a:pos x="0" y="320"/>
                    </a:cxn>
                    <a:cxn ang="0">
                      <a:pos x="110" y="264"/>
                    </a:cxn>
                    <a:cxn ang="0">
                      <a:pos x="108" y="232"/>
                    </a:cxn>
                    <a:cxn ang="0">
                      <a:pos x="110" y="179"/>
                    </a:cxn>
                    <a:cxn ang="0">
                      <a:pos x="113" y="156"/>
                    </a:cxn>
                    <a:cxn ang="0">
                      <a:pos x="120" y="145"/>
                    </a:cxn>
                    <a:cxn ang="0">
                      <a:pos x="132" y="168"/>
                    </a:cxn>
                    <a:cxn ang="0">
                      <a:pos x="156" y="166"/>
                    </a:cxn>
                    <a:cxn ang="0">
                      <a:pos x="183" y="178"/>
                    </a:cxn>
                    <a:cxn ang="0">
                      <a:pos x="231" y="205"/>
                    </a:cxn>
                    <a:cxn ang="0">
                      <a:pos x="274" y="196"/>
                    </a:cxn>
                    <a:cxn ang="0">
                      <a:pos x="323" y="226"/>
                    </a:cxn>
                    <a:cxn ang="0">
                      <a:pos x="350" y="252"/>
                    </a:cxn>
                    <a:cxn ang="0">
                      <a:pos x="397" y="277"/>
                    </a:cxn>
                    <a:cxn ang="0">
                      <a:pos x="411" y="275"/>
                    </a:cxn>
                    <a:cxn ang="0">
                      <a:pos x="426" y="281"/>
                    </a:cxn>
                    <a:cxn ang="0">
                      <a:pos x="421" y="223"/>
                    </a:cxn>
                    <a:cxn ang="0">
                      <a:pos x="383" y="225"/>
                    </a:cxn>
                    <a:cxn ang="0">
                      <a:pos x="358" y="199"/>
                    </a:cxn>
                    <a:cxn ang="0">
                      <a:pos x="377" y="131"/>
                    </a:cxn>
                    <a:cxn ang="0">
                      <a:pos x="370" y="66"/>
                    </a:cxn>
                    <a:cxn ang="0">
                      <a:pos x="379" y="37"/>
                    </a:cxn>
                    <a:cxn ang="0">
                      <a:pos x="397" y="17"/>
                    </a:cxn>
                    <a:cxn ang="0">
                      <a:pos x="470" y="13"/>
                    </a:cxn>
                    <a:cxn ang="0">
                      <a:pos x="494" y="33"/>
                    </a:cxn>
                    <a:cxn ang="0">
                      <a:pos x="526" y="32"/>
                    </a:cxn>
                    <a:cxn ang="0">
                      <a:pos x="575" y="57"/>
                    </a:cxn>
                    <a:cxn ang="0">
                      <a:pos x="603" y="67"/>
                    </a:cxn>
                    <a:cxn ang="0">
                      <a:pos x="605" y="82"/>
                    </a:cxn>
                    <a:cxn ang="0">
                      <a:pos x="626" y="107"/>
                    </a:cxn>
                    <a:cxn ang="0">
                      <a:pos x="640" y="139"/>
                    </a:cxn>
                    <a:cxn ang="0">
                      <a:pos x="625" y="151"/>
                    </a:cxn>
                    <a:cxn ang="0">
                      <a:pos x="620" y="194"/>
                    </a:cxn>
                    <a:cxn ang="0">
                      <a:pos x="624" y="231"/>
                    </a:cxn>
                    <a:cxn ang="0">
                      <a:pos x="619" y="243"/>
                    </a:cxn>
                    <a:cxn ang="0">
                      <a:pos x="603" y="265"/>
                    </a:cxn>
                    <a:cxn ang="0">
                      <a:pos x="589" y="306"/>
                    </a:cxn>
                    <a:cxn ang="0">
                      <a:pos x="608" y="322"/>
                    </a:cxn>
                    <a:cxn ang="0">
                      <a:pos x="438" y="383"/>
                    </a:cxn>
                    <a:cxn ang="0">
                      <a:pos x="452" y="416"/>
                    </a:cxn>
                    <a:cxn ang="0">
                      <a:pos x="424" y="414"/>
                    </a:cxn>
                    <a:cxn ang="0">
                      <a:pos x="385" y="425"/>
                    </a:cxn>
                    <a:cxn ang="0">
                      <a:pos x="365" y="442"/>
                    </a:cxn>
                    <a:cxn ang="0">
                      <a:pos x="363" y="464"/>
                    </a:cxn>
                    <a:cxn ang="0">
                      <a:pos x="336" y="469"/>
                    </a:cxn>
                    <a:cxn ang="0">
                      <a:pos x="315" y="481"/>
                    </a:cxn>
                    <a:cxn ang="0">
                      <a:pos x="303" y="491"/>
                    </a:cxn>
                    <a:cxn ang="0">
                      <a:pos x="285" y="524"/>
                    </a:cxn>
                    <a:cxn ang="0">
                      <a:pos x="264" y="549"/>
                    </a:cxn>
                    <a:cxn ang="0">
                      <a:pos x="245" y="546"/>
                    </a:cxn>
                    <a:cxn ang="0">
                      <a:pos x="211" y="546"/>
                    </a:cxn>
                    <a:cxn ang="0">
                      <a:pos x="172" y="539"/>
                    </a:cxn>
                    <a:cxn ang="0">
                      <a:pos x="139" y="518"/>
                    </a:cxn>
                    <a:cxn ang="0">
                      <a:pos x="65" y="527"/>
                    </a:cxn>
                    <a:cxn ang="0">
                      <a:pos x="40" y="507"/>
                    </a:cxn>
                    <a:cxn ang="0">
                      <a:pos x="7" y="475"/>
                    </a:cxn>
                  </a:cxnLst>
                  <a:rect l="0" t="0" r="r" b="b"/>
                  <a:pathLst>
                    <a:path w="640" h="552">
                      <a:moveTo>
                        <a:pt x="0" y="468"/>
                      </a:moveTo>
                      <a:lnTo>
                        <a:pt x="0" y="430"/>
                      </a:lnTo>
                      <a:lnTo>
                        <a:pt x="0" y="376"/>
                      </a:lnTo>
                      <a:lnTo>
                        <a:pt x="0" y="320"/>
                      </a:lnTo>
                      <a:lnTo>
                        <a:pt x="0" y="266"/>
                      </a:lnTo>
                      <a:lnTo>
                        <a:pt x="60" y="266"/>
                      </a:lnTo>
                      <a:lnTo>
                        <a:pt x="119" y="266"/>
                      </a:lnTo>
                      <a:lnTo>
                        <a:pt x="110" y="264"/>
                      </a:lnTo>
                      <a:lnTo>
                        <a:pt x="107" y="260"/>
                      </a:lnTo>
                      <a:lnTo>
                        <a:pt x="105" y="256"/>
                      </a:lnTo>
                      <a:lnTo>
                        <a:pt x="105" y="241"/>
                      </a:lnTo>
                      <a:lnTo>
                        <a:pt x="108" y="232"/>
                      </a:lnTo>
                      <a:lnTo>
                        <a:pt x="109" y="218"/>
                      </a:lnTo>
                      <a:lnTo>
                        <a:pt x="108" y="204"/>
                      </a:lnTo>
                      <a:lnTo>
                        <a:pt x="110" y="191"/>
                      </a:lnTo>
                      <a:lnTo>
                        <a:pt x="110" y="179"/>
                      </a:lnTo>
                      <a:lnTo>
                        <a:pt x="113" y="173"/>
                      </a:lnTo>
                      <a:lnTo>
                        <a:pt x="113" y="168"/>
                      </a:lnTo>
                      <a:lnTo>
                        <a:pt x="112" y="158"/>
                      </a:lnTo>
                      <a:lnTo>
                        <a:pt x="113" y="156"/>
                      </a:lnTo>
                      <a:lnTo>
                        <a:pt x="114" y="155"/>
                      </a:lnTo>
                      <a:lnTo>
                        <a:pt x="114" y="151"/>
                      </a:lnTo>
                      <a:lnTo>
                        <a:pt x="110" y="147"/>
                      </a:lnTo>
                      <a:lnTo>
                        <a:pt x="120" y="145"/>
                      </a:lnTo>
                      <a:lnTo>
                        <a:pt x="124" y="145"/>
                      </a:lnTo>
                      <a:lnTo>
                        <a:pt x="126" y="146"/>
                      </a:lnTo>
                      <a:lnTo>
                        <a:pt x="132" y="156"/>
                      </a:lnTo>
                      <a:lnTo>
                        <a:pt x="132" y="168"/>
                      </a:lnTo>
                      <a:lnTo>
                        <a:pt x="134" y="173"/>
                      </a:lnTo>
                      <a:lnTo>
                        <a:pt x="137" y="173"/>
                      </a:lnTo>
                      <a:lnTo>
                        <a:pt x="151" y="167"/>
                      </a:lnTo>
                      <a:lnTo>
                        <a:pt x="156" y="166"/>
                      </a:lnTo>
                      <a:lnTo>
                        <a:pt x="162" y="166"/>
                      </a:lnTo>
                      <a:lnTo>
                        <a:pt x="173" y="161"/>
                      </a:lnTo>
                      <a:lnTo>
                        <a:pt x="179" y="169"/>
                      </a:lnTo>
                      <a:lnTo>
                        <a:pt x="183" y="178"/>
                      </a:lnTo>
                      <a:lnTo>
                        <a:pt x="188" y="184"/>
                      </a:lnTo>
                      <a:lnTo>
                        <a:pt x="201" y="190"/>
                      </a:lnTo>
                      <a:lnTo>
                        <a:pt x="213" y="198"/>
                      </a:lnTo>
                      <a:lnTo>
                        <a:pt x="231" y="205"/>
                      </a:lnTo>
                      <a:lnTo>
                        <a:pt x="243" y="206"/>
                      </a:lnTo>
                      <a:lnTo>
                        <a:pt x="252" y="204"/>
                      </a:lnTo>
                      <a:lnTo>
                        <a:pt x="264" y="199"/>
                      </a:lnTo>
                      <a:lnTo>
                        <a:pt x="274" y="196"/>
                      </a:lnTo>
                      <a:lnTo>
                        <a:pt x="279" y="198"/>
                      </a:lnTo>
                      <a:lnTo>
                        <a:pt x="298" y="216"/>
                      </a:lnTo>
                      <a:lnTo>
                        <a:pt x="312" y="222"/>
                      </a:lnTo>
                      <a:lnTo>
                        <a:pt x="323" y="226"/>
                      </a:lnTo>
                      <a:lnTo>
                        <a:pt x="334" y="227"/>
                      </a:lnTo>
                      <a:lnTo>
                        <a:pt x="341" y="233"/>
                      </a:lnTo>
                      <a:lnTo>
                        <a:pt x="346" y="245"/>
                      </a:lnTo>
                      <a:lnTo>
                        <a:pt x="350" y="252"/>
                      </a:lnTo>
                      <a:lnTo>
                        <a:pt x="363" y="264"/>
                      </a:lnTo>
                      <a:lnTo>
                        <a:pt x="377" y="272"/>
                      </a:lnTo>
                      <a:lnTo>
                        <a:pt x="387" y="276"/>
                      </a:lnTo>
                      <a:lnTo>
                        <a:pt x="397" y="277"/>
                      </a:lnTo>
                      <a:lnTo>
                        <a:pt x="400" y="277"/>
                      </a:lnTo>
                      <a:lnTo>
                        <a:pt x="406" y="275"/>
                      </a:lnTo>
                      <a:lnTo>
                        <a:pt x="410" y="274"/>
                      </a:lnTo>
                      <a:lnTo>
                        <a:pt x="411" y="275"/>
                      </a:lnTo>
                      <a:lnTo>
                        <a:pt x="416" y="282"/>
                      </a:lnTo>
                      <a:lnTo>
                        <a:pt x="420" y="283"/>
                      </a:lnTo>
                      <a:lnTo>
                        <a:pt x="424" y="283"/>
                      </a:lnTo>
                      <a:lnTo>
                        <a:pt x="426" y="281"/>
                      </a:lnTo>
                      <a:lnTo>
                        <a:pt x="426" y="274"/>
                      </a:lnTo>
                      <a:lnTo>
                        <a:pt x="425" y="266"/>
                      </a:lnTo>
                      <a:lnTo>
                        <a:pt x="424" y="231"/>
                      </a:lnTo>
                      <a:lnTo>
                        <a:pt x="421" y="223"/>
                      </a:lnTo>
                      <a:lnTo>
                        <a:pt x="415" y="222"/>
                      </a:lnTo>
                      <a:lnTo>
                        <a:pt x="406" y="227"/>
                      </a:lnTo>
                      <a:lnTo>
                        <a:pt x="395" y="225"/>
                      </a:lnTo>
                      <a:lnTo>
                        <a:pt x="383" y="225"/>
                      </a:lnTo>
                      <a:lnTo>
                        <a:pt x="376" y="220"/>
                      </a:lnTo>
                      <a:lnTo>
                        <a:pt x="366" y="207"/>
                      </a:lnTo>
                      <a:lnTo>
                        <a:pt x="360" y="201"/>
                      </a:lnTo>
                      <a:lnTo>
                        <a:pt x="358" y="199"/>
                      </a:lnTo>
                      <a:lnTo>
                        <a:pt x="357" y="189"/>
                      </a:lnTo>
                      <a:lnTo>
                        <a:pt x="360" y="182"/>
                      </a:lnTo>
                      <a:lnTo>
                        <a:pt x="362" y="170"/>
                      </a:lnTo>
                      <a:lnTo>
                        <a:pt x="377" y="131"/>
                      </a:lnTo>
                      <a:lnTo>
                        <a:pt x="378" y="124"/>
                      </a:lnTo>
                      <a:lnTo>
                        <a:pt x="379" y="99"/>
                      </a:lnTo>
                      <a:lnTo>
                        <a:pt x="377" y="85"/>
                      </a:lnTo>
                      <a:lnTo>
                        <a:pt x="370" y="66"/>
                      </a:lnTo>
                      <a:lnTo>
                        <a:pt x="370" y="56"/>
                      </a:lnTo>
                      <a:lnTo>
                        <a:pt x="372" y="53"/>
                      </a:lnTo>
                      <a:lnTo>
                        <a:pt x="374" y="44"/>
                      </a:lnTo>
                      <a:lnTo>
                        <a:pt x="379" y="37"/>
                      </a:lnTo>
                      <a:lnTo>
                        <a:pt x="387" y="23"/>
                      </a:lnTo>
                      <a:lnTo>
                        <a:pt x="389" y="21"/>
                      </a:lnTo>
                      <a:lnTo>
                        <a:pt x="394" y="17"/>
                      </a:lnTo>
                      <a:lnTo>
                        <a:pt x="397" y="17"/>
                      </a:lnTo>
                      <a:lnTo>
                        <a:pt x="406" y="13"/>
                      </a:lnTo>
                      <a:lnTo>
                        <a:pt x="468" y="0"/>
                      </a:lnTo>
                      <a:lnTo>
                        <a:pt x="471" y="6"/>
                      </a:lnTo>
                      <a:lnTo>
                        <a:pt x="470" y="13"/>
                      </a:lnTo>
                      <a:lnTo>
                        <a:pt x="471" y="22"/>
                      </a:lnTo>
                      <a:lnTo>
                        <a:pt x="475" y="23"/>
                      </a:lnTo>
                      <a:lnTo>
                        <a:pt x="483" y="24"/>
                      </a:lnTo>
                      <a:lnTo>
                        <a:pt x="494" y="33"/>
                      </a:lnTo>
                      <a:lnTo>
                        <a:pt x="502" y="22"/>
                      </a:lnTo>
                      <a:lnTo>
                        <a:pt x="508" y="21"/>
                      </a:lnTo>
                      <a:lnTo>
                        <a:pt x="516" y="23"/>
                      </a:lnTo>
                      <a:lnTo>
                        <a:pt x="526" y="32"/>
                      </a:lnTo>
                      <a:lnTo>
                        <a:pt x="530" y="39"/>
                      </a:lnTo>
                      <a:lnTo>
                        <a:pt x="538" y="43"/>
                      </a:lnTo>
                      <a:lnTo>
                        <a:pt x="546" y="45"/>
                      </a:lnTo>
                      <a:lnTo>
                        <a:pt x="575" y="57"/>
                      </a:lnTo>
                      <a:lnTo>
                        <a:pt x="586" y="61"/>
                      </a:lnTo>
                      <a:lnTo>
                        <a:pt x="597" y="61"/>
                      </a:lnTo>
                      <a:lnTo>
                        <a:pt x="599" y="64"/>
                      </a:lnTo>
                      <a:lnTo>
                        <a:pt x="603" y="67"/>
                      </a:lnTo>
                      <a:lnTo>
                        <a:pt x="602" y="70"/>
                      </a:lnTo>
                      <a:lnTo>
                        <a:pt x="602" y="75"/>
                      </a:lnTo>
                      <a:lnTo>
                        <a:pt x="603" y="76"/>
                      </a:lnTo>
                      <a:lnTo>
                        <a:pt x="605" y="82"/>
                      </a:lnTo>
                      <a:lnTo>
                        <a:pt x="614" y="82"/>
                      </a:lnTo>
                      <a:lnTo>
                        <a:pt x="621" y="91"/>
                      </a:lnTo>
                      <a:lnTo>
                        <a:pt x="623" y="96"/>
                      </a:lnTo>
                      <a:lnTo>
                        <a:pt x="626" y="107"/>
                      </a:lnTo>
                      <a:lnTo>
                        <a:pt x="632" y="112"/>
                      </a:lnTo>
                      <a:lnTo>
                        <a:pt x="635" y="130"/>
                      </a:lnTo>
                      <a:lnTo>
                        <a:pt x="639" y="132"/>
                      </a:lnTo>
                      <a:lnTo>
                        <a:pt x="640" y="139"/>
                      </a:lnTo>
                      <a:lnTo>
                        <a:pt x="640" y="142"/>
                      </a:lnTo>
                      <a:lnTo>
                        <a:pt x="631" y="147"/>
                      </a:lnTo>
                      <a:lnTo>
                        <a:pt x="629" y="148"/>
                      </a:lnTo>
                      <a:lnTo>
                        <a:pt x="625" y="151"/>
                      </a:lnTo>
                      <a:lnTo>
                        <a:pt x="624" y="161"/>
                      </a:lnTo>
                      <a:lnTo>
                        <a:pt x="625" y="169"/>
                      </a:lnTo>
                      <a:lnTo>
                        <a:pt x="619" y="186"/>
                      </a:lnTo>
                      <a:lnTo>
                        <a:pt x="620" y="194"/>
                      </a:lnTo>
                      <a:lnTo>
                        <a:pt x="621" y="209"/>
                      </a:lnTo>
                      <a:lnTo>
                        <a:pt x="619" y="223"/>
                      </a:lnTo>
                      <a:lnTo>
                        <a:pt x="620" y="226"/>
                      </a:lnTo>
                      <a:lnTo>
                        <a:pt x="624" y="231"/>
                      </a:lnTo>
                      <a:lnTo>
                        <a:pt x="629" y="233"/>
                      </a:lnTo>
                      <a:lnTo>
                        <a:pt x="630" y="239"/>
                      </a:lnTo>
                      <a:lnTo>
                        <a:pt x="627" y="242"/>
                      </a:lnTo>
                      <a:lnTo>
                        <a:pt x="619" y="243"/>
                      </a:lnTo>
                      <a:lnTo>
                        <a:pt x="613" y="248"/>
                      </a:lnTo>
                      <a:lnTo>
                        <a:pt x="608" y="249"/>
                      </a:lnTo>
                      <a:lnTo>
                        <a:pt x="607" y="250"/>
                      </a:lnTo>
                      <a:lnTo>
                        <a:pt x="603" y="265"/>
                      </a:lnTo>
                      <a:lnTo>
                        <a:pt x="603" y="280"/>
                      </a:lnTo>
                      <a:lnTo>
                        <a:pt x="598" y="295"/>
                      </a:lnTo>
                      <a:lnTo>
                        <a:pt x="591" y="302"/>
                      </a:lnTo>
                      <a:lnTo>
                        <a:pt x="589" y="306"/>
                      </a:lnTo>
                      <a:lnTo>
                        <a:pt x="592" y="314"/>
                      </a:lnTo>
                      <a:lnTo>
                        <a:pt x="597" y="315"/>
                      </a:lnTo>
                      <a:lnTo>
                        <a:pt x="600" y="323"/>
                      </a:lnTo>
                      <a:lnTo>
                        <a:pt x="608" y="322"/>
                      </a:lnTo>
                      <a:lnTo>
                        <a:pt x="612" y="324"/>
                      </a:lnTo>
                      <a:lnTo>
                        <a:pt x="612" y="325"/>
                      </a:lnTo>
                      <a:lnTo>
                        <a:pt x="603" y="326"/>
                      </a:lnTo>
                      <a:lnTo>
                        <a:pt x="438" y="383"/>
                      </a:lnTo>
                      <a:lnTo>
                        <a:pt x="446" y="399"/>
                      </a:lnTo>
                      <a:lnTo>
                        <a:pt x="448" y="411"/>
                      </a:lnTo>
                      <a:lnTo>
                        <a:pt x="453" y="414"/>
                      </a:lnTo>
                      <a:lnTo>
                        <a:pt x="452" y="416"/>
                      </a:lnTo>
                      <a:lnTo>
                        <a:pt x="444" y="415"/>
                      </a:lnTo>
                      <a:lnTo>
                        <a:pt x="436" y="417"/>
                      </a:lnTo>
                      <a:lnTo>
                        <a:pt x="430" y="416"/>
                      </a:lnTo>
                      <a:lnTo>
                        <a:pt x="424" y="414"/>
                      </a:lnTo>
                      <a:lnTo>
                        <a:pt x="420" y="414"/>
                      </a:lnTo>
                      <a:lnTo>
                        <a:pt x="408" y="420"/>
                      </a:lnTo>
                      <a:lnTo>
                        <a:pt x="392" y="421"/>
                      </a:lnTo>
                      <a:lnTo>
                        <a:pt x="385" y="425"/>
                      </a:lnTo>
                      <a:lnTo>
                        <a:pt x="378" y="432"/>
                      </a:lnTo>
                      <a:lnTo>
                        <a:pt x="372" y="432"/>
                      </a:lnTo>
                      <a:lnTo>
                        <a:pt x="366" y="435"/>
                      </a:lnTo>
                      <a:lnTo>
                        <a:pt x="365" y="442"/>
                      </a:lnTo>
                      <a:lnTo>
                        <a:pt x="365" y="451"/>
                      </a:lnTo>
                      <a:lnTo>
                        <a:pt x="366" y="455"/>
                      </a:lnTo>
                      <a:lnTo>
                        <a:pt x="365" y="459"/>
                      </a:lnTo>
                      <a:lnTo>
                        <a:pt x="363" y="464"/>
                      </a:lnTo>
                      <a:lnTo>
                        <a:pt x="362" y="468"/>
                      </a:lnTo>
                      <a:lnTo>
                        <a:pt x="354" y="468"/>
                      </a:lnTo>
                      <a:lnTo>
                        <a:pt x="342" y="467"/>
                      </a:lnTo>
                      <a:lnTo>
                        <a:pt x="336" y="469"/>
                      </a:lnTo>
                      <a:lnTo>
                        <a:pt x="334" y="473"/>
                      </a:lnTo>
                      <a:lnTo>
                        <a:pt x="331" y="473"/>
                      </a:lnTo>
                      <a:lnTo>
                        <a:pt x="324" y="482"/>
                      </a:lnTo>
                      <a:lnTo>
                        <a:pt x="315" y="481"/>
                      </a:lnTo>
                      <a:lnTo>
                        <a:pt x="312" y="482"/>
                      </a:lnTo>
                      <a:lnTo>
                        <a:pt x="309" y="485"/>
                      </a:lnTo>
                      <a:lnTo>
                        <a:pt x="307" y="490"/>
                      </a:lnTo>
                      <a:lnTo>
                        <a:pt x="303" y="491"/>
                      </a:lnTo>
                      <a:lnTo>
                        <a:pt x="297" y="503"/>
                      </a:lnTo>
                      <a:lnTo>
                        <a:pt x="287" y="513"/>
                      </a:lnTo>
                      <a:lnTo>
                        <a:pt x="285" y="518"/>
                      </a:lnTo>
                      <a:lnTo>
                        <a:pt x="285" y="524"/>
                      </a:lnTo>
                      <a:lnTo>
                        <a:pt x="280" y="529"/>
                      </a:lnTo>
                      <a:lnTo>
                        <a:pt x="276" y="532"/>
                      </a:lnTo>
                      <a:lnTo>
                        <a:pt x="270" y="541"/>
                      </a:lnTo>
                      <a:lnTo>
                        <a:pt x="264" y="549"/>
                      </a:lnTo>
                      <a:lnTo>
                        <a:pt x="259" y="549"/>
                      </a:lnTo>
                      <a:lnTo>
                        <a:pt x="252" y="552"/>
                      </a:lnTo>
                      <a:lnTo>
                        <a:pt x="247" y="551"/>
                      </a:lnTo>
                      <a:lnTo>
                        <a:pt x="245" y="546"/>
                      </a:lnTo>
                      <a:lnTo>
                        <a:pt x="241" y="544"/>
                      </a:lnTo>
                      <a:lnTo>
                        <a:pt x="233" y="545"/>
                      </a:lnTo>
                      <a:lnTo>
                        <a:pt x="228" y="544"/>
                      </a:lnTo>
                      <a:lnTo>
                        <a:pt x="211" y="546"/>
                      </a:lnTo>
                      <a:lnTo>
                        <a:pt x="198" y="541"/>
                      </a:lnTo>
                      <a:lnTo>
                        <a:pt x="179" y="543"/>
                      </a:lnTo>
                      <a:lnTo>
                        <a:pt x="174" y="543"/>
                      </a:lnTo>
                      <a:lnTo>
                        <a:pt x="172" y="539"/>
                      </a:lnTo>
                      <a:lnTo>
                        <a:pt x="164" y="537"/>
                      </a:lnTo>
                      <a:lnTo>
                        <a:pt x="157" y="524"/>
                      </a:lnTo>
                      <a:lnTo>
                        <a:pt x="153" y="521"/>
                      </a:lnTo>
                      <a:lnTo>
                        <a:pt x="139" y="518"/>
                      </a:lnTo>
                      <a:lnTo>
                        <a:pt x="118" y="518"/>
                      </a:lnTo>
                      <a:lnTo>
                        <a:pt x="115" y="514"/>
                      </a:lnTo>
                      <a:lnTo>
                        <a:pt x="72" y="525"/>
                      </a:lnTo>
                      <a:lnTo>
                        <a:pt x="65" y="527"/>
                      </a:lnTo>
                      <a:lnTo>
                        <a:pt x="57" y="522"/>
                      </a:lnTo>
                      <a:lnTo>
                        <a:pt x="53" y="516"/>
                      </a:lnTo>
                      <a:lnTo>
                        <a:pt x="44" y="512"/>
                      </a:lnTo>
                      <a:lnTo>
                        <a:pt x="40" y="507"/>
                      </a:lnTo>
                      <a:lnTo>
                        <a:pt x="30" y="498"/>
                      </a:lnTo>
                      <a:lnTo>
                        <a:pt x="24" y="491"/>
                      </a:lnTo>
                      <a:lnTo>
                        <a:pt x="11" y="482"/>
                      </a:lnTo>
                      <a:lnTo>
                        <a:pt x="7" y="475"/>
                      </a:lnTo>
                      <a:lnTo>
                        <a:pt x="0" y="469"/>
                      </a:lnTo>
                      <a:lnTo>
                        <a:pt x="0" y="46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42" name="Freeform 30"/>
                <p:cNvSpPr>
                  <a:spLocks noChangeAspect="1"/>
                </p:cNvSpPr>
                <p:nvPr/>
              </p:nvSpPr>
              <p:spPr bwMode="gray">
                <a:xfrm>
                  <a:off x="5198267" y="3965922"/>
                  <a:ext cx="134938" cy="128588"/>
                </a:xfrm>
                <a:custGeom>
                  <a:avLst/>
                  <a:gdLst/>
                  <a:ahLst/>
                  <a:cxnLst>
                    <a:cxn ang="0">
                      <a:pos x="202" y="60"/>
                    </a:cxn>
                    <a:cxn ang="0">
                      <a:pos x="198" y="66"/>
                    </a:cxn>
                    <a:cxn ang="0">
                      <a:pos x="193" y="70"/>
                    </a:cxn>
                    <a:cxn ang="0">
                      <a:pos x="179" y="66"/>
                    </a:cxn>
                    <a:cxn ang="0">
                      <a:pos x="175" y="71"/>
                    </a:cxn>
                    <a:cxn ang="0">
                      <a:pos x="169" y="70"/>
                    </a:cxn>
                    <a:cxn ang="0">
                      <a:pos x="164" y="72"/>
                    </a:cxn>
                    <a:cxn ang="0">
                      <a:pos x="156" y="78"/>
                    </a:cxn>
                    <a:cxn ang="0">
                      <a:pos x="156" y="83"/>
                    </a:cxn>
                    <a:cxn ang="0">
                      <a:pos x="153" y="86"/>
                    </a:cxn>
                    <a:cxn ang="0">
                      <a:pos x="143" y="87"/>
                    </a:cxn>
                    <a:cxn ang="0">
                      <a:pos x="140" y="93"/>
                    </a:cxn>
                    <a:cxn ang="0">
                      <a:pos x="130" y="100"/>
                    </a:cxn>
                    <a:cxn ang="0">
                      <a:pos x="121" y="110"/>
                    </a:cxn>
                    <a:cxn ang="0">
                      <a:pos x="115" y="115"/>
                    </a:cxn>
                    <a:cxn ang="0">
                      <a:pos x="103" y="129"/>
                    </a:cxn>
                    <a:cxn ang="0">
                      <a:pos x="92" y="135"/>
                    </a:cxn>
                    <a:cxn ang="0">
                      <a:pos x="80" y="138"/>
                    </a:cxn>
                    <a:cxn ang="0">
                      <a:pos x="73" y="132"/>
                    </a:cxn>
                    <a:cxn ang="0">
                      <a:pos x="61" y="131"/>
                    </a:cxn>
                    <a:cxn ang="0">
                      <a:pos x="39" y="132"/>
                    </a:cxn>
                    <a:cxn ang="0">
                      <a:pos x="7" y="129"/>
                    </a:cxn>
                    <a:cxn ang="0">
                      <a:pos x="0" y="125"/>
                    </a:cxn>
                    <a:cxn ang="0">
                      <a:pos x="3" y="140"/>
                    </a:cxn>
                    <a:cxn ang="0">
                      <a:pos x="27" y="172"/>
                    </a:cxn>
                    <a:cxn ang="0">
                      <a:pos x="35" y="197"/>
                    </a:cxn>
                    <a:cxn ang="0">
                      <a:pos x="77" y="247"/>
                    </a:cxn>
                    <a:cxn ang="0">
                      <a:pos x="107" y="260"/>
                    </a:cxn>
                    <a:cxn ang="0">
                      <a:pos x="129" y="279"/>
                    </a:cxn>
                    <a:cxn ang="0">
                      <a:pos x="140" y="308"/>
                    </a:cxn>
                    <a:cxn ang="0">
                      <a:pos x="150" y="341"/>
                    </a:cxn>
                    <a:cxn ang="0">
                      <a:pos x="167" y="355"/>
                    </a:cxn>
                    <a:cxn ang="0">
                      <a:pos x="193" y="357"/>
                    </a:cxn>
                    <a:cxn ang="0">
                      <a:pos x="216" y="367"/>
                    </a:cxn>
                    <a:cxn ang="0">
                      <a:pos x="239" y="371"/>
                    </a:cxn>
                    <a:cxn ang="0">
                      <a:pos x="271" y="380"/>
                    </a:cxn>
                    <a:cxn ang="0">
                      <a:pos x="296" y="380"/>
                    </a:cxn>
                    <a:cxn ang="0">
                      <a:pos x="329" y="388"/>
                    </a:cxn>
                    <a:cxn ang="0">
                      <a:pos x="349" y="404"/>
                    </a:cxn>
                    <a:cxn ang="0">
                      <a:pos x="351" y="404"/>
                    </a:cxn>
                    <a:cxn ang="0">
                      <a:pos x="355" y="377"/>
                    </a:cxn>
                    <a:cxn ang="0">
                      <a:pos x="372" y="360"/>
                    </a:cxn>
                    <a:cxn ang="0">
                      <a:pos x="398" y="318"/>
                    </a:cxn>
                    <a:cxn ang="0">
                      <a:pos x="422" y="251"/>
                    </a:cxn>
                    <a:cxn ang="0">
                      <a:pos x="414" y="211"/>
                    </a:cxn>
                    <a:cxn ang="0">
                      <a:pos x="422" y="175"/>
                    </a:cxn>
                    <a:cxn ang="0">
                      <a:pos x="428" y="151"/>
                    </a:cxn>
                    <a:cxn ang="0">
                      <a:pos x="428" y="105"/>
                    </a:cxn>
                    <a:cxn ang="0">
                      <a:pos x="420" y="73"/>
                    </a:cxn>
                    <a:cxn ang="0">
                      <a:pos x="410" y="50"/>
                    </a:cxn>
                    <a:cxn ang="0">
                      <a:pos x="351" y="27"/>
                    </a:cxn>
                    <a:cxn ang="0">
                      <a:pos x="322" y="19"/>
                    </a:cxn>
                    <a:cxn ang="0">
                      <a:pos x="281" y="19"/>
                    </a:cxn>
                    <a:cxn ang="0">
                      <a:pos x="280" y="2"/>
                    </a:cxn>
                    <a:cxn ang="0">
                      <a:pos x="264" y="3"/>
                    </a:cxn>
                    <a:cxn ang="0">
                      <a:pos x="252" y="0"/>
                    </a:cxn>
                    <a:cxn ang="0">
                      <a:pos x="236" y="6"/>
                    </a:cxn>
                    <a:cxn ang="0">
                      <a:pos x="213" y="11"/>
                    </a:cxn>
                    <a:cxn ang="0">
                      <a:pos x="200" y="18"/>
                    </a:cxn>
                    <a:cxn ang="0">
                      <a:pos x="193" y="28"/>
                    </a:cxn>
                    <a:cxn ang="0">
                      <a:pos x="194" y="41"/>
                    </a:cxn>
                    <a:cxn ang="0">
                      <a:pos x="191" y="50"/>
                    </a:cxn>
                  </a:cxnLst>
                  <a:rect l="0" t="0" r="r" b="b"/>
                  <a:pathLst>
                    <a:path w="428" h="405">
                      <a:moveTo>
                        <a:pt x="190" y="54"/>
                      </a:moveTo>
                      <a:lnTo>
                        <a:pt x="202" y="60"/>
                      </a:lnTo>
                      <a:lnTo>
                        <a:pt x="202" y="64"/>
                      </a:lnTo>
                      <a:lnTo>
                        <a:pt x="198" y="66"/>
                      </a:lnTo>
                      <a:lnTo>
                        <a:pt x="195" y="70"/>
                      </a:lnTo>
                      <a:lnTo>
                        <a:pt x="193" y="70"/>
                      </a:lnTo>
                      <a:lnTo>
                        <a:pt x="184" y="66"/>
                      </a:lnTo>
                      <a:lnTo>
                        <a:pt x="179" y="66"/>
                      </a:lnTo>
                      <a:lnTo>
                        <a:pt x="177" y="67"/>
                      </a:lnTo>
                      <a:lnTo>
                        <a:pt x="175" y="71"/>
                      </a:lnTo>
                      <a:lnTo>
                        <a:pt x="172" y="72"/>
                      </a:lnTo>
                      <a:lnTo>
                        <a:pt x="169" y="70"/>
                      </a:lnTo>
                      <a:lnTo>
                        <a:pt x="167" y="70"/>
                      </a:lnTo>
                      <a:lnTo>
                        <a:pt x="164" y="72"/>
                      </a:lnTo>
                      <a:lnTo>
                        <a:pt x="159" y="75"/>
                      </a:lnTo>
                      <a:lnTo>
                        <a:pt x="156" y="78"/>
                      </a:lnTo>
                      <a:lnTo>
                        <a:pt x="155" y="81"/>
                      </a:lnTo>
                      <a:lnTo>
                        <a:pt x="156" y="83"/>
                      </a:lnTo>
                      <a:lnTo>
                        <a:pt x="155" y="84"/>
                      </a:lnTo>
                      <a:lnTo>
                        <a:pt x="153" y="86"/>
                      </a:lnTo>
                      <a:lnTo>
                        <a:pt x="151" y="83"/>
                      </a:lnTo>
                      <a:lnTo>
                        <a:pt x="143" y="87"/>
                      </a:lnTo>
                      <a:lnTo>
                        <a:pt x="140" y="91"/>
                      </a:lnTo>
                      <a:lnTo>
                        <a:pt x="140" y="93"/>
                      </a:lnTo>
                      <a:lnTo>
                        <a:pt x="135" y="96"/>
                      </a:lnTo>
                      <a:lnTo>
                        <a:pt x="130" y="100"/>
                      </a:lnTo>
                      <a:lnTo>
                        <a:pt x="126" y="107"/>
                      </a:lnTo>
                      <a:lnTo>
                        <a:pt x="121" y="110"/>
                      </a:lnTo>
                      <a:lnTo>
                        <a:pt x="121" y="113"/>
                      </a:lnTo>
                      <a:lnTo>
                        <a:pt x="115" y="115"/>
                      </a:lnTo>
                      <a:lnTo>
                        <a:pt x="110" y="123"/>
                      </a:lnTo>
                      <a:lnTo>
                        <a:pt x="103" y="129"/>
                      </a:lnTo>
                      <a:lnTo>
                        <a:pt x="98" y="127"/>
                      </a:lnTo>
                      <a:lnTo>
                        <a:pt x="92" y="135"/>
                      </a:lnTo>
                      <a:lnTo>
                        <a:pt x="87" y="135"/>
                      </a:lnTo>
                      <a:lnTo>
                        <a:pt x="80" y="138"/>
                      </a:lnTo>
                      <a:lnTo>
                        <a:pt x="75" y="137"/>
                      </a:lnTo>
                      <a:lnTo>
                        <a:pt x="73" y="132"/>
                      </a:lnTo>
                      <a:lnTo>
                        <a:pt x="69" y="130"/>
                      </a:lnTo>
                      <a:lnTo>
                        <a:pt x="61" y="131"/>
                      </a:lnTo>
                      <a:lnTo>
                        <a:pt x="56" y="130"/>
                      </a:lnTo>
                      <a:lnTo>
                        <a:pt x="39" y="132"/>
                      </a:lnTo>
                      <a:lnTo>
                        <a:pt x="26" y="127"/>
                      </a:lnTo>
                      <a:lnTo>
                        <a:pt x="7" y="129"/>
                      </a:lnTo>
                      <a:lnTo>
                        <a:pt x="2" y="129"/>
                      </a:lnTo>
                      <a:lnTo>
                        <a:pt x="0" y="125"/>
                      </a:lnTo>
                      <a:lnTo>
                        <a:pt x="0" y="134"/>
                      </a:lnTo>
                      <a:lnTo>
                        <a:pt x="3" y="140"/>
                      </a:lnTo>
                      <a:lnTo>
                        <a:pt x="16" y="162"/>
                      </a:lnTo>
                      <a:lnTo>
                        <a:pt x="27" y="172"/>
                      </a:lnTo>
                      <a:lnTo>
                        <a:pt x="28" y="183"/>
                      </a:lnTo>
                      <a:lnTo>
                        <a:pt x="35" y="197"/>
                      </a:lnTo>
                      <a:lnTo>
                        <a:pt x="48" y="216"/>
                      </a:lnTo>
                      <a:lnTo>
                        <a:pt x="77" y="247"/>
                      </a:lnTo>
                      <a:lnTo>
                        <a:pt x="94" y="250"/>
                      </a:lnTo>
                      <a:lnTo>
                        <a:pt x="107" y="260"/>
                      </a:lnTo>
                      <a:lnTo>
                        <a:pt x="116" y="274"/>
                      </a:lnTo>
                      <a:lnTo>
                        <a:pt x="129" y="279"/>
                      </a:lnTo>
                      <a:lnTo>
                        <a:pt x="140" y="287"/>
                      </a:lnTo>
                      <a:lnTo>
                        <a:pt x="140" y="308"/>
                      </a:lnTo>
                      <a:lnTo>
                        <a:pt x="143" y="328"/>
                      </a:lnTo>
                      <a:lnTo>
                        <a:pt x="150" y="341"/>
                      </a:lnTo>
                      <a:lnTo>
                        <a:pt x="158" y="350"/>
                      </a:lnTo>
                      <a:lnTo>
                        <a:pt x="167" y="355"/>
                      </a:lnTo>
                      <a:lnTo>
                        <a:pt x="180" y="357"/>
                      </a:lnTo>
                      <a:lnTo>
                        <a:pt x="193" y="357"/>
                      </a:lnTo>
                      <a:lnTo>
                        <a:pt x="206" y="363"/>
                      </a:lnTo>
                      <a:lnTo>
                        <a:pt x="216" y="367"/>
                      </a:lnTo>
                      <a:lnTo>
                        <a:pt x="227" y="376"/>
                      </a:lnTo>
                      <a:lnTo>
                        <a:pt x="239" y="371"/>
                      </a:lnTo>
                      <a:lnTo>
                        <a:pt x="248" y="373"/>
                      </a:lnTo>
                      <a:lnTo>
                        <a:pt x="271" y="380"/>
                      </a:lnTo>
                      <a:lnTo>
                        <a:pt x="283" y="383"/>
                      </a:lnTo>
                      <a:lnTo>
                        <a:pt x="296" y="380"/>
                      </a:lnTo>
                      <a:lnTo>
                        <a:pt x="308" y="382"/>
                      </a:lnTo>
                      <a:lnTo>
                        <a:pt x="329" y="388"/>
                      </a:lnTo>
                      <a:lnTo>
                        <a:pt x="344" y="403"/>
                      </a:lnTo>
                      <a:lnTo>
                        <a:pt x="349" y="404"/>
                      </a:lnTo>
                      <a:lnTo>
                        <a:pt x="350" y="405"/>
                      </a:lnTo>
                      <a:lnTo>
                        <a:pt x="351" y="404"/>
                      </a:lnTo>
                      <a:lnTo>
                        <a:pt x="351" y="389"/>
                      </a:lnTo>
                      <a:lnTo>
                        <a:pt x="355" y="377"/>
                      </a:lnTo>
                      <a:lnTo>
                        <a:pt x="361" y="367"/>
                      </a:lnTo>
                      <a:lnTo>
                        <a:pt x="372" y="360"/>
                      </a:lnTo>
                      <a:lnTo>
                        <a:pt x="379" y="352"/>
                      </a:lnTo>
                      <a:lnTo>
                        <a:pt x="398" y="318"/>
                      </a:lnTo>
                      <a:lnTo>
                        <a:pt x="405" y="287"/>
                      </a:lnTo>
                      <a:lnTo>
                        <a:pt x="422" y="251"/>
                      </a:lnTo>
                      <a:lnTo>
                        <a:pt x="419" y="224"/>
                      </a:lnTo>
                      <a:lnTo>
                        <a:pt x="414" y="211"/>
                      </a:lnTo>
                      <a:lnTo>
                        <a:pt x="412" y="194"/>
                      </a:lnTo>
                      <a:lnTo>
                        <a:pt x="422" y="175"/>
                      </a:lnTo>
                      <a:lnTo>
                        <a:pt x="424" y="167"/>
                      </a:lnTo>
                      <a:lnTo>
                        <a:pt x="428" y="151"/>
                      </a:lnTo>
                      <a:lnTo>
                        <a:pt x="427" y="140"/>
                      </a:lnTo>
                      <a:lnTo>
                        <a:pt x="428" y="105"/>
                      </a:lnTo>
                      <a:lnTo>
                        <a:pt x="424" y="83"/>
                      </a:lnTo>
                      <a:lnTo>
                        <a:pt x="420" y="73"/>
                      </a:lnTo>
                      <a:lnTo>
                        <a:pt x="419" y="60"/>
                      </a:lnTo>
                      <a:lnTo>
                        <a:pt x="410" y="50"/>
                      </a:lnTo>
                      <a:lnTo>
                        <a:pt x="379" y="39"/>
                      </a:lnTo>
                      <a:lnTo>
                        <a:pt x="351" y="27"/>
                      </a:lnTo>
                      <a:lnTo>
                        <a:pt x="336" y="23"/>
                      </a:lnTo>
                      <a:lnTo>
                        <a:pt x="322" y="19"/>
                      </a:lnTo>
                      <a:lnTo>
                        <a:pt x="299" y="21"/>
                      </a:lnTo>
                      <a:lnTo>
                        <a:pt x="281" y="19"/>
                      </a:lnTo>
                      <a:lnTo>
                        <a:pt x="281" y="0"/>
                      </a:lnTo>
                      <a:lnTo>
                        <a:pt x="280" y="2"/>
                      </a:lnTo>
                      <a:lnTo>
                        <a:pt x="272" y="1"/>
                      </a:lnTo>
                      <a:lnTo>
                        <a:pt x="264" y="3"/>
                      </a:lnTo>
                      <a:lnTo>
                        <a:pt x="258" y="2"/>
                      </a:lnTo>
                      <a:lnTo>
                        <a:pt x="252" y="0"/>
                      </a:lnTo>
                      <a:lnTo>
                        <a:pt x="248" y="0"/>
                      </a:lnTo>
                      <a:lnTo>
                        <a:pt x="236" y="6"/>
                      </a:lnTo>
                      <a:lnTo>
                        <a:pt x="220" y="7"/>
                      </a:lnTo>
                      <a:lnTo>
                        <a:pt x="213" y="11"/>
                      </a:lnTo>
                      <a:lnTo>
                        <a:pt x="206" y="18"/>
                      </a:lnTo>
                      <a:lnTo>
                        <a:pt x="200" y="18"/>
                      </a:lnTo>
                      <a:lnTo>
                        <a:pt x="194" y="21"/>
                      </a:lnTo>
                      <a:lnTo>
                        <a:pt x="193" y="28"/>
                      </a:lnTo>
                      <a:lnTo>
                        <a:pt x="193" y="37"/>
                      </a:lnTo>
                      <a:lnTo>
                        <a:pt x="194" y="41"/>
                      </a:lnTo>
                      <a:lnTo>
                        <a:pt x="193" y="45"/>
                      </a:lnTo>
                      <a:lnTo>
                        <a:pt x="191" y="50"/>
                      </a:lnTo>
                      <a:lnTo>
                        <a:pt x="190" y="5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43" name="Freeform 31"/>
                <p:cNvSpPr>
                  <a:spLocks noChangeAspect="1"/>
                </p:cNvSpPr>
                <p:nvPr/>
              </p:nvSpPr>
              <p:spPr bwMode="gray">
                <a:xfrm>
                  <a:off x="4961730" y="3988147"/>
                  <a:ext cx="233363" cy="230188"/>
                </a:xfrm>
                <a:custGeom>
                  <a:avLst/>
                  <a:gdLst/>
                  <a:ahLst/>
                  <a:cxnLst>
                    <a:cxn ang="0">
                      <a:pos x="252" y="26"/>
                    </a:cxn>
                    <a:cxn ang="0">
                      <a:pos x="130" y="26"/>
                    </a:cxn>
                    <a:cxn ang="0">
                      <a:pos x="96" y="10"/>
                    </a:cxn>
                    <a:cxn ang="0">
                      <a:pos x="59" y="0"/>
                    </a:cxn>
                    <a:cxn ang="0">
                      <a:pos x="33" y="17"/>
                    </a:cxn>
                    <a:cxn ang="0">
                      <a:pos x="1" y="26"/>
                    </a:cxn>
                    <a:cxn ang="0">
                      <a:pos x="3" y="64"/>
                    </a:cxn>
                    <a:cxn ang="0">
                      <a:pos x="17" y="100"/>
                    </a:cxn>
                    <a:cxn ang="0">
                      <a:pos x="34" y="117"/>
                    </a:cxn>
                    <a:cxn ang="0">
                      <a:pos x="46" y="139"/>
                    </a:cxn>
                    <a:cxn ang="0">
                      <a:pos x="62" y="168"/>
                    </a:cxn>
                    <a:cxn ang="0">
                      <a:pos x="82" y="209"/>
                    </a:cxn>
                    <a:cxn ang="0">
                      <a:pos x="96" y="238"/>
                    </a:cxn>
                    <a:cxn ang="0">
                      <a:pos x="118" y="278"/>
                    </a:cxn>
                    <a:cxn ang="0">
                      <a:pos x="150" y="331"/>
                    </a:cxn>
                    <a:cxn ang="0">
                      <a:pos x="151" y="369"/>
                    </a:cxn>
                    <a:cxn ang="0">
                      <a:pos x="153" y="435"/>
                    </a:cxn>
                    <a:cxn ang="0">
                      <a:pos x="172" y="477"/>
                    </a:cxn>
                    <a:cxn ang="0">
                      <a:pos x="172" y="521"/>
                    </a:cxn>
                    <a:cxn ang="0">
                      <a:pos x="179" y="555"/>
                    </a:cxn>
                    <a:cxn ang="0">
                      <a:pos x="188" y="589"/>
                    </a:cxn>
                    <a:cxn ang="0">
                      <a:pos x="214" y="646"/>
                    </a:cxn>
                    <a:cxn ang="0">
                      <a:pos x="243" y="683"/>
                    </a:cxn>
                    <a:cxn ang="0">
                      <a:pos x="264" y="700"/>
                    </a:cxn>
                    <a:cxn ang="0">
                      <a:pos x="279" y="689"/>
                    </a:cxn>
                    <a:cxn ang="0">
                      <a:pos x="323" y="695"/>
                    </a:cxn>
                    <a:cxn ang="0">
                      <a:pos x="350" y="722"/>
                    </a:cxn>
                    <a:cxn ang="0">
                      <a:pos x="393" y="720"/>
                    </a:cxn>
                    <a:cxn ang="0">
                      <a:pos x="435" y="695"/>
                    </a:cxn>
                    <a:cxn ang="0">
                      <a:pos x="452" y="633"/>
                    </a:cxn>
                    <a:cxn ang="0">
                      <a:pos x="452" y="460"/>
                    </a:cxn>
                    <a:cxn ang="0">
                      <a:pos x="452" y="295"/>
                    </a:cxn>
                    <a:cxn ang="0">
                      <a:pos x="507" y="200"/>
                    </a:cxn>
                    <a:cxn ang="0">
                      <a:pos x="512" y="86"/>
                    </a:cxn>
                    <a:cxn ang="0">
                      <a:pos x="615" y="68"/>
                    </a:cxn>
                    <a:cxn ang="0">
                      <a:pos x="650" y="85"/>
                    </a:cxn>
                    <a:cxn ang="0">
                      <a:pos x="668" y="81"/>
                    </a:cxn>
                    <a:cxn ang="0">
                      <a:pos x="716" y="57"/>
                    </a:cxn>
                    <a:cxn ang="0">
                      <a:pos x="727" y="38"/>
                    </a:cxn>
                    <a:cxn ang="0">
                      <a:pos x="688" y="32"/>
                    </a:cxn>
                    <a:cxn ang="0">
                      <a:pos x="635" y="41"/>
                    </a:cxn>
                    <a:cxn ang="0">
                      <a:pos x="546" y="65"/>
                    </a:cxn>
                    <a:cxn ang="0">
                      <a:pos x="522" y="63"/>
                    </a:cxn>
                    <a:cxn ang="0">
                      <a:pos x="460" y="51"/>
                    </a:cxn>
                    <a:cxn ang="0">
                      <a:pos x="405" y="53"/>
                    </a:cxn>
                    <a:cxn ang="0">
                      <a:pos x="366" y="26"/>
                    </a:cxn>
                  </a:cxnLst>
                  <a:rect l="0" t="0" r="r" b="b"/>
                  <a:pathLst>
                    <a:path w="734" h="722">
                      <a:moveTo>
                        <a:pt x="346" y="26"/>
                      </a:moveTo>
                      <a:lnTo>
                        <a:pt x="299" y="26"/>
                      </a:lnTo>
                      <a:lnTo>
                        <a:pt x="252" y="26"/>
                      </a:lnTo>
                      <a:lnTo>
                        <a:pt x="198" y="26"/>
                      </a:lnTo>
                      <a:lnTo>
                        <a:pt x="148" y="26"/>
                      </a:lnTo>
                      <a:lnTo>
                        <a:pt x="130" y="26"/>
                      </a:lnTo>
                      <a:lnTo>
                        <a:pt x="123" y="28"/>
                      </a:lnTo>
                      <a:lnTo>
                        <a:pt x="109" y="15"/>
                      </a:lnTo>
                      <a:lnTo>
                        <a:pt x="96" y="10"/>
                      </a:lnTo>
                      <a:lnTo>
                        <a:pt x="91" y="1"/>
                      </a:lnTo>
                      <a:lnTo>
                        <a:pt x="81" y="0"/>
                      </a:lnTo>
                      <a:lnTo>
                        <a:pt x="59" y="0"/>
                      </a:lnTo>
                      <a:lnTo>
                        <a:pt x="49" y="4"/>
                      </a:lnTo>
                      <a:lnTo>
                        <a:pt x="39" y="14"/>
                      </a:lnTo>
                      <a:lnTo>
                        <a:pt x="33" y="17"/>
                      </a:lnTo>
                      <a:lnTo>
                        <a:pt x="23" y="11"/>
                      </a:lnTo>
                      <a:lnTo>
                        <a:pt x="12" y="20"/>
                      </a:lnTo>
                      <a:lnTo>
                        <a:pt x="1" y="26"/>
                      </a:lnTo>
                      <a:lnTo>
                        <a:pt x="0" y="49"/>
                      </a:lnTo>
                      <a:lnTo>
                        <a:pt x="0" y="55"/>
                      </a:lnTo>
                      <a:lnTo>
                        <a:pt x="3" y="64"/>
                      </a:lnTo>
                      <a:lnTo>
                        <a:pt x="3" y="74"/>
                      </a:lnTo>
                      <a:lnTo>
                        <a:pt x="12" y="92"/>
                      </a:lnTo>
                      <a:lnTo>
                        <a:pt x="17" y="100"/>
                      </a:lnTo>
                      <a:lnTo>
                        <a:pt x="19" y="102"/>
                      </a:lnTo>
                      <a:lnTo>
                        <a:pt x="28" y="108"/>
                      </a:lnTo>
                      <a:lnTo>
                        <a:pt x="34" y="117"/>
                      </a:lnTo>
                      <a:lnTo>
                        <a:pt x="38" y="127"/>
                      </a:lnTo>
                      <a:lnTo>
                        <a:pt x="44" y="134"/>
                      </a:lnTo>
                      <a:lnTo>
                        <a:pt x="46" y="139"/>
                      </a:lnTo>
                      <a:lnTo>
                        <a:pt x="55" y="150"/>
                      </a:lnTo>
                      <a:lnTo>
                        <a:pt x="56" y="157"/>
                      </a:lnTo>
                      <a:lnTo>
                        <a:pt x="62" y="168"/>
                      </a:lnTo>
                      <a:lnTo>
                        <a:pt x="65" y="176"/>
                      </a:lnTo>
                      <a:lnTo>
                        <a:pt x="81" y="202"/>
                      </a:lnTo>
                      <a:lnTo>
                        <a:pt x="82" y="209"/>
                      </a:lnTo>
                      <a:lnTo>
                        <a:pt x="86" y="215"/>
                      </a:lnTo>
                      <a:lnTo>
                        <a:pt x="88" y="224"/>
                      </a:lnTo>
                      <a:lnTo>
                        <a:pt x="96" y="238"/>
                      </a:lnTo>
                      <a:lnTo>
                        <a:pt x="110" y="263"/>
                      </a:lnTo>
                      <a:lnTo>
                        <a:pt x="116" y="273"/>
                      </a:lnTo>
                      <a:lnTo>
                        <a:pt x="118" y="278"/>
                      </a:lnTo>
                      <a:lnTo>
                        <a:pt x="121" y="288"/>
                      </a:lnTo>
                      <a:lnTo>
                        <a:pt x="141" y="312"/>
                      </a:lnTo>
                      <a:lnTo>
                        <a:pt x="150" y="331"/>
                      </a:lnTo>
                      <a:lnTo>
                        <a:pt x="151" y="334"/>
                      </a:lnTo>
                      <a:lnTo>
                        <a:pt x="152" y="350"/>
                      </a:lnTo>
                      <a:lnTo>
                        <a:pt x="151" y="369"/>
                      </a:lnTo>
                      <a:lnTo>
                        <a:pt x="152" y="406"/>
                      </a:lnTo>
                      <a:lnTo>
                        <a:pt x="151" y="424"/>
                      </a:lnTo>
                      <a:lnTo>
                        <a:pt x="153" y="435"/>
                      </a:lnTo>
                      <a:lnTo>
                        <a:pt x="157" y="445"/>
                      </a:lnTo>
                      <a:lnTo>
                        <a:pt x="162" y="458"/>
                      </a:lnTo>
                      <a:lnTo>
                        <a:pt x="172" y="477"/>
                      </a:lnTo>
                      <a:lnTo>
                        <a:pt x="173" y="484"/>
                      </a:lnTo>
                      <a:lnTo>
                        <a:pt x="171" y="498"/>
                      </a:lnTo>
                      <a:lnTo>
                        <a:pt x="172" y="521"/>
                      </a:lnTo>
                      <a:lnTo>
                        <a:pt x="174" y="531"/>
                      </a:lnTo>
                      <a:lnTo>
                        <a:pt x="182" y="546"/>
                      </a:lnTo>
                      <a:lnTo>
                        <a:pt x="179" y="555"/>
                      </a:lnTo>
                      <a:lnTo>
                        <a:pt x="182" y="559"/>
                      </a:lnTo>
                      <a:lnTo>
                        <a:pt x="185" y="569"/>
                      </a:lnTo>
                      <a:lnTo>
                        <a:pt x="188" y="589"/>
                      </a:lnTo>
                      <a:lnTo>
                        <a:pt x="191" y="600"/>
                      </a:lnTo>
                      <a:lnTo>
                        <a:pt x="194" y="622"/>
                      </a:lnTo>
                      <a:lnTo>
                        <a:pt x="214" y="646"/>
                      </a:lnTo>
                      <a:lnTo>
                        <a:pt x="222" y="665"/>
                      </a:lnTo>
                      <a:lnTo>
                        <a:pt x="233" y="676"/>
                      </a:lnTo>
                      <a:lnTo>
                        <a:pt x="243" y="683"/>
                      </a:lnTo>
                      <a:lnTo>
                        <a:pt x="256" y="698"/>
                      </a:lnTo>
                      <a:lnTo>
                        <a:pt x="261" y="698"/>
                      </a:lnTo>
                      <a:lnTo>
                        <a:pt x="264" y="700"/>
                      </a:lnTo>
                      <a:lnTo>
                        <a:pt x="269" y="699"/>
                      </a:lnTo>
                      <a:lnTo>
                        <a:pt x="272" y="697"/>
                      </a:lnTo>
                      <a:lnTo>
                        <a:pt x="279" y="689"/>
                      </a:lnTo>
                      <a:lnTo>
                        <a:pt x="285" y="678"/>
                      </a:lnTo>
                      <a:lnTo>
                        <a:pt x="297" y="677"/>
                      </a:lnTo>
                      <a:lnTo>
                        <a:pt x="323" y="695"/>
                      </a:lnTo>
                      <a:lnTo>
                        <a:pt x="323" y="708"/>
                      </a:lnTo>
                      <a:lnTo>
                        <a:pt x="334" y="720"/>
                      </a:lnTo>
                      <a:lnTo>
                        <a:pt x="350" y="722"/>
                      </a:lnTo>
                      <a:lnTo>
                        <a:pt x="365" y="717"/>
                      </a:lnTo>
                      <a:lnTo>
                        <a:pt x="384" y="717"/>
                      </a:lnTo>
                      <a:lnTo>
                        <a:pt x="393" y="720"/>
                      </a:lnTo>
                      <a:lnTo>
                        <a:pt x="405" y="720"/>
                      </a:lnTo>
                      <a:lnTo>
                        <a:pt x="421" y="705"/>
                      </a:lnTo>
                      <a:lnTo>
                        <a:pt x="435" y="695"/>
                      </a:lnTo>
                      <a:lnTo>
                        <a:pt x="446" y="693"/>
                      </a:lnTo>
                      <a:lnTo>
                        <a:pt x="452" y="689"/>
                      </a:lnTo>
                      <a:lnTo>
                        <a:pt x="452" y="633"/>
                      </a:lnTo>
                      <a:lnTo>
                        <a:pt x="452" y="574"/>
                      </a:lnTo>
                      <a:lnTo>
                        <a:pt x="452" y="515"/>
                      </a:lnTo>
                      <a:lnTo>
                        <a:pt x="452" y="460"/>
                      </a:lnTo>
                      <a:lnTo>
                        <a:pt x="452" y="407"/>
                      </a:lnTo>
                      <a:lnTo>
                        <a:pt x="452" y="349"/>
                      </a:lnTo>
                      <a:lnTo>
                        <a:pt x="452" y="295"/>
                      </a:lnTo>
                      <a:lnTo>
                        <a:pt x="507" y="295"/>
                      </a:lnTo>
                      <a:lnTo>
                        <a:pt x="507" y="257"/>
                      </a:lnTo>
                      <a:lnTo>
                        <a:pt x="507" y="200"/>
                      </a:lnTo>
                      <a:lnTo>
                        <a:pt x="507" y="144"/>
                      </a:lnTo>
                      <a:lnTo>
                        <a:pt x="507" y="91"/>
                      </a:lnTo>
                      <a:lnTo>
                        <a:pt x="512" y="86"/>
                      </a:lnTo>
                      <a:lnTo>
                        <a:pt x="592" y="71"/>
                      </a:lnTo>
                      <a:lnTo>
                        <a:pt x="609" y="68"/>
                      </a:lnTo>
                      <a:lnTo>
                        <a:pt x="615" y="68"/>
                      </a:lnTo>
                      <a:lnTo>
                        <a:pt x="632" y="69"/>
                      </a:lnTo>
                      <a:lnTo>
                        <a:pt x="643" y="73"/>
                      </a:lnTo>
                      <a:lnTo>
                        <a:pt x="650" y="85"/>
                      </a:lnTo>
                      <a:lnTo>
                        <a:pt x="653" y="100"/>
                      </a:lnTo>
                      <a:lnTo>
                        <a:pt x="659" y="92"/>
                      </a:lnTo>
                      <a:lnTo>
                        <a:pt x="668" y="81"/>
                      </a:lnTo>
                      <a:lnTo>
                        <a:pt x="684" y="69"/>
                      </a:lnTo>
                      <a:lnTo>
                        <a:pt x="711" y="63"/>
                      </a:lnTo>
                      <a:lnTo>
                        <a:pt x="716" y="57"/>
                      </a:lnTo>
                      <a:lnTo>
                        <a:pt x="723" y="52"/>
                      </a:lnTo>
                      <a:lnTo>
                        <a:pt x="734" y="51"/>
                      </a:lnTo>
                      <a:lnTo>
                        <a:pt x="727" y="38"/>
                      </a:lnTo>
                      <a:lnTo>
                        <a:pt x="723" y="35"/>
                      </a:lnTo>
                      <a:lnTo>
                        <a:pt x="709" y="32"/>
                      </a:lnTo>
                      <a:lnTo>
                        <a:pt x="688" y="32"/>
                      </a:lnTo>
                      <a:lnTo>
                        <a:pt x="685" y="28"/>
                      </a:lnTo>
                      <a:lnTo>
                        <a:pt x="642" y="39"/>
                      </a:lnTo>
                      <a:lnTo>
                        <a:pt x="635" y="41"/>
                      </a:lnTo>
                      <a:lnTo>
                        <a:pt x="632" y="43"/>
                      </a:lnTo>
                      <a:lnTo>
                        <a:pt x="621" y="46"/>
                      </a:lnTo>
                      <a:lnTo>
                        <a:pt x="546" y="65"/>
                      </a:lnTo>
                      <a:lnTo>
                        <a:pt x="538" y="66"/>
                      </a:lnTo>
                      <a:lnTo>
                        <a:pt x="534" y="64"/>
                      </a:lnTo>
                      <a:lnTo>
                        <a:pt x="522" y="63"/>
                      </a:lnTo>
                      <a:lnTo>
                        <a:pt x="510" y="59"/>
                      </a:lnTo>
                      <a:lnTo>
                        <a:pt x="494" y="58"/>
                      </a:lnTo>
                      <a:lnTo>
                        <a:pt x="460" y="51"/>
                      </a:lnTo>
                      <a:lnTo>
                        <a:pt x="433" y="51"/>
                      </a:lnTo>
                      <a:lnTo>
                        <a:pt x="414" y="53"/>
                      </a:lnTo>
                      <a:lnTo>
                        <a:pt x="405" y="53"/>
                      </a:lnTo>
                      <a:lnTo>
                        <a:pt x="388" y="47"/>
                      </a:lnTo>
                      <a:lnTo>
                        <a:pt x="382" y="37"/>
                      </a:lnTo>
                      <a:lnTo>
                        <a:pt x="366" y="26"/>
                      </a:lnTo>
                      <a:lnTo>
                        <a:pt x="346" y="2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44" name="Freeform 32"/>
                <p:cNvSpPr>
                  <a:spLocks noChangeAspect="1"/>
                </p:cNvSpPr>
                <p:nvPr/>
              </p:nvSpPr>
              <p:spPr bwMode="gray">
                <a:xfrm>
                  <a:off x="5282405" y="3875434"/>
                  <a:ext cx="185738" cy="296863"/>
                </a:xfrm>
                <a:custGeom>
                  <a:avLst/>
                  <a:gdLst/>
                  <a:ahLst/>
                  <a:cxnLst>
                    <a:cxn ang="0">
                      <a:pos x="584" y="10"/>
                    </a:cxn>
                    <a:cxn ang="0">
                      <a:pos x="570" y="56"/>
                    </a:cxn>
                    <a:cxn ang="0">
                      <a:pos x="572" y="128"/>
                    </a:cxn>
                    <a:cxn ang="0">
                      <a:pos x="569" y="176"/>
                    </a:cxn>
                    <a:cxn ang="0">
                      <a:pos x="578" y="205"/>
                    </a:cxn>
                    <a:cxn ang="0">
                      <a:pos x="585" y="224"/>
                    </a:cxn>
                    <a:cxn ang="0">
                      <a:pos x="568" y="263"/>
                    </a:cxn>
                    <a:cxn ang="0">
                      <a:pos x="564" y="285"/>
                    </a:cxn>
                    <a:cxn ang="0">
                      <a:pos x="532" y="328"/>
                    </a:cxn>
                    <a:cxn ang="0">
                      <a:pos x="497" y="355"/>
                    </a:cxn>
                    <a:cxn ang="0">
                      <a:pos x="447" y="378"/>
                    </a:cxn>
                    <a:cxn ang="0">
                      <a:pos x="368" y="434"/>
                    </a:cxn>
                    <a:cxn ang="0">
                      <a:pos x="345" y="462"/>
                    </a:cxn>
                    <a:cxn ang="0">
                      <a:pos x="323" y="477"/>
                    </a:cxn>
                    <a:cxn ang="0">
                      <a:pos x="273" y="521"/>
                    </a:cxn>
                    <a:cxn ang="0">
                      <a:pos x="253" y="572"/>
                    </a:cxn>
                    <a:cxn ang="0">
                      <a:pos x="273" y="598"/>
                    </a:cxn>
                    <a:cxn ang="0">
                      <a:pos x="289" y="667"/>
                    </a:cxn>
                    <a:cxn ang="0">
                      <a:pos x="295" y="725"/>
                    </a:cxn>
                    <a:cxn ang="0">
                      <a:pos x="295" y="764"/>
                    </a:cxn>
                    <a:cxn ang="0">
                      <a:pos x="273" y="811"/>
                    </a:cxn>
                    <a:cxn ang="0">
                      <a:pos x="192" y="843"/>
                    </a:cxn>
                    <a:cxn ang="0">
                      <a:pos x="156" y="863"/>
                    </a:cxn>
                    <a:cxn ang="0">
                      <a:pos x="134" y="893"/>
                    </a:cxn>
                    <a:cxn ang="0">
                      <a:pos x="158" y="899"/>
                    </a:cxn>
                    <a:cxn ang="0">
                      <a:pos x="110" y="908"/>
                    </a:cxn>
                    <a:cxn ang="0">
                      <a:pos x="92" y="742"/>
                    </a:cxn>
                    <a:cxn ang="0">
                      <a:pos x="85" y="673"/>
                    </a:cxn>
                    <a:cxn ang="0">
                      <a:pos x="113" y="636"/>
                    </a:cxn>
                    <a:cxn ang="0">
                      <a:pos x="153" y="508"/>
                    </a:cxn>
                    <a:cxn ang="0">
                      <a:pos x="158" y="451"/>
                    </a:cxn>
                    <a:cxn ang="0">
                      <a:pos x="158" y="367"/>
                    </a:cxn>
                    <a:cxn ang="0">
                      <a:pos x="113" y="323"/>
                    </a:cxn>
                    <a:cxn ang="0">
                      <a:pos x="33" y="305"/>
                    </a:cxn>
                    <a:cxn ang="0">
                      <a:pos x="8" y="269"/>
                    </a:cxn>
                    <a:cxn ang="0">
                      <a:pos x="175" y="198"/>
                    </a:cxn>
                    <a:cxn ang="0">
                      <a:pos x="202" y="226"/>
                    </a:cxn>
                    <a:cxn ang="0">
                      <a:pos x="247" y="226"/>
                    </a:cxn>
                    <a:cxn ang="0">
                      <a:pos x="251" y="273"/>
                    </a:cxn>
                    <a:cxn ang="0">
                      <a:pos x="236" y="302"/>
                    </a:cxn>
                    <a:cxn ang="0">
                      <a:pos x="252" y="327"/>
                    </a:cxn>
                    <a:cxn ang="0">
                      <a:pos x="272" y="350"/>
                    </a:cxn>
                    <a:cxn ang="0">
                      <a:pos x="278" y="366"/>
                    </a:cxn>
                    <a:cxn ang="0">
                      <a:pos x="291" y="357"/>
                    </a:cxn>
                    <a:cxn ang="0">
                      <a:pos x="287" y="337"/>
                    </a:cxn>
                    <a:cxn ang="0">
                      <a:pos x="304" y="314"/>
                    </a:cxn>
                    <a:cxn ang="0">
                      <a:pos x="321" y="284"/>
                    </a:cxn>
                    <a:cxn ang="0">
                      <a:pos x="326" y="244"/>
                    </a:cxn>
                    <a:cxn ang="0">
                      <a:pos x="299" y="203"/>
                    </a:cxn>
                    <a:cxn ang="0">
                      <a:pos x="266" y="167"/>
                    </a:cxn>
                    <a:cxn ang="0">
                      <a:pos x="262" y="123"/>
                    </a:cxn>
                    <a:cxn ang="0">
                      <a:pos x="269" y="76"/>
                    </a:cxn>
                    <a:cxn ang="0">
                      <a:pos x="323" y="53"/>
                    </a:cxn>
                    <a:cxn ang="0">
                      <a:pos x="349" y="65"/>
                    </a:cxn>
                    <a:cxn ang="0">
                      <a:pos x="381" y="56"/>
                    </a:cxn>
                    <a:cxn ang="0">
                      <a:pos x="436" y="43"/>
                    </a:cxn>
                    <a:cxn ang="0">
                      <a:pos x="482" y="45"/>
                    </a:cxn>
                    <a:cxn ang="0">
                      <a:pos x="547" y="25"/>
                    </a:cxn>
                  </a:cxnLst>
                  <a:rect l="0" t="0" r="r" b="b"/>
                  <a:pathLst>
                    <a:path w="586" h="937">
                      <a:moveTo>
                        <a:pt x="580" y="0"/>
                      </a:moveTo>
                      <a:lnTo>
                        <a:pt x="584" y="2"/>
                      </a:lnTo>
                      <a:lnTo>
                        <a:pt x="586" y="7"/>
                      </a:lnTo>
                      <a:lnTo>
                        <a:pt x="584" y="10"/>
                      </a:lnTo>
                      <a:lnTo>
                        <a:pt x="585" y="27"/>
                      </a:lnTo>
                      <a:lnTo>
                        <a:pt x="583" y="33"/>
                      </a:lnTo>
                      <a:lnTo>
                        <a:pt x="578" y="42"/>
                      </a:lnTo>
                      <a:lnTo>
                        <a:pt x="570" y="56"/>
                      </a:lnTo>
                      <a:lnTo>
                        <a:pt x="567" y="70"/>
                      </a:lnTo>
                      <a:lnTo>
                        <a:pt x="568" y="95"/>
                      </a:lnTo>
                      <a:lnTo>
                        <a:pt x="570" y="113"/>
                      </a:lnTo>
                      <a:lnTo>
                        <a:pt x="572" y="128"/>
                      </a:lnTo>
                      <a:lnTo>
                        <a:pt x="565" y="133"/>
                      </a:lnTo>
                      <a:lnTo>
                        <a:pt x="568" y="142"/>
                      </a:lnTo>
                      <a:lnTo>
                        <a:pt x="570" y="142"/>
                      </a:lnTo>
                      <a:lnTo>
                        <a:pt x="569" y="176"/>
                      </a:lnTo>
                      <a:lnTo>
                        <a:pt x="572" y="196"/>
                      </a:lnTo>
                      <a:lnTo>
                        <a:pt x="570" y="205"/>
                      </a:lnTo>
                      <a:lnTo>
                        <a:pt x="574" y="208"/>
                      </a:lnTo>
                      <a:lnTo>
                        <a:pt x="578" y="205"/>
                      </a:lnTo>
                      <a:lnTo>
                        <a:pt x="581" y="212"/>
                      </a:lnTo>
                      <a:lnTo>
                        <a:pt x="575" y="220"/>
                      </a:lnTo>
                      <a:lnTo>
                        <a:pt x="580" y="220"/>
                      </a:lnTo>
                      <a:lnTo>
                        <a:pt x="585" y="224"/>
                      </a:lnTo>
                      <a:lnTo>
                        <a:pt x="585" y="232"/>
                      </a:lnTo>
                      <a:lnTo>
                        <a:pt x="580" y="242"/>
                      </a:lnTo>
                      <a:lnTo>
                        <a:pt x="576" y="253"/>
                      </a:lnTo>
                      <a:lnTo>
                        <a:pt x="568" y="263"/>
                      </a:lnTo>
                      <a:lnTo>
                        <a:pt x="575" y="265"/>
                      </a:lnTo>
                      <a:lnTo>
                        <a:pt x="574" y="274"/>
                      </a:lnTo>
                      <a:lnTo>
                        <a:pt x="573" y="280"/>
                      </a:lnTo>
                      <a:lnTo>
                        <a:pt x="564" y="285"/>
                      </a:lnTo>
                      <a:lnTo>
                        <a:pt x="547" y="305"/>
                      </a:lnTo>
                      <a:lnTo>
                        <a:pt x="543" y="313"/>
                      </a:lnTo>
                      <a:lnTo>
                        <a:pt x="526" y="323"/>
                      </a:lnTo>
                      <a:lnTo>
                        <a:pt x="532" y="328"/>
                      </a:lnTo>
                      <a:lnTo>
                        <a:pt x="527" y="337"/>
                      </a:lnTo>
                      <a:lnTo>
                        <a:pt x="517" y="344"/>
                      </a:lnTo>
                      <a:lnTo>
                        <a:pt x="505" y="351"/>
                      </a:lnTo>
                      <a:lnTo>
                        <a:pt x="497" y="355"/>
                      </a:lnTo>
                      <a:lnTo>
                        <a:pt x="490" y="366"/>
                      </a:lnTo>
                      <a:lnTo>
                        <a:pt x="477" y="373"/>
                      </a:lnTo>
                      <a:lnTo>
                        <a:pt x="460" y="373"/>
                      </a:lnTo>
                      <a:lnTo>
                        <a:pt x="447" y="378"/>
                      </a:lnTo>
                      <a:lnTo>
                        <a:pt x="403" y="398"/>
                      </a:lnTo>
                      <a:lnTo>
                        <a:pt x="375" y="420"/>
                      </a:lnTo>
                      <a:lnTo>
                        <a:pt x="373" y="430"/>
                      </a:lnTo>
                      <a:lnTo>
                        <a:pt x="368" y="434"/>
                      </a:lnTo>
                      <a:lnTo>
                        <a:pt x="360" y="435"/>
                      </a:lnTo>
                      <a:lnTo>
                        <a:pt x="355" y="436"/>
                      </a:lnTo>
                      <a:lnTo>
                        <a:pt x="361" y="442"/>
                      </a:lnTo>
                      <a:lnTo>
                        <a:pt x="345" y="462"/>
                      </a:lnTo>
                      <a:lnTo>
                        <a:pt x="338" y="473"/>
                      </a:lnTo>
                      <a:lnTo>
                        <a:pt x="333" y="470"/>
                      </a:lnTo>
                      <a:lnTo>
                        <a:pt x="330" y="461"/>
                      </a:lnTo>
                      <a:lnTo>
                        <a:pt x="323" y="477"/>
                      </a:lnTo>
                      <a:lnTo>
                        <a:pt x="315" y="480"/>
                      </a:lnTo>
                      <a:lnTo>
                        <a:pt x="305" y="493"/>
                      </a:lnTo>
                      <a:lnTo>
                        <a:pt x="287" y="512"/>
                      </a:lnTo>
                      <a:lnTo>
                        <a:pt x="273" y="521"/>
                      </a:lnTo>
                      <a:lnTo>
                        <a:pt x="266" y="529"/>
                      </a:lnTo>
                      <a:lnTo>
                        <a:pt x="255" y="533"/>
                      </a:lnTo>
                      <a:lnTo>
                        <a:pt x="252" y="563"/>
                      </a:lnTo>
                      <a:lnTo>
                        <a:pt x="253" y="572"/>
                      </a:lnTo>
                      <a:lnTo>
                        <a:pt x="267" y="582"/>
                      </a:lnTo>
                      <a:lnTo>
                        <a:pt x="271" y="588"/>
                      </a:lnTo>
                      <a:lnTo>
                        <a:pt x="272" y="597"/>
                      </a:lnTo>
                      <a:lnTo>
                        <a:pt x="273" y="598"/>
                      </a:lnTo>
                      <a:lnTo>
                        <a:pt x="274" y="608"/>
                      </a:lnTo>
                      <a:lnTo>
                        <a:pt x="287" y="642"/>
                      </a:lnTo>
                      <a:lnTo>
                        <a:pt x="288" y="662"/>
                      </a:lnTo>
                      <a:lnTo>
                        <a:pt x="289" y="667"/>
                      </a:lnTo>
                      <a:lnTo>
                        <a:pt x="295" y="662"/>
                      </a:lnTo>
                      <a:lnTo>
                        <a:pt x="299" y="666"/>
                      </a:lnTo>
                      <a:lnTo>
                        <a:pt x="299" y="688"/>
                      </a:lnTo>
                      <a:lnTo>
                        <a:pt x="295" y="725"/>
                      </a:lnTo>
                      <a:lnTo>
                        <a:pt x="283" y="771"/>
                      </a:lnTo>
                      <a:lnTo>
                        <a:pt x="285" y="782"/>
                      </a:lnTo>
                      <a:lnTo>
                        <a:pt x="289" y="774"/>
                      </a:lnTo>
                      <a:lnTo>
                        <a:pt x="295" y="764"/>
                      </a:lnTo>
                      <a:lnTo>
                        <a:pt x="295" y="768"/>
                      </a:lnTo>
                      <a:lnTo>
                        <a:pt x="293" y="781"/>
                      </a:lnTo>
                      <a:lnTo>
                        <a:pt x="288" y="792"/>
                      </a:lnTo>
                      <a:lnTo>
                        <a:pt x="273" y="811"/>
                      </a:lnTo>
                      <a:lnTo>
                        <a:pt x="258" y="822"/>
                      </a:lnTo>
                      <a:lnTo>
                        <a:pt x="240" y="829"/>
                      </a:lnTo>
                      <a:lnTo>
                        <a:pt x="228" y="830"/>
                      </a:lnTo>
                      <a:lnTo>
                        <a:pt x="192" y="843"/>
                      </a:lnTo>
                      <a:lnTo>
                        <a:pt x="183" y="849"/>
                      </a:lnTo>
                      <a:lnTo>
                        <a:pt x="176" y="855"/>
                      </a:lnTo>
                      <a:lnTo>
                        <a:pt x="166" y="861"/>
                      </a:lnTo>
                      <a:lnTo>
                        <a:pt x="156" y="863"/>
                      </a:lnTo>
                      <a:lnTo>
                        <a:pt x="151" y="868"/>
                      </a:lnTo>
                      <a:lnTo>
                        <a:pt x="144" y="881"/>
                      </a:lnTo>
                      <a:lnTo>
                        <a:pt x="135" y="893"/>
                      </a:lnTo>
                      <a:lnTo>
                        <a:pt x="134" y="893"/>
                      </a:lnTo>
                      <a:lnTo>
                        <a:pt x="142" y="900"/>
                      </a:lnTo>
                      <a:lnTo>
                        <a:pt x="148" y="910"/>
                      </a:lnTo>
                      <a:lnTo>
                        <a:pt x="154" y="905"/>
                      </a:lnTo>
                      <a:lnTo>
                        <a:pt x="158" y="899"/>
                      </a:lnTo>
                      <a:lnTo>
                        <a:pt x="154" y="937"/>
                      </a:lnTo>
                      <a:lnTo>
                        <a:pt x="148" y="936"/>
                      </a:lnTo>
                      <a:lnTo>
                        <a:pt x="112" y="936"/>
                      </a:lnTo>
                      <a:lnTo>
                        <a:pt x="110" y="908"/>
                      </a:lnTo>
                      <a:lnTo>
                        <a:pt x="110" y="887"/>
                      </a:lnTo>
                      <a:lnTo>
                        <a:pt x="108" y="879"/>
                      </a:lnTo>
                      <a:lnTo>
                        <a:pt x="105" y="786"/>
                      </a:lnTo>
                      <a:lnTo>
                        <a:pt x="92" y="742"/>
                      </a:lnTo>
                      <a:lnTo>
                        <a:pt x="86" y="710"/>
                      </a:lnTo>
                      <a:lnTo>
                        <a:pt x="84" y="689"/>
                      </a:lnTo>
                      <a:lnTo>
                        <a:pt x="85" y="688"/>
                      </a:lnTo>
                      <a:lnTo>
                        <a:pt x="85" y="673"/>
                      </a:lnTo>
                      <a:lnTo>
                        <a:pt x="89" y="661"/>
                      </a:lnTo>
                      <a:lnTo>
                        <a:pt x="95" y="651"/>
                      </a:lnTo>
                      <a:lnTo>
                        <a:pt x="106" y="644"/>
                      </a:lnTo>
                      <a:lnTo>
                        <a:pt x="113" y="636"/>
                      </a:lnTo>
                      <a:lnTo>
                        <a:pt x="132" y="602"/>
                      </a:lnTo>
                      <a:lnTo>
                        <a:pt x="139" y="571"/>
                      </a:lnTo>
                      <a:lnTo>
                        <a:pt x="156" y="535"/>
                      </a:lnTo>
                      <a:lnTo>
                        <a:pt x="153" y="508"/>
                      </a:lnTo>
                      <a:lnTo>
                        <a:pt x="148" y="495"/>
                      </a:lnTo>
                      <a:lnTo>
                        <a:pt x="146" y="478"/>
                      </a:lnTo>
                      <a:lnTo>
                        <a:pt x="156" y="459"/>
                      </a:lnTo>
                      <a:lnTo>
                        <a:pt x="158" y="451"/>
                      </a:lnTo>
                      <a:lnTo>
                        <a:pt x="162" y="435"/>
                      </a:lnTo>
                      <a:lnTo>
                        <a:pt x="161" y="424"/>
                      </a:lnTo>
                      <a:lnTo>
                        <a:pt x="162" y="389"/>
                      </a:lnTo>
                      <a:lnTo>
                        <a:pt x="158" y="367"/>
                      </a:lnTo>
                      <a:lnTo>
                        <a:pt x="154" y="357"/>
                      </a:lnTo>
                      <a:lnTo>
                        <a:pt x="153" y="344"/>
                      </a:lnTo>
                      <a:lnTo>
                        <a:pt x="144" y="334"/>
                      </a:lnTo>
                      <a:lnTo>
                        <a:pt x="113" y="323"/>
                      </a:lnTo>
                      <a:lnTo>
                        <a:pt x="85" y="311"/>
                      </a:lnTo>
                      <a:lnTo>
                        <a:pt x="70" y="307"/>
                      </a:lnTo>
                      <a:lnTo>
                        <a:pt x="56" y="303"/>
                      </a:lnTo>
                      <a:lnTo>
                        <a:pt x="33" y="305"/>
                      </a:lnTo>
                      <a:lnTo>
                        <a:pt x="15" y="303"/>
                      </a:lnTo>
                      <a:lnTo>
                        <a:pt x="15" y="284"/>
                      </a:lnTo>
                      <a:lnTo>
                        <a:pt x="10" y="281"/>
                      </a:lnTo>
                      <a:lnTo>
                        <a:pt x="8" y="269"/>
                      </a:lnTo>
                      <a:lnTo>
                        <a:pt x="0" y="253"/>
                      </a:lnTo>
                      <a:lnTo>
                        <a:pt x="165" y="196"/>
                      </a:lnTo>
                      <a:lnTo>
                        <a:pt x="174" y="195"/>
                      </a:lnTo>
                      <a:lnTo>
                        <a:pt x="175" y="198"/>
                      </a:lnTo>
                      <a:lnTo>
                        <a:pt x="181" y="200"/>
                      </a:lnTo>
                      <a:lnTo>
                        <a:pt x="188" y="216"/>
                      </a:lnTo>
                      <a:lnTo>
                        <a:pt x="198" y="226"/>
                      </a:lnTo>
                      <a:lnTo>
                        <a:pt x="202" y="226"/>
                      </a:lnTo>
                      <a:lnTo>
                        <a:pt x="210" y="224"/>
                      </a:lnTo>
                      <a:lnTo>
                        <a:pt x="240" y="220"/>
                      </a:lnTo>
                      <a:lnTo>
                        <a:pt x="244" y="221"/>
                      </a:lnTo>
                      <a:lnTo>
                        <a:pt x="247" y="226"/>
                      </a:lnTo>
                      <a:lnTo>
                        <a:pt x="251" y="239"/>
                      </a:lnTo>
                      <a:lnTo>
                        <a:pt x="252" y="247"/>
                      </a:lnTo>
                      <a:lnTo>
                        <a:pt x="253" y="265"/>
                      </a:lnTo>
                      <a:lnTo>
                        <a:pt x="251" y="273"/>
                      </a:lnTo>
                      <a:lnTo>
                        <a:pt x="245" y="280"/>
                      </a:lnTo>
                      <a:lnTo>
                        <a:pt x="246" y="286"/>
                      </a:lnTo>
                      <a:lnTo>
                        <a:pt x="240" y="291"/>
                      </a:lnTo>
                      <a:lnTo>
                        <a:pt x="236" y="302"/>
                      </a:lnTo>
                      <a:lnTo>
                        <a:pt x="240" y="306"/>
                      </a:lnTo>
                      <a:lnTo>
                        <a:pt x="245" y="322"/>
                      </a:lnTo>
                      <a:lnTo>
                        <a:pt x="248" y="325"/>
                      </a:lnTo>
                      <a:lnTo>
                        <a:pt x="252" y="327"/>
                      </a:lnTo>
                      <a:lnTo>
                        <a:pt x="255" y="332"/>
                      </a:lnTo>
                      <a:lnTo>
                        <a:pt x="263" y="341"/>
                      </a:lnTo>
                      <a:lnTo>
                        <a:pt x="268" y="348"/>
                      </a:lnTo>
                      <a:lnTo>
                        <a:pt x="272" y="350"/>
                      </a:lnTo>
                      <a:lnTo>
                        <a:pt x="279" y="351"/>
                      </a:lnTo>
                      <a:lnTo>
                        <a:pt x="283" y="356"/>
                      </a:lnTo>
                      <a:lnTo>
                        <a:pt x="283" y="360"/>
                      </a:lnTo>
                      <a:lnTo>
                        <a:pt x="278" y="366"/>
                      </a:lnTo>
                      <a:lnTo>
                        <a:pt x="279" y="368"/>
                      </a:lnTo>
                      <a:lnTo>
                        <a:pt x="291" y="368"/>
                      </a:lnTo>
                      <a:lnTo>
                        <a:pt x="293" y="367"/>
                      </a:lnTo>
                      <a:lnTo>
                        <a:pt x="291" y="357"/>
                      </a:lnTo>
                      <a:lnTo>
                        <a:pt x="293" y="351"/>
                      </a:lnTo>
                      <a:lnTo>
                        <a:pt x="290" y="346"/>
                      </a:lnTo>
                      <a:lnTo>
                        <a:pt x="287" y="343"/>
                      </a:lnTo>
                      <a:lnTo>
                        <a:pt x="287" y="337"/>
                      </a:lnTo>
                      <a:lnTo>
                        <a:pt x="290" y="329"/>
                      </a:lnTo>
                      <a:lnTo>
                        <a:pt x="290" y="325"/>
                      </a:lnTo>
                      <a:lnTo>
                        <a:pt x="291" y="322"/>
                      </a:lnTo>
                      <a:lnTo>
                        <a:pt x="304" y="314"/>
                      </a:lnTo>
                      <a:lnTo>
                        <a:pt x="310" y="313"/>
                      </a:lnTo>
                      <a:lnTo>
                        <a:pt x="316" y="311"/>
                      </a:lnTo>
                      <a:lnTo>
                        <a:pt x="320" y="305"/>
                      </a:lnTo>
                      <a:lnTo>
                        <a:pt x="321" y="284"/>
                      </a:lnTo>
                      <a:lnTo>
                        <a:pt x="323" y="276"/>
                      </a:lnTo>
                      <a:lnTo>
                        <a:pt x="320" y="262"/>
                      </a:lnTo>
                      <a:lnTo>
                        <a:pt x="323" y="252"/>
                      </a:lnTo>
                      <a:lnTo>
                        <a:pt x="326" y="244"/>
                      </a:lnTo>
                      <a:lnTo>
                        <a:pt x="323" y="232"/>
                      </a:lnTo>
                      <a:lnTo>
                        <a:pt x="318" y="225"/>
                      </a:lnTo>
                      <a:lnTo>
                        <a:pt x="305" y="212"/>
                      </a:lnTo>
                      <a:lnTo>
                        <a:pt x="299" y="203"/>
                      </a:lnTo>
                      <a:lnTo>
                        <a:pt x="284" y="184"/>
                      </a:lnTo>
                      <a:lnTo>
                        <a:pt x="274" y="177"/>
                      </a:lnTo>
                      <a:lnTo>
                        <a:pt x="267" y="167"/>
                      </a:lnTo>
                      <a:lnTo>
                        <a:pt x="266" y="167"/>
                      </a:lnTo>
                      <a:lnTo>
                        <a:pt x="263" y="156"/>
                      </a:lnTo>
                      <a:lnTo>
                        <a:pt x="263" y="146"/>
                      </a:lnTo>
                      <a:lnTo>
                        <a:pt x="262" y="138"/>
                      </a:lnTo>
                      <a:lnTo>
                        <a:pt x="262" y="123"/>
                      </a:lnTo>
                      <a:lnTo>
                        <a:pt x="258" y="115"/>
                      </a:lnTo>
                      <a:lnTo>
                        <a:pt x="258" y="107"/>
                      </a:lnTo>
                      <a:lnTo>
                        <a:pt x="262" y="92"/>
                      </a:lnTo>
                      <a:lnTo>
                        <a:pt x="269" y="76"/>
                      </a:lnTo>
                      <a:lnTo>
                        <a:pt x="273" y="58"/>
                      </a:lnTo>
                      <a:lnTo>
                        <a:pt x="314" y="59"/>
                      </a:lnTo>
                      <a:lnTo>
                        <a:pt x="317" y="58"/>
                      </a:lnTo>
                      <a:lnTo>
                        <a:pt x="323" y="53"/>
                      </a:lnTo>
                      <a:lnTo>
                        <a:pt x="331" y="53"/>
                      </a:lnTo>
                      <a:lnTo>
                        <a:pt x="338" y="55"/>
                      </a:lnTo>
                      <a:lnTo>
                        <a:pt x="344" y="61"/>
                      </a:lnTo>
                      <a:lnTo>
                        <a:pt x="349" y="65"/>
                      </a:lnTo>
                      <a:lnTo>
                        <a:pt x="354" y="66"/>
                      </a:lnTo>
                      <a:lnTo>
                        <a:pt x="361" y="64"/>
                      </a:lnTo>
                      <a:lnTo>
                        <a:pt x="370" y="64"/>
                      </a:lnTo>
                      <a:lnTo>
                        <a:pt x="381" y="56"/>
                      </a:lnTo>
                      <a:lnTo>
                        <a:pt x="412" y="58"/>
                      </a:lnTo>
                      <a:lnTo>
                        <a:pt x="419" y="58"/>
                      </a:lnTo>
                      <a:lnTo>
                        <a:pt x="423" y="56"/>
                      </a:lnTo>
                      <a:lnTo>
                        <a:pt x="436" y="43"/>
                      </a:lnTo>
                      <a:lnTo>
                        <a:pt x="450" y="42"/>
                      </a:lnTo>
                      <a:lnTo>
                        <a:pt x="459" y="39"/>
                      </a:lnTo>
                      <a:lnTo>
                        <a:pt x="472" y="45"/>
                      </a:lnTo>
                      <a:lnTo>
                        <a:pt x="482" y="45"/>
                      </a:lnTo>
                      <a:lnTo>
                        <a:pt x="490" y="44"/>
                      </a:lnTo>
                      <a:lnTo>
                        <a:pt x="524" y="32"/>
                      </a:lnTo>
                      <a:lnTo>
                        <a:pt x="543" y="27"/>
                      </a:lnTo>
                      <a:lnTo>
                        <a:pt x="547" y="25"/>
                      </a:lnTo>
                      <a:lnTo>
                        <a:pt x="562" y="11"/>
                      </a:lnTo>
                      <a:lnTo>
                        <a:pt x="576" y="1"/>
                      </a:lnTo>
                      <a:lnTo>
                        <a:pt x="580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45" name="Freeform 33"/>
                <p:cNvSpPr>
                  <a:spLocks noChangeAspect="1"/>
                </p:cNvSpPr>
                <p:nvPr/>
              </p:nvSpPr>
              <p:spPr bwMode="gray">
                <a:xfrm>
                  <a:off x="5104605" y="4004022"/>
                  <a:ext cx="165100" cy="169863"/>
                </a:xfrm>
                <a:custGeom>
                  <a:avLst/>
                  <a:gdLst/>
                  <a:ahLst/>
                  <a:cxnLst>
                    <a:cxn ang="0">
                      <a:pos x="0" y="356"/>
                    </a:cxn>
                    <a:cxn ang="0">
                      <a:pos x="0" y="244"/>
                    </a:cxn>
                    <a:cxn ang="0">
                      <a:pos x="56" y="206"/>
                    </a:cxn>
                    <a:cxn ang="0">
                      <a:pos x="56" y="93"/>
                    </a:cxn>
                    <a:cxn ang="0">
                      <a:pos x="61" y="35"/>
                    </a:cxn>
                    <a:cxn ang="0">
                      <a:pos x="158" y="17"/>
                    </a:cxn>
                    <a:cxn ang="0">
                      <a:pos x="181" y="18"/>
                    </a:cxn>
                    <a:cxn ang="0">
                      <a:pos x="199" y="34"/>
                    </a:cxn>
                    <a:cxn ang="0">
                      <a:pos x="208" y="41"/>
                    </a:cxn>
                    <a:cxn ang="0">
                      <a:pos x="233" y="18"/>
                    </a:cxn>
                    <a:cxn ang="0">
                      <a:pos x="265" y="6"/>
                    </a:cxn>
                    <a:cxn ang="0">
                      <a:pos x="283" y="0"/>
                    </a:cxn>
                    <a:cxn ang="0">
                      <a:pos x="291" y="11"/>
                    </a:cxn>
                    <a:cxn ang="0">
                      <a:pos x="307" y="39"/>
                    </a:cxn>
                    <a:cxn ang="0">
                      <a:pos x="319" y="60"/>
                    </a:cxn>
                    <a:cxn ang="0">
                      <a:pos x="339" y="93"/>
                    </a:cxn>
                    <a:cxn ang="0">
                      <a:pos x="385" y="127"/>
                    </a:cxn>
                    <a:cxn ang="0">
                      <a:pos x="407" y="151"/>
                    </a:cxn>
                    <a:cxn ang="0">
                      <a:pos x="431" y="164"/>
                    </a:cxn>
                    <a:cxn ang="0">
                      <a:pos x="434" y="205"/>
                    </a:cxn>
                    <a:cxn ang="0">
                      <a:pos x="449" y="227"/>
                    </a:cxn>
                    <a:cxn ang="0">
                      <a:pos x="470" y="234"/>
                    </a:cxn>
                    <a:cxn ang="0">
                      <a:pos x="497" y="240"/>
                    </a:cxn>
                    <a:cxn ang="0">
                      <a:pos x="518" y="253"/>
                    </a:cxn>
                    <a:cxn ang="0">
                      <a:pos x="506" y="261"/>
                    </a:cxn>
                    <a:cxn ang="0">
                      <a:pos x="454" y="288"/>
                    </a:cxn>
                    <a:cxn ang="0">
                      <a:pos x="418" y="318"/>
                    </a:cxn>
                    <a:cxn ang="0">
                      <a:pos x="388" y="352"/>
                    </a:cxn>
                    <a:cxn ang="0">
                      <a:pos x="344" y="396"/>
                    </a:cxn>
                    <a:cxn ang="0">
                      <a:pos x="314" y="449"/>
                    </a:cxn>
                    <a:cxn ang="0">
                      <a:pos x="301" y="459"/>
                    </a:cxn>
                    <a:cxn ang="0">
                      <a:pos x="265" y="466"/>
                    </a:cxn>
                    <a:cxn ang="0">
                      <a:pos x="227" y="452"/>
                    </a:cxn>
                    <a:cxn ang="0">
                      <a:pos x="201" y="445"/>
                    </a:cxn>
                    <a:cxn ang="0">
                      <a:pos x="170" y="469"/>
                    </a:cxn>
                    <a:cxn ang="0">
                      <a:pos x="161" y="485"/>
                    </a:cxn>
                    <a:cxn ang="0">
                      <a:pos x="140" y="503"/>
                    </a:cxn>
                    <a:cxn ang="0">
                      <a:pos x="125" y="525"/>
                    </a:cxn>
                    <a:cxn ang="0">
                      <a:pos x="72" y="533"/>
                    </a:cxn>
                    <a:cxn ang="0">
                      <a:pos x="46" y="528"/>
                    </a:cxn>
                    <a:cxn ang="0">
                      <a:pos x="50" y="498"/>
                    </a:cxn>
                    <a:cxn ang="0">
                      <a:pos x="52" y="479"/>
                    </a:cxn>
                    <a:cxn ang="0">
                      <a:pos x="44" y="449"/>
                    </a:cxn>
                    <a:cxn ang="0">
                      <a:pos x="25" y="429"/>
                    </a:cxn>
                    <a:cxn ang="0">
                      <a:pos x="11" y="415"/>
                    </a:cxn>
                    <a:cxn ang="0">
                      <a:pos x="0" y="409"/>
                    </a:cxn>
                  </a:cxnLst>
                  <a:rect l="0" t="0" r="r" b="b"/>
                  <a:pathLst>
                    <a:path w="518" h="534">
                      <a:moveTo>
                        <a:pt x="0" y="409"/>
                      </a:moveTo>
                      <a:lnTo>
                        <a:pt x="0" y="356"/>
                      </a:lnTo>
                      <a:lnTo>
                        <a:pt x="0" y="298"/>
                      </a:lnTo>
                      <a:lnTo>
                        <a:pt x="0" y="244"/>
                      </a:lnTo>
                      <a:lnTo>
                        <a:pt x="56" y="244"/>
                      </a:lnTo>
                      <a:lnTo>
                        <a:pt x="56" y="206"/>
                      </a:lnTo>
                      <a:lnTo>
                        <a:pt x="56" y="149"/>
                      </a:lnTo>
                      <a:lnTo>
                        <a:pt x="56" y="93"/>
                      </a:lnTo>
                      <a:lnTo>
                        <a:pt x="56" y="40"/>
                      </a:lnTo>
                      <a:lnTo>
                        <a:pt x="61" y="35"/>
                      </a:lnTo>
                      <a:lnTo>
                        <a:pt x="141" y="20"/>
                      </a:lnTo>
                      <a:lnTo>
                        <a:pt x="158" y="17"/>
                      </a:lnTo>
                      <a:lnTo>
                        <a:pt x="164" y="17"/>
                      </a:lnTo>
                      <a:lnTo>
                        <a:pt x="181" y="18"/>
                      </a:lnTo>
                      <a:lnTo>
                        <a:pt x="192" y="22"/>
                      </a:lnTo>
                      <a:lnTo>
                        <a:pt x="199" y="34"/>
                      </a:lnTo>
                      <a:lnTo>
                        <a:pt x="202" y="49"/>
                      </a:lnTo>
                      <a:lnTo>
                        <a:pt x="208" y="41"/>
                      </a:lnTo>
                      <a:lnTo>
                        <a:pt x="217" y="30"/>
                      </a:lnTo>
                      <a:lnTo>
                        <a:pt x="233" y="18"/>
                      </a:lnTo>
                      <a:lnTo>
                        <a:pt x="260" y="12"/>
                      </a:lnTo>
                      <a:lnTo>
                        <a:pt x="265" y="6"/>
                      </a:lnTo>
                      <a:lnTo>
                        <a:pt x="272" y="1"/>
                      </a:lnTo>
                      <a:lnTo>
                        <a:pt x="283" y="0"/>
                      </a:lnTo>
                      <a:lnTo>
                        <a:pt x="291" y="2"/>
                      </a:lnTo>
                      <a:lnTo>
                        <a:pt x="291" y="11"/>
                      </a:lnTo>
                      <a:lnTo>
                        <a:pt x="294" y="17"/>
                      </a:lnTo>
                      <a:lnTo>
                        <a:pt x="307" y="39"/>
                      </a:lnTo>
                      <a:lnTo>
                        <a:pt x="317" y="49"/>
                      </a:lnTo>
                      <a:lnTo>
                        <a:pt x="319" y="60"/>
                      </a:lnTo>
                      <a:lnTo>
                        <a:pt x="325" y="74"/>
                      </a:lnTo>
                      <a:lnTo>
                        <a:pt x="339" y="93"/>
                      </a:lnTo>
                      <a:lnTo>
                        <a:pt x="368" y="124"/>
                      </a:lnTo>
                      <a:lnTo>
                        <a:pt x="385" y="127"/>
                      </a:lnTo>
                      <a:lnTo>
                        <a:pt x="398" y="137"/>
                      </a:lnTo>
                      <a:lnTo>
                        <a:pt x="407" y="151"/>
                      </a:lnTo>
                      <a:lnTo>
                        <a:pt x="420" y="154"/>
                      </a:lnTo>
                      <a:lnTo>
                        <a:pt x="431" y="164"/>
                      </a:lnTo>
                      <a:lnTo>
                        <a:pt x="431" y="185"/>
                      </a:lnTo>
                      <a:lnTo>
                        <a:pt x="434" y="205"/>
                      </a:lnTo>
                      <a:lnTo>
                        <a:pt x="441" y="218"/>
                      </a:lnTo>
                      <a:lnTo>
                        <a:pt x="449" y="227"/>
                      </a:lnTo>
                      <a:lnTo>
                        <a:pt x="458" y="232"/>
                      </a:lnTo>
                      <a:lnTo>
                        <a:pt x="470" y="234"/>
                      </a:lnTo>
                      <a:lnTo>
                        <a:pt x="484" y="234"/>
                      </a:lnTo>
                      <a:lnTo>
                        <a:pt x="497" y="240"/>
                      </a:lnTo>
                      <a:lnTo>
                        <a:pt x="507" y="244"/>
                      </a:lnTo>
                      <a:lnTo>
                        <a:pt x="518" y="253"/>
                      </a:lnTo>
                      <a:lnTo>
                        <a:pt x="517" y="256"/>
                      </a:lnTo>
                      <a:lnTo>
                        <a:pt x="506" y="261"/>
                      </a:lnTo>
                      <a:lnTo>
                        <a:pt x="492" y="270"/>
                      </a:lnTo>
                      <a:lnTo>
                        <a:pt x="454" y="288"/>
                      </a:lnTo>
                      <a:lnTo>
                        <a:pt x="438" y="305"/>
                      </a:lnTo>
                      <a:lnTo>
                        <a:pt x="418" y="318"/>
                      </a:lnTo>
                      <a:lnTo>
                        <a:pt x="399" y="336"/>
                      </a:lnTo>
                      <a:lnTo>
                        <a:pt x="388" y="352"/>
                      </a:lnTo>
                      <a:lnTo>
                        <a:pt x="371" y="377"/>
                      </a:lnTo>
                      <a:lnTo>
                        <a:pt x="344" y="396"/>
                      </a:lnTo>
                      <a:lnTo>
                        <a:pt x="329" y="415"/>
                      </a:lnTo>
                      <a:lnTo>
                        <a:pt x="314" y="449"/>
                      </a:lnTo>
                      <a:lnTo>
                        <a:pt x="309" y="455"/>
                      </a:lnTo>
                      <a:lnTo>
                        <a:pt x="301" y="459"/>
                      </a:lnTo>
                      <a:lnTo>
                        <a:pt x="290" y="460"/>
                      </a:lnTo>
                      <a:lnTo>
                        <a:pt x="265" y="466"/>
                      </a:lnTo>
                      <a:lnTo>
                        <a:pt x="250" y="465"/>
                      </a:lnTo>
                      <a:lnTo>
                        <a:pt x="227" y="452"/>
                      </a:lnTo>
                      <a:lnTo>
                        <a:pt x="215" y="447"/>
                      </a:lnTo>
                      <a:lnTo>
                        <a:pt x="201" y="445"/>
                      </a:lnTo>
                      <a:lnTo>
                        <a:pt x="189" y="449"/>
                      </a:lnTo>
                      <a:lnTo>
                        <a:pt x="170" y="469"/>
                      </a:lnTo>
                      <a:lnTo>
                        <a:pt x="163" y="477"/>
                      </a:lnTo>
                      <a:lnTo>
                        <a:pt x="161" y="485"/>
                      </a:lnTo>
                      <a:lnTo>
                        <a:pt x="152" y="496"/>
                      </a:lnTo>
                      <a:lnTo>
                        <a:pt x="140" y="503"/>
                      </a:lnTo>
                      <a:lnTo>
                        <a:pt x="135" y="508"/>
                      </a:lnTo>
                      <a:lnTo>
                        <a:pt x="125" y="525"/>
                      </a:lnTo>
                      <a:lnTo>
                        <a:pt x="90" y="534"/>
                      </a:lnTo>
                      <a:lnTo>
                        <a:pt x="72" y="533"/>
                      </a:lnTo>
                      <a:lnTo>
                        <a:pt x="56" y="530"/>
                      </a:lnTo>
                      <a:lnTo>
                        <a:pt x="46" y="528"/>
                      </a:lnTo>
                      <a:lnTo>
                        <a:pt x="43" y="519"/>
                      </a:lnTo>
                      <a:lnTo>
                        <a:pt x="50" y="498"/>
                      </a:lnTo>
                      <a:lnTo>
                        <a:pt x="52" y="485"/>
                      </a:lnTo>
                      <a:lnTo>
                        <a:pt x="52" y="479"/>
                      </a:lnTo>
                      <a:lnTo>
                        <a:pt x="51" y="461"/>
                      </a:lnTo>
                      <a:lnTo>
                        <a:pt x="44" y="449"/>
                      </a:lnTo>
                      <a:lnTo>
                        <a:pt x="30" y="438"/>
                      </a:lnTo>
                      <a:lnTo>
                        <a:pt x="25" y="429"/>
                      </a:lnTo>
                      <a:lnTo>
                        <a:pt x="13" y="418"/>
                      </a:lnTo>
                      <a:lnTo>
                        <a:pt x="11" y="415"/>
                      </a:lnTo>
                      <a:lnTo>
                        <a:pt x="5" y="409"/>
                      </a:lnTo>
                      <a:lnTo>
                        <a:pt x="0" y="40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46" name="Freeform 34"/>
                <p:cNvSpPr>
                  <a:spLocks noChangeAspect="1"/>
                </p:cNvSpPr>
                <p:nvPr/>
              </p:nvSpPr>
              <p:spPr bwMode="gray">
                <a:xfrm>
                  <a:off x="4498181" y="3470622"/>
                  <a:ext cx="128588" cy="96838"/>
                </a:xfrm>
                <a:custGeom>
                  <a:avLst/>
                  <a:gdLst/>
                  <a:ahLst/>
                  <a:cxnLst>
                    <a:cxn ang="0">
                      <a:pos x="174" y="17"/>
                    </a:cxn>
                    <a:cxn ang="0">
                      <a:pos x="146" y="18"/>
                    </a:cxn>
                    <a:cxn ang="0">
                      <a:pos x="119" y="11"/>
                    </a:cxn>
                    <a:cxn ang="0">
                      <a:pos x="101" y="3"/>
                    </a:cxn>
                    <a:cxn ang="0">
                      <a:pos x="80" y="14"/>
                    </a:cxn>
                    <a:cxn ang="0">
                      <a:pos x="67" y="27"/>
                    </a:cxn>
                    <a:cxn ang="0">
                      <a:pos x="69" y="57"/>
                    </a:cxn>
                    <a:cxn ang="0">
                      <a:pos x="17" y="81"/>
                    </a:cxn>
                    <a:cxn ang="0">
                      <a:pos x="1" y="109"/>
                    </a:cxn>
                    <a:cxn ang="0">
                      <a:pos x="17" y="100"/>
                    </a:cxn>
                    <a:cxn ang="0">
                      <a:pos x="31" y="128"/>
                    </a:cxn>
                    <a:cxn ang="0">
                      <a:pos x="66" y="159"/>
                    </a:cxn>
                    <a:cxn ang="0">
                      <a:pos x="88" y="190"/>
                    </a:cxn>
                    <a:cxn ang="0">
                      <a:pos x="104" y="203"/>
                    </a:cxn>
                    <a:cxn ang="0">
                      <a:pos x="124" y="191"/>
                    </a:cxn>
                    <a:cxn ang="0">
                      <a:pos x="142" y="168"/>
                    </a:cxn>
                    <a:cxn ang="0">
                      <a:pos x="161" y="159"/>
                    </a:cxn>
                    <a:cxn ang="0">
                      <a:pos x="211" y="153"/>
                    </a:cxn>
                    <a:cxn ang="0">
                      <a:pos x="230" y="175"/>
                    </a:cxn>
                    <a:cxn ang="0">
                      <a:pos x="241" y="187"/>
                    </a:cxn>
                    <a:cxn ang="0">
                      <a:pos x="241" y="202"/>
                    </a:cxn>
                    <a:cxn ang="0">
                      <a:pos x="249" y="223"/>
                    </a:cxn>
                    <a:cxn ang="0">
                      <a:pos x="252" y="239"/>
                    </a:cxn>
                    <a:cxn ang="0">
                      <a:pos x="264" y="240"/>
                    </a:cxn>
                    <a:cxn ang="0">
                      <a:pos x="281" y="238"/>
                    </a:cxn>
                    <a:cxn ang="0">
                      <a:pos x="297" y="239"/>
                    </a:cxn>
                    <a:cxn ang="0">
                      <a:pos x="313" y="273"/>
                    </a:cxn>
                    <a:cxn ang="0">
                      <a:pos x="306" y="298"/>
                    </a:cxn>
                    <a:cxn ang="0">
                      <a:pos x="327" y="307"/>
                    </a:cxn>
                    <a:cxn ang="0">
                      <a:pos x="348" y="292"/>
                    </a:cxn>
                    <a:cxn ang="0">
                      <a:pos x="365" y="286"/>
                    </a:cxn>
                    <a:cxn ang="0">
                      <a:pos x="384" y="262"/>
                    </a:cxn>
                    <a:cxn ang="0">
                      <a:pos x="386" y="251"/>
                    </a:cxn>
                    <a:cxn ang="0">
                      <a:pos x="375" y="239"/>
                    </a:cxn>
                    <a:cxn ang="0">
                      <a:pos x="394" y="239"/>
                    </a:cxn>
                    <a:cxn ang="0">
                      <a:pos x="403" y="235"/>
                    </a:cxn>
                    <a:cxn ang="0">
                      <a:pos x="393" y="219"/>
                    </a:cxn>
                    <a:cxn ang="0">
                      <a:pos x="400" y="203"/>
                    </a:cxn>
                    <a:cxn ang="0">
                      <a:pos x="380" y="183"/>
                    </a:cxn>
                    <a:cxn ang="0">
                      <a:pos x="382" y="149"/>
                    </a:cxn>
                    <a:cxn ang="0">
                      <a:pos x="382" y="131"/>
                    </a:cxn>
                    <a:cxn ang="0">
                      <a:pos x="370" y="93"/>
                    </a:cxn>
                    <a:cxn ang="0">
                      <a:pos x="351" y="92"/>
                    </a:cxn>
                    <a:cxn ang="0">
                      <a:pos x="364" y="79"/>
                    </a:cxn>
                    <a:cxn ang="0">
                      <a:pos x="357" y="70"/>
                    </a:cxn>
                    <a:cxn ang="0">
                      <a:pos x="343" y="41"/>
                    </a:cxn>
                    <a:cxn ang="0">
                      <a:pos x="334" y="28"/>
                    </a:cxn>
                    <a:cxn ang="0">
                      <a:pos x="328" y="12"/>
                    </a:cxn>
                    <a:cxn ang="0">
                      <a:pos x="312" y="12"/>
                    </a:cxn>
                    <a:cxn ang="0">
                      <a:pos x="294" y="38"/>
                    </a:cxn>
                    <a:cxn ang="0">
                      <a:pos x="255" y="33"/>
                    </a:cxn>
                    <a:cxn ang="0">
                      <a:pos x="230" y="30"/>
                    </a:cxn>
                    <a:cxn ang="0">
                      <a:pos x="208" y="39"/>
                    </a:cxn>
                    <a:cxn ang="0">
                      <a:pos x="203" y="19"/>
                    </a:cxn>
                  </a:cxnLst>
                  <a:rect l="0" t="0" r="r" b="b"/>
                  <a:pathLst>
                    <a:path w="404" h="307">
                      <a:moveTo>
                        <a:pt x="205" y="15"/>
                      </a:moveTo>
                      <a:lnTo>
                        <a:pt x="195" y="15"/>
                      </a:lnTo>
                      <a:lnTo>
                        <a:pt x="189" y="18"/>
                      </a:lnTo>
                      <a:lnTo>
                        <a:pt x="185" y="18"/>
                      </a:lnTo>
                      <a:lnTo>
                        <a:pt x="174" y="17"/>
                      </a:lnTo>
                      <a:lnTo>
                        <a:pt x="172" y="18"/>
                      </a:lnTo>
                      <a:lnTo>
                        <a:pt x="165" y="18"/>
                      </a:lnTo>
                      <a:lnTo>
                        <a:pt x="157" y="20"/>
                      </a:lnTo>
                      <a:lnTo>
                        <a:pt x="151" y="20"/>
                      </a:lnTo>
                      <a:lnTo>
                        <a:pt x="146" y="18"/>
                      </a:lnTo>
                      <a:lnTo>
                        <a:pt x="142" y="18"/>
                      </a:lnTo>
                      <a:lnTo>
                        <a:pt x="135" y="15"/>
                      </a:lnTo>
                      <a:lnTo>
                        <a:pt x="128" y="15"/>
                      </a:lnTo>
                      <a:lnTo>
                        <a:pt x="122" y="9"/>
                      </a:lnTo>
                      <a:lnTo>
                        <a:pt x="119" y="11"/>
                      </a:lnTo>
                      <a:lnTo>
                        <a:pt x="119" y="14"/>
                      </a:lnTo>
                      <a:lnTo>
                        <a:pt x="112" y="13"/>
                      </a:lnTo>
                      <a:lnTo>
                        <a:pt x="112" y="7"/>
                      </a:lnTo>
                      <a:lnTo>
                        <a:pt x="109" y="4"/>
                      </a:lnTo>
                      <a:lnTo>
                        <a:pt x="101" y="3"/>
                      </a:lnTo>
                      <a:lnTo>
                        <a:pt x="95" y="4"/>
                      </a:lnTo>
                      <a:lnTo>
                        <a:pt x="90" y="1"/>
                      </a:lnTo>
                      <a:lnTo>
                        <a:pt x="76" y="0"/>
                      </a:lnTo>
                      <a:lnTo>
                        <a:pt x="76" y="7"/>
                      </a:lnTo>
                      <a:lnTo>
                        <a:pt x="80" y="14"/>
                      </a:lnTo>
                      <a:lnTo>
                        <a:pt x="80" y="18"/>
                      </a:lnTo>
                      <a:lnTo>
                        <a:pt x="77" y="24"/>
                      </a:lnTo>
                      <a:lnTo>
                        <a:pt x="75" y="25"/>
                      </a:lnTo>
                      <a:lnTo>
                        <a:pt x="69" y="25"/>
                      </a:lnTo>
                      <a:lnTo>
                        <a:pt x="67" y="27"/>
                      </a:lnTo>
                      <a:lnTo>
                        <a:pt x="65" y="30"/>
                      </a:lnTo>
                      <a:lnTo>
                        <a:pt x="71" y="34"/>
                      </a:lnTo>
                      <a:lnTo>
                        <a:pt x="74" y="39"/>
                      </a:lnTo>
                      <a:lnTo>
                        <a:pt x="75" y="57"/>
                      </a:lnTo>
                      <a:lnTo>
                        <a:pt x="69" y="57"/>
                      </a:lnTo>
                      <a:lnTo>
                        <a:pt x="65" y="60"/>
                      </a:lnTo>
                      <a:lnTo>
                        <a:pt x="45" y="60"/>
                      </a:lnTo>
                      <a:lnTo>
                        <a:pt x="28" y="67"/>
                      </a:lnTo>
                      <a:lnTo>
                        <a:pt x="21" y="73"/>
                      </a:lnTo>
                      <a:lnTo>
                        <a:pt x="17" y="81"/>
                      </a:lnTo>
                      <a:lnTo>
                        <a:pt x="13" y="89"/>
                      </a:lnTo>
                      <a:lnTo>
                        <a:pt x="11" y="93"/>
                      </a:lnTo>
                      <a:lnTo>
                        <a:pt x="6" y="97"/>
                      </a:lnTo>
                      <a:lnTo>
                        <a:pt x="0" y="99"/>
                      </a:lnTo>
                      <a:lnTo>
                        <a:pt x="1" y="109"/>
                      </a:lnTo>
                      <a:lnTo>
                        <a:pt x="5" y="110"/>
                      </a:lnTo>
                      <a:lnTo>
                        <a:pt x="7" y="110"/>
                      </a:lnTo>
                      <a:lnTo>
                        <a:pt x="10" y="109"/>
                      </a:lnTo>
                      <a:lnTo>
                        <a:pt x="13" y="101"/>
                      </a:lnTo>
                      <a:lnTo>
                        <a:pt x="17" y="100"/>
                      </a:lnTo>
                      <a:lnTo>
                        <a:pt x="17" y="100"/>
                      </a:lnTo>
                      <a:lnTo>
                        <a:pt x="21" y="114"/>
                      </a:lnTo>
                      <a:lnTo>
                        <a:pt x="29" y="115"/>
                      </a:lnTo>
                      <a:lnTo>
                        <a:pt x="31" y="116"/>
                      </a:lnTo>
                      <a:lnTo>
                        <a:pt x="31" y="128"/>
                      </a:lnTo>
                      <a:lnTo>
                        <a:pt x="36" y="141"/>
                      </a:lnTo>
                      <a:lnTo>
                        <a:pt x="39" y="146"/>
                      </a:lnTo>
                      <a:lnTo>
                        <a:pt x="47" y="148"/>
                      </a:lnTo>
                      <a:lnTo>
                        <a:pt x="55" y="154"/>
                      </a:lnTo>
                      <a:lnTo>
                        <a:pt x="66" y="159"/>
                      </a:lnTo>
                      <a:lnTo>
                        <a:pt x="74" y="168"/>
                      </a:lnTo>
                      <a:lnTo>
                        <a:pt x="75" y="179"/>
                      </a:lnTo>
                      <a:lnTo>
                        <a:pt x="83" y="183"/>
                      </a:lnTo>
                      <a:lnTo>
                        <a:pt x="86" y="187"/>
                      </a:lnTo>
                      <a:lnTo>
                        <a:pt x="88" y="190"/>
                      </a:lnTo>
                      <a:lnTo>
                        <a:pt x="88" y="192"/>
                      </a:lnTo>
                      <a:lnTo>
                        <a:pt x="93" y="195"/>
                      </a:lnTo>
                      <a:lnTo>
                        <a:pt x="97" y="200"/>
                      </a:lnTo>
                      <a:lnTo>
                        <a:pt x="98" y="201"/>
                      </a:lnTo>
                      <a:lnTo>
                        <a:pt x="104" y="203"/>
                      </a:lnTo>
                      <a:lnTo>
                        <a:pt x="110" y="203"/>
                      </a:lnTo>
                      <a:lnTo>
                        <a:pt x="113" y="202"/>
                      </a:lnTo>
                      <a:lnTo>
                        <a:pt x="115" y="201"/>
                      </a:lnTo>
                      <a:lnTo>
                        <a:pt x="119" y="191"/>
                      </a:lnTo>
                      <a:lnTo>
                        <a:pt x="124" y="191"/>
                      </a:lnTo>
                      <a:lnTo>
                        <a:pt x="128" y="189"/>
                      </a:lnTo>
                      <a:lnTo>
                        <a:pt x="128" y="184"/>
                      </a:lnTo>
                      <a:lnTo>
                        <a:pt x="133" y="183"/>
                      </a:lnTo>
                      <a:lnTo>
                        <a:pt x="139" y="175"/>
                      </a:lnTo>
                      <a:lnTo>
                        <a:pt x="142" y="168"/>
                      </a:lnTo>
                      <a:lnTo>
                        <a:pt x="141" y="159"/>
                      </a:lnTo>
                      <a:lnTo>
                        <a:pt x="145" y="158"/>
                      </a:lnTo>
                      <a:lnTo>
                        <a:pt x="153" y="157"/>
                      </a:lnTo>
                      <a:lnTo>
                        <a:pt x="157" y="159"/>
                      </a:lnTo>
                      <a:lnTo>
                        <a:pt x="161" y="159"/>
                      </a:lnTo>
                      <a:lnTo>
                        <a:pt x="166" y="157"/>
                      </a:lnTo>
                      <a:lnTo>
                        <a:pt x="172" y="157"/>
                      </a:lnTo>
                      <a:lnTo>
                        <a:pt x="172" y="152"/>
                      </a:lnTo>
                      <a:lnTo>
                        <a:pt x="198" y="152"/>
                      </a:lnTo>
                      <a:lnTo>
                        <a:pt x="211" y="153"/>
                      </a:lnTo>
                      <a:lnTo>
                        <a:pt x="215" y="160"/>
                      </a:lnTo>
                      <a:lnTo>
                        <a:pt x="221" y="164"/>
                      </a:lnTo>
                      <a:lnTo>
                        <a:pt x="225" y="169"/>
                      </a:lnTo>
                      <a:lnTo>
                        <a:pt x="230" y="173"/>
                      </a:lnTo>
                      <a:lnTo>
                        <a:pt x="230" y="175"/>
                      </a:lnTo>
                      <a:lnTo>
                        <a:pt x="232" y="179"/>
                      </a:lnTo>
                      <a:lnTo>
                        <a:pt x="231" y="181"/>
                      </a:lnTo>
                      <a:lnTo>
                        <a:pt x="231" y="184"/>
                      </a:lnTo>
                      <a:lnTo>
                        <a:pt x="238" y="186"/>
                      </a:lnTo>
                      <a:lnTo>
                        <a:pt x="241" y="187"/>
                      </a:lnTo>
                      <a:lnTo>
                        <a:pt x="241" y="190"/>
                      </a:lnTo>
                      <a:lnTo>
                        <a:pt x="239" y="192"/>
                      </a:lnTo>
                      <a:lnTo>
                        <a:pt x="241" y="197"/>
                      </a:lnTo>
                      <a:lnTo>
                        <a:pt x="239" y="197"/>
                      </a:lnTo>
                      <a:lnTo>
                        <a:pt x="241" y="202"/>
                      </a:lnTo>
                      <a:lnTo>
                        <a:pt x="242" y="205"/>
                      </a:lnTo>
                      <a:lnTo>
                        <a:pt x="247" y="208"/>
                      </a:lnTo>
                      <a:lnTo>
                        <a:pt x="248" y="212"/>
                      </a:lnTo>
                      <a:lnTo>
                        <a:pt x="251" y="222"/>
                      </a:lnTo>
                      <a:lnTo>
                        <a:pt x="249" y="223"/>
                      </a:lnTo>
                      <a:lnTo>
                        <a:pt x="244" y="226"/>
                      </a:lnTo>
                      <a:lnTo>
                        <a:pt x="242" y="237"/>
                      </a:lnTo>
                      <a:lnTo>
                        <a:pt x="239" y="242"/>
                      </a:lnTo>
                      <a:lnTo>
                        <a:pt x="239" y="244"/>
                      </a:lnTo>
                      <a:lnTo>
                        <a:pt x="252" y="239"/>
                      </a:lnTo>
                      <a:lnTo>
                        <a:pt x="258" y="234"/>
                      </a:lnTo>
                      <a:lnTo>
                        <a:pt x="259" y="234"/>
                      </a:lnTo>
                      <a:lnTo>
                        <a:pt x="260" y="237"/>
                      </a:lnTo>
                      <a:lnTo>
                        <a:pt x="260" y="240"/>
                      </a:lnTo>
                      <a:lnTo>
                        <a:pt x="264" y="240"/>
                      </a:lnTo>
                      <a:lnTo>
                        <a:pt x="266" y="234"/>
                      </a:lnTo>
                      <a:lnTo>
                        <a:pt x="270" y="232"/>
                      </a:lnTo>
                      <a:lnTo>
                        <a:pt x="274" y="233"/>
                      </a:lnTo>
                      <a:lnTo>
                        <a:pt x="280" y="238"/>
                      </a:lnTo>
                      <a:lnTo>
                        <a:pt x="281" y="238"/>
                      </a:lnTo>
                      <a:lnTo>
                        <a:pt x="284" y="235"/>
                      </a:lnTo>
                      <a:lnTo>
                        <a:pt x="292" y="233"/>
                      </a:lnTo>
                      <a:lnTo>
                        <a:pt x="295" y="234"/>
                      </a:lnTo>
                      <a:lnTo>
                        <a:pt x="295" y="235"/>
                      </a:lnTo>
                      <a:lnTo>
                        <a:pt x="297" y="239"/>
                      </a:lnTo>
                      <a:lnTo>
                        <a:pt x="305" y="244"/>
                      </a:lnTo>
                      <a:lnTo>
                        <a:pt x="305" y="251"/>
                      </a:lnTo>
                      <a:lnTo>
                        <a:pt x="309" y="257"/>
                      </a:lnTo>
                      <a:lnTo>
                        <a:pt x="311" y="271"/>
                      </a:lnTo>
                      <a:lnTo>
                        <a:pt x="313" y="273"/>
                      </a:lnTo>
                      <a:lnTo>
                        <a:pt x="312" y="288"/>
                      </a:lnTo>
                      <a:lnTo>
                        <a:pt x="309" y="292"/>
                      </a:lnTo>
                      <a:lnTo>
                        <a:pt x="306" y="294"/>
                      </a:lnTo>
                      <a:lnTo>
                        <a:pt x="305" y="297"/>
                      </a:lnTo>
                      <a:lnTo>
                        <a:pt x="306" y="298"/>
                      </a:lnTo>
                      <a:lnTo>
                        <a:pt x="311" y="298"/>
                      </a:lnTo>
                      <a:lnTo>
                        <a:pt x="314" y="294"/>
                      </a:lnTo>
                      <a:lnTo>
                        <a:pt x="317" y="296"/>
                      </a:lnTo>
                      <a:lnTo>
                        <a:pt x="322" y="299"/>
                      </a:lnTo>
                      <a:lnTo>
                        <a:pt x="327" y="307"/>
                      </a:lnTo>
                      <a:lnTo>
                        <a:pt x="332" y="305"/>
                      </a:lnTo>
                      <a:lnTo>
                        <a:pt x="334" y="303"/>
                      </a:lnTo>
                      <a:lnTo>
                        <a:pt x="341" y="302"/>
                      </a:lnTo>
                      <a:lnTo>
                        <a:pt x="343" y="298"/>
                      </a:lnTo>
                      <a:lnTo>
                        <a:pt x="348" y="292"/>
                      </a:lnTo>
                      <a:lnTo>
                        <a:pt x="348" y="283"/>
                      </a:lnTo>
                      <a:lnTo>
                        <a:pt x="351" y="281"/>
                      </a:lnTo>
                      <a:lnTo>
                        <a:pt x="357" y="282"/>
                      </a:lnTo>
                      <a:lnTo>
                        <a:pt x="361" y="288"/>
                      </a:lnTo>
                      <a:lnTo>
                        <a:pt x="365" y="286"/>
                      </a:lnTo>
                      <a:lnTo>
                        <a:pt x="378" y="287"/>
                      </a:lnTo>
                      <a:lnTo>
                        <a:pt x="378" y="282"/>
                      </a:lnTo>
                      <a:lnTo>
                        <a:pt x="383" y="276"/>
                      </a:lnTo>
                      <a:lnTo>
                        <a:pt x="383" y="267"/>
                      </a:lnTo>
                      <a:lnTo>
                        <a:pt x="384" y="262"/>
                      </a:lnTo>
                      <a:lnTo>
                        <a:pt x="389" y="260"/>
                      </a:lnTo>
                      <a:lnTo>
                        <a:pt x="388" y="257"/>
                      </a:lnTo>
                      <a:lnTo>
                        <a:pt x="386" y="257"/>
                      </a:lnTo>
                      <a:lnTo>
                        <a:pt x="387" y="255"/>
                      </a:lnTo>
                      <a:lnTo>
                        <a:pt x="386" y="251"/>
                      </a:lnTo>
                      <a:lnTo>
                        <a:pt x="382" y="251"/>
                      </a:lnTo>
                      <a:lnTo>
                        <a:pt x="376" y="251"/>
                      </a:lnTo>
                      <a:lnTo>
                        <a:pt x="373" y="249"/>
                      </a:lnTo>
                      <a:lnTo>
                        <a:pt x="376" y="244"/>
                      </a:lnTo>
                      <a:lnTo>
                        <a:pt x="375" y="239"/>
                      </a:lnTo>
                      <a:lnTo>
                        <a:pt x="373" y="239"/>
                      </a:lnTo>
                      <a:lnTo>
                        <a:pt x="373" y="238"/>
                      </a:lnTo>
                      <a:lnTo>
                        <a:pt x="382" y="234"/>
                      </a:lnTo>
                      <a:lnTo>
                        <a:pt x="391" y="235"/>
                      </a:lnTo>
                      <a:lnTo>
                        <a:pt x="394" y="239"/>
                      </a:lnTo>
                      <a:lnTo>
                        <a:pt x="397" y="239"/>
                      </a:lnTo>
                      <a:lnTo>
                        <a:pt x="400" y="238"/>
                      </a:lnTo>
                      <a:lnTo>
                        <a:pt x="403" y="244"/>
                      </a:lnTo>
                      <a:lnTo>
                        <a:pt x="404" y="244"/>
                      </a:lnTo>
                      <a:lnTo>
                        <a:pt x="403" y="235"/>
                      </a:lnTo>
                      <a:lnTo>
                        <a:pt x="403" y="230"/>
                      </a:lnTo>
                      <a:lnTo>
                        <a:pt x="400" y="227"/>
                      </a:lnTo>
                      <a:lnTo>
                        <a:pt x="400" y="221"/>
                      </a:lnTo>
                      <a:lnTo>
                        <a:pt x="397" y="221"/>
                      </a:lnTo>
                      <a:lnTo>
                        <a:pt x="393" y="219"/>
                      </a:lnTo>
                      <a:lnTo>
                        <a:pt x="391" y="219"/>
                      </a:lnTo>
                      <a:lnTo>
                        <a:pt x="394" y="211"/>
                      </a:lnTo>
                      <a:lnTo>
                        <a:pt x="398" y="207"/>
                      </a:lnTo>
                      <a:lnTo>
                        <a:pt x="400" y="206"/>
                      </a:lnTo>
                      <a:lnTo>
                        <a:pt x="400" y="203"/>
                      </a:lnTo>
                      <a:lnTo>
                        <a:pt x="397" y="199"/>
                      </a:lnTo>
                      <a:lnTo>
                        <a:pt x="393" y="200"/>
                      </a:lnTo>
                      <a:lnTo>
                        <a:pt x="394" y="186"/>
                      </a:lnTo>
                      <a:lnTo>
                        <a:pt x="387" y="186"/>
                      </a:lnTo>
                      <a:lnTo>
                        <a:pt x="380" y="183"/>
                      </a:lnTo>
                      <a:lnTo>
                        <a:pt x="380" y="180"/>
                      </a:lnTo>
                      <a:lnTo>
                        <a:pt x="380" y="163"/>
                      </a:lnTo>
                      <a:lnTo>
                        <a:pt x="378" y="154"/>
                      </a:lnTo>
                      <a:lnTo>
                        <a:pt x="381" y="152"/>
                      </a:lnTo>
                      <a:lnTo>
                        <a:pt x="382" y="149"/>
                      </a:lnTo>
                      <a:lnTo>
                        <a:pt x="388" y="142"/>
                      </a:lnTo>
                      <a:lnTo>
                        <a:pt x="389" y="140"/>
                      </a:lnTo>
                      <a:lnTo>
                        <a:pt x="389" y="137"/>
                      </a:lnTo>
                      <a:lnTo>
                        <a:pt x="387" y="133"/>
                      </a:lnTo>
                      <a:lnTo>
                        <a:pt x="382" y="131"/>
                      </a:lnTo>
                      <a:lnTo>
                        <a:pt x="380" y="126"/>
                      </a:lnTo>
                      <a:lnTo>
                        <a:pt x="375" y="126"/>
                      </a:lnTo>
                      <a:lnTo>
                        <a:pt x="371" y="120"/>
                      </a:lnTo>
                      <a:lnTo>
                        <a:pt x="370" y="97"/>
                      </a:lnTo>
                      <a:lnTo>
                        <a:pt x="370" y="93"/>
                      </a:lnTo>
                      <a:lnTo>
                        <a:pt x="365" y="92"/>
                      </a:lnTo>
                      <a:lnTo>
                        <a:pt x="360" y="92"/>
                      </a:lnTo>
                      <a:lnTo>
                        <a:pt x="354" y="99"/>
                      </a:lnTo>
                      <a:lnTo>
                        <a:pt x="351" y="99"/>
                      </a:lnTo>
                      <a:lnTo>
                        <a:pt x="351" y="92"/>
                      </a:lnTo>
                      <a:lnTo>
                        <a:pt x="352" y="89"/>
                      </a:lnTo>
                      <a:lnTo>
                        <a:pt x="357" y="88"/>
                      </a:lnTo>
                      <a:lnTo>
                        <a:pt x="357" y="83"/>
                      </a:lnTo>
                      <a:lnTo>
                        <a:pt x="361" y="83"/>
                      </a:lnTo>
                      <a:lnTo>
                        <a:pt x="364" y="79"/>
                      </a:lnTo>
                      <a:lnTo>
                        <a:pt x="367" y="79"/>
                      </a:lnTo>
                      <a:lnTo>
                        <a:pt x="367" y="73"/>
                      </a:lnTo>
                      <a:lnTo>
                        <a:pt x="366" y="72"/>
                      </a:lnTo>
                      <a:lnTo>
                        <a:pt x="361" y="72"/>
                      </a:lnTo>
                      <a:lnTo>
                        <a:pt x="357" y="70"/>
                      </a:lnTo>
                      <a:lnTo>
                        <a:pt x="354" y="67"/>
                      </a:lnTo>
                      <a:lnTo>
                        <a:pt x="349" y="57"/>
                      </a:lnTo>
                      <a:lnTo>
                        <a:pt x="344" y="60"/>
                      </a:lnTo>
                      <a:lnTo>
                        <a:pt x="343" y="58"/>
                      </a:lnTo>
                      <a:lnTo>
                        <a:pt x="343" y="41"/>
                      </a:lnTo>
                      <a:lnTo>
                        <a:pt x="341" y="36"/>
                      </a:lnTo>
                      <a:lnTo>
                        <a:pt x="339" y="36"/>
                      </a:lnTo>
                      <a:lnTo>
                        <a:pt x="339" y="30"/>
                      </a:lnTo>
                      <a:lnTo>
                        <a:pt x="338" y="28"/>
                      </a:lnTo>
                      <a:lnTo>
                        <a:pt x="334" y="28"/>
                      </a:lnTo>
                      <a:lnTo>
                        <a:pt x="333" y="28"/>
                      </a:lnTo>
                      <a:lnTo>
                        <a:pt x="334" y="15"/>
                      </a:lnTo>
                      <a:lnTo>
                        <a:pt x="334" y="14"/>
                      </a:lnTo>
                      <a:lnTo>
                        <a:pt x="330" y="12"/>
                      </a:lnTo>
                      <a:lnTo>
                        <a:pt x="328" y="12"/>
                      </a:lnTo>
                      <a:lnTo>
                        <a:pt x="324" y="15"/>
                      </a:lnTo>
                      <a:lnTo>
                        <a:pt x="323" y="15"/>
                      </a:lnTo>
                      <a:lnTo>
                        <a:pt x="316" y="11"/>
                      </a:lnTo>
                      <a:lnTo>
                        <a:pt x="313" y="11"/>
                      </a:lnTo>
                      <a:lnTo>
                        <a:pt x="312" y="12"/>
                      </a:lnTo>
                      <a:lnTo>
                        <a:pt x="312" y="20"/>
                      </a:lnTo>
                      <a:lnTo>
                        <a:pt x="309" y="24"/>
                      </a:lnTo>
                      <a:lnTo>
                        <a:pt x="296" y="28"/>
                      </a:lnTo>
                      <a:lnTo>
                        <a:pt x="296" y="34"/>
                      </a:lnTo>
                      <a:lnTo>
                        <a:pt x="294" y="38"/>
                      </a:lnTo>
                      <a:lnTo>
                        <a:pt x="280" y="34"/>
                      </a:lnTo>
                      <a:lnTo>
                        <a:pt x="270" y="28"/>
                      </a:lnTo>
                      <a:lnTo>
                        <a:pt x="262" y="27"/>
                      </a:lnTo>
                      <a:lnTo>
                        <a:pt x="259" y="27"/>
                      </a:lnTo>
                      <a:lnTo>
                        <a:pt x="255" y="33"/>
                      </a:lnTo>
                      <a:lnTo>
                        <a:pt x="249" y="34"/>
                      </a:lnTo>
                      <a:lnTo>
                        <a:pt x="247" y="40"/>
                      </a:lnTo>
                      <a:lnTo>
                        <a:pt x="243" y="44"/>
                      </a:lnTo>
                      <a:lnTo>
                        <a:pt x="238" y="41"/>
                      </a:lnTo>
                      <a:lnTo>
                        <a:pt x="230" y="30"/>
                      </a:lnTo>
                      <a:lnTo>
                        <a:pt x="227" y="28"/>
                      </a:lnTo>
                      <a:lnTo>
                        <a:pt x="222" y="28"/>
                      </a:lnTo>
                      <a:lnTo>
                        <a:pt x="216" y="34"/>
                      </a:lnTo>
                      <a:lnTo>
                        <a:pt x="212" y="38"/>
                      </a:lnTo>
                      <a:lnTo>
                        <a:pt x="208" y="39"/>
                      </a:lnTo>
                      <a:lnTo>
                        <a:pt x="203" y="35"/>
                      </a:lnTo>
                      <a:lnTo>
                        <a:pt x="198" y="31"/>
                      </a:lnTo>
                      <a:lnTo>
                        <a:pt x="199" y="28"/>
                      </a:lnTo>
                      <a:lnTo>
                        <a:pt x="203" y="23"/>
                      </a:lnTo>
                      <a:lnTo>
                        <a:pt x="203" y="19"/>
                      </a:lnTo>
                      <a:lnTo>
                        <a:pt x="205" y="1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47" name="Freeform 35"/>
                <p:cNvSpPr>
                  <a:spLocks noChangeAspect="1"/>
                </p:cNvSpPr>
                <p:nvPr/>
              </p:nvSpPr>
              <p:spPr bwMode="gray">
                <a:xfrm>
                  <a:off x="5010942" y="3499197"/>
                  <a:ext cx="228600" cy="144463"/>
                </a:xfrm>
                <a:custGeom>
                  <a:avLst/>
                  <a:gdLst/>
                  <a:ahLst/>
                  <a:cxnLst>
                    <a:cxn ang="0">
                      <a:pos x="433" y="6"/>
                    </a:cxn>
                    <a:cxn ang="0">
                      <a:pos x="405" y="15"/>
                    </a:cxn>
                    <a:cxn ang="0">
                      <a:pos x="393" y="44"/>
                    </a:cxn>
                    <a:cxn ang="0">
                      <a:pos x="378" y="58"/>
                    </a:cxn>
                    <a:cxn ang="0">
                      <a:pos x="355" y="87"/>
                    </a:cxn>
                    <a:cxn ang="0">
                      <a:pos x="331" y="102"/>
                    </a:cxn>
                    <a:cxn ang="0">
                      <a:pos x="317" y="106"/>
                    </a:cxn>
                    <a:cxn ang="0">
                      <a:pos x="292" y="109"/>
                    </a:cxn>
                    <a:cxn ang="0">
                      <a:pos x="259" y="113"/>
                    </a:cxn>
                    <a:cxn ang="0">
                      <a:pos x="245" y="122"/>
                    </a:cxn>
                    <a:cxn ang="0">
                      <a:pos x="254" y="136"/>
                    </a:cxn>
                    <a:cxn ang="0">
                      <a:pos x="244" y="152"/>
                    </a:cxn>
                    <a:cxn ang="0">
                      <a:pos x="232" y="159"/>
                    </a:cxn>
                    <a:cxn ang="0">
                      <a:pos x="205" y="166"/>
                    </a:cxn>
                    <a:cxn ang="0">
                      <a:pos x="183" y="170"/>
                    </a:cxn>
                    <a:cxn ang="0">
                      <a:pos x="153" y="183"/>
                    </a:cxn>
                    <a:cxn ang="0">
                      <a:pos x="136" y="192"/>
                    </a:cxn>
                    <a:cxn ang="0">
                      <a:pos x="123" y="184"/>
                    </a:cxn>
                    <a:cxn ang="0">
                      <a:pos x="113" y="177"/>
                    </a:cxn>
                    <a:cxn ang="0">
                      <a:pos x="105" y="187"/>
                    </a:cxn>
                    <a:cxn ang="0">
                      <a:pos x="77" y="198"/>
                    </a:cxn>
                    <a:cxn ang="0">
                      <a:pos x="60" y="197"/>
                    </a:cxn>
                    <a:cxn ang="0">
                      <a:pos x="38" y="226"/>
                    </a:cxn>
                    <a:cxn ang="0">
                      <a:pos x="11" y="272"/>
                    </a:cxn>
                    <a:cxn ang="0">
                      <a:pos x="3" y="310"/>
                    </a:cxn>
                    <a:cxn ang="0">
                      <a:pos x="13" y="361"/>
                    </a:cxn>
                    <a:cxn ang="0">
                      <a:pos x="58" y="431"/>
                    </a:cxn>
                    <a:cxn ang="0">
                      <a:pos x="97" y="437"/>
                    </a:cxn>
                    <a:cxn ang="0">
                      <a:pos x="157" y="404"/>
                    </a:cxn>
                    <a:cxn ang="0">
                      <a:pos x="207" y="416"/>
                    </a:cxn>
                    <a:cxn ang="0">
                      <a:pos x="241" y="402"/>
                    </a:cxn>
                    <a:cxn ang="0">
                      <a:pos x="242" y="360"/>
                    </a:cxn>
                    <a:cxn ang="0">
                      <a:pos x="263" y="334"/>
                    </a:cxn>
                    <a:cxn ang="0">
                      <a:pos x="306" y="324"/>
                    </a:cxn>
                    <a:cxn ang="0">
                      <a:pos x="336" y="361"/>
                    </a:cxn>
                    <a:cxn ang="0">
                      <a:pos x="365" y="365"/>
                    </a:cxn>
                    <a:cxn ang="0">
                      <a:pos x="446" y="367"/>
                    </a:cxn>
                    <a:cxn ang="0">
                      <a:pos x="480" y="345"/>
                    </a:cxn>
                    <a:cxn ang="0">
                      <a:pos x="518" y="339"/>
                    </a:cxn>
                    <a:cxn ang="0">
                      <a:pos x="561" y="328"/>
                    </a:cxn>
                    <a:cxn ang="0">
                      <a:pos x="569" y="337"/>
                    </a:cxn>
                    <a:cxn ang="0">
                      <a:pos x="592" y="322"/>
                    </a:cxn>
                    <a:cxn ang="0">
                      <a:pos x="650" y="318"/>
                    </a:cxn>
                    <a:cxn ang="0">
                      <a:pos x="682" y="334"/>
                    </a:cxn>
                    <a:cxn ang="0">
                      <a:pos x="712" y="316"/>
                    </a:cxn>
                    <a:cxn ang="0">
                      <a:pos x="675" y="276"/>
                    </a:cxn>
                    <a:cxn ang="0">
                      <a:pos x="657" y="253"/>
                    </a:cxn>
                    <a:cxn ang="0">
                      <a:pos x="637" y="226"/>
                    </a:cxn>
                    <a:cxn ang="0">
                      <a:pos x="593" y="192"/>
                    </a:cxn>
                    <a:cxn ang="0">
                      <a:pos x="587" y="166"/>
                    </a:cxn>
                    <a:cxn ang="0">
                      <a:pos x="546" y="152"/>
                    </a:cxn>
                    <a:cxn ang="0">
                      <a:pos x="517" y="129"/>
                    </a:cxn>
                    <a:cxn ang="0">
                      <a:pos x="494" y="105"/>
                    </a:cxn>
                    <a:cxn ang="0">
                      <a:pos x="496" y="55"/>
                    </a:cxn>
                    <a:cxn ang="0">
                      <a:pos x="453" y="0"/>
                    </a:cxn>
                  </a:cxnLst>
                  <a:rect l="0" t="0" r="r" b="b"/>
                  <a:pathLst>
                    <a:path w="718" h="451">
                      <a:moveTo>
                        <a:pt x="453" y="0"/>
                      </a:moveTo>
                      <a:lnTo>
                        <a:pt x="442" y="3"/>
                      </a:lnTo>
                      <a:lnTo>
                        <a:pt x="433" y="6"/>
                      </a:lnTo>
                      <a:lnTo>
                        <a:pt x="417" y="7"/>
                      </a:lnTo>
                      <a:lnTo>
                        <a:pt x="411" y="10"/>
                      </a:lnTo>
                      <a:lnTo>
                        <a:pt x="405" y="15"/>
                      </a:lnTo>
                      <a:lnTo>
                        <a:pt x="400" y="26"/>
                      </a:lnTo>
                      <a:lnTo>
                        <a:pt x="400" y="42"/>
                      </a:lnTo>
                      <a:lnTo>
                        <a:pt x="393" y="44"/>
                      </a:lnTo>
                      <a:lnTo>
                        <a:pt x="387" y="54"/>
                      </a:lnTo>
                      <a:lnTo>
                        <a:pt x="383" y="57"/>
                      </a:lnTo>
                      <a:lnTo>
                        <a:pt x="378" y="58"/>
                      </a:lnTo>
                      <a:lnTo>
                        <a:pt x="362" y="74"/>
                      </a:lnTo>
                      <a:lnTo>
                        <a:pt x="358" y="84"/>
                      </a:lnTo>
                      <a:lnTo>
                        <a:pt x="355" y="87"/>
                      </a:lnTo>
                      <a:lnTo>
                        <a:pt x="342" y="93"/>
                      </a:lnTo>
                      <a:lnTo>
                        <a:pt x="336" y="95"/>
                      </a:lnTo>
                      <a:lnTo>
                        <a:pt x="331" y="102"/>
                      </a:lnTo>
                      <a:lnTo>
                        <a:pt x="329" y="105"/>
                      </a:lnTo>
                      <a:lnTo>
                        <a:pt x="322" y="108"/>
                      </a:lnTo>
                      <a:lnTo>
                        <a:pt x="317" y="106"/>
                      </a:lnTo>
                      <a:lnTo>
                        <a:pt x="309" y="106"/>
                      </a:lnTo>
                      <a:lnTo>
                        <a:pt x="302" y="108"/>
                      </a:lnTo>
                      <a:lnTo>
                        <a:pt x="292" y="109"/>
                      </a:lnTo>
                      <a:lnTo>
                        <a:pt x="290" y="112"/>
                      </a:lnTo>
                      <a:lnTo>
                        <a:pt x="270" y="112"/>
                      </a:lnTo>
                      <a:lnTo>
                        <a:pt x="259" y="113"/>
                      </a:lnTo>
                      <a:lnTo>
                        <a:pt x="249" y="117"/>
                      </a:lnTo>
                      <a:lnTo>
                        <a:pt x="247" y="118"/>
                      </a:lnTo>
                      <a:lnTo>
                        <a:pt x="245" y="122"/>
                      </a:lnTo>
                      <a:lnTo>
                        <a:pt x="245" y="124"/>
                      </a:lnTo>
                      <a:lnTo>
                        <a:pt x="252" y="129"/>
                      </a:lnTo>
                      <a:lnTo>
                        <a:pt x="254" y="136"/>
                      </a:lnTo>
                      <a:lnTo>
                        <a:pt x="252" y="140"/>
                      </a:lnTo>
                      <a:lnTo>
                        <a:pt x="247" y="144"/>
                      </a:lnTo>
                      <a:lnTo>
                        <a:pt x="244" y="152"/>
                      </a:lnTo>
                      <a:lnTo>
                        <a:pt x="239" y="155"/>
                      </a:lnTo>
                      <a:lnTo>
                        <a:pt x="234" y="156"/>
                      </a:lnTo>
                      <a:lnTo>
                        <a:pt x="232" y="159"/>
                      </a:lnTo>
                      <a:lnTo>
                        <a:pt x="231" y="165"/>
                      </a:lnTo>
                      <a:lnTo>
                        <a:pt x="229" y="166"/>
                      </a:lnTo>
                      <a:lnTo>
                        <a:pt x="205" y="166"/>
                      </a:lnTo>
                      <a:lnTo>
                        <a:pt x="198" y="170"/>
                      </a:lnTo>
                      <a:lnTo>
                        <a:pt x="189" y="170"/>
                      </a:lnTo>
                      <a:lnTo>
                        <a:pt x="183" y="170"/>
                      </a:lnTo>
                      <a:lnTo>
                        <a:pt x="161" y="177"/>
                      </a:lnTo>
                      <a:lnTo>
                        <a:pt x="157" y="181"/>
                      </a:lnTo>
                      <a:lnTo>
                        <a:pt x="153" y="183"/>
                      </a:lnTo>
                      <a:lnTo>
                        <a:pt x="147" y="187"/>
                      </a:lnTo>
                      <a:lnTo>
                        <a:pt x="139" y="188"/>
                      </a:lnTo>
                      <a:lnTo>
                        <a:pt x="136" y="192"/>
                      </a:lnTo>
                      <a:lnTo>
                        <a:pt x="132" y="193"/>
                      </a:lnTo>
                      <a:lnTo>
                        <a:pt x="125" y="187"/>
                      </a:lnTo>
                      <a:lnTo>
                        <a:pt x="123" y="184"/>
                      </a:lnTo>
                      <a:lnTo>
                        <a:pt x="119" y="178"/>
                      </a:lnTo>
                      <a:lnTo>
                        <a:pt x="116" y="177"/>
                      </a:lnTo>
                      <a:lnTo>
                        <a:pt x="113" y="177"/>
                      </a:lnTo>
                      <a:lnTo>
                        <a:pt x="112" y="179"/>
                      </a:lnTo>
                      <a:lnTo>
                        <a:pt x="108" y="179"/>
                      </a:lnTo>
                      <a:lnTo>
                        <a:pt x="105" y="187"/>
                      </a:lnTo>
                      <a:lnTo>
                        <a:pt x="92" y="189"/>
                      </a:lnTo>
                      <a:lnTo>
                        <a:pt x="82" y="197"/>
                      </a:lnTo>
                      <a:lnTo>
                        <a:pt x="77" y="198"/>
                      </a:lnTo>
                      <a:lnTo>
                        <a:pt x="71" y="195"/>
                      </a:lnTo>
                      <a:lnTo>
                        <a:pt x="66" y="195"/>
                      </a:lnTo>
                      <a:lnTo>
                        <a:pt x="60" y="197"/>
                      </a:lnTo>
                      <a:lnTo>
                        <a:pt x="51" y="198"/>
                      </a:lnTo>
                      <a:lnTo>
                        <a:pt x="48" y="200"/>
                      </a:lnTo>
                      <a:lnTo>
                        <a:pt x="38" y="226"/>
                      </a:lnTo>
                      <a:lnTo>
                        <a:pt x="28" y="241"/>
                      </a:lnTo>
                      <a:lnTo>
                        <a:pt x="21" y="257"/>
                      </a:lnTo>
                      <a:lnTo>
                        <a:pt x="11" y="272"/>
                      </a:lnTo>
                      <a:lnTo>
                        <a:pt x="0" y="283"/>
                      </a:lnTo>
                      <a:lnTo>
                        <a:pt x="0" y="296"/>
                      </a:lnTo>
                      <a:lnTo>
                        <a:pt x="3" y="310"/>
                      </a:lnTo>
                      <a:lnTo>
                        <a:pt x="2" y="327"/>
                      </a:lnTo>
                      <a:lnTo>
                        <a:pt x="3" y="343"/>
                      </a:lnTo>
                      <a:lnTo>
                        <a:pt x="13" y="361"/>
                      </a:lnTo>
                      <a:lnTo>
                        <a:pt x="22" y="372"/>
                      </a:lnTo>
                      <a:lnTo>
                        <a:pt x="46" y="419"/>
                      </a:lnTo>
                      <a:lnTo>
                        <a:pt x="58" y="431"/>
                      </a:lnTo>
                      <a:lnTo>
                        <a:pt x="81" y="451"/>
                      </a:lnTo>
                      <a:lnTo>
                        <a:pt x="88" y="451"/>
                      </a:lnTo>
                      <a:lnTo>
                        <a:pt x="97" y="437"/>
                      </a:lnTo>
                      <a:lnTo>
                        <a:pt x="114" y="421"/>
                      </a:lnTo>
                      <a:lnTo>
                        <a:pt x="137" y="407"/>
                      </a:lnTo>
                      <a:lnTo>
                        <a:pt x="157" y="404"/>
                      </a:lnTo>
                      <a:lnTo>
                        <a:pt x="174" y="414"/>
                      </a:lnTo>
                      <a:lnTo>
                        <a:pt x="191" y="420"/>
                      </a:lnTo>
                      <a:lnTo>
                        <a:pt x="207" y="416"/>
                      </a:lnTo>
                      <a:lnTo>
                        <a:pt x="222" y="409"/>
                      </a:lnTo>
                      <a:lnTo>
                        <a:pt x="228" y="404"/>
                      </a:lnTo>
                      <a:lnTo>
                        <a:pt x="241" y="402"/>
                      </a:lnTo>
                      <a:lnTo>
                        <a:pt x="238" y="393"/>
                      </a:lnTo>
                      <a:lnTo>
                        <a:pt x="239" y="374"/>
                      </a:lnTo>
                      <a:lnTo>
                        <a:pt x="242" y="360"/>
                      </a:lnTo>
                      <a:lnTo>
                        <a:pt x="250" y="355"/>
                      </a:lnTo>
                      <a:lnTo>
                        <a:pt x="257" y="340"/>
                      </a:lnTo>
                      <a:lnTo>
                        <a:pt x="263" y="334"/>
                      </a:lnTo>
                      <a:lnTo>
                        <a:pt x="276" y="323"/>
                      </a:lnTo>
                      <a:lnTo>
                        <a:pt x="290" y="323"/>
                      </a:lnTo>
                      <a:lnTo>
                        <a:pt x="306" y="324"/>
                      </a:lnTo>
                      <a:lnTo>
                        <a:pt x="313" y="334"/>
                      </a:lnTo>
                      <a:lnTo>
                        <a:pt x="315" y="343"/>
                      </a:lnTo>
                      <a:lnTo>
                        <a:pt x="336" y="361"/>
                      </a:lnTo>
                      <a:lnTo>
                        <a:pt x="344" y="364"/>
                      </a:lnTo>
                      <a:lnTo>
                        <a:pt x="351" y="355"/>
                      </a:lnTo>
                      <a:lnTo>
                        <a:pt x="365" y="365"/>
                      </a:lnTo>
                      <a:lnTo>
                        <a:pt x="388" y="371"/>
                      </a:lnTo>
                      <a:lnTo>
                        <a:pt x="438" y="371"/>
                      </a:lnTo>
                      <a:lnTo>
                        <a:pt x="446" y="367"/>
                      </a:lnTo>
                      <a:lnTo>
                        <a:pt x="448" y="350"/>
                      </a:lnTo>
                      <a:lnTo>
                        <a:pt x="462" y="342"/>
                      </a:lnTo>
                      <a:lnTo>
                        <a:pt x="480" y="345"/>
                      </a:lnTo>
                      <a:lnTo>
                        <a:pt x="489" y="350"/>
                      </a:lnTo>
                      <a:lnTo>
                        <a:pt x="507" y="345"/>
                      </a:lnTo>
                      <a:lnTo>
                        <a:pt x="518" y="339"/>
                      </a:lnTo>
                      <a:lnTo>
                        <a:pt x="544" y="334"/>
                      </a:lnTo>
                      <a:lnTo>
                        <a:pt x="555" y="328"/>
                      </a:lnTo>
                      <a:lnTo>
                        <a:pt x="561" y="328"/>
                      </a:lnTo>
                      <a:lnTo>
                        <a:pt x="562" y="334"/>
                      </a:lnTo>
                      <a:lnTo>
                        <a:pt x="561" y="334"/>
                      </a:lnTo>
                      <a:lnTo>
                        <a:pt x="569" y="337"/>
                      </a:lnTo>
                      <a:lnTo>
                        <a:pt x="576" y="334"/>
                      </a:lnTo>
                      <a:lnTo>
                        <a:pt x="588" y="334"/>
                      </a:lnTo>
                      <a:lnTo>
                        <a:pt x="592" y="322"/>
                      </a:lnTo>
                      <a:lnTo>
                        <a:pt x="612" y="327"/>
                      </a:lnTo>
                      <a:lnTo>
                        <a:pt x="635" y="323"/>
                      </a:lnTo>
                      <a:lnTo>
                        <a:pt x="650" y="318"/>
                      </a:lnTo>
                      <a:lnTo>
                        <a:pt x="663" y="334"/>
                      </a:lnTo>
                      <a:lnTo>
                        <a:pt x="670" y="327"/>
                      </a:lnTo>
                      <a:lnTo>
                        <a:pt x="682" y="334"/>
                      </a:lnTo>
                      <a:lnTo>
                        <a:pt x="690" y="323"/>
                      </a:lnTo>
                      <a:lnTo>
                        <a:pt x="718" y="323"/>
                      </a:lnTo>
                      <a:lnTo>
                        <a:pt x="712" y="316"/>
                      </a:lnTo>
                      <a:lnTo>
                        <a:pt x="711" y="305"/>
                      </a:lnTo>
                      <a:lnTo>
                        <a:pt x="705" y="296"/>
                      </a:lnTo>
                      <a:lnTo>
                        <a:pt x="675" y="276"/>
                      </a:lnTo>
                      <a:lnTo>
                        <a:pt x="666" y="273"/>
                      </a:lnTo>
                      <a:lnTo>
                        <a:pt x="664" y="262"/>
                      </a:lnTo>
                      <a:lnTo>
                        <a:pt x="657" y="253"/>
                      </a:lnTo>
                      <a:lnTo>
                        <a:pt x="653" y="242"/>
                      </a:lnTo>
                      <a:lnTo>
                        <a:pt x="648" y="232"/>
                      </a:lnTo>
                      <a:lnTo>
                        <a:pt x="637" y="226"/>
                      </a:lnTo>
                      <a:lnTo>
                        <a:pt x="630" y="216"/>
                      </a:lnTo>
                      <a:lnTo>
                        <a:pt x="612" y="204"/>
                      </a:lnTo>
                      <a:lnTo>
                        <a:pt x="593" y="192"/>
                      </a:lnTo>
                      <a:lnTo>
                        <a:pt x="587" y="181"/>
                      </a:lnTo>
                      <a:lnTo>
                        <a:pt x="588" y="171"/>
                      </a:lnTo>
                      <a:lnTo>
                        <a:pt x="587" y="166"/>
                      </a:lnTo>
                      <a:lnTo>
                        <a:pt x="577" y="159"/>
                      </a:lnTo>
                      <a:lnTo>
                        <a:pt x="569" y="152"/>
                      </a:lnTo>
                      <a:lnTo>
                        <a:pt x="546" y="152"/>
                      </a:lnTo>
                      <a:lnTo>
                        <a:pt x="535" y="148"/>
                      </a:lnTo>
                      <a:lnTo>
                        <a:pt x="530" y="133"/>
                      </a:lnTo>
                      <a:lnTo>
                        <a:pt x="517" y="129"/>
                      </a:lnTo>
                      <a:lnTo>
                        <a:pt x="506" y="128"/>
                      </a:lnTo>
                      <a:lnTo>
                        <a:pt x="496" y="118"/>
                      </a:lnTo>
                      <a:lnTo>
                        <a:pt x="494" y="105"/>
                      </a:lnTo>
                      <a:lnTo>
                        <a:pt x="496" y="89"/>
                      </a:lnTo>
                      <a:lnTo>
                        <a:pt x="501" y="71"/>
                      </a:lnTo>
                      <a:lnTo>
                        <a:pt x="496" y="55"/>
                      </a:lnTo>
                      <a:lnTo>
                        <a:pt x="480" y="34"/>
                      </a:lnTo>
                      <a:lnTo>
                        <a:pt x="463" y="15"/>
                      </a:lnTo>
                      <a:lnTo>
                        <a:pt x="453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48" name="Freeform 36"/>
                <p:cNvSpPr>
                  <a:spLocks noChangeAspect="1"/>
                </p:cNvSpPr>
                <p:nvPr/>
              </p:nvSpPr>
              <p:spPr bwMode="gray">
                <a:xfrm>
                  <a:off x="4912518" y="3651597"/>
                  <a:ext cx="96838" cy="109538"/>
                </a:xfrm>
                <a:custGeom>
                  <a:avLst/>
                  <a:gdLst/>
                  <a:ahLst/>
                  <a:cxnLst>
                    <a:cxn ang="0">
                      <a:pos x="120" y="330"/>
                    </a:cxn>
                    <a:cxn ang="0">
                      <a:pos x="97" y="305"/>
                    </a:cxn>
                    <a:cxn ang="0">
                      <a:pos x="54" y="262"/>
                    </a:cxn>
                    <a:cxn ang="0">
                      <a:pos x="34" y="237"/>
                    </a:cxn>
                    <a:cxn ang="0">
                      <a:pos x="17" y="208"/>
                    </a:cxn>
                    <a:cxn ang="0">
                      <a:pos x="4" y="177"/>
                    </a:cxn>
                    <a:cxn ang="0">
                      <a:pos x="4" y="167"/>
                    </a:cxn>
                    <a:cxn ang="0">
                      <a:pos x="17" y="156"/>
                    </a:cxn>
                    <a:cxn ang="0">
                      <a:pos x="27" y="138"/>
                    </a:cxn>
                    <a:cxn ang="0">
                      <a:pos x="31" y="113"/>
                    </a:cxn>
                    <a:cxn ang="0">
                      <a:pos x="45" y="122"/>
                    </a:cxn>
                    <a:cxn ang="0">
                      <a:pos x="60" y="120"/>
                    </a:cxn>
                    <a:cxn ang="0">
                      <a:pos x="47" y="115"/>
                    </a:cxn>
                    <a:cxn ang="0">
                      <a:pos x="34" y="105"/>
                    </a:cxn>
                    <a:cxn ang="0">
                      <a:pos x="33" y="94"/>
                    </a:cxn>
                    <a:cxn ang="0">
                      <a:pos x="43" y="89"/>
                    </a:cxn>
                    <a:cxn ang="0">
                      <a:pos x="66" y="68"/>
                    </a:cxn>
                    <a:cxn ang="0">
                      <a:pos x="135" y="63"/>
                    </a:cxn>
                    <a:cxn ang="0">
                      <a:pos x="131" y="20"/>
                    </a:cxn>
                    <a:cxn ang="0">
                      <a:pos x="151" y="2"/>
                    </a:cxn>
                    <a:cxn ang="0">
                      <a:pos x="185" y="0"/>
                    </a:cxn>
                    <a:cxn ang="0">
                      <a:pos x="237" y="5"/>
                    </a:cxn>
                    <a:cxn ang="0">
                      <a:pos x="239" y="22"/>
                    </a:cxn>
                    <a:cxn ang="0">
                      <a:pos x="239" y="59"/>
                    </a:cxn>
                    <a:cxn ang="0">
                      <a:pos x="264" y="41"/>
                    </a:cxn>
                    <a:cxn ang="0">
                      <a:pos x="303" y="61"/>
                    </a:cxn>
                    <a:cxn ang="0">
                      <a:pos x="286" y="111"/>
                    </a:cxn>
                    <a:cxn ang="0">
                      <a:pos x="289" y="142"/>
                    </a:cxn>
                    <a:cxn ang="0">
                      <a:pos x="299" y="186"/>
                    </a:cxn>
                    <a:cxn ang="0">
                      <a:pos x="293" y="236"/>
                    </a:cxn>
                    <a:cxn ang="0">
                      <a:pos x="272" y="258"/>
                    </a:cxn>
                    <a:cxn ang="0">
                      <a:pos x="229" y="245"/>
                    </a:cxn>
                    <a:cxn ang="0">
                      <a:pos x="212" y="229"/>
                    </a:cxn>
                    <a:cxn ang="0">
                      <a:pos x="192" y="248"/>
                    </a:cxn>
                    <a:cxn ang="0">
                      <a:pos x="159" y="266"/>
                    </a:cxn>
                    <a:cxn ang="0">
                      <a:pos x="153" y="287"/>
                    </a:cxn>
                    <a:cxn ang="0">
                      <a:pos x="160" y="314"/>
                    </a:cxn>
                    <a:cxn ang="0">
                      <a:pos x="146" y="318"/>
                    </a:cxn>
                    <a:cxn ang="0">
                      <a:pos x="129" y="328"/>
                    </a:cxn>
                  </a:cxnLst>
                  <a:rect l="0" t="0" r="r" b="b"/>
                  <a:pathLst>
                    <a:path w="304" h="343">
                      <a:moveTo>
                        <a:pt x="127" y="343"/>
                      </a:moveTo>
                      <a:lnTo>
                        <a:pt x="120" y="330"/>
                      </a:lnTo>
                      <a:lnTo>
                        <a:pt x="110" y="320"/>
                      </a:lnTo>
                      <a:lnTo>
                        <a:pt x="97" y="305"/>
                      </a:lnTo>
                      <a:lnTo>
                        <a:pt x="61" y="274"/>
                      </a:lnTo>
                      <a:lnTo>
                        <a:pt x="54" y="262"/>
                      </a:lnTo>
                      <a:lnTo>
                        <a:pt x="45" y="251"/>
                      </a:lnTo>
                      <a:lnTo>
                        <a:pt x="34" y="237"/>
                      </a:lnTo>
                      <a:lnTo>
                        <a:pt x="27" y="231"/>
                      </a:lnTo>
                      <a:lnTo>
                        <a:pt x="17" y="208"/>
                      </a:lnTo>
                      <a:lnTo>
                        <a:pt x="13" y="194"/>
                      </a:lnTo>
                      <a:lnTo>
                        <a:pt x="4" y="177"/>
                      </a:lnTo>
                      <a:lnTo>
                        <a:pt x="0" y="169"/>
                      </a:lnTo>
                      <a:lnTo>
                        <a:pt x="4" y="167"/>
                      </a:lnTo>
                      <a:lnTo>
                        <a:pt x="12" y="165"/>
                      </a:lnTo>
                      <a:lnTo>
                        <a:pt x="17" y="156"/>
                      </a:lnTo>
                      <a:lnTo>
                        <a:pt x="24" y="150"/>
                      </a:lnTo>
                      <a:lnTo>
                        <a:pt x="27" y="138"/>
                      </a:lnTo>
                      <a:lnTo>
                        <a:pt x="28" y="113"/>
                      </a:lnTo>
                      <a:lnTo>
                        <a:pt x="31" y="113"/>
                      </a:lnTo>
                      <a:lnTo>
                        <a:pt x="36" y="118"/>
                      </a:lnTo>
                      <a:lnTo>
                        <a:pt x="45" y="122"/>
                      </a:lnTo>
                      <a:lnTo>
                        <a:pt x="57" y="122"/>
                      </a:lnTo>
                      <a:lnTo>
                        <a:pt x="60" y="120"/>
                      </a:lnTo>
                      <a:lnTo>
                        <a:pt x="56" y="117"/>
                      </a:lnTo>
                      <a:lnTo>
                        <a:pt x="47" y="115"/>
                      </a:lnTo>
                      <a:lnTo>
                        <a:pt x="40" y="110"/>
                      </a:lnTo>
                      <a:lnTo>
                        <a:pt x="34" y="105"/>
                      </a:lnTo>
                      <a:lnTo>
                        <a:pt x="30" y="99"/>
                      </a:lnTo>
                      <a:lnTo>
                        <a:pt x="33" y="94"/>
                      </a:lnTo>
                      <a:lnTo>
                        <a:pt x="40" y="94"/>
                      </a:lnTo>
                      <a:lnTo>
                        <a:pt x="43" y="89"/>
                      </a:lnTo>
                      <a:lnTo>
                        <a:pt x="43" y="73"/>
                      </a:lnTo>
                      <a:lnTo>
                        <a:pt x="66" y="68"/>
                      </a:lnTo>
                      <a:lnTo>
                        <a:pt x="137" y="65"/>
                      </a:lnTo>
                      <a:lnTo>
                        <a:pt x="135" y="63"/>
                      </a:lnTo>
                      <a:lnTo>
                        <a:pt x="132" y="43"/>
                      </a:lnTo>
                      <a:lnTo>
                        <a:pt x="131" y="20"/>
                      </a:lnTo>
                      <a:lnTo>
                        <a:pt x="137" y="5"/>
                      </a:lnTo>
                      <a:lnTo>
                        <a:pt x="151" y="2"/>
                      </a:lnTo>
                      <a:lnTo>
                        <a:pt x="165" y="4"/>
                      </a:lnTo>
                      <a:lnTo>
                        <a:pt x="185" y="0"/>
                      </a:lnTo>
                      <a:lnTo>
                        <a:pt x="201" y="4"/>
                      </a:lnTo>
                      <a:lnTo>
                        <a:pt x="237" y="5"/>
                      </a:lnTo>
                      <a:lnTo>
                        <a:pt x="245" y="8"/>
                      </a:lnTo>
                      <a:lnTo>
                        <a:pt x="239" y="22"/>
                      </a:lnTo>
                      <a:lnTo>
                        <a:pt x="238" y="41"/>
                      </a:lnTo>
                      <a:lnTo>
                        <a:pt x="239" y="59"/>
                      </a:lnTo>
                      <a:lnTo>
                        <a:pt x="248" y="64"/>
                      </a:lnTo>
                      <a:lnTo>
                        <a:pt x="264" y="41"/>
                      </a:lnTo>
                      <a:lnTo>
                        <a:pt x="293" y="48"/>
                      </a:lnTo>
                      <a:lnTo>
                        <a:pt x="303" y="61"/>
                      </a:lnTo>
                      <a:lnTo>
                        <a:pt x="304" y="81"/>
                      </a:lnTo>
                      <a:lnTo>
                        <a:pt x="286" y="111"/>
                      </a:lnTo>
                      <a:lnTo>
                        <a:pt x="285" y="128"/>
                      </a:lnTo>
                      <a:lnTo>
                        <a:pt x="289" y="142"/>
                      </a:lnTo>
                      <a:lnTo>
                        <a:pt x="300" y="170"/>
                      </a:lnTo>
                      <a:lnTo>
                        <a:pt x="299" y="186"/>
                      </a:lnTo>
                      <a:lnTo>
                        <a:pt x="296" y="199"/>
                      </a:lnTo>
                      <a:lnTo>
                        <a:pt x="293" y="236"/>
                      </a:lnTo>
                      <a:lnTo>
                        <a:pt x="288" y="253"/>
                      </a:lnTo>
                      <a:lnTo>
                        <a:pt x="272" y="258"/>
                      </a:lnTo>
                      <a:lnTo>
                        <a:pt x="254" y="242"/>
                      </a:lnTo>
                      <a:lnTo>
                        <a:pt x="229" y="245"/>
                      </a:lnTo>
                      <a:lnTo>
                        <a:pt x="219" y="234"/>
                      </a:lnTo>
                      <a:lnTo>
                        <a:pt x="212" y="229"/>
                      </a:lnTo>
                      <a:lnTo>
                        <a:pt x="201" y="237"/>
                      </a:lnTo>
                      <a:lnTo>
                        <a:pt x="192" y="248"/>
                      </a:lnTo>
                      <a:lnTo>
                        <a:pt x="169" y="257"/>
                      </a:lnTo>
                      <a:lnTo>
                        <a:pt x="159" y="266"/>
                      </a:lnTo>
                      <a:lnTo>
                        <a:pt x="154" y="274"/>
                      </a:lnTo>
                      <a:lnTo>
                        <a:pt x="153" y="287"/>
                      </a:lnTo>
                      <a:lnTo>
                        <a:pt x="158" y="299"/>
                      </a:lnTo>
                      <a:lnTo>
                        <a:pt x="160" y="314"/>
                      </a:lnTo>
                      <a:lnTo>
                        <a:pt x="158" y="318"/>
                      </a:lnTo>
                      <a:lnTo>
                        <a:pt x="146" y="318"/>
                      </a:lnTo>
                      <a:lnTo>
                        <a:pt x="135" y="321"/>
                      </a:lnTo>
                      <a:lnTo>
                        <a:pt x="129" y="328"/>
                      </a:lnTo>
                      <a:lnTo>
                        <a:pt x="127" y="34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49" name="Freeform 37"/>
                <p:cNvSpPr>
                  <a:spLocks noChangeAspect="1"/>
                </p:cNvSpPr>
                <p:nvPr/>
              </p:nvSpPr>
              <p:spPr bwMode="gray">
                <a:xfrm>
                  <a:off x="4466431" y="3449984"/>
                  <a:ext cx="53975" cy="14288"/>
                </a:xfrm>
                <a:custGeom>
                  <a:avLst/>
                  <a:gdLst/>
                  <a:ahLst/>
                  <a:cxnLst>
                    <a:cxn ang="0">
                      <a:pos x="4" y="44"/>
                    </a:cxn>
                    <a:cxn ang="0">
                      <a:pos x="8" y="38"/>
                    </a:cxn>
                    <a:cxn ang="0">
                      <a:pos x="47" y="34"/>
                    </a:cxn>
                    <a:cxn ang="0">
                      <a:pos x="55" y="34"/>
                    </a:cxn>
                    <a:cxn ang="0">
                      <a:pos x="56" y="34"/>
                    </a:cxn>
                    <a:cxn ang="0">
                      <a:pos x="59" y="27"/>
                    </a:cxn>
                    <a:cxn ang="0">
                      <a:pos x="64" y="26"/>
                    </a:cxn>
                    <a:cxn ang="0">
                      <a:pos x="67" y="27"/>
                    </a:cxn>
                    <a:cxn ang="0">
                      <a:pos x="80" y="26"/>
                    </a:cxn>
                    <a:cxn ang="0">
                      <a:pos x="88" y="22"/>
                    </a:cxn>
                    <a:cxn ang="0">
                      <a:pos x="92" y="17"/>
                    </a:cxn>
                    <a:cxn ang="0">
                      <a:pos x="94" y="16"/>
                    </a:cxn>
                    <a:cxn ang="0">
                      <a:pos x="101" y="17"/>
                    </a:cxn>
                    <a:cxn ang="0">
                      <a:pos x="104" y="21"/>
                    </a:cxn>
                    <a:cxn ang="0">
                      <a:pos x="112" y="23"/>
                    </a:cxn>
                    <a:cxn ang="0">
                      <a:pos x="120" y="28"/>
                    </a:cxn>
                    <a:cxn ang="0">
                      <a:pos x="128" y="29"/>
                    </a:cxn>
                    <a:cxn ang="0">
                      <a:pos x="136" y="33"/>
                    </a:cxn>
                    <a:cxn ang="0">
                      <a:pos x="144" y="33"/>
                    </a:cxn>
                    <a:cxn ang="0">
                      <a:pos x="146" y="34"/>
                    </a:cxn>
                    <a:cxn ang="0">
                      <a:pos x="152" y="31"/>
                    </a:cxn>
                    <a:cxn ang="0">
                      <a:pos x="164" y="28"/>
                    </a:cxn>
                    <a:cxn ang="0">
                      <a:pos x="168" y="24"/>
                    </a:cxn>
                    <a:cxn ang="0">
                      <a:pos x="168" y="21"/>
                    </a:cxn>
                    <a:cxn ang="0">
                      <a:pos x="168" y="16"/>
                    </a:cxn>
                    <a:cxn ang="0">
                      <a:pos x="167" y="16"/>
                    </a:cxn>
                    <a:cxn ang="0">
                      <a:pos x="164" y="16"/>
                    </a:cxn>
                    <a:cxn ang="0">
                      <a:pos x="161" y="15"/>
                    </a:cxn>
                    <a:cxn ang="0">
                      <a:pos x="156" y="15"/>
                    </a:cxn>
                    <a:cxn ang="0">
                      <a:pos x="152" y="16"/>
                    </a:cxn>
                    <a:cxn ang="0">
                      <a:pos x="141" y="21"/>
                    </a:cxn>
                    <a:cxn ang="0">
                      <a:pos x="136" y="20"/>
                    </a:cxn>
                    <a:cxn ang="0">
                      <a:pos x="130" y="17"/>
                    </a:cxn>
                    <a:cxn ang="0">
                      <a:pos x="126" y="11"/>
                    </a:cxn>
                    <a:cxn ang="0">
                      <a:pos x="125" y="10"/>
                    </a:cxn>
                    <a:cxn ang="0">
                      <a:pos x="113" y="10"/>
                    </a:cxn>
                    <a:cxn ang="0">
                      <a:pos x="107" y="2"/>
                    </a:cxn>
                    <a:cxn ang="0">
                      <a:pos x="101" y="1"/>
                    </a:cxn>
                    <a:cxn ang="0">
                      <a:pos x="98" y="0"/>
                    </a:cxn>
                    <a:cxn ang="0">
                      <a:pos x="92" y="1"/>
                    </a:cxn>
                    <a:cxn ang="0">
                      <a:pos x="87" y="4"/>
                    </a:cxn>
                    <a:cxn ang="0">
                      <a:pos x="81" y="2"/>
                    </a:cxn>
                    <a:cxn ang="0">
                      <a:pos x="76" y="7"/>
                    </a:cxn>
                    <a:cxn ang="0">
                      <a:pos x="72" y="13"/>
                    </a:cxn>
                    <a:cxn ang="0">
                      <a:pos x="16" y="13"/>
                    </a:cxn>
                    <a:cxn ang="0">
                      <a:pos x="15" y="13"/>
                    </a:cxn>
                    <a:cxn ang="0">
                      <a:pos x="13" y="17"/>
                    </a:cxn>
                    <a:cxn ang="0">
                      <a:pos x="15" y="21"/>
                    </a:cxn>
                    <a:cxn ang="0">
                      <a:pos x="8" y="20"/>
                    </a:cxn>
                    <a:cxn ang="0">
                      <a:pos x="6" y="21"/>
                    </a:cxn>
                    <a:cxn ang="0">
                      <a:pos x="4" y="26"/>
                    </a:cxn>
                    <a:cxn ang="0">
                      <a:pos x="1" y="28"/>
                    </a:cxn>
                    <a:cxn ang="0">
                      <a:pos x="0" y="34"/>
                    </a:cxn>
                    <a:cxn ang="0">
                      <a:pos x="1" y="44"/>
                    </a:cxn>
                    <a:cxn ang="0">
                      <a:pos x="2" y="45"/>
                    </a:cxn>
                    <a:cxn ang="0">
                      <a:pos x="4" y="44"/>
                    </a:cxn>
                  </a:cxnLst>
                  <a:rect l="0" t="0" r="r" b="b"/>
                  <a:pathLst>
                    <a:path w="168" h="45">
                      <a:moveTo>
                        <a:pt x="4" y="44"/>
                      </a:moveTo>
                      <a:lnTo>
                        <a:pt x="8" y="38"/>
                      </a:lnTo>
                      <a:lnTo>
                        <a:pt x="47" y="34"/>
                      </a:lnTo>
                      <a:lnTo>
                        <a:pt x="55" y="34"/>
                      </a:lnTo>
                      <a:lnTo>
                        <a:pt x="56" y="34"/>
                      </a:lnTo>
                      <a:lnTo>
                        <a:pt x="59" y="27"/>
                      </a:lnTo>
                      <a:lnTo>
                        <a:pt x="64" y="26"/>
                      </a:lnTo>
                      <a:lnTo>
                        <a:pt x="67" y="27"/>
                      </a:lnTo>
                      <a:lnTo>
                        <a:pt x="80" y="26"/>
                      </a:lnTo>
                      <a:lnTo>
                        <a:pt x="88" y="22"/>
                      </a:lnTo>
                      <a:lnTo>
                        <a:pt x="92" y="17"/>
                      </a:lnTo>
                      <a:lnTo>
                        <a:pt x="94" y="16"/>
                      </a:lnTo>
                      <a:lnTo>
                        <a:pt x="101" y="17"/>
                      </a:lnTo>
                      <a:lnTo>
                        <a:pt x="104" y="21"/>
                      </a:lnTo>
                      <a:lnTo>
                        <a:pt x="112" y="23"/>
                      </a:lnTo>
                      <a:lnTo>
                        <a:pt x="120" y="28"/>
                      </a:lnTo>
                      <a:lnTo>
                        <a:pt x="128" y="29"/>
                      </a:lnTo>
                      <a:lnTo>
                        <a:pt x="136" y="33"/>
                      </a:lnTo>
                      <a:lnTo>
                        <a:pt x="144" y="33"/>
                      </a:lnTo>
                      <a:lnTo>
                        <a:pt x="146" y="34"/>
                      </a:lnTo>
                      <a:lnTo>
                        <a:pt x="152" y="31"/>
                      </a:lnTo>
                      <a:lnTo>
                        <a:pt x="164" y="28"/>
                      </a:lnTo>
                      <a:lnTo>
                        <a:pt x="168" y="24"/>
                      </a:lnTo>
                      <a:lnTo>
                        <a:pt x="168" y="21"/>
                      </a:lnTo>
                      <a:lnTo>
                        <a:pt x="168" y="16"/>
                      </a:lnTo>
                      <a:lnTo>
                        <a:pt x="167" y="16"/>
                      </a:lnTo>
                      <a:lnTo>
                        <a:pt x="164" y="16"/>
                      </a:lnTo>
                      <a:lnTo>
                        <a:pt x="161" y="15"/>
                      </a:lnTo>
                      <a:lnTo>
                        <a:pt x="156" y="15"/>
                      </a:lnTo>
                      <a:lnTo>
                        <a:pt x="152" y="16"/>
                      </a:lnTo>
                      <a:lnTo>
                        <a:pt x="141" y="21"/>
                      </a:lnTo>
                      <a:lnTo>
                        <a:pt x="136" y="20"/>
                      </a:lnTo>
                      <a:lnTo>
                        <a:pt x="130" y="17"/>
                      </a:lnTo>
                      <a:lnTo>
                        <a:pt x="126" y="11"/>
                      </a:lnTo>
                      <a:lnTo>
                        <a:pt x="125" y="10"/>
                      </a:lnTo>
                      <a:lnTo>
                        <a:pt x="113" y="10"/>
                      </a:lnTo>
                      <a:lnTo>
                        <a:pt x="107" y="2"/>
                      </a:lnTo>
                      <a:lnTo>
                        <a:pt x="101" y="1"/>
                      </a:lnTo>
                      <a:lnTo>
                        <a:pt x="98" y="0"/>
                      </a:lnTo>
                      <a:lnTo>
                        <a:pt x="92" y="1"/>
                      </a:lnTo>
                      <a:lnTo>
                        <a:pt x="87" y="4"/>
                      </a:lnTo>
                      <a:lnTo>
                        <a:pt x="81" y="2"/>
                      </a:lnTo>
                      <a:lnTo>
                        <a:pt x="76" y="7"/>
                      </a:lnTo>
                      <a:lnTo>
                        <a:pt x="72" y="13"/>
                      </a:lnTo>
                      <a:lnTo>
                        <a:pt x="16" y="13"/>
                      </a:lnTo>
                      <a:lnTo>
                        <a:pt x="15" y="13"/>
                      </a:lnTo>
                      <a:lnTo>
                        <a:pt x="13" y="17"/>
                      </a:lnTo>
                      <a:lnTo>
                        <a:pt x="15" y="21"/>
                      </a:lnTo>
                      <a:lnTo>
                        <a:pt x="8" y="20"/>
                      </a:lnTo>
                      <a:lnTo>
                        <a:pt x="6" y="21"/>
                      </a:lnTo>
                      <a:lnTo>
                        <a:pt x="4" y="26"/>
                      </a:lnTo>
                      <a:lnTo>
                        <a:pt x="1" y="28"/>
                      </a:lnTo>
                      <a:lnTo>
                        <a:pt x="0" y="34"/>
                      </a:lnTo>
                      <a:lnTo>
                        <a:pt x="1" y="44"/>
                      </a:lnTo>
                      <a:lnTo>
                        <a:pt x="2" y="45"/>
                      </a:lnTo>
                      <a:lnTo>
                        <a:pt x="4" y="4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50" name="Freeform 38"/>
                <p:cNvSpPr>
                  <a:spLocks noChangeAspect="1"/>
                </p:cNvSpPr>
                <p:nvPr/>
              </p:nvSpPr>
              <p:spPr bwMode="gray">
                <a:xfrm>
                  <a:off x="4468018" y="3470622"/>
                  <a:ext cx="55563" cy="30163"/>
                </a:xfrm>
                <a:custGeom>
                  <a:avLst/>
                  <a:gdLst/>
                  <a:ahLst/>
                  <a:cxnLst>
                    <a:cxn ang="0">
                      <a:pos x="169" y="0"/>
                    </a:cxn>
                    <a:cxn ang="0">
                      <a:pos x="169" y="7"/>
                    </a:cxn>
                    <a:cxn ang="0">
                      <a:pos x="173" y="14"/>
                    </a:cxn>
                    <a:cxn ang="0">
                      <a:pos x="173" y="18"/>
                    </a:cxn>
                    <a:cxn ang="0">
                      <a:pos x="170" y="24"/>
                    </a:cxn>
                    <a:cxn ang="0">
                      <a:pos x="168" y="25"/>
                    </a:cxn>
                    <a:cxn ang="0">
                      <a:pos x="162" y="25"/>
                    </a:cxn>
                    <a:cxn ang="0">
                      <a:pos x="160" y="27"/>
                    </a:cxn>
                    <a:cxn ang="0">
                      <a:pos x="158" y="30"/>
                    </a:cxn>
                    <a:cxn ang="0">
                      <a:pos x="164" y="34"/>
                    </a:cxn>
                    <a:cxn ang="0">
                      <a:pos x="167" y="39"/>
                    </a:cxn>
                    <a:cxn ang="0">
                      <a:pos x="168" y="57"/>
                    </a:cxn>
                    <a:cxn ang="0">
                      <a:pos x="162" y="57"/>
                    </a:cxn>
                    <a:cxn ang="0">
                      <a:pos x="158" y="60"/>
                    </a:cxn>
                    <a:cxn ang="0">
                      <a:pos x="138" y="60"/>
                    </a:cxn>
                    <a:cxn ang="0">
                      <a:pos x="121" y="67"/>
                    </a:cxn>
                    <a:cxn ang="0">
                      <a:pos x="114" y="73"/>
                    </a:cxn>
                    <a:cxn ang="0">
                      <a:pos x="110" y="81"/>
                    </a:cxn>
                    <a:cxn ang="0">
                      <a:pos x="106" y="89"/>
                    </a:cxn>
                    <a:cxn ang="0">
                      <a:pos x="104" y="93"/>
                    </a:cxn>
                    <a:cxn ang="0">
                      <a:pos x="99" y="97"/>
                    </a:cxn>
                    <a:cxn ang="0">
                      <a:pos x="93" y="99"/>
                    </a:cxn>
                    <a:cxn ang="0">
                      <a:pos x="93" y="95"/>
                    </a:cxn>
                    <a:cxn ang="0">
                      <a:pos x="94" y="93"/>
                    </a:cxn>
                    <a:cxn ang="0">
                      <a:pos x="86" y="94"/>
                    </a:cxn>
                    <a:cxn ang="0">
                      <a:pos x="81" y="93"/>
                    </a:cxn>
                    <a:cxn ang="0">
                      <a:pos x="76" y="87"/>
                    </a:cxn>
                    <a:cxn ang="0">
                      <a:pos x="74" y="79"/>
                    </a:cxn>
                    <a:cxn ang="0">
                      <a:pos x="77" y="70"/>
                    </a:cxn>
                    <a:cxn ang="0">
                      <a:pos x="72" y="58"/>
                    </a:cxn>
                    <a:cxn ang="0">
                      <a:pos x="79" y="54"/>
                    </a:cxn>
                    <a:cxn ang="0">
                      <a:pos x="84" y="51"/>
                    </a:cxn>
                    <a:cxn ang="0">
                      <a:pos x="103" y="50"/>
                    </a:cxn>
                    <a:cxn ang="0">
                      <a:pos x="104" y="45"/>
                    </a:cxn>
                    <a:cxn ang="0">
                      <a:pos x="81" y="47"/>
                    </a:cxn>
                    <a:cxn ang="0">
                      <a:pos x="72" y="50"/>
                    </a:cxn>
                    <a:cxn ang="0">
                      <a:pos x="59" y="57"/>
                    </a:cxn>
                    <a:cxn ang="0">
                      <a:pos x="51" y="58"/>
                    </a:cxn>
                    <a:cxn ang="0">
                      <a:pos x="47" y="57"/>
                    </a:cxn>
                    <a:cxn ang="0">
                      <a:pos x="46" y="49"/>
                    </a:cxn>
                    <a:cxn ang="0">
                      <a:pos x="40" y="50"/>
                    </a:cxn>
                    <a:cxn ang="0">
                      <a:pos x="30" y="47"/>
                    </a:cxn>
                    <a:cxn ang="0">
                      <a:pos x="27" y="43"/>
                    </a:cxn>
                    <a:cxn ang="0">
                      <a:pos x="25" y="34"/>
                    </a:cxn>
                    <a:cxn ang="0">
                      <a:pos x="4" y="28"/>
                    </a:cxn>
                    <a:cxn ang="0">
                      <a:pos x="0" y="20"/>
                    </a:cxn>
                    <a:cxn ang="0">
                      <a:pos x="2" y="17"/>
                    </a:cxn>
                    <a:cxn ang="0">
                      <a:pos x="3" y="19"/>
                    </a:cxn>
                    <a:cxn ang="0">
                      <a:pos x="7" y="20"/>
                    </a:cxn>
                    <a:cxn ang="0">
                      <a:pos x="14" y="20"/>
                    </a:cxn>
                    <a:cxn ang="0">
                      <a:pos x="25" y="15"/>
                    </a:cxn>
                    <a:cxn ang="0">
                      <a:pos x="29" y="13"/>
                    </a:cxn>
                    <a:cxn ang="0">
                      <a:pos x="59" y="14"/>
                    </a:cxn>
                    <a:cxn ang="0">
                      <a:pos x="68" y="12"/>
                    </a:cxn>
                    <a:cxn ang="0">
                      <a:pos x="79" y="7"/>
                    </a:cxn>
                    <a:cxn ang="0">
                      <a:pos x="92" y="1"/>
                    </a:cxn>
                    <a:cxn ang="0">
                      <a:pos x="116" y="1"/>
                    </a:cxn>
                    <a:cxn ang="0">
                      <a:pos x="119" y="0"/>
                    </a:cxn>
                    <a:cxn ang="0">
                      <a:pos x="169" y="0"/>
                    </a:cxn>
                  </a:cxnLst>
                  <a:rect l="0" t="0" r="r" b="b"/>
                  <a:pathLst>
                    <a:path w="173" h="99">
                      <a:moveTo>
                        <a:pt x="169" y="0"/>
                      </a:moveTo>
                      <a:lnTo>
                        <a:pt x="169" y="7"/>
                      </a:lnTo>
                      <a:lnTo>
                        <a:pt x="173" y="14"/>
                      </a:lnTo>
                      <a:lnTo>
                        <a:pt x="173" y="18"/>
                      </a:lnTo>
                      <a:lnTo>
                        <a:pt x="170" y="24"/>
                      </a:lnTo>
                      <a:lnTo>
                        <a:pt x="168" y="25"/>
                      </a:lnTo>
                      <a:lnTo>
                        <a:pt x="162" y="25"/>
                      </a:lnTo>
                      <a:lnTo>
                        <a:pt x="160" y="27"/>
                      </a:lnTo>
                      <a:lnTo>
                        <a:pt x="158" y="30"/>
                      </a:lnTo>
                      <a:lnTo>
                        <a:pt x="164" y="34"/>
                      </a:lnTo>
                      <a:lnTo>
                        <a:pt x="167" y="39"/>
                      </a:lnTo>
                      <a:lnTo>
                        <a:pt x="168" y="57"/>
                      </a:lnTo>
                      <a:lnTo>
                        <a:pt x="162" y="57"/>
                      </a:lnTo>
                      <a:lnTo>
                        <a:pt x="158" y="60"/>
                      </a:lnTo>
                      <a:lnTo>
                        <a:pt x="138" y="60"/>
                      </a:lnTo>
                      <a:lnTo>
                        <a:pt x="121" y="67"/>
                      </a:lnTo>
                      <a:lnTo>
                        <a:pt x="114" y="73"/>
                      </a:lnTo>
                      <a:lnTo>
                        <a:pt x="110" y="81"/>
                      </a:lnTo>
                      <a:lnTo>
                        <a:pt x="106" y="89"/>
                      </a:lnTo>
                      <a:lnTo>
                        <a:pt x="104" y="93"/>
                      </a:lnTo>
                      <a:lnTo>
                        <a:pt x="99" y="97"/>
                      </a:lnTo>
                      <a:lnTo>
                        <a:pt x="93" y="99"/>
                      </a:lnTo>
                      <a:lnTo>
                        <a:pt x="93" y="95"/>
                      </a:lnTo>
                      <a:lnTo>
                        <a:pt x="94" y="93"/>
                      </a:lnTo>
                      <a:lnTo>
                        <a:pt x="86" y="94"/>
                      </a:lnTo>
                      <a:lnTo>
                        <a:pt x="81" y="93"/>
                      </a:lnTo>
                      <a:lnTo>
                        <a:pt x="76" y="87"/>
                      </a:lnTo>
                      <a:lnTo>
                        <a:pt x="74" y="79"/>
                      </a:lnTo>
                      <a:lnTo>
                        <a:pt x="77" y="70"/>
                      </a:lnTo>
                      <a:lnTo>
                        <a:pt x="72" y="58"/>
                      </a:lnTo>
                      <a:lnTo>
                        <a:pt x="79" y="54"/>
                      </a:lnTo>
                      <a:lnTo>
                        <a:pt x="84" y="51"/>
                      </a:lnTo>
                      <a:lnTo>
                        <a:pt x="103" y="50"/>
                      </a:lnTo>
                      <a:lnTo>
                        <a:pt x="104" y="45"/>
                      </a:lnTo>
                      <a:lnTo>
                        <a:pt x="81" y="47"/>
                      </a:lnTo>
                      <a:lnTo>
                        <a:pt x="72" y="50"/>
                      </a:lnTo>
                      <a:lnTo>
                        <a:pt x="59" y="57"/>
                      </a:lnTo>
                      <a:lnTo>
                        <a:pt x="51" y="58"/>
                      </a:lnTo>
                      <a:lnTo>
                        <a:pt x="47" y="57"/>
                      </a:lnTo>
                      <a:lnTo>
                        <a:pt x="46" y="49"/>
                      </a:lnTo>
                      <a:lnTo>
                        <a:pt x="40" y="50"/>
                      </a:lnTo>
                      <a:lnTo>
                        <a:pt x="30" y="47"/>
                      </a:lnTo>
                      <a:lnTo>
                        <a:pt x="27" y="43"/>
                      </a:lnTo>
                      <a:lnTo>
                        <a:pt x="25" y="34"/>
                      </a:lnTo>
                      <a:lnTo>
                        <a:pt x="4" y="28"/>
                      </a:lnTo>
                      <a:lnTo>
                        <a:pt x="0" y="20"/>
                      </a:lnTo>
                      <a:lnTo>
                        <a:pt x="2" y="17"/>
                      </a:lnTo>
                      <a:lnTo>
                        <a:pt x="3" y="19"/>
                      </a:lnTo>
                      <a:lnTo>
                        <a:pt x="7" y="20"/>
                      </a:lnTo>
                      <a:lnTo>
                        <a:pt x="14" y="20"/>
                      </a:lnTo>
                      <a:lnTo>
                        <a:pt x="25" y="15"/>
                      </a:lnTo>
                      <a:lnTo>
                        <a:pt x="29" y="13"/>
                      </a:lnTo>
                      <a:lnTo>
                        <a:pt x="59" y="14"/>
                      </a:lnTo>
                      <a:lnTo>
                        <a:pt x="68" y="12"/>
                      </a:lnTo>
                      <a:lnTo>
                        <a:pt x="79" y="7"/>
                      </a:lnTo>
                      <a:lnTo>
                        <a:pt x="92" y="1"/>
                      </a:lnTo>
                      <a:lnTo>
                        <a:pt x="116" y="1"/>
                      </a:lnTo>
                      <a:lnTo>
                        <a:pt x="119" y="0"/>
                      </a:lnTo>
                      <a:lnTo>
                        <a:pt x="169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51" name="Freeform 39"/>
                <p:cNvSpPr>
                  <a:spLocks noChangeAspect="1"/>
                </p:cNvSpPr>
                <p:nvPr/>
              </p:nvSpPr>
              <p:spPr bwMode="gray">
                <a:xfrm>
                  <a:off x="4560093" y="3543647"/>
                  <a:ext cx="71438" cy="73025"/>
                </a:xfrm>
                <a:custGeom>
                  <a:avLst/>
                  <a:gdLst/>
                  <a:ahLst/>
                  <a:cxnLst>
                    <a:cxn ang="0">
                      <a:pos x="4" y="86"/>
                    </a:cxn>
                    <a:cxn ang="0">
                      <a:pos x="10" y="77"/>
                    </a:cxn>
                    <a:cxn ang="0">
                      <a:pos x="13" y="71"/>
                    </a:cxn>
                    <a:cxn ang="0">
                      <a:pos x="19" y="68"/>
                    </a:cxn>
                    <a:cxn ang="0">
                      <a:pos x="31" y="57"/>
                    </a:cxn>
                    <a:cxn ang="0">
                      <a:pos x="41" y="49"/>
                    </a:cxn>
                    <a:cxn ang="0">
                      <a:pos x="47" y="44"/>
                    </a:cxn>
                    <a:cxn ang="0">
                      <a:pos x="51" y="27"/>
                    </a:cxn>
                    <a:cxn ang="0">
                      <a:pos x="58" y="19"/>
                    </a:cxn>
                    <a:cxn ang="0">
                      <a:pos x="68" y="17"/>
                    </a:cxn>
                    <a:cxn ang="0">
                      <a:pos x="65" y="8"/>
                    </a:cxn>
                    <a:cxn ang="0">
                      <a:pos x="71" y="2"/>
                    </a:cxn>
                    <a:cxn ang="0">
                      <a:pos x="79" y="1"/>
                    </a:cxn>
                    <a:cxn ang="0">
                      <a:pos x="86" y="6"/>
                    </a:cxn>
                    <a:cxn ang="0">
                      <a:pos x="97" y="1"/>
                    </a:cxn>
                    <a:cxn ang="0">
                      <a:pos x="100" y="3"/>
                    </a:cxn>
                    <a:cxn ang="0">
                      <a:pos x="110" y="12"/>
                    </a:cxn>
                    <a:cxn ang="0">
                      <a:pos x="114" y="25"/>
                    </a:cxn>
                    <a:cxn ang="0">
                      <a:pos x="118" y="41"/>
                    </a:cxn>
                    <a:cxn ang="0">
                      <a:pos x="114" y="60"/>
                    </a:cxn>
                    <a:cxn ang="0">
                      <a:pos x="110" y="65"/>
                    </a:cxn>
                    <a:cxn ang="0">
                      <a:pos x="116" y="66"/>
                    </a:cxn>
                    <a:cxn ang="0">
                      <a:pos x="122" y="64"/>
                    </a:cxn>
                    <a:cxn ang="0">
                      <a:pos x="132" y="75"/>
                    </a:cxn>
                    <a:cxn ang="0">
                      <a:pos x="139" y="71"/>
                    </a:cxn>
                    <a:cxn ang="0">
                      <a:pos x="148" y="66"/>
                    </a:cxn>
                    <a:cxn ang="0">
                      <a:pos x="153" y="51"/>
                    </a:cxn>
                    <a:cxn ang="0">
                      <a:pos x="162" y="50"/>
                    </a:cxn>
                    <a:cxn ang="0">
                      <a:pos x="167" y="61"/>
                    </a:cxn>
                    <a:cxn ang="0">
                      <a:pos x="171" y="71"/>
                    </a:cxn>
                    <a:cxn ang="0">
                      <a:pos x="173" y="76"/>
                    </a:cxn>
                    <a:cxn ang="0">
                      <a:pos x="175" y="95"/>
                    </a:cxn>
                    <a:cxn ang="0">
                      <a:pos x="165" y="105"/>
                    </a:cxn>
                    <a:cxn ang="0">
                      <a:pos x="161" y="113"/>
                    </a:cxn>
                    <a:cxn ang="0">
                      <a:pos x="165" y="115"/>
                    </a:cxn>
                    <a:cxn ang="0">
                      <a:pos x="170" y="116"/>
                    </a:cxn>
                    <a:cxn ang="0">
                      <a:pos x="176" y="118"/>
                    </a:cxn>
                    <a:cxn ang="0">
                      <a:pos x="193" y="123"/>
                    </a:cxn>
                    <a:cxn ang="0">
                      <a:pos x="199" y="130"/>
                    </a:cxn>
                    <a:cxn ang="0">
                      <a:pos x="202" y="135"/>
                    </a:cxn>
                    <a:cxn ang="0">
                      <a:pos x="207" y="143"/>
                    </a:cxn>
                    <a:cxn ang="0">
                      <a:pos x="218" y="150"/>
                    </a:cxn>
                    <a:cxn ang="0">
                      <a:pos x="224" y="153"/>
                    </a:cxn>
                    <a:cxn ang="0">
                      <a:pos x="227" y="164"/>
                    </a:cxn>
                    <a:cxn ang="0">
                      <a:pos x="227" y="177"/>
                    </a:cxn>
                    <a:cxn ang="0">
                      <a:pos x="223" y="178"/>
                    </a:cxn>
                    <a:cxn ang="0">
                      <a:pos x="221" y="189"/>
                    </a:cxn>
                    <a:cxn ang="0">
                      <a:pos x="218" y="191"/>
                    </a:cxn>
                    <a:cxn ang="0">
                      <a:pos x="216" y="201"/>
                    </a:cxn>
                    <a:cxn ang="0">
                      <a:pos x="196" y="224"/>
                    </a:cxn>
                    <a:cxn ang="0">
                      <a:pos x="186" y="217"/>
                    </a:cxn>
                    <a:cxn ang="0">
                      <a:pos x="169" y="215"/>
                    </a:cxn>
                    <a:cxn ang="0">
                      <a:pos x="154" y="206"/>
                    </a:cxn>
                    <a:cxn ang="0">
                      <a:pos x="133" y="193"/>
                    </a:cxn>
                    <a:cxn ang="0">
                      <a:pos x="105" y="169"/>
                    </a:cxn>
                    <a:cxn ang="0">
                      <a:pos x="64" y="135"/>
                    </a:cxn>
                    <a:cxn ang="0">
                      <a:pos x="49" y="129"/>
                    </a:cxn>
                    <a:cxn ang="0">
                      <a:pos x="28" y="109"/>
                    </a:cxn>
                    <a:cxn ang="0">
                      <a:pos x="16" y="103"/>
                    </a:cxn>
                    <a:cxn ang="0">
                      <a:pos x="15" y="95"/>
                    </a:cxn>
                    <a:cxn ang="0">
                      <a:pos x="3" y="88"/>
                    </a:cxn>
                    <a:cxn ang="0">
                      <a:pos x="3" y="87"/>
                    </a:cxn>
                  </a:cxnLst>
                  <a:rect l="0" t="0" r="r" b="b"/>
                  <a:pathLst>
                    <a:path w="227" h="228">
                      <a:moveTo>
                        <a:pt x="3" y="86"/>
                      </a:moveTo>
                      <a:lnTo>
                        <a:pt x="4" y="86"/>
                      </a:lnTo>
                      <a:lnTo>
                        <a:pt x="9" y="83"/>
                      </a:lnTo>
                      <a:lnTo>
                        <a:pt x="10" y="77"/>
                      </a:lnTo>
                      <a:lnTo>
                        <a:pt x="13" y="76"/>
                      </a:lnTo>
                      <a:lnTo>
                        <a:pt x="13" y="71"/>
                      </a:lnTo>
                      <a:lnTo>
                        <a:pt x="14" y="68"/>
                      </a:lnTo>
                      <a:lnTo>
                        <a:pt x="19" y="68"/>
                      </a:lnTo>
                      <a:lnTo>
                        <a:pt x="22" y="66"/>
                      </a:lnTo>
                      <a:lnTo>
                        <a:pt x="31" y="57"/>
                      </a:lnTo>
                      <a:lnTo>
                        <a:pt x="37" y="56"/>
                      </a:lnTo>
                      <a:lnTo>
                        <a:pt x="41" y="49"/>
                      </a:lnTo>
                      <a:lnTo>
                        <a:pt x="44" y="49"/>
                      </a:lnTo>
                      <a:lnTo>
                        <a:pt x="47" y="44"/>
                      </a:lnTo>
                      <a:lnTo>
                        <a:pt x="51" y="43"/>
                      </a:lnTo>
                      <a:lnTo>
                        <a:pt x="51" y="27"/>
                      </a:lnTo>
                      <a:lnTo>
                        <a:pt x="53" y="25"/>
                      </a:lnTo>
                      <a:lnTo>
                        <a:pt x="58" y="19"/>
                      </a:lnTo>
                      <a:lnTo>
                        <a:pt x="68" y="18"/>
                      </a:lnTo>
                      <a:lnTo>
                        <a:pt x="68" y="17"/>
                      </a:lnTo>
                      <a:lnTo>
                        <a:pt x="64" y="13"/>
                      </a:lnTo>
                      <a:lnTo>
                        <a:pt x="65" y="8"/>
                      </a:lnTo>
                      <a:lnTo>
                        <a:pt x="69" y="8"/>
                      </a:lnTo>
                      <a:lnTo>
                        <a:pt x="71" y="2"/>
                      </a:lnTo>
                      <a:lnTo>
                        <a:pt x="75" y="0"/>
                      </a:lnTo>
                      <a:lnTo>
                        <a:pt x="79" y="1"/>
                      </a:lnTo>
                      <a:lnTo>
                        <a:pt x="85" y="6"/>
                      </a:lnTo>
                      <a:lnTo>
                        <a:pt x="86" y="6"/>
                      </a:lnTo>
                      <a:lnTo>
                        <a:pt x="89" y="3"/>
                      </a:lnTo>
                      <a:lnTo>
                        <a:pt x="97" y="1"/>
                      </a:lnTo>
                      <a:lnTo>
                        <a:pt x="100" y="2"/>
                      </a:lnTo>
                      <a:lnTo>
                        <a:pt x="100" y="3"/>
                      </a:lnTo>
                      <a:lnTo>
                        <a:pt x="102" y="7"/>
                      </a:lnTo>
                      <a:lnTo>
                        <a:pt x="110" y="12"/>
                      </a:lnTo>
                      <a:lnTo>
                        <a:pt x="110" y="19"/>
                      </a:lnTo>
                      <a:lnTo>
                        <a:pt x="114" y="25"/>
                      </a:lnTo>
                      <a:lnTo>
                        <a:pt x="116" y="39"/>
                      </a:lnTo>
                      <a:lnTo>
                        <a:pt x="118" y="41"/>
                      </a:lnTo>
                      <a:lnTo>
                        <a:pt x="117" y="56"/>
                      </a:lnTo>
                      <a:lnTo>
                        <a:pt x="114" y="60"/>
                      </a:lnTo>
                      <a:lnTo>
                        <a:pt x="111" y="62"/>
                      </a:lnTo>
                      <a:lnTo>
                        <a:pt x="110" y="65"/>
                      </a:lnTo>
                      <a:lnTo>
                        <a:pt x="111" y="66"/>
                      </a:lnTo>
                      <a:lnTo>
                        <a:pt x="116" y="66"/>
                      </a:lnTo>
                      <a:lnTo>
                        <a:pt x="119" y="62"/>
                      </a:lnTo>
                      <a:lnTo>
                        <a:pt x="122" y="64"/>
                      </a:lnTo>
                      <a:lnTo>
                        <a:pt x="127" y="67"/>
                      </a:lnTo>
                      <a:lnTo>
                        <a:pt x="132" y="75"/>
                      </a:lnTo>
                      <a:lnTo>
                        <a:pt x="137" y="73"/>
                      </a:lnTo>
                      <a:lnTo>
                        <a:pt x="139" y="71"/>
                      </a:lnTo>
                      <a:lnTo>
                        <a:pt x="146" y="70"/>
                      </a:lnTo>
                      <a:lnTo>
                        <a:pt x="148" y="66"/>
                      </a:lnTo>
                      <a:lnTo>
                        <a:pt x="153" y="60"/>
                      </a:lnTo>
                      <a:lnTo>
                        <a:pt x="153" y="51"/>
                      </a:lnTo>
                      <a:lnTo>
                        <a:pt x="156" y="49"/>
                      </a:lnTo>
                      <a:lnTo>
                        <a:pt x="162" y="50"/>
                      </a:lnTo>
                      <a:lnTo>
                        <a:pt x="166" y="56"/>
                      </a:lnTo>
                      <a:lnTo>
                        <a:pt x="167" y="61"/>
                      </a:lnTo>
                      <a:lnTo>
                        <a:pt x="169" y="70"/>
                      </a:lnTo>
                      <a:lnTo>
                        <a:pt x="171" y="71"/>
                      </a:lnTo>
                      <a:lnTo>
                        <a:pt x="173" y="75"/>
                      </a:lnTo>
                      <a:lnTo>
                        <a:pt x="173" y="76"/>
                      </a:lnTo>
                      <a:lnTo>
                        <a:pt x="178" y="80"/>
                      </a:lnTo>
                      <a:lnTo>
                        <a:pt x="175" y="95"/>
                      </a:lnTo>
                      <a:lnTo>
                        <a:pt x="173" y="98"/>
                      </a:lnTo>
                      <a:lnTo>
                        <a:pt x="165" y="105"/>
                      </a:lnTo>
                      <a:lnTo>
                        <a:pt x="161" y="111"/>
                      </a:lnTo>
                      <a:lnTo>
                        <a:pt x="161" y="113"/>
                      </a:lnTo>
                      <a:lnTo>
                        <a:pt x="164" y="113"/>
                      </a:lnTo>
                      <a:lnTo>
                        <a:pt x="165" y="115"/>
                      </a:lnTo>
                      <a:lnTo>
                        <a:pt x="169" y="114"/>
                      </a:lnTo>
                      <a:lnTo>
                        <a:pt x="170" y="116"/>
                      </a:lnTo>
                      <a:lnTo>
                        <a:pt x="172" y="118"/>
                      </a:lnTo>
                      <a:lnTo>
                        <a:pt x="176" y="118"/>
                      </a:lnTo>
                      <a:lnTo>
                        <a:pt x="183" y="123"/>
                      </a:lnTo>
                      <a:lnTo>
                        <a:pt x="193" y="123"/>
                      </a:lnTo>
                      <a:lnTo>
                        <a:pt x="196" y="123"/>
                      </a:lnTo>
                      <a:lnTo>
                        <a:pt x="199" y="130"/>
                      </a:lnTo>
                      <a:lnTo>
                        <a:pt x="199" y="134"/>
                      </a:lnTo>
                      <a:lnTo>
                        <a:pt x="202" y="135"/>
                      </a:lnTo>
                      <a:lnTo>
                        <a:pt x="205" y="140"/>
                      </a:lnTo>
                      <a:lnTo>
                        <a:pt x="207" y="143"/>
                      </a:lnTo>
                      <a:lnTo>
                        <a:pt x="213" y="145"/>
                      </a:lnTo>
                      <a:lnTo>
                        <a:pt x="218" y="150"/>
                      </a:lnTo>
                      <a:lnTo>
                        <a:pt x="224" y="148"/>
                      </a:lnTo>
                      <a:lnTo>
                        <a:pt x="224" y="153"/>
                      </a:lnTo>
                      <a:lnTo>
                        <a:pt x="226" y="158"/>
                      </a:lnTo>
                      <a:lnTo>
                        <a:pt x="227" y="164"/>
                      </a:lnTo>
                      <a:lnTo>
                        <a:pt x="225" y="172"/>
                      </a:lnTo>
                      <a:lnTo>
                        <a:pt x="227" y="177"/>
                      </a:lnTo>
                      <a:lnTo>
                        <a:pt x="227" y="178"/>
                      </a:lnTo>
                      <a:lnTo>
                        <a:pt x="223" y="178"/>
                      </a:lnTo>
                      <a:lnTo>
                        <a:pt x="221" y="181"/>
                      </a:lnTo>
                      <a:lnTo>
                        <a:pt x="221" y="189"/>
                      </a:lnTo>
                      <a:lnTo>
                        <a:pt x="218" y="189"/>
                      </a:lnTo>
                      <a:lnTo>
                        <a:pt x="218" y="191"/>
                      </a:lnTo>
                      <a:lnTo>
                        <a:pt x="218" y="196"/>
                      </a:lnTo>
                      <a:lnTo>
                        <a:pt x="216" y="201"/>
                      </a:lnTo>
                      <a:lnTo>
                        <a:pt x="218" y="228"/>
                      </a:lnTo>
                      <a:lnTo>
                        <a:pt x="196" y="224"/>
                      </a:lnTo>
                      <a:lnTo>
                        <a:pt x="189" y="220"/>
                      </a:lnTo>
                      <a:lnTo>
                        <a:pt x="186" y="217"/>
                      </a:lnTo>
                      <a:lnTo>
                        <a:pt x="180" y="217"/>
                      </a:lnTo>
                      <a:lnTo>
                        <a:pt x="169" y="215"/>
                      </a:lnTo>
                      <a:lnTo>
                        <a:pt x="160" y="210"/>
                      </a:lnTo>
                      <a:lnTo>
                        <a:pt x="154" y="206"/>
                      </a:lnTo>
                      <a:lnTo>
                        <a:pt x="144" y="201"/>
                      </a:lnTo>
                      <a:lnTo>
                        <a:pt x="133" y="193"/>
                      </a:lnTo>
                      <a:lnTo>
                        <a:pt x="119" y="188"/>
                      </a:lnTo>
                      <a:lnTo>
                        <a:pt x="105" y="169"/>
                      </a:lnTo>
                      <a:lnTo>
                        <a:pt x="69" y="141"/>
                      </a:lnTo>
                      <a:lnTo>
                        <a:pt x="64" y="135"/>
                      </a:lnTo>
                      <a:lnTo>
                        <a:pt x="59" y="131"/>
                      </a:lnTo>
                      <a:lnTo>
                        <a:pt x="49" y="129"/>
                      </a:lnTo>
                      <a:lnTo>
                        <a:pt x="36" y="123"/>
                      </a:lnTo>
                      <a:lnTo>
                        <a:pt x="28" y="109"/>
                      </a:lnTo>
                      <a:lnTo>
                        <a:pt x="19" y="105"/>
                      </a:lnTo>
                      <a:lnTo>
                        <a:pt x="16" y="103"/>
                      </a:lnTo>
                      <a:lnTo>
                        <a:pt x="16" y="98"/>
                      </a:lnTo>
                      <a:lnTo>
                        <a:pt x="15" y="95"/>
                      </a:lnTo>
                      <a:lnTo>
                        <a:pt x="4" y="92"/>
                      </a:lnTo>
                      <a:lnTo>
                        <a:pt x="3" y="88"/>
                      </a:lnTo>
                      <a:lnTo>
                        <a:pt x="0" y="88"/>
                      </a:lnTo>
                      <a:lnTo>
                        <a:pt x="3" y="87"/>
                      </a:lnTo>
                      <a:lnTo>
                        <a:pt x="3" y="8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52" name="Freeform 40"/>
                <p:cNvSpPr>
                  <a:spLocks noChangeAspect="1"/>
                </p:cNvSpPr>
                <p:nvPr/>
              </p:nvSpPr>
              <p:spPr bwMode="gray">
                <a:xfrm>
                  <a:off x="4806156" y="3449984"/>
                  <a:ext cx="204788" cy="169863"/>
                </a:xfrm>
                <a:custGeom>
                  <a:avLst/>
                  <a:gdLst/>
                  <a:ahLst/>
                  <a:cxnLst>
                    <a:cxn ang="0">
                      <a:pos x="48" y="85"/>
                    </a:cxn>
                    <a:cxn ang="0">
                      <a:pos x="55" y="67"/>
                    </a:cxn>
                    <a:cxn ang="0">
                      <a:pos x="75" y="43"/>
                    </a:cxn>
                    <a:cxn ang="0">
                      <a:pos x="96" y="9"/>
                    </a:cxn>
                    <a:cxn ang="0">
                      <a:pos x="139" y="3"/>
                    </a:cxn>
                    <a:cxn ang="0">
                      <a:pos x="199" y="20"/>
                    </a:cxn>
                    <a:cxn ang="0">
                      <a:pos x="233" y="48"/>
                    </a:cxn>
                    <a:cxn ang="0">
                      <a:pos x="264" y="30"/>
                    </a:cxn>
                    <a:cxn ang="0">
                      <a:pos x="303" y="37"/>
                    </a:cxn>
                    <a:cxn ang="0">
                      <a:pos x="362" y="58"/>
                    </a:cxn>
                    <a:cxn ang="0">
                      <a:pos x="406" y="32"/>
                    </a:cxn>
                    <a:cxn ang="0">
                      <a:pos x="459" y="30"/>
                    </a:cxn>
                    <a:cxn ang="0">
                      <a:pos x="496" y="26"/>
                    </a:cxn>
                    <a:cxn ang="0">
                      <a:pos x="517" y="36"/>
                    </a:cxn>
                    <a:cxn ang="0">
                      <a:pos x="544" y="22"/>
                    </a:cxn>
                    <a:cxn ang="0">
                      <a:pos x="558" y="15"/>
                    </a:cxn>
                    <a:cxn ang="0">
                      <a:pos x="571" y="3"/>
                    </a:cxn>
                    <a:cxn ang="0">
                      <a:pos x="581" y="20"/>
                    </a:cxn>
                    <a:cxn ang="0">
                      <a:pos x="604" y="43"/>
                    </a:cxn>
                    <a:cxn ang="0">
                      <a:pos x="624" y="76"/>
                    </a:cxn>
                    <a:cxn ang="0">
                      <a:pos x="639" y="84"/>
                    </a:cxn>
                    <a:cxn ang="0">
                      <a:pos x="642" y="119"/>
                    </a:cxn>
                    <a:cxn ang="0">
                      <a:pos x="604" y="142"/>
                    </a:cxn>
                    <a:cxn ang="0">
                      <a:pos x="587" y="159"/>
                    </a:cxn>
                    <a:cxn ang="0">
                      <a:pos x="567" y="207"/>
                    </a:cxn>
                    <a:cxn ang="0">
                      <a:pos x="554" y="257"/>
                    </a:cxn>
                    <a:cxn ang="0">
                      <a:pos x="549" y="280"/>
                    </a:cxn>
                    <a:cxn ang="0">
                      <a:pos x="517" y="315"/>
                    </a:cxn>
                    <a:cxn ang="0">
                      <a:pos x="501" y="360"/>
                    </a:cxn>
                    <a:cxn ang="0">
                      <a:pos x="478" y="406"/>
                    </a:cxn>
                    <a:cxn ang="0">
                      <a:pos x="447" y="401"/>
                    </a:cxn>
                    <a:cxn ang="0">
                      <a:pos x="440" y="392"/>
                    </a:cxn>
                    <a:cxn ang="0">
                      <a:pos x="392" y="386"/>
                    </a:cxn>
                    <a:cxn ang="0">
                      <a:pos x="371" y="403"/>
                    </a:cxn>
                    <a:cxn ang="0">
                      <a:pos x="344" y="427"/>
                    </a:cxn>
                    <a:cxn ang="0">
                      <a:pos x="330" y="472"/>
                    </a:cxn>
                    <a:cxn ang="0">
                      <a:pos x="313" y="497"/>
                    </a:cxn>
                    <a:cxn ang="0">
                      <a:pos x="304" y="497"/>
                    </a:cxn>
                    <a:cxn ang="0">
                      <a:pos x="276" y="516"/>
                    </a:cxn>
                    <a:cxn ang="0">
                      <a:pos x="237" y="515"/>
                    </a:cxn>
                    <a:cxn ang="0">
                      <a:pos x="227" y="524"/>
                    </a:cxn>
                    <a:cxn ang="0">
                      <a:pos x="216" y="522"/>
                    </a:cxn>
                    <a:cxn ang="0">
                      <a:pos x="193" y="532"/>
                    </a:cxn>
                    <a:cxn ang="0">
                      <a:pos x="180" y="524"/>
                    </a:cxn>
                    <a:cxn ang="0">
                      <a:pos x="151" y="500"/>
                    </a:cxn>
                    <a:cxn ang="0">
                      <a:pos x="151" y="467"/>
                    </a:cxn>
                    <a:cxn ang="0">
                      <a:pos x="136" y="454"/>
                    </a:cxn>
                    <a:cxn ang="0">
                      <a:pos x="126" y="444"/>
                    </a:cxn>
                    <a:cxn ang="0">
                      <a:pos x="96" y="417"/>
                    </a:cxn>
                    <a:cxn ang="0">
                      <a:pos x="5" y="417"/>
                    </a:cxn>
                    <a:cxn ang="0">
                      <a:pos x="1" y="366"/>
                    </a:cxn>
                    <a:cxn ang="0">
                      <a:pos x="6" y="295"/>
                    </a:cxn>
                    <a:cxn ang="0">
                      <a:pos x="23" y="248"/>
                    </a:cxn>
                    <a:cxn ang="0">
                      <a:pos x="49" y="218"/>
                    </a:cxn>
                    <a:cxn ang="0">
                      <a:pos x="53" y="208"/>
                    </a:cxn>
                    <a:cxn ang="0">
                      <a:pos x="48" y="197"/>
                    </a:cxn>
                    <a:cxn ang="0">
                      <a:pos x="58" y="189"/>
                    </a:cxn>
                    <a:cxn ang="0">
                      <a:pos x="55" y="154"/>
                    </a:cxn>
                    <a:cxn ang="0">
                      <a:pos x="43" y="134"/>
                    </a:cxn>
                  </a:cxnLst>
                  <a:rect l="0" t="0" r="r" b="b"/>
                  <a:pathLst>
                    <a:path w="642" h="532">
                      <a:moveTo>
                        <a:pt x="49" y="117"/>
                      </a:moveTo>
                      <a:lnTo>
                        <a:pt x="50" y="110"/>
                      </a:lnTo>
                      <a:lnTo>
                        <a:pt x="48" y="85"/>
                      </a:lnTo>
                      <a:lnTo>
                        <a:pt x="49" y="76"/>
                      </a:lnTo>
                      <a:lnTo>
                        <a:pt x="51" y="72"/>
                      </a:lnTo>
                      <a:lnTo>
                        <a:pt x="55" y="67"/>
                      </a:lnTo>
                      <a:lnTo>
                        <a:pt x="62" y="63"/>
                      </a:lnTo>
                      <a:lnTo>
                        <a:pt x="67" y="57"/>
                      </a:lnTo>
                      <a:lnTo>
                        <a:pt x="75" y="43"/>
                      </a:lnTo>
                      <a:lnTo>
                        <a:pt x="77" y="25"/>
                      </a:lnTo>
                      <a:lnTo>
                        <a:pt x="78" y="21"/>
                      </a:lnTo>
                      <a:lnTo>
                        <a:pt x="96" y="9"/>
                      </a:lnTo>
                      <a:lnTo>
                        <a:pt x="115" y="4"/>
                      </a:lnTo>
                      <a:lnTo>
                        <a:pt x="133" y="4"/>
                      </a:lnTo>
                      <a:lnTo>
                        <a:pt x="139" y="3"/>
                      </a:lnTo>
                      <a:lnTo>
                        <a:pt x="147" y="0"/>
                      </a:lnTo>
                      <a:lnTo>
                        <a:pt x="162" y="2"/>
                      </a:lnTo>
                      <a:lnTo>
                        <a:pt x="199" y="20"/>
                      </a:lnTo>
                      <a:lnTo>
                        <a:pt x="221" y="41"/>
                      </a:lnTo>
                      <a:lnTo>
                        <a:pt x="228" y="46"/>
                      </a:lnTo>
                      <a:lnTo>
                        <a:pt x="233" y="48"/>
                      </a:lnTo>
                      <a:lnTo>
                        <a:pt x="242" y="48"/>
                      </a:lnTo>
                      <a:lnTo>
                        <a:pt x="248" y="38"/>
                      </a:lnTo>
                      <a:lnTo>
                        <a:pt x="264" y="30"/>
                      </a:lnTo>
                      <a:lnTo>
                        <a:pt x="274" y="27"/>
                      </a:lnTo>
                      <a:lnTo>
                        <a:pt x="286" y="27"/>
                      </a:lnTo>
                      <a:lnTo>
                        <a:pt x="303" y="37"/>
                      </a:lnTo>
                      <a:lnTo>
                        <a:pt x="327" y="52"/>
                      </a:lnTo>
                      <a:lnTo>
                        <a:pt x="339" y="56"/>
                      </a:lnTo>
                      <a:lnTo>
                        <a:pt x="362" y="58"/>
                      </a:lnTo>
                      <a:lnTo>
                        <a:pt x="375" y="57"/>
                      </a:lnTo>
                      <a:lnTo>
                        <a:pt x="389" y="47"/>
                      </a:lnTo>
                      <a:lnTo>
                        <a:pt x="406" y="32"/>
                      </a:lnTo>
                      <a:lnTo>
                        <a:pt x="415" y="27"/>
                      </a:lnTo>
                      <a:lnTo>
                        <a:pt x="441" y="27"/>
                      </a:lnTo>
                      <a:lnTo>
                        <a:pt x="459" y="30"/>
                      </a:lnTo>
                      <a:lnTo>
                        <a:pt x="469" y="26"/>
                      </a:lnTo>
                      <a:lnTo>
                        <a:pt x="489" y="24"/>
                      </a:lnTo>
                      <a:lnTo>
                        <a:pt x="496" y="26"/>
                      </a:lnTo>
                      <a:lnTo>
                        <a:pt x="503" y="30"/>
                      </a:lnTo>
                      <a:lnTo>
                        <a:pt x="511" y="32"/>
                      </a:lnTo>
                      <a:lnTo>
                        <a:pt x="517" y="36"/>
                      </a:lnTo>
                      <a:lnTo>
                        <a:pt x="528" y="36"/>
                      </a:lnTo>
                      <a:lnTo>
                        <a:pt x="534" y="32"/>
                      </a:lnTo>
                      <a:lnTo>
                        <a:pt x="544" y="22"/>
                      </a:lnTo>
                      <a:lnTo>
                        <a:pt x="544" y="21"/>
                      </a:lnTo>
                      <a:lnTo>
                        <a:pt x="550" y="16"/>
                      </a:lnTo>
                      <a:lnTo>
                        <a:pt x="558" y="15"/>
                      </a:lnTo>
                      <a:lnTo>
                        <a:pt x="564" y="15"/>
                      </a:lnTo>
                      <a:lnTo>
                        <a:pt x="570" y="3"/>
                      </a:lnTo>
                      <a:lnTo>
                        <a:pt x="571" y="3"/>
                      </a:lnTo>
                      <a:lnTo>
                        <a:pt x="574" y="0"/>
                      </a:lnTo>
                      <a:lnTo>
                        <a:pt x="577" y="11"/>
                      </a:lnTo>
                      <a:lnTo>
                        <a:pt x="581" y="20"/>
                      </a:lnTo>
                      <a:lnTo>
                        <a:pt x="588" y="30"/>
                      </a:lnTo>
                      <a:lnTo>
                        <a:pt x="599" y="36"/>
                      </a:lnTo>
                      <a:lnTo>
                        <a:pt x="604" y="43"/>
                      </a:lnTo>
                      <a:lnTo>
                        <a:pt x="613" y="65"/>
                      </a:lnTo>
                      <a:lnTo>
                        <a:pt x="623" y="73"/>
                      </a:lnTo>
                      <a:lnTo>
                        <a:pt x="624" y="76"/>
                      </a:lnTo>
                      <a:lnTo>
                        <a:pt x="635" y="80"/>
                      </a:lnTo>
                      <a:lnTo>
                        <a:pt x="636" y="81"/>
                      </a:lnTo>
                      <a:lnTo>
                        <a:pt x="639" y="84"/>
                      </a:lnTo>
                      <a:lnTo>
                        <a:pt x="641" y="89"/>
                      </a:lnTo>
                      <a:lnTo>
                        <a:pt x="640" y="106"/>
                      </a:lnTo>
                      <a:lnTo>
                        <a:pt x="642" y="119"/>
                      </a:lnTo>
                      <a:lnTo>
                        <a:pt x="623" y="132"/>
                      </a:lnTo>
                      <a:lnTo>
                        <a:pt x="620" y="135"/>
                      </a:lnTo>
                      <a:lnTo>
                        <a:pt x="604" y="142"/>
                      </a:lnTo>
                      <a:lnTo>
                        <a:pt x="601" y="143"/>
                      </a:lnTo>
                      <a:lnTo>
                        <a:pt x="592" y="153"/>
                      </a:lnTo>
                      <a:lnTo>
                        <a:pt x="587" y="159"/>
                      </a:lnTo>
                      <a:lnTo>
                        <a:pt x="583" y="166"/>
                      </a:lnTo>
                      <a:lnTo>
                        <a:pt x="576" y="189"/>
                      </a:lnTo>
                      <a:lnTo>
                        <a:pt x="567" y="207"/>
                      </a:lnTo>
                      <a:lnTo>
                        <a:pt x="564" y="218"/>
                      </a:lnTo>
                      <a:lnTo>
                        <a:pt x="562" y="229"/>
                      </a:lnTo>
                      <a:lnTo>
                        <a:pt x="554" y="257"/>
                      </a:lnTo>
                      <a:lnTo>
                        <a:pt x="553" y="269"/>
                      </a:lnTo>
                      <a:lnTo>
                        <a:pt x="551" y="275"/>
                      </a:lnTo>
                      <a:lnTo>
                        <a:pt x="549" y="280"/>
                      </a:lnTo>
                      <a:lnTo>
                        <a:pt x="534" y="287"/>
                      </a:lnTo>
                      <a:lnTo>
                        <a:pt x="523" y="299"/>
                      </a:lnTo>
                      <a:lnTo>
                        <a:pt x="517" y="315"/>
                      </a:lnTo>
                      <a:lnTo>
                        <a:pt x="513" y="331"/>
                      </a:lnTo>
                      <a:lnTo>
                        <a:pt x="511" y="338"/>
                      </a:lnTo>
                      <a:lnTo>
                        <a:pt x="501" y="360"/>
                      </a:lnTo>
                      <a:lnTo>
                        <a:pt x="483" y="391"/>
                      </a:lnTo>
                      <a:lnTo>
                        <a:pt x="481" y="400"/>
                      </a:lnTo>
                      <a:lnTo>
                        <a:pt x="478" y="406"/>
                      </a:lnTo>
                      <a:lnTo>
                        <a:pt x="469" y="409"/>
                      </a:lnTo>
                      <a:lnTo>
                        <a:pt x="456" y="408"/>
                      </a:lnTo>
                      <a:lnTo>
                        <a:pt x="447" y="401"/>
                      </a:lnTo>
                      <a:lnTo>
                        <a:pt x="443" y="398"/>
                      </a:lnTo>
                      <a:lnTo>
                        <a:pt x="443" y="397"/>
                      </a:lnTo>
                      <a:lnTo>
                        <a:pt x="440" y="392"/>
                      </a:lnTo>
                      <a:lnTo>
                        <a:pt x="429" y="382"/>
                      </a:lnTo>
                      <a:lnTo>
                        <a:pt x="414" y="381"/>
                      </a:lnTo>
                      <a:lnTo>
                        <a:pt x="392" y="386"/>
                      </a:lnTo>
                      <a:lnTo>
                        <a:pt x="377" y="386"/>
                      </a:lnTo>
                      <a:lnTo>
                        <a:pt x="375" y="386"/>
                      </a:lnTo>
                      <a:lnTo>
                        <a:pt x="371" y="403"/>
                      </a:lnTo>
                      <a:lnTo>
                        <a:pt x="360" y="408"/>
                      </a:lnTo>
                      <a:lnTo>
                        <a:pt x="352" y="416"/>
                      </a:lnTo>
                      <a:lnTo>
                        <a:pt x="344" y="427"/>
                      </a:lnTo>
                      <a:lnTo>
                        <a:pt x="335" y="443"/>
                      </a:lnTo>
                      <a:lnTo>
                        <a:pt x="332" y="458"/>
                      </a:lnTo>
                      <a:lnTo>
                        <a:pt x="330" y="472"/>
                      </a:lnTo>
                      <a:lnTo>
                        <a:pt x="327" y="481"/>
                      </a:lnTo>
                      <a:lnTo>
                        <a:pt x="320" y="490"/>
                      </a:lnTo>
                      <a:lnTo>
                        <a:pt x="313" y="497"/>
                      </a:lnTo>
                      <a:lnTo>
                        <a:pt x="313" y="504"/>
                      </a:lnTo>
                      <a:lnTo>
                        <a:pt x="309" y="498"/>
                      </a:lnTo>
                      <a:lnTo>
                        <a:pt x="304" y="497"/>
                      </a:lnTo>
                      <a:lnTo>
                        <a:pt x="301" y="505"/>
                      </a:lnTo>
                      <a:lnTo>
                        <a:pt x="300" y="517"/>
                      </a:lnTo>
                      <a:lnTo>
                        <a:pt x="276" y="516"/>
                      </a:lnTo>
                      <a:lnTo>
                        <a:pt x="265" y="517"/>
                      </a:lnTo>
                      <a:lnTo>
                        <a:pt x="242" y="508"/>
                      </a:lnTo>
                      <a:lnTo>
                        <a:pt x="237" y="515"/>
                      </a:lnTo>
                      <a:lnTo>
                        <a:pt x="234" y="516"/>
                      </a:lnTo>
                      <a:lnTo>
                        <a:pt x="231" y="521"/>
                      </a:lnTo>
                      <a:lnTo>
                        <a:pt x="227" y="524"/>
                      </a:lnTo>
                      <a:lnTo>
                        <a:pt x="225" y="524"/>
                      </a:lnTo>
                      <a:lnTo>
                        <a:pt x="221" y="525"/>
                      </a:lnTo>
                      <a:lnTo>
                        <a:pt x="216" y="522"/>
                      </a:lnTo>
                      <a:lnTo>
                        <a:pt x="212" y="525"/>
                      </a:lnTo>
                      <a:lnTo>
                        <a:pt x="210" y="524"/>
                      </a:lnTo>
                      <a:lnTo>
                        <a:pt x="193" y="532"/>
                      </a:lnTo>
                      <a:lnTo>
                        <a:pt x="190" y="524"/>
                      </a:lnTo>
                      <a:lnTo>
                        <a:pt x="182" y="524"/>
                      </a:lnTo>
                      <a:lnTo>
                        <a:pt x="180" y="524"/>
                      </a:lnTo>
                      <a:lnTo>
                        <a:pt x="168" y="521"/>
                      </a:lnTo>
                      <a:lnTo>
                        <a:pt x="163" y="513"/>
                      </a:lnTo>
                      <a:lnTo>
                        <a:pt x="151" y="500"/>
                      </a:lnTo>
                      <a:lnTo>
                        <a:pt x="146" y="482"/>
                      </a:lnTo>
                      <a:lnTo>
                        <a:pt x="146" y="471"/>
                      </a:lnTo>
                      <a:lnTo>
                        <a:pt x="151" y="467"/>
                      </a:lnTo>
                      <a:lnTo>
                        <a:pt x="147" y="467"/>
                      </a:lnTo>
                      <a:lnTo>
                        <a:pt x="140" y="465"/>
                      </a:lnTo>
                      <a:lnTo>
                        <a:pt x="136" y="454"/>
                      </a:lnTo>
                      <a:lnTo>
                        <a:pt x="133" y="451"/>
                      </a:lnTo>
                      <a:lnTo>
                        <a:pt x="130" y="445"/>
                      </a:lnTo>
                      <a:lnTo>
                        <a:pt x="126" y="444"/>
                      </a:lnTo>
                      <a:lnTo>
                        <a:pt x="124" y="439"/>
                      </a:lnTo>
                      <a:lnTo>
                        <a:pt x="117" y="429"/>
                      </a:lnTo>
                      <a:lnTo>
                        <a:pt x="96" y="417"/>
                      </a:lnTo>
                      <a:lnTo>
                        <a:pt x="86" y="416"/>
                      </a:lnTo>
                      <a:lnTo>
                        <a:pt x="64" y="413"/>
                      </a:lnTo>
                      <a:lnTo>
                        <a:pt x="5" y="417"/>
                      </a:lnTo>
                      <a:lnTo>
                        <a:pt x="2" y="414"/>
                      </a:lnTo>
                      <a:lnTo>
                        <a:pt x="0" y="375"/>
                      </a:lnTo>
                      <a:lnTo>
                        <a:pt x="1" y="366"/>
                      </a:lnTo>
                      <a:lnTo>
                        <a:pt x="6" y="345"/>
                      </a:lnTo>
                      <a:lnTo>
                        <a:pt x="5" y="315"/>
                      </a:lnTo>
                      <a:lnTo>
                        <a:pt x="6" y="295"/>
                      </a:lnTo>
                      <a:lnTo>
                        <a:pt x="10" y="283"/>
                      </a:lnTo>
                      <a:lnTo>
                        <a:pt x="22" y="263"/>
                      </a:lnTo>
                      <a:lnTo>
                        <a:pt x="23" y="248"/>
                      </a:lnTo>
                      <a:lnTo>
                        <a:pt x="26" y="239"/>
                      </a:lnTo>
                      <a:lnTo>
                        <a:pt x="34" y="229"/>
                      </a:lnTo>
                      <a:lnTo>
                        <a:pt x="49" y="218"/>
                      </a:lnTo>
                      <a:lnTo>
                        <a:pt x="49" y="212"/>
                      </a:lnTo>
                      <a:lnTo>
                        <a:pt x="53" y="209"/>
                      </a:lnTo>
                      <a:lnTo>
                        <a:pt x="53" y="208"/>
                      </a:lnTo>
                      <a:lnTo>
                        <a:pt x="53" y="204"/>
                      </a:lnTo>
                      <a:lnTo>
                        <a:pt x="48" y="199"/>
                      </a:lnTo>
                      <a:lnTo>
                        <a:pt x="48" y="197"/>
                      </a:lnTo>
                      <a:lnTo>
                        <a:pt x="50" y="191"/>
                      </a:lnTo>
                      <a:lnTo>
                        <a:pt x="53" y="189"/>
                      </a:lnTo>
                      <a:lnTo>
                        <a:pt x="58" y="189"/>
                      </a:lnTo>
                      <a:lnTo>
                        <a:pt x="59" y="187"/>
                      </a:lnTo>
                      <a:lnTo>
                        <a:pt x="59" y="169"/>
                      </a:lnTo>
                      <a:lnTo>
                        <a:pt x="55" y="154"/>
                      </a:lnTo>
                      <a:lnTo>
                        <a:pt x="54" y="149"/>
                      </a:lnTo>
                      <a:lnTo>
                        <a:pt x="44" y="139"/>
                      </a:lnTo>
                      <a:lnTo>
                        <a:pt x="43" y="134"/>
                      </a:lnTo>
                      <a:lnTo>
                        <a:pt x="44" y="123"/>
                      </a:lnTo>
                      <a:lnTo>
                        <a:pt x="49" y="11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53" name="Freeform 41"/>
                <p:cNvSpPr>
                  <a:spLocks noChangeAspect="1"/>
                </p:cNvSpPr>
                <p:nvPr/>
              </p:nvSpPr>
              <p:spPr bwMode="gray">
                <a:xfrm>
                  <a:off x="4952206" y="3627784"/>
                  <a:ext cx="133350" cy="152400"/>
                </a:xfrm>
                <a:custGeom>
                  <a:avLst/>
                  <a:gdLst/>
                  <a:ahLst/>
                  <a:cxnLst>
                    <a:cxn ang="0">
                      <a:pos x="408" y="5"/>
                    </a:cxn>
                    <a:cxn ang="0">
                      <a:pos x="377" y="16"/>
                    </a:cxn>
                    <a:cxn ang="0">
                      <a:pos x="343" y="0"/>
                    </a:cxn>
                    <a:cxn ang="0">
                      <a:pos x="300" y="17"/>
                    </a:cxn>
                    <a:cxn ang="0">
                      <a:pos x="274" y="47"/>
                    </a:cxn>
                    <a:cxn ang="0">
                      <a:pos x="274" y="101"/>
                    </a:cxn>
                    <a:cxn ang="0">
                      <a:pos x="267" y="114"/>
                    </a:cxn>
                    <a:cxn ang="0">
                      <a:pos x="234" y="96"/>
                    </a:cxn>
                    <a:cxn ang="0">
                      <a:pos x="205" y="90"/>
                    </a:cxn>
                    <a:cxn ang="0">
                      <a:pos x="118" y="84"/>
                    </a:cxn>
                    <a:cxn ang="0">
                      <a:pos x="111" y="117"/>
                    </a:cxn>
                    <a:cxn ang="0">
                      <a:pos x="121" y="140"/>
                    </a:cxn>
                    <a:cxn ang="0">
                      <a:pos x="166" y="124"/>
                    </a:cxn>
                    <a:cxn ang="0">
                      <a:pos x="177" y="157"/>
                    </a:cxn>
                    <a:cxn ang="0">
                      <a:pos x="158" y="204"/>
                    </a:cxn>
                    <a:cxn ang="0">
                      <a:pos x="173" y="246"/>
                    </a:cxn>
                    <a:cxn ang="0">
                      <a:pos x="169" y="275"/>
                    </a:cxn>
                    <a:cxn ang="0">
                      <a:pos x="161" y="329"/>
                    </a:cxn>
                    <a:cxn ang="0">
                      <a:pos x="127" y="318"/>
                    </a:cxn>
                    <a:cxn ang="0">
                      <a:pos x="92" y="310"/>
                    </a:cxn>
                    <a:cxn ang="0">
                      <a:pos x="74" y="313"/>
                    </a:cxn>
                    <a:cxn ang="0">
                      <a:pos x="42" y="333"/>
                    </a:cxn>
                    <a:cxn ang="0">
                      <a:pos x="27" y="350"/>
                    </a:cxn>
                    <a:cxn ang="0">
                      <a:pos x="31" y="375"/>
                    </a:cxn>
                    <a:cxn ang="0">
                      <a:pos x="31" y="394"/>
                    </a:cxn>
                    <a:cxn ang="0">
                      <a:pos x="8" y="397"/>
                    </a:cxn>
                    <a:cxn ang="0">
                      <a:pos x="0" y="419"/>
                    </a:cxn>
                    <a:cxn ang="0">
                      <a:pos x="19" y="434"/>
                    </a:cxn>
                    <a:cxn ang="0">
                      <a:pos x="40" y="456"/>
                    </a:cxn>
                    <a:cxn ang="0">
                      <a:pos x="63" y="469"/>
                    </a:cxn>
                    <a:cxn ang="0">
                      <a:pos x="80" y="449"/>
                    </a:cxn>
                    <a:cxn ang="0">
                      <a:pos x="100" y="447"/>
                    </a:cxn>
                    <a:cxn ang="0">
                      <a:pos x="121" y="468"/>
                    </a:cxn>
                    <a:cxn ang="0">
                      <a:pos x="140" y="452"/>
                    </a:cxn>
                    <a:cxn ang="0">
                      <a:pos x="161" y="444"/>
                    </a:cxn>
                    <a:cxn ang="0">
                      <a:pos x="177" y="445"/>
                    </a:cxn>
                    <a:cxn ang="0">
                      <a:pos x="188" y="466"/>
                    </a:cxn>
                    <a:cxn ang="0">
                      <a:pos x="232" y="437"/>
                    </a:cxn>
                    <a:cxn ang="0">
                      <a:pos x="261" y="415"/>
                    </a:cxn>
                    <a:cxn ang="0">
                      <a:pos x="278" y="376"/>
                    </a:cxn>
                    <a:cxn ang="0">
                      <a:pos x="282" y="337"/>
                    </a:cxn>
                    <a:cxn ang="0">
                      <a:pos x="312" y="280"/>
                    </a:cxn>
                    <a:cxn ang="0">
                      <a:pos x="348" y="254"/>
                    </a:cxn>
                    <a:cxn ang="0">
                      <a:pos x="364" y="237"/>
                    </a:cxn>
                    <a:cxn ang="0">
                      <a:pos x="372" y="141"/>
                    </a:cxn>
                    <a:cxn ang="0">
                      <a:pos x="391" y="73"/>
                    </a:cxn>
                    <a:cxn ang="0">
                      <a:pos x="417" y="17"/>
                    </a:cxn>
                  </a:cxnLst>
                  <a:rect l="0" t="0" r="r" b="b"/>
                  <a:pathLst>
                    <a:path w="417" h="479">
                      <a:moveTo>
                        <a:pt x="414" y="0"/>
                      </a:moveTo>
                      <a:lnTo>
                        <a:pt x="408" y="5"/>
                      </a:lnTo>
                      <a:lnTo>
                        <a:pt x="393" y="12"/>
                      </a:lnTo>
                      <a:lnTo>
                        <a:pt x="377" y="16"/>
                      </a:lnTo>
                      <a:lnTo>
                        <a:pt x="360" y="10"/>
                      </a:lnTo>
                      <a:lnTo>
                        <a:pt x="343" y="0"/>
                      </a:lnTo>
                      <a:lnTo>
                        <a:pt x="323" y="3"/>
                      </a:lnTo>
                      <a:lnTo>
                        <a:pt x="300" y="17"/>
                      </a:lnTo>
                      <a:lnTo>
                        <a:pt x="283" y="33"/>
                      </a:lnTo>
                      <a:lnTo>
                        <a:pt x="274" y="47"/>
                      </a:lnTo>
                      <a:lnTo>
                        <a:pt x="272" y="58"/>
                      </a:lnTo>
                      <a:lnTo>
                        <a:pt x="274" y="101"/>
                      </a:lnTo>
                      <a:lnTo>
                        <a:pt x="272" y="111"/>
                      </a:lnTo>
                      <a:lnTo>
                        <a:pt x="267" y="114"/>
                      </a:lnTo>
                      <a:lnTo>
                        <a:pt x="244" y="96"/>
                      </a:lnTo>
                      <a:lnTo>
                        <a:pt x="234" y="96"/>
                      </a:lnTo>
                      <a:lnTo>
                        <a:pt x="220" y="91"/>
                      </a:lnTo>
                      <a:lnTo>
                        <a:pt x="205" y="90"/>
                      </a:lnTo>
                      <a:lnTo>
                        <a:pt x="194" y="84"/>
                      </a:lnTo>
                      <a:lnTo>
                        <a:pt x="118" y="84"/>
                      </a:lnTo>
                      <a:lnTo>
                        <a:pt x="112" y="98"/>
                      </a:lnTo>
                      <a:lnTo>
                        <a:pt x="111" y="117"/>
                      </a:lnTo>
                      <a:lnTo>
                        <a:pt x="112" y="135"/>
                      </a:lnTo>
                      <a:lnTo>
                        <a:pt x="121" y="140"/>
                      </a:lnTo>
                      <a:lnTo>
                        <a:pt x="137" y="117"/>
                      </a:lnTo>
                      <a:lnTo>
                        <a:pt x="166" y="124"/>
                      </a:lnTo>
                      <a:lnTo>
                        <a:pt x="176" y="137"/>
                      </a:lnTo>
                      <a:lnTo>
                        <a:pt x="177" y="157"/>
                      </a:lnTo>
                      <a:lnTo>
                        <a:pt x="159" y="187"/>
                      </a:lnTo>
                      <a:lnTo>
                        <a:pt x="158" y="204"/>
                      </a:lnTo>
                      <a:lnTo>
                        <a:pt x="162" y="218"/>
                      </a:lnTo>
                      <a:lnTo>
                        <a:pt x="173" y="246"/>
                      </a:lnTo>
                      <a:lnTo>
                        <a:pt x="172" y="262"/>
                      </a:lnTo>
                      <a:lnTo>
                        <a:pt x="169" y="275"/>
                      </a:lnTo>
                      <a:lnTo>
                        <a:pt x="166" y="312"/>
                      </a:lnTo>
                      <a:lnTo>
                        <a:pt x="161" y="329"/>
                      </a:lnTo>
                      <a:lnTo>
                        <a:pt x="145" y="334"/>
                      </a:lnTo>
                      <a:lnTo>
                        <a:pt x="127" y="318"/>
                      </a:lnTo>
                      <a:lnTo>
                        <a:pt x="102" y="321"/>
                      </a:lnTo>
                      <a:lnTo>
                        <a:pt x="92" y="310"/>
                      </a:lnTo>
                      <a:lnTo>
                        <a:pt x="85" y="305"/>
                      </a:lnTo>
                      <a:lnTo>
                        <a:pt x="74" y="313"/>
                      </a:lnTo>
                      <a:lnTo>
                        <a:pt x="65" y="324"/>
                      </a:lnTo>
                      <a:lnTo>
                        <a:pt x="42" y="333"/>
                      </a:lnTo>
                      <a:lnTo>
                        <a:pt x="32" y="342"/>
                      </a:lnTo>
                      <a:lnTo>
                        <a:pt x="27" y="350"/>
                      </a:lnTo>
                      <a:lnTo>
                        <a:pt x="26" y="363"/>
                      </a:lnTo>
                      <a:lnTo>
                        <a:pt x="31" y="375"/>
                      </a:lnTo>
                      <a:lnTo>
                        <a:pt x="33" y="390"/>
                      </a:lnTo>
                      <a:lnTo>
                        <a:pt x="31" y="394"/>
                      </a:lnTo>
                      <a:lnTo>
                        <a:pt x="19" y="394"/>
                      </a:lnTo>
                      <a:lnTo>
                        <a:pt x="8" y="397"/>
                      </a:lnTo>
                      <a:lnTo>
                        <a:pt x="2" y="404"/>
                      </a:lnTo>
                      <a:lnTo>
                        <a:pt x="0" y="419"/>
                      </a:lnTo>
                      <a:lnTo>
                        <a:pt x="13" y="425"/>
                      </a:lnTo>
                      <a:lnTo>
                        <a:pt x="19" y="434"/>
                      </a:lnTo>
                      <a:lnTo>
                        <a:pt x="33" y="449"/>
                      </a:lnTo>
                      <a:lnTo>
                        <a:pt x="40" y="456"/>
                      </a:lnTo>
                      <a:lnTo>
                        <a:pt x="49" y="479"/>
                      </a:lnTo>
                      <a:lnTo>
                        <a:pt x="63" y="469"/>
                      </a:lnTo>
                      <a:lnTo>
                        <a:pt x="73" y="463"/>
                      </a:lnTo>
                      <a:lnTo>
                        <a:pt x="80" y="449"/>
                      </a:lnTo>
                      <a:lnTo>
                        <a:pt x="90" y="444"/>
                      </a:lnTo>
                      <a:lnTo>
                        <a:pt x="100" y="447"/>
                      </a:lnTo>
                      <a:lnTo>
                        <a:pt x="105" y="458"/>
                      </a:lnTo>
                      <a:lnTo>
                        <a:pt x="121" y="468"/>
                      </a:lnTo>
                      <a:lnTo>
                        <a:pt x="133" y="465"/>
                      </a:lnTo>
                      <a:lnTo>
                        <a:pt x="140" y="452"/>
                      </a:lnTo>
                      <a:lnTo>
                        <a:pt x="148" y="446"/>
                      </a:lnTo>
                      <a:lnTo>
                        <a:pt x="161" y="444"/>
                      </a:lnTo>
                      <a:lnTo>
                        <a:pt x="175" y="440"/>
                      </a:lnTo>
                      <a:lnTo>
                        <a:pt x="177" y="445"/>
                      </a:lnTo>
                      <a:lnTo>
                        <a:pt x="178" y="463"/>
                      </a:lnTo>
                      <a:lnTo>
                        <a:pt x="188" y="466"/>
                      </a:lnTo>
                      <a:lnTo>
                        <a:pt x="209" y="458"/>
                      </a:lnTo>
                      <a:lnTo>
                        <a:pt x="232" y="437"/>
                      </a:lnTo>
                      <a:lnTo>
                        <a:pt x="246" y="430"/>
                      </a:lnTo>
                      <a:lnTo>
                        <a:pt x="261" y="415"/>
                      </a:lnTo>
                      <a:lnTo>
                        <a:pt x="274" y="394"/>
                      </a:lnTo>
                      <a:lnTo>
                        <a:pt x="278" y="376"/>
                      </a:lnTo>
                      <a:lnTo>
                        <a:pt x="278" y="358"/>
                      </a:lnTo>
                      <a:lnTo>
                        <a:pt x="282" y="337"/>
                      </a:lnTo>
                      <a:lnTo>
                        <a:pt x="289" y="316"/>
                      </a:lnTo>
                      <a:lnTo>
                        <a:pt x="312" y="280"/>
                      </a:lnTo>
                      <a:lnTo>
                        <a:pt x="329" y="264"/>
                      </a:lnTo>
                      <a:lnTo>
                        <a:pt x="348" y="254"/>
                      </a:lnTo>
                      <a:lnTo>
                        <a:pt x="363" y="241"/>
                      </a:lnTo>
                      <a:lnTo>
                        <a:pt x="364" y="237"/>
                      </a:lnTo>
                      <a:lnTo>
                        <a:pt x="371" y="207"/>
                      </a:lnTo>
                      <a:lnTo>
                        <a:pt x="372" y="141"/>
                      </a:lnTo>
                      <a:lnTo>
                        <a:pt x="381" y="97"/>
                      </a:lnTo>
                      <a:lnTo>
                        <a:pt x="391" y="73"/>
                      </a:lnTo>
                      <a:lnTo>
                        <a:pt x="412" y="36"/>
                      </a:lnTo>
                      <a:lnTo>
                        <a:pt x="417" y="17"/>
                      </a:lnTo>
                      <a:lnTo>
                        <a:pt x="414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54" name="Freeform 42"/>
                <p:cNvSpPr>
                  <a:spLocks noChangeAspect="1"/>
                </p:cNvSpPr>
                <p:nvPr/>
              </p:nvSpPr>
              <p:spPr bwMode="gray">
                <a:xfrm>
                  <a:off x="4922043" y="3653184"/>
                  <a:ext cx="33338" cy="22225"/>
                </a:xfrm>
                <a:custGeom>
                  <a:avLst/>
                  <a:gdLst/>
                  <a:ahLst/>
                  <a:cxnLst>
                    <a:cxn ang="0">
                      <a:pos x="107" y="0"/>
                    </a:cxn>
                    <a:cxn ang="0">
                      <a:pos x="67" y="0"/>
                    </a:cxn>
                    <a:cxn ang="0">
                      <a:pos x="25" y="3"/>
                    </a:cxn>
                    <a:cxn ang="0">
                      <a:pos x="21" y="4"/>
                    </a:cxn>
                    <a:cxn ang="0">
                      <a:pos x="21" y="14"/>
                    </a:cxn>
                    <a:cxn ang="0">
                      <a:pos x="14" y="26"/>
                    </a:cxn>
                    <a:cxn ang="0">
                      <a:pos x="11" y="37"/>
                    </a:cxn>
                    <a:cxn ang="0">
                      <a:pos x="0" y="56"/>
                    </a:cxn>
                    <a:cxn ang="0">
                      <a:pos x="15" y="63"/>
                    </a:cxn>
                    <a:cxn ang="0">
                      <a:pos x="15" y="65"/>
                    </a:cxn>
                    <a:cxn ang="0">
                      <a:pos x="13" y="69"/>
                    </a:cxn>
                    <a:cxn ang="0">
                      <a:pos x="13" y="68"/>
                    </a:cxn>
                    <a:cxn ang="0">
                      <a:pos x="36" y="63"/>
                    </a:cxn>
                    <a:cxn ang="0">
                      <a:pos x="107" y="60"/>
                    </a:cxn>
                    <a:cxn ang="0">
                      <a:pos x="105" y="58"/>
                    </a:cxn>
                    <a:cxn ang="0">
                      <a:pos x="102" y="38"/>
                    </a:cxn>
                    <a:cxn ang="0">
                      <a:pos x="101" y="15"/>
                    </a:cxn>
                    <a:cxn ang="0">
                      <a:pos x="107" y="0"/>
                    </a:cxn>
                  </a:cxnLst>
                  <a:rect l="0" t="0" r="r" b="b"/>
                  <a:pathLst>
                    <a:path w="107" h="69">
                      <a:moveTo>
                        <a:pt x="107" y="0"/>
                      </a:moveTo>
                      <a:lnTo>
                        <a:pt x="67" y="0"/>
                      </a:lnTo>
                      <a:lnTo>
                        <a:pt x="25" y="3"/>
                      </a:lnTo>
                      <a:lnTo>
                        <a:pt x="21" y="4"/>
                      </a:lnTo>
                      <a:lnTo>
                        <a:pt x="21" y="14"/>
                      </a:lnTo>
                      <a:lnTo>
                        <a:pt x="14" y="26"/>
                      </a:lnTo>
                      <a:lnTo>
                        <a:pt x="11" y="37"/>
                      </a:lnTo>
                      <a:lnTo>
                        <a:pt x="0" y="56"/>
                      </a:lnTo>
                      <a:lnTo>
                        <a:pt x="15" y="63"/>
                      </a:lnTo>
                      <a:lnTo>
                        <a:pt x="15" y="65"/>
                      </a:lnTo>
                      <a:lnTo>
                        <a:pt x="13" y="69"/>
                      </a:lnTo>
                      <a:lnTo>
                        <a:pt x="13" y="68"/>
                      </a:lnTo>
                      <a:lnTo>
                        <a:pt x="36" y="63"/>
                      </a:lnTo>
                      <a:lnTo>
                        <a:pt x="107" y="60"/>
                      </a:lnTo>
                      <a:lnTo>
                        <a:pt x="105" y="58"/>
                      </a:lnTo>
                      <a:lnTo>
                        <a:pt x="102" y="38"/>
                      </a:lnTo>
                      <a:lnTo>
                        <a:pt x="101" y="15"/>
                      </a:lnTo>
                      <a:lnTo>
                        <a:pt x="107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55" name="Freeform 43"/>
                <p:cNvSpPr>
                  <a:spLocks noChangeAspect="1"/>
                </p:cNvSpPr>
                <p:nvPr/>
              </p:nvSpPr>
              <p:spPr bwMode="gray">
                <a:xfrm>
                  <a:off x="5268117" y="3732559"/>
                  <a:ext cx="28575" cy="34925"/>
                </a:xfrm>
                <a:custGeom>
                  <a:avLst/>
                  <a:gdLst/>
                  <a:ahLst/>
                  <a:cxnLst>
                    <a:cxn ang="0">
                      <a:pos x="83" y="5"/>
                    </a:cxn>
                    <a:cxn ang="0">
                      <a:pos x="81" y="1"/>
                    </a:cxn>
                    <a:cxn ang="0">
                      <a:pos x="76" y="1"/>
                    </a:cxn>
                    <a:cxn ang="0">
                      <a:pos x="76" y="0"/>
                    </a:cxn>
                    <a:cxn ang="0">
                      <a:pos x="71" y="0"/>
                    </a:cxn>
                    <a:cxn ang="0">
                      <a:pos x="59" y="4"/>
                    </a:cxn>
                    <a:cxn ang="0">
                      <a:pos x="49" y="4"/>
                    </a:cxn>
                    <a:cxn ang="0">
                      <a:pos x="46" y="6"/>
                    </a:cxn>
                    <a:cxn ang="0">
                      <a:pos x="45" y="9"/>
                    </a:cxn>
                    <a:cxn ang="0">
                      <a:pos x="45" y="17"/>
                    </a:cxn>
                    <a:cxn ang="0">
                      <a:pos x="41" y="22"/>
                    </a:cxn>
                    <a:cxn ang="0">
                      <a:pos x="33" y="22"/>
                    </a:cxn>
                    <a:cxn ang="0">
                      <a:pos x="28" y="25"/>
                    </a:cxn>
                    <a:cxn ang="0">
                      <a:pos x="22" y="26"/>
                    </a:cxn>
                    <a:cxn ang="0">
                      <a:pos x="19" y="25"/>
                    </a:cxn>
                    <a:cxn ang="0">
                      <a:pos x="16" y="16"/>
                    </a:cxn>
                    <a:cxn ang="0">
                      <a:pos x="13" y="11"/>
                    </a:cxn>
                    <a:cxn ang="0">
                      <a:pos x="11" y="10"/>
                    </a:cxn>
                    <a:cxn ang="0">
                      <a:pos x="6" y="10"/>
                    </a:cxn>
                    <a:cxn ang="0">
                      <a:pos x="1" y="13"/>
                    </a:cxn>
                    <a:cxn ang="0">
                      <a:pos x="1" y="22"/>
                    </a:cxn>
                    <a:cxn ang="0">
                      <a:pos x="0" y="22"/>
                    </a:cxn>
                    <a:cxn ang="0">
                      <a:pos x="6" y="28"/>
                    </a:cxn>
                    <a:cxn ang="0">
                      <a:pos x="8" y="34"/>
                    </a:cxn>
                    <a:cxn ang="0">
                      <a:pos x="11" y="58"/>
                    </a:cxn>
                    <a:cxn ang="0">
                      <a:pos x="13" y="61"/>
                    </a:cxn>
                    <a:cxn ang="0">
                      <a:pos x="16" y="69"/>
                    </a:cxn>
                    <a:cxn ang="0">
                      <a:pos x="17" y="79"/>
                    </a:cxn>
                    <a:cxn ang="0">
                      <a:pos x="17" y="91"/>
                    </a:cxn>
                    <a:cxn ang="0">
                      <a:pos x="18" y="101"/>
                    </a:cxn>
                    <a:cxn ang="0">
                      <a:pos x="23" y="108"/>
                    </a:cxn>
                    <a:cxn ang="0">
                      <a:pos x="29" y="114"/>
                    </a:cxn>
                    <a:cxn ang="0">
                      <a:pos x="32" y="113"/>
                    </a:cxn>
                    <a:cxn ang="0">
                      <a:pos x="43" y="110"/>
                    </a:cxn>
                    <a:cxn ang="0">
                      <a:pos x="57" y="106"/>
                    </a:cxn>
                    <a:cxn ang="0">
                      <a:pos x="68" y="86"/>
                    </a:cxn>
                    <a:cxn ang="0">
                      <a:pos x="73" y="80"/>
                    </a:cxn>
                    <a:cxn ang="0">
                      <a:pos x="79" y="66"/>
                    </a:cxn>
                    <a:cxn ang="0">
                      <a:pos x="89" y="54"/>
                    </a:cxn>
                    <a:cxn ang="0">
                      <a:pos x="93" y="48"/>
                    </a:cxn>
                    <a:cxn ang="0">
                      <a:pos x="93" y="40"/>
                    </a:cxn>
                    <a:cxn ang="0">
                      <a:pos x="91" y="34"/>
                    </a:cxn>
                    <a:cxn ang="0">
                      <a:pos x="87" y="31"/>
                    </a:cxn>
                    <a:cxn ang="0">
                      <a:pos x="81" y="29"/>
                    </a:cxn>
                    <a:cxn ang="0">
                      <a:pos x="77" y="26"/>
                    </a:cxn>
                    <a:cxn ang="0">
                      <a:pos x="77" y="22"/>
                    </a:cxn>
                    <a:cxn ang="0">
                      <a:pos x="77" y="16"/>
                    </a:cxn>
                    <a:cxn ang="0">
                      <a:pos x="78" y="10"/>
                    </a:cxn>
                    <a:cxn ang="0">
                      <a:pos x="83" y="5"/>
                    </a:cxn>
                  </a:cxnLst>
                  <a:rect l="0" t="0" r="r" b="b"/>
                  <a:pathLst>
                    <a:path w="93" h="114">
                      <a:moveTo>
                        <a:pt x="83" y="5"/>
                      </a:moveTo>
                      <a:lnTo>
                        <a:pt x="81" y="1"/>
                      </a:lnTo>
                      <a:lnTo>
                        <a:pt x="76" y="1"/>
                      </a:lnTo>
                      <a:lnTo>
                        <a:pt x="76" y="0"/>
                      </a:lnTo>
                      <a:lnTo>
                        <a:pt x="71" y="0"/>
                      </a:lnTo>
                      <a:lnTo>
                        <a:pt x="59" y="4"/>
                      </a:lnTo>
                      <a:lnTo>
                        <a:pt x="49" y="4"/>
                      </a:lnTo>
                      <a:lnTo>
                        <a:pt x="46" y="6"/>
                      </a:lnTo>
                      <a:lnTo>
                        <a:pt x="45" y="9"/>
                      </a:lnTo>
                      <a:lnTo>
                        <a:pt x="45" y="17"/>
                      </a:lnTo>
                      <a:lnTo>
                        <a:pt x="41" y="22"/>
                      </a:lnTo>
                      <a:lnTo>
                        <a:pt x="33" y="22"/>
                      </a:lnTo>
                      <a:lnTo>
                        <a:pt x="28" y="25"/>
                      </a:lnTo>
                      <a:lnTo>
                        <a:pt x="22" y="26"/>
                      </a:lnTo>
                      <a:lnTo>
                        <a:pt x="19" y="25"/>
                      </a:lnTo>
                      <a:lnTo>
                        <a:pt x="16" y="16"/>
                      </a:lnTo>
                      <a:lnTo>
                        <a:pt x="13" y="11"/>
                      </a:lnTo>
                      <a:lnTo>
                        <a:pt x="11" y="10"/>
                      </a:lnTo>
                      <a:lnTo>
                        <a:pt x="6" y="10"/>
                      </a:lnTo>
                      <a:lnTo>
                        <a:pt x="1" y="13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6" y="28"/>
                      </a:lnTo>
                      <a:lnTo>
                        <a:pt x="8" y="34"/>
                      </a:lnTo>
                      <a:lnTo>
                        <a:pt x="11" y="58"/>
                      </a:lnTo>
                      <a:lnTo>
                        <a:pt x="13" y="61"/>
                      </a:lnTo>
                      <a:lnTo>
                        <a:pt x="16" y="69"/>
                      </a:lnTo>
                      <a:lnTo>
                        <a:pt x="17" y="79"/>
                      </a:lnTo>
                      <a:lnTo>
                        <a:pt x="17" y="91"/>
                      </a:lnTo>
                      <a:lnTo>
                        <a:pt x="18" y="101"/>
                      </a:lnTo>
                      <a:lnTo>
                        <a:pt x="23" y="108"/>
                      </a:lnTo>
                      <a:lnTo>
                        <a:pt x="29" y="114"/>
                      </a:lnTo>
                      <a:lnTo>
                        <a:pt x="32" y="113"/>
                      </a:lnTo>
                      <a:lnTo>
                        <a:pt x="43" y="110"/>
                      </a:lnTo>
                      <a:lnTo>
                        <a:pt x="57" y="106"/>
                      </a:lnTo>
                      <a:lnTo>
                        <a:pt x="68" y="86"/>
                      </a:lnTo>
                      <a:lnTo>
                        <a:pt x="73" y="80"/>
                      </a:lnTo>
                      <a:lnTo>
                        <a:pt x="79" y="66"/>
                      </a:lnTo>
                      <a:lnTo>
                        <a:pt x="89" y="54"/>
                      </a:lnTo>
                      <a:lnTo>
                        <a:pt x="93" y="48"/>
                      </a:lnTo>
                      <a:lnTo>
                        <a:pt x="93" y="40"/>
                      </a:lnTo>
                      <a:lnTo>
                        <a:pt x="91" y="34"/>
                      </a:lnTo>
                      <a:lnTo>
                        <a:pt x="87" y="31"/>
                      </a:lnTo>
                      <a:lnTo>
                        <a:pt x="81" y="29"/>
                      </a:lnTo>
                      <a:lnTo>
                        <a:pt x="77" y="26"/>
                      </a:lnTo>
                      <a:lnTo>
                        <a:pt x="77" y="22"/>
                      </a:lnTo>
                      <a:lnTo>
                        <a:pt x="77" y="16"/>
                      </a:lnTo>
                      <a:lnTo>
                        <a:pt x="78" y="10"/>
                      </a:lnTo>
                      <a:lnTo>
                        <a:pt x="83" y="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56" name="Freeform 44"/>
                <p:cNvSpPr>
                  <a:spLocks noChangeAspect="1"/>
                </p:cNvSpPr>
                <p:nvPr/>
              </p:nvSpPr>
              <p:spPr bwMode="gray">
                <a:xfrm>
                  <a:off x="5277642" y="3619847"/>
                  <a:ext cx="92075" cy="96838"/>
                </a:xfrm>
                <a:custGeom>
                  <a:avLst/>
                  <a:gdLst/>
                  <a:ahLst/>
                  <a:cxnLst>
                    <a:cxn ang="0">
                      <a:pos x="232" y="0"/>
                    </a:cxn>
                    <a:cxn ang="0">
                      <a:pos x="205" y="21"/>
                    </a:cxn>
                    <a:cxn ang="0">
                      <a:pos x="170" y="19"/>
                    </a:cxn>
                    <a:cxn ang="0">
                      <a:pos x="143" y="25"/>
                    </a:cxn>
                    <a:cxn ang="0">
                      <a:pos x="120" y="22"/>
                    </a:cxn>
                    <a:cxn ang="0">
                      <a:pos x="98" y="25"/>
                    </a:cxn>
                    <a:cxn ang="0">
                      <a:pos x="73" y="23"/>
                    </a:cxn>
                    <a:cxn ang="0">
                      <a:pos x="66" y="32"/>
                    </a:cxn>
                    <a:cxn ang="0">
                      <a:pos x="60" y="59"/>
                    </a:cxn>
                    <a:cxn ang="0">
                      <a:pos x="63" y="89"/>
                    </a:cxn>
                    <a:cxn ang="0">
                      <a:pos x="73" y="98"/>
                    </a:cxn>
                    <a:cxn ang="0">
                      <a:pos x="84" y="105"/>
                    </a:cxn>
                    <a:cxn ang="0">
                      <a:pos x="82" y="121"/>
                    </a:cxn>
                    <a:cxn ang="0">
                      <a:pos x="67" y="135"/>
                    </a:cxn>
                    <a:cxn ang="0">
                      <a:pos x="52" y="147"/>
                    </a:cxn>
                    <a:cxn ang="0">
                      <a:pos x="44" y="159"/>
                    </a:cxn>
                    <a:cxn ang="0">
                      <a:pos x="20" y="186"/>
                    </a:cxn>
                    <a:cxn ang="0">
                      <a:pos x="11" y="202"/>
                    </a:cxn>
                    <a:cxn ang="0">
                      <a:pos x="3" y="247"/>
                    </a:cxn>
                    <a:cxn ang="0">
                      <a:pos x="0" y="296"/>
                    </a:cxn>
                    <a:cxn ang="0">
                      <a:pos x="11" y="302"/>
                    </a:cxn>
                    <a:cxn ang="0">
                      <a:pos x="25" y="290"/>
                    </a:cxn>
                    <a:cxn ang="0">
                      <a:pos x="36" y="285"/>
                    </a:cxn>
                    <a:cxn ang="0">
                      <a:pos x="63" y="283"/>
                    </a:cxn>
                    <a:cxn ang="0">
                      <a:pos x="70" y="278"/>
                    </a:cxn>
                    <a:cxn ang="0">
                      <a:pos x="110" y="274"/>
                    </a:cxn>
                    <a:cxn ang="0">
                      <a:pos x="120" y="240"/>
                    </a:cxn>
                    <a:cxn ang="0">
                      <a:pos x="132" y="232"/>
                    </a:cxn>
                    <a:cxn ang="0">
                      <a:pos x="147" y="221"/>
                    </a:cxn>
                    <a:cxn ang="0">
                      <a:pos x="157" y="222"/>
                    </a:cxn>
                    <a:cxn ang="0">
                      <a:pos x="164" y="218"/>
                    </a:cxn>
                    <a:cxn ang="0">
                      <a:pos x="183" y="223"/>
                    </a:cxn>
                    <a:cxn ang="0">
                      <a:pos x="201" y="211"/>
                    </a:cxn>
                    <a:cxn ang="0">
                      <a:pos x="223" y="213"/>
                    </a:cxn>
                    <a:cxn ang="0">
                      <a:pos x="234" y="213"/>
                    </a:cxn>
                    <a:cxn ang="0">
                      <a:pos x="258" y="181"/>
                    </a:cxn>
                    <a:cxn ang="0">
                      <a:pos x="270" y="167"/>
                    </a:cxn>
                    <a:cxn ang="0">
                      <a:pos x="286" y="143"/>
                    </a:cxn>
                    <a:cxn ang="0">
                      <a:pos x="289" y="110"/>
                    </a:cxn>
                    <a:cxn ang="0">
                      <a:pos x="287" y="82"/>
                    </a:cxn>
                    <a:cxn ang="0">
                      <a:pos x="278" y="67"/>
                    </a:cxn>
                    <a:cxn ang="0">
                      <a:pos x="267" y="61"/>
                    </a:cxn>
                    <a:cxn ang="0">
                      <a:pos x="260" y="50"/>
                    </a:cxn>
                    <a:cxn ang="0">
                      <a:pos x="253" y="21"/>
                    </a:cxn>
                    <a:cxn ang="0">
                      <a:pos x="251" y="11"/>
                    </a:cxn>
                    <a:cxn ang="0">
                      <a:pos x="237" y="7"/>
                    </a:cxn>
                    <a:cxn ang="0">
                      <a:pos x="232" y="3"/>
                    </a:cxn>
                  </a:cxnLst>
                  <a:rect l="0" t="0" r="r" b="b"/>
                  <a:pathLst>
                    <a:path w="289" h="302">
                      <a:moveTo>
                        <a:pt x="232" y="3"/>
                      </a:moveTo>
                      <a:lnTo>
                        <a:pt x="232" y="0"/>
                      </a:lnTo>
                      <a:lnTo>
                        <a:pt x="232" y="3"/>
                      </a:lnTo>
                      <a:lnTo>
                        <a:pt x="205" y="21"/>
                      </a:lnTo>
                      <a:lnTo>
                        <a:pt x="186" y="21"/>
                      </a:lnTo>
                      <a:lnTo>
                        <a:pt x="170" y="19"/>
                      </a:lnTo>
                      <a:lnTo>
                        <a:pt x="157" y="24"/>
                      </a:lnTo>
                      <a:lnTo>
                        <a:pt x="143" y="25"/>
                      </a:lnTo>
                      <a:lnTo>
                        <a:pt x="126" y="29"/>
                      </a:lnTo>
                      <a:lnTo>
                        <a:pt x="120" y="22"/>
                      </a:lnTo>
                      <a:lnTo>
                        <a:pt x="108" y="23"/>
                      </a:lnTo>
                      <a:lnTo>
                        <a:pt x="98" y="25"/>
                      </a:lnTo>
                      <a:lnTo>
                        <a:pt x="87" y="22"/>
                      </a:lnTo>
                      <a:lnTo>
                        <a:pt x="73" y="23"/>
                      </a:lnTo>
                      <a:lnTo>
                        <a:pt x="66" y="28"/>
                      </a:lnTo>
                      <a:lnTo>
                        <a:pt x="66" y="32"/>
                      </a:lnTo>
                      <a:lnTo>
                        <a:pt x="63" y="41"/>
                      </a:lnTo>
                      <a:lnTo>
                        <a:pt x="60" y="59"/>
                      </a:lnTo>
                      <a:lnTo>
                        <a:pt x="61" y="81"/>
                      </a:lnTo>
                      <a:lnTo>
                        <a:pt x="63" y="89"/>
                      </a:lnTo>
                      <a:lnTo>
                        <a:pt x="68" y="94"/>
                      </a:lnTo>
                      <a:lnTo>
                        <a:pt x="73" y="98"/>
                      </a:lnTo>
                      <a:lnTo>
                        <a:pt x="82" y="100"/>
                      </a:lnTo>
                      <a:lnTo>
                        <a:pt x="84" y="105"/>
                      </a:lnTo>
                      <a:lnTo>
                        <a:pt x="86" y="113"/>
                      </a:lnTo>
                      <a:lnTo>
                        <a:pt x="82" y="121"/>
                      </a:lnTo>
                      <a:lnTo>
                        <a:pt x="73" y="130"/>
                      </a:lnTo>
                      <a:lnTo>
                        <a:pt x="67" y="135"/>
                      </a:lnTo>
                      <a:lnTo>
                        <a:pt x="56" y="140"/>
                      </a:lnTo>
                      <a:lnTo>
                        <a:pt x="52" y="147"/>
                      </a:lnTo>
                      <a:lnTo>
                        <a:pt x="50" y="153"/>
                      </a:lnTo>
                      <a:lnTo>
                        <a:pt x="44" y="159"/>
                      </a:lnTo>
                      <a:lnTo>
                        <a:pt x="33" y="172"/>
                      </a:lnTo>
                      <a:lnTo>
                        <a:pt x="20" y="186"/>
                      </a:lnTo>
                      <a:lnTo>
                        <a:pt x="17" y="191"/>
                      </a:lnTo>
                      <a:lnTo>
                        <a:pt x="11" y="202"/>
                      </a:lnTo>
                      <a:lnTo>
                        <a:pt x="3" y="233"/>
                      </a:lnTo>
                      <a:lnTo>
                        <a:pt x="3" y="247"/>
                      </a:lnTo>
                      <a:lnTo>
                        <a:pt x="1" y="275"/>
                      </a:lnTo>
                      <a:lnTo>
                        <a:pt x="0" y="296"/>
                      </a:lnTo>
                      <a:lnTo>
                        <a:pt x="4" y="299"/>
                      </a:lnTo>
                      <a:lnTo>
                        <a:pt x="11" y="302"/>
                      </a:lnTo>
                      <a:lnTo>
                        <a:pt x="19" y="301"/>
                      </a:lnTo>
                      <a:lnTo>
                        <a:pt x="25" y="290"/>
                      </a:lnTo>
                      <a:lnTo>
                        <a:pt x="29" y="286"/>
                      </a:lnTo>
                      <a:lnTo>
                        <a:pt x="36" y="285"/>
                      </a:lnTo>
                      <a:lnTo>
                        <a:pt x="41" y="281"/>
                      </a:lnTo>
                      <a:lnTo>
                        <a:pt x="63" y="283"/>
                      </a:lnTo>
                      <a:lnTo>
                        <a:pt x="70" y="280"/>
                      </a:lnTo>
                      <a:lnTo>
                        <a:pt x="70" y="278"/>
                      </a:lnTo>
                      <a:lnTo>
                        <a:pt x="115" y="278"/>
                      </a:lnTo>
                      <a:lnTo>
                        <a:pt x="110" y="274"/>
                      </a:lnTo>
                      <a:lnTo>
                        <a:pt x="122" y="247"/>
                      </a:lnTo>
                      <a:lnTo>
                        <a:pt x="120" y="240"/>
                      </a:lnTo>
                      <a:lnTo>
                        <a:pt x="121" y="234"/>
                      </a:lnTo>
                      <a:lnTo>
                        <a:pt x="132" y="232"/>
                      </a:lnTo>
                      <a:lnTo>
                        <a:pt x="142" y="228"/>
                      </a:lnTo>
                      <a:lnTo>
                        <a:pt x="147" y="221"/>
                      </a:lnTo>
                      <a:lnTo>
                        <a:pt x="153" y="223"/>
                      </a:lnTo>
                      <a:lnTo>
                        <a:pt x="157" y="222"/>
                      </a:lnTo>
                      <a:lnTo>
                        <a:pt x="159" y="216"/>
                      </a:lnTo>
                      <a:lnTo>
                        <a:pt x="164" y="218"/>
                      </a:lnTo>
                      <a:lnTo>
                        <a:pt x="175" y="220"/>
                      </a:lnTo>
                      <a:lnTo>
                        <a:pt x="183" y="223"/>
                      </a:lnTo>
                      <a:lnTo>
                        <a:pt x="195" y="207"/>
                      </a:lnTo>
                      <a:lnTo>
                        <a:pt x="201" y="211"/>
                      </a:lnTo>
                      <a:lnTo>
                        <a:pt x="215" y="216"/>
                      </a:lnTo>
                      <a:lnTo>
                        <a:pt x="223" y="213"/>
                      </a:lnTo>
                      <a:lnTo>
                        <a:pt x="232" y="216"/>
                      </a:lnTo>
                      <a:lnTo>
                        <a:pt x="234" y="213"/>
                      </a:lnTo>
                      <a:lnTo>
                        <a:pt x="240" y="208"/>
                      </a:lnTo>
                      <a:lnTo>
                        <a:pt x="258" y="181"/>
                      </a:lnTo>
                      <a:lnTo>
                        <a:pt x="267" y="170"/>
                      </a:lnTo>
                      <a:lnTo>
                        <a:pt x="270" y="167"/>
                      </a:lnTo>
                      <a:lnTo>
                        <a:pt x="278" y="156"/>
                      </a:lnTo>
                      <a:lnTo>
                        <a:pt x="286" y="143"/>
                      </a:lnTo>
                      <a:lnTo>
                        <a:pt x="288" y="130"/>
                      </a:lnTo>
                      <a:lnTo>
                        <a:pt x="289" y="110"/>
                      </a:lnTo>
                      <a:lnTo>
                        <a:pt x="287" y="100"/>
                      </a:lnTo>
                      <a:lnTo>
                        <a:pt x="287" y="82"/>
                      </a:lnTo>
                      <a:lnTo>
                        <a:pt x="286" y="76"/>
                      </a:lnTo>
                      <a:lnTo>
                        <a:pt x="278" y="67"/>
                      </a:lnTo>
                      <a:lnTo>
                        <a:pt x="274" y="65"/>
                      </a:lnTo>
                      <a:lnTo>
                        <a:pt x="267" y="61"/>
                      </a:lnTo>
                      <a:lnTo>
                        <a:pt x="262" y="56"/>
                      </a:lnTo>
                      <a:lnTo>
                        <a:pt x="260" y="50"/>
                      </a:lnTo>
                      <a:lnTo>
                        <a:pt x="255" y="23"/>
                      </a:lnTo>
                      <a:lnTo>
                        <a:pt x="253" y="21"/>
                      </a:lnTo>
                      <a:lnTo>
                        <a:pt x="251" y="18"/>
                      </a:lnTo>
                      <a:lnTo>
                        <a:pt x="251" y="11"/>
                      </a:lnTo>
                      <a:lnTo>
                        <a:pt x="249" y="9"/>
                      </a:lnTo>
                      <a:lnTo>
                        <a:pt x="237" y="7"/>
                      </a:lnTo>
                      <a:lnTo>
                        <a:pt x="234" y="5"/>
                      </a:lnTo>
                      <a:lnTo>
                        <a:pt x="232" y="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57" name="Freeform 45"/>
                <p:cNvSpPr>
                  <a:spLocks noChangeAspect="1"/>
                </p:cNvSpPr>
                <p:nvPr/>
              </p:nvSpPr>
              <p:spPr bwMode="gray">
                <a:xfrm>
                  <a:off x="5264942" y="3710334"/>
                  <a:ext cx="33338" cy="30163"/>
                </a:xfrm>
                <a:custGeom>
                  <a:avLst/>
                  <a:gdLst/>
                  <a:ahLst/>
                  <a:cxnLst>
                    <a:cxn ang="0">
                      <a:pos x="7" y="92"/>
                    </a:cxn>
                    <a:cxn ang="0">
                      <a:pos x="8" y="92"/>
                    </a:cxn>
                    <a:cxn ang="0">
                      <a:pos x="8" y="83"/>
                    </a:cxn>
                    <a:cxn ang="0">
                      <a:pos x="13" y="80"/>
                    </a:cxn>
                    <a:cxn ang="0">
                      <a:pos x="18" y="80"/>
                    </a:cxn>
                    <a:cxn ang="0">
                      <a:pos x="20" y="81"/>
                    </a:cxn>
                    <a:cxn ang="0">
                      <a:pos x="23" y="86"/>
                    </a:cxn>
                    <a:cxn ang="0">
                      <a:pos x="26" y="95"/>
                    </a:cxn>
                    <a:cxn ang="0">
                      <a:pos x="29" y="96"/>
                    </a:cxn>
                    <a:cxn ang="0">
                      <a:pos x="35" y="95"/>
                    </a:cxn>
                    <a:cxn ang="0">
                      <a:pos x="40" y="92"/>
                    </a:cxn>
                    <a:cxn ang="0">
                      <a:pos x="48" y="92"/>
                    </a:cxn>
                    <a:cxn ang="0">
                      <a:pos x="52" y="87"/>
                    </a:cxn>
                    <a:cxn ang="0">
                      <a:pos x="52" y="79"/>
                    </a:cxn>
                    <a:cxn ang="0">
                      <a:pos x="53" y="76"/>
                    </a:cxn>
                    <a:cxn ang="0">
                      <a:pos x="56" y="74"/>
                    </a:cxn>
                    <a:cxn ang="0">
                      <a:pos x="66" y="74"/>
                    </a:cxn>
                    <a:cxn ang="0">
                      <a:pos x="78" y="70"/>
                    </a:cxn>
                    <a:cxn ang="0">
                      <a:pos x="83" y="70"/>
                    </a:cxn>
                    <a:cxn ang="0">
                      <a:pos x="83" y="71"/>
                    </a:cxn>
                    <a:cxn ang="0">
                      <a:pos x="88" y="71"/>
                    </a:cxn>
                    <a:cxn ang="0">
                      <a:pos x="90" y="75"/>
                    </a:cxn>
                    <a:cxn ang="0">
                      <a:pos x="101" y="60"/>
                    </a:cxn>
                    <a:cxn ang="0">
                      <a:pos x="104" y="50"/>
                    </a:cxn>
                    <a:cxn ang="0">
                      <a:pos x="102" y="43"/>
                    </a:cxn>
                    <a:cxn ang="0">
                      <a:pos x="98" y="28"/>
                    </a:cxn>
                    <a:cxn ang="0">
                      <a:pos x="85" y="7"/>
                    </a:cxn>
                    <a:cxn ang="0">
                      <a:pos x="80" y="0"/>
                    </a:cxn>
                    <a:cxn ang="0">
                      <a:pos x="75" y="4"/>
                    </a:cxn>
                    <a:cxn ang="0">
                      <a:pos x="68" y="5"/>
                    </a:cxn>
                    <a:cxn ang="0">
                      <a:pos x="64" y="9"/>
                    </a:cxn>
                    <a:cxn ang="0">
                      <a:pos x="58" y="20"/>
                    </a:cxn>
                    <a:cxn ang="0">
                      <a:pos x="50" y="21"/>
                    </a:cxn>
                    <a:cxn ang="0">
                      <a:pos x="43" y="18"/>
                    </a:cxn>
                    <a:cxn ang="0">
                      <a:pos x="39" y="15"/>
                    </a:cxn>
                    <a:cxn ang="0">
                      <a:pos x="36" y="17"/>
                    </a:cxn>
                    <a:cxn ang="0">
                      <a:pos x="29" y="24"/>
                    </a:cxn>
                    <a:cxn ang="0">
                      <a:pos x="21" y="36"/>
                    </a:cxn>
                    <a:cxn ang="0">
                      <a:pos x="14" y="49"/>
                    </a:cxn>
                    <a:cxn ang="0">
                      <a:pos x="10" y="60"/>
                    </a:cxn>
                    <a:cxn ang="0">
                      <a:pos x="0" y="74"/>
                    </a:cxn>
                    <a:cxn ang="0">
                      <a:pos x="0" y="81"/>
                    </a:cxn>
                    <a:cxn ang="0">
                      <a:pos x="2" y="85"/>
                    </a:cxn>
                    <a:cxn ang="0">
                      <a:pos x="7" y="92"/>
                    </a:cxn>
                  </a:cxnLst>
                  <a:rect l="0" t="0" r="r" b="b"/>
                  <a:pathLst>
                    <a:path w="104" h="96">
                      <a:moveTo>
                        <a:pt x="7" y="92"/>
                      </a:moveTo>
                      <a:lnTo>
                        <a:pt x="8" y="92"/>
                      </a:lnTo>
                      <a:lnTo>
                        <a:pt x="8" y="83"/>
                      </a:lnTo>
                      <a:lnTo>
                        <a:pt x="13" y="80"/>
                      </a:lnTo>
                      <a:lnTo>
                        <a:pt x="18" y="80"/>
                      </a:lnTo>
                      <a:lnTo>
                        <a:pt x="20" y="81"/>
                      </a:lnTo>
                      <a:lnTo>
                        <a:pt x="23" y="86"/>
                      </a:lnTo>
                      <a:lnTo>
                        <a:pt x="26" y="95"/>
                      </a:lnTo>
                      <a:lnTo>
                        <a:pt x="29" y="96"/>
                      </a:lnTo>
                      <a:lnTo>
                        <a:pt x="35" y="95"/>
                      </a:lnTo>
                      <a:lnTo>
                        <a:pt x="40" y="92"/>
                      </a:lnTo>
                      <a:lnTo>
                        <a:pt x="48" y="92"/>
                      </a:lnTo>
                      <a:lnTo>
                        <a:pt x="52" y="87"/>
                      </a:lnTo>
                      <a:lnTo>
                        <a:pt x="52" y="79"/>
                      </a:lnTo>
                      <a:lnTo>
                        <a:pt x="53" y="76"/>
                      </a:lnTo>
                      <a:lnTo>
                        <a:pt x="56" y="74"/>
                      </a:lnTo>
                      <a:lnTo>
                        <a:pt x="66" y="74"/>
                      </a:lnTo>
                      <a:lnTo>
                        <a:pt x="78" y="70"/>
                      </a:lnTo>
                      <a:lnTo>
                        <a:pt x="83" y="70"/>
                      </a:lnTo>
                      <a:lnTo>
                        <a:pt x="83" y="71"/>
                      </a:lnTo>
                      <a:lnTo>
                        <a:pt x="88" y="71"/>
                      </a:lnTo>
                      <a:lnTo>
                        <a:pt x="90" y="75"/>
                      </a:lnTo>
                      <a:lnTo>
                        <a:pt x="101" y="60"/>
                      </a:lnTo>
                      <a:lnTo>
                        <a:pt x="104" y="50"/>
                      </a:lnTo>
                      <a:lnTo>
                        <a:pt x="102" y="43"/>
                      </a:lnTo>
                      <a:lnTo>
                        <a:pt x="98" y="28"/>
                      </a:lnTo>
                      <a:lnTo>
                        <a:pt x="85" y="7"/>
                      </a:lnTo>
                      <a:lnTo>
                        <a:pt x="80" y="0"/>
                      </a:lnTo>
                      <a:lnTo>
                        <a:pt x="75" y="4"/>
                      </a:lnTo>
                      <a:lnTo>
                        <a:pt x="68" y="5"/>
                      </a:lnTo>
                      <a:lnTo>
                        <a:pt x="64" y="9"/>
                      </a:lnTo>
                      <a:lnTo>
                        <a:pt x="58" y="20"/>
                      </a:lnTo>
                      <a:lnTo>
                        <a:pt x="50" y="21"/>
                      </a:lnTo>
                      <a:lnTo>
                        <a:pt x="43" y="18"/>
                      </a:lnTo>
                      <a:lnTo>
                        <a:pt x="39" y="15"/>
                      </a:lnTo>
                      <a:lnTo>
                        <a:pt x="36" y="17"/>
                      </a:lnTo>
                      <a:lnTo>
                        <a:pt x="29" y="24"/>
                      </a:lnTo>
                      <a:lnTo>
                        <a:pt x="21" y="36"/>
                      </a:lnTo>
                      <a:lnTo>
                        <a:pt x="14" y="49"/>
                      </a:lnTo>
                      <a:lnTo>
                        <a:pt x="10" y="60"/>
                      </a:lnTo>
                      <a:lnTo>
                        <a:pt x="0" y="74"/>
                      </a:lnTo>
                      <a:lnTo>
                        <a:pt x="0" y="81"/>
                      </a:lnTo>
                      <a:lnTo>
                        <a:pt x="2" y="85"/>
                      </a:lnTo>
                      <a:lnTo>
                        <a:pt x="7" y="9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58" name="Freeform 46"/>
                <p:cNvSpPr>
                  <a:spLocks noChangeAspect="1"/>
                </p:cNvSpPr>
                <p:nvPr/>
              </p:nvSpPr>
              <p:spPr bwMode="gray">
                <a:xfrm>
                  <a:off x="5350667" y="3611909"/>
                  <a:ext cx="138113" cy="160338"/>
                </a:xfrm>
                <a:custGeom>
                  <a:avLst/>
                  <a:gdLst/>
                  <a:ahLst/>
                  <a:cxnLst>
                    <a:cxn ang="0">
                      <a:pos x="387" y="204"/>
                    </a:cxn>
                    <a:cxn ang="0">
                      <a:pos x="387" y="98"/>
                    </a:cxn>
                    <a:cxn ang="0">
                      <a:pos x="412" y="74"/>
                    </a:cxn>
                    <a:cxn ang="0">
                      <a:pos x="435" y="37"/>
                    </a:cxn>
                    <a:cxn ang="0">
                      <a:pos x="421" y="37"/>
                    </a:cxn>
                    <a:cxn ang="0">
                      <a:pos x="374" y="22"/>
                    </a:cxn>
                    <a:cxn ang="0">
                      <a:pos x="336" y="32"/>
                    </a:cxn>
                    <a:cxn ang="0">
                      <a:pos x="297" y="60"/>
                    </a:cxn>
                    <a:cxn ang="0">
                      <a:pos x="250" y="53"/>
                    </a:cxn>
                    <a:cxn ang="0">
                      <a:pos x="213" y="47"/>
                    </a:cxn>
                    <a:cxn ang="0">
                      <a:pos x="164" y="12"/>
                    </a:cxn>
                    <a:cxn ang="0">
                      <a:pos x="132" y="3"/>
                    </a:cxn>
                    <a:cxn ang="0">
                      <a:pos x="103" y="0"/>
                    </a:cxn>
                    <a:cxn ang="0">
                      <a:pos x="69" y="3"/>
                    </a:cxn>
                    <a:cxn ang="0">
                      <a:pos x="28" y="1"/>
                    </a:cxn>
                    <a:cxn ang="0">
                      <a:pos x="0" y="28"/>
                    </a:cxn>
                    <a:cxn ang="0">
                      <a:pos x="5" y="32"/>
                    </a:cxn>
                    <a:cxn ang="0">
                      <a:pos x="19" y="36"/>
                    </a:cxn>
                    <a:cxn ang="0">
                      <a:pos x="21" y="46"/>
                    </a:cxn>
                    <a:cxn ang="0">
                      <a:pos x="28" y="75"/>
                    </a:cxn>
                    <a:cxn ang="0">
                      <a:pos x="35" y="86"/>
                    </a:cxn>
                    <a:cxn ang="0">
                      <a:pos x="46" y="92"/>
                    </a:cxn>
                    <a:cxn ang="0">
                      <a:pos x="55" y="107"/>
                    </a:cxn>
                    <a:cxn ang="0">
                      <a:pos x="57" y="135"/>
                    </a:cxn>
                    <a:cxn ang="0">
                      <a:pos x="54" y="168"/>
                    </a:cxn>
                    <a:cxn ang="0">
                      <a:pos x="38" y="192"/>
                    </a:cxn>
                    <a:cxn ang="0">
                      <a:pos x="26" y="206"/>
                    </a:cxn>
                    <a:cxn ang="0">
                      <a:pos x="2" y="238"/>
                    </a:cxn>
                    <a:cxn ang="0">
                      <a:pos x="8" y="263"/>
                    </a:cxn>
                    <a:cxn ang="0">
                      <a:pos x="18" y="270"/>
                    </a:cxn>
                    <a:cxn ang="0">
                      <a:pos x="35" y="265"/>
                    </a:cxn>
                    <a:cxn ang="0">
                      <a:pos x="45" y="270"/>
                    </a:cxn>
                    <a:cxn ang="0">
                      <a:pos x="26" y="281"/>
                    </a:cxn>
                    <a:cxn ang="0">
                      <a:pos x="7" y="295"/>
                    </a:cxn>
                    <a:cxn ang="0">
                      <a:pos x="207" y="415"/>
                    </a:cxn>
                    <a:cxn ang="0">
                      <a:pos x="210" y="428"/>
                    </a:cxn>
                    <a:cxn ang="0">
                      <a:pos x="218" y="458"/>
                    </a:cxn>
                    <a:cxn ang="0">
                      <a:pos x="306" y="499"/>
                    </a:cxn>
                    <a:cxn ang="0">
                      <a:pos x="314" y="488"/>
                    </a:cxn>
                    <a:cxn ang="0">
                      <a:pos x="324" y="463"/>
                    </a:cxn>
                    <a:cxn ang="0">
                      <a:pos x="342" y="429"/>
                    </a:cxn>
                    <a:cxn ang="0">
                      <a:pos x="352" y="399"/>
                    </a:cxn>
                    <a:cxn ang="0">
                      <a:pos x="360" y="391"/>
                    </a:cxn>
                    <a:cxn ang="0">
                      <a:pos x="379" y="376"/>
                    </a:cxn>
                    <a:cxn ang="0">
                      <a:pos x="388" y="361"/>
                    </a:cxn>
                    <a:cxn ang="0">
                      <a:pos x="403" y="358"/>
                    </a:cxn>
                    <a:cxn ang="0">
                      <a:pos x="417" y="340"/>
                    </a:cxn>
                    <a:cxn ang="0">
                      <a:pos x="393" y="308"/>
                    </a:cxn>
                    <a:cxn ang="0">
                      <a:pos x="387" y="257"/>
                    </a:cxn>
                  </a:cxnLst>
                  <a:rect l="0" t="0" r="r" b="b"/>
                  <a:pathLst>
                    <a:path w="435" h="504">
                      <a:moveTo>
                        <a:pt x="387" y="257"/>
                      </a:moveTo>
                      <a:lnTo>
                        <a:pt x="387" y="204"/>
                      </a:lnTo>
                      <a:lnTo>
                        <a:pt x="387" y="151"/>
                      </a:lnTo>
                      <a:lnTo>
                        <a:pt x="387" y="98"/>
                      </a:lnTo>
                      <a:lnTo>
                        <a:pt x="390" y="96"/>
                      </a:lnTo>
                      <a:lnTo>
                        <a:pt x="412" y="74"/>
                      </a:lnTo>
                      <a:lnTo>
                        <a:pt x="433" y="42"/>
                      </a:lnTo>
                      <a:lnTo>
                        <a:pt x="435" y="37"/>
                      </a:lnTo>
                      <a:lnTo>
                        <a:pt x="430" y="38"/>
                      </a:lnTo>
                      <a:lnTo>
                        <a:pt x="421" y="37"/>
                      </a:lnTo>
                      <a:lnTo>
                        <a:pt x="408" y="38"/>
                      </a:lnTo>
                      <a:lnTo>
                        <a:pt x="374" y="22"/>
                      </a:lnTo>
                      <a:lnTo>
                        <a:pt x="355" y="26"/>
                      </a:lnTo>
                      <a:lnTo>
                        <a:pt x="336" y="32"/>
                      </a:lnTo>
                      <a:lnTo>
                        <a:pt x="320" y="48"/>
                      </a:lnTo>
                      <a:lnTo>
                        <a:pt x="297" y="60"/>
                      </a:lnTo>
                      <a:lnTo>
                        <a:pt x="272" y="59"/>
                      </a:lnTo>
                      <a:lnTo>
                        <a:pt x="250" y="53"/>
                      </a:lnTo>
                      <a:lnTo>
                        <a:pt x="233" y="53"/>
                      </a:lnTo>
                      <a:lnTo>
                        <a:pt x="213" y="47"/>
                      </a:lnTo>
                      <a:lnTo>
                        <a:pt x="202" y="34"/>
                      </a:lnTo>
                      <a:lnTo>
                        <a:pt x="164" y="12"/>
                      </a:lnTo>
                      <a:lnTo>
                        <a:pt x="147" y="4"/>
                      </a:lnTo>
                      <a:lnTo>
                        <a:pt x="132" y="3"/>
                      </a:lnTo>
                      <a:lnTo>
                        <a:pt x="116" y="5"/>
                      </a:lnTo>
                      <a:lnTo>
                        <a:pt x="103" y="0"/>
                      </a:lnTo>
                      <a:lnTo>
                        <a:pt x="82" y="3"/>
                      </a:lnTo>
                      <a:lnTo>
                        <a:pt x="69" y="3"/>
                      </a:lnTo>
                      <a:lnTo>
                        <a:pt x="39" y="0"/>
                      </a:lnTo>
                      <a:lnTo>
                        <a:pt x="28" y="1"/>
                      </a:lnTo>
                      <a:lnTo>
                        <a:pt x="16" y="9"/>
                      </a:lnTo>
                      <a:lnTo>
                        <a:pt x="0" y="28"/>
                      </a:lnTo>
                      <a:lnTo>
                        <a:pt x="2" y="30"/>
                      </a:lnTo>
                      <a:lnTo>
                        <a:pt x="5" y="32"/>
                      </a:lnTo>
                      <a:lnTo>
                        <a:pt x="17" y="34"/>
                      </a:lnTo>
                      <a:lnTo>
                        <a:pt x="19" y="36"/>
                      </a:lnTo>
                      <a:lnTo>
                        <a:pt x="19" y="43"/>
                      </a:lnTo>
                      <a:lnTo>
                        <a:pt x="21" y="46"/>
                      </a:lnTo>
                      <a:lnTo>
                        <a:pt x="23" y="48"/>
                      </a:lnTo>
                      <a:lnTo>
                        <a:pt x="28" y="75"/>
                      </a:lnTo>
                      <a:lnTo>
                        <a:pt x="30" y="81"/>
                      </a:lnTo>
                      <a:lnTo>
                        <a:pt x="35" y="86"/>
                      </a:lnTo>
                      <a:lnTo>
                        <a:pt x="42" y="90"/>
                      </a:lnTo>
                      <a:lnTo>
                        <a:pt x="46" y="92"/>
                      </a:lnTo>
                      <a:lnTo>
                        <a:pt x="54" y="101"/>
                      </a:lnTo>
                      <a:lnTo>
                        <a:pt x="55" y="107"/>
                      </a:lnTo>
                      <a:lnTo>
                        <a:pt x="55" y="125"/>
                      </a:lnTo>
                      <a:lnTo>
                        <a:pt x="57" y="135"/>
                      </a:lnTo>
                      <a:lnTo>
                        <a:pt x="56" y="155"/>
                      </a:lnTo>
                      <a:lnTo>
                        <a:pt x="54" y="168"/>
                      </a:lnTo>
                      <a:lnTo>
                        <a:pt x="46" y="181"/>
                      </a:lnTo>
                      <a:lnTo>
                        <a:pt x="38" y="192"/>
                      </a:lnTo>
                      <a:lnTo>
                        <a:pt x="35" y="195"/>
                      </a:lnTo>
                      <a:lnTo>
                        <a:pt x="26" y="206"/>
                      </a:lnTo>
                      <a:lnTo>
                        <a:pt x="8" y="233"/>
                      </a:lnTo>
                      <a:lnTo>
                        <a:pt x="2" y="238"/>
                      </a:lnTo>
                      <a:lnTo>
                        <a:pt x="1" y="253"/>
                      </a:lnTo>
                      <a:lnTo>
                        <a:pt x="8" y="263"/>
                      </a:lnTo>
                      <a:lnTo>
                        <a:pt x="12" y="272"/>
                      </a:lnTo>
                      <a:lnTo>
                        <a:pt x="18" y="270"/>
                      </a:lnTo>
                      <a:lnTo>
                        <a:pt x="26" y="267"/>
                      </a:lnTo>
                      <a:lnTo>
                        <a:pt x="35" y="265"/>
                      </a:lnTo>
                      <a:lnTo>
                        <a:pt x="45" y="265"/>
                      </a:lnTo>
                      <a:lnTo>
                        <a:pt x="45" y="270"/>
                      </a:lnTo>
                      <a:lnTo>
                        <a:pt x="34" y="274"/>
                      </a:lnTo>
                      <a:lnTo>
                        <a:pt x="26" y="281"/>
                      </a:lnTo>
                      <a:lnTo>
                        <a:pt x="14" y="281"/>
                      </a:lnTo>
                      <a:lnTo>
                        <a:pt x="7" y="295"/>
                      </a:lnTo>
                      <a:lnTo>
                        <a:pt x="16" y="303"/>
                      </a:lnTo>
                      <a:lnTo>
                        <a:pt x="207" y="415"/>
                      </a:lnTo>
                      <a:lnTo>
                        <a:pt x="210" y="420"/>
                      </a:lnTo>
                      <a:lnTo>
                        <a:pt x="210" y="428"/>
                      </a:lnTo>
                      <a:lnTo>
                        <a:pt x="215" y="447"/>
                      </a:lnTo>
                      <a:lnTo>
                        <a:pt x="218" y="458"/>
                      </a:lnTo>
                      <a:lnTo>
                        <a:pt x="296" y="504"/>
                      </a:lnTo>
                      <a:lnTo>
                        <a:pt x="306" y="499"/>
                      </a:lnTo>
                      <a:lnTo>
                        <a:pt x="309" y="495"/>
                      </a:lnTo>
                      <a:lnTo>
                        <a:pt x="314" y="488"/>
                      </a:lnTo>
                      <a:lnTo>
                        <a:pt x="318" y="479"/>
                      </a:lnTo>
                      <a:lnTo>
                        <a:pt x="324" y="463"/>
                      </a:lnTo>
                      <a:lnTo>
                        <a:pt x="333" y="450"/>
                      </a:lnTo>
                      <a:lnTo>
                        <a:pt x="342" y="429"/>
                      </a:lnTo>
                      <a:lnTo>
                        <a:pt x="346" y="413"/>
                      </a:lnTo>
                      <a:lnTo>
                        <a:pt x="352" y="399"/>
                      </a:lnTo>
                      <a:lnTo>
                        <a:pt x="357" y="392"/>
                      </a:lnTo>
                      <a:lnTo>
                        <a:pt x="360" y="391"/>
                      </a:lnTo>
                      <a:lnTo>
                        <a:pt x="378" y="382"/>
                      </a:lnTo>
                      <a:lnTo>
                        <a:pt x="379" y="376"/>
                      </a:lnTo>
                      <a:lnTo>
                        <a:pt x="382" y="370"/>
                      </a:lnTo>
                      <a:lnTo>
                        <a:pt x="388" y="361"/>
                      </a:lnTo>
                      <a:lnTo>
                        <a:pt x="394" y="358"/>
                      </a:lnTo>
                      <a:lnTo>
                        <a:pt x="403" y="358"/>
                      </a:lnTo>
                      <a:lnTo>
                        <a:pt x="414" y="346"/>
                      </a:lnTo>
                      <a:lnTo>
                        <a:pt x="417" y="340"/>
                      </a:lnTo>
                      <a:lnTo>
                        <a:pt x="416" y="337"/>
                      </a:lnTo>
                      <a:lnTo>
                        <a:pt x="393" y="308"/>
                      </a:lnTo>
                      <a:lnTo>
                        <a:pt x="387" y="300"/>
                      </a:lnTo>
                      <a:lnTo>
                        <a:pt x="387" y="25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59" name="Freeform 47"/>
                <p:cNvSpPr>
                  <a:spLocks noChangeAspect="1"/>
                </p:cNvSpPr>
                <p:nvPr/>
              </p:nvSpPr>
              <p:spPr bwMode="gray">
                <a:xfrm>
                  <a:off x="4455318" y="3399184"/>
                  <a:ext cx="107950" cy="77788"/>
                </a:xfrm>
                <a:custGeom>
                  <a:avLst/>
                  <a:gdLst/>
                  <a:ahLst/>
                  <a:cxnLst>
                    <a:cxn ang="0">
                      <a:pos x="43" y="160"/>
                    </a:cxn>
                    <a:cxn ang="0">
                      <a:pos x="28" y="129"/>
                    </a:cxn>
                    <a:cxn ang="0">
                      <a:pos x="7" y="113"/>
                    </a:cxn>
                    <a:cxn ang="0">
                      <a:pos x="1" y="107"/>
                    </a:cxn>
                    <a:cxn ang="0">
                      <a:pos x="35" y="86"/>
                    </a:cxn>
                    <a:cxn ang="0">
                      <a:pos x="56" y="33"/>
                    </a:cxn>
                    <a:cxn ang="0">
                      <a:pos x="70" y="9"/>
                    </a:cxn>
                    <a:cxn ang="0">
                      <a:pos x="92" y="9"/>
                    </a:cxn>
                    <a:cxn ang="0">
                      <a:pos x="122" y="5"/>
                    </a:cxn>
                    <a:cxn ang="0">
                      <a:pos x="135" y="1"/>
                    </a:cxn>
                    <a:cxn ang="0">
                      <a:pos x="168" y="2"/>
                    </a:cxn>
                    <a:cxn ang="0">
                      <a:pos x="183" y="9"/>
                    </a:cxn>
                    <a:cxn ang="0">
                      <a:pos x="206" y="29"/>
                    </a:cxn>
                    <a:cxn ang="0">
                      <a:pos x="221" y="29"/>
                    </a:cxn>
                    <a:cxn ang="0">
                      <a:pos x="238" y="58"/>
                    </a:cxn>
                    <a:cxn ang="0">
                      <a:pos x="248" y="68"/>
                    </a:cxn>
                    <a:cxn ang="0">
                      <a:pos x="258" y="75"/>
                    </a:cxn>
                    <a:cxn ang="0">
                      <a:pos x="261" y="82"/>
                    </a:cxn>
                    <a:cxn ang="0">
                      <a:pos x="277" y="91"/>
                    </a:cxn>
                    <a:cxn ang="0">
                      <a:pos x="289" y="103"/>
                    </a:cxn>
                    <a:cxn ang="0">
                      <a:pos x="297" y="123"/>
                    </a:cxn>
                    <a:cxn ang="0">
                      <a:pos x="302" y="133"/>
                    </a:cxn>
                    <a:cxn ang="0">
                      <a:pos x="309" y="156"/>
                    </a:cxn>
                    <a:cxn ang="0">
                      <a:pos x="313" y="181"/>
                    </a:cxn>
                    <a:cxn ang="0">
                      <a:pos x="323" y="185"/>
                    </a:cxn>
                    <a:cxn ang="0">
                      <a:pos x="332" y="197"/>
                    </a:cxn>
                    <a:cxn ang="0">
                      <a:pos x="342" y="212"/>
                    </a:cxn>
                    <a:cxn ang="0">
                      <a:pos x="342" y="221"/>
                    </a:cxn>
                    <a:cxn ang="0">
                      <a:pos x="344" y="238"/>
                    </a:cxn>
                    <a:cxn ang="0">
                      <a:pos x="321" y="242"/>
                    </a:cxn>
                    <a:cxn ang="0">
                      <a:pos x="293" y="244"/>
                    </a:cxn>
                    <a:cxn ang="0">
                      <a:pos x="271" y="239"/>
                    </a:cxn>
                    <a:cxn ang="0">
                      <a:pos x="255" y="238"/>
                    </a:cxn>
                    <a:cxn ang="0">
                      <a:pos x="237" y="227"/>
                    </a:cxn>
                    <a:cxn ang="0">
                      <a:pos x="162" y="224"/>
                    </a:cxn>
                    <a:cxn ang="0">
                      <a:pos x="111" y="236"/>
                    </a:cxn>
                    <a:cxn ang="0">
                      <a:pos x="57" y="244"/>
                    </a:cxn>
                    <a:cxn ang="0">
                      <a:pos x="43" y="242"/>
                    </a:cxn>
                    <a:cxn ang="0">
                      <a:pos x="47" y="199"/>
                    </a:cxn>
                    <a:cxn ang="0">
                      <a:pos x="98" y="188"/>
                    </a:cxn>
                    <a:cxn ang="0">
                      <a:pos x="127" y="183"/>
                    </a:cxn>
                    <a:cxn ang="0">
                      <a:pos x="143" y="182"/>
                    </a:cxn>
                    <a:cxn ang="0">
                      <a:pos x="175" y="194"/>
                    </a:cxn>
                    <a:cxn ang="0">
                      <a:pos x="203" y="189"/>
                    </a:cxn>
                    <a:cxn ang="0">
                      <a:pos x="206" y="177"/>
                    </a:cxn>
                    <a:cxn ang="0">
                      <a:pos x="191" y="177"/>
                    </a:cxn>
                    <a:cxn ang="0">
                      <a:pos x="165" y="172"/>
                    </a:cxn>
                    <a:cxn ang="0">
                      <a:pos x="140" y="162"/>
                    </a:cxn>
                    <a:cxn ang="0">
                      <a:pos x="120" y="163"/>
                    </a:cxn>
                  </a:cxnLst>
                  <a:rect l="0" t="0" r="r" b="b"/>
                  <a:pathLst>
                    <a:path w="344" h="244">
                      <a:moveTo>
                        <a:pt x="55" y="174"/>
                      </a:moveTo>
                      <a:lnTo>
                        <a:pt x="54" y="174"/>
                      </a:lnTo>
                      <a:lnTo>
                        <a:pt x="50" y="168"/>
                      </a:lnTo>
                      <a:lnTo>
                        <a:pt x="43" y="160"/>
                      </a:lnTo>
                      <a:lnTo>
                        <a:pt x="41" y="147"/>
                      </a:lnTo>
                      <a:lnTo>
                        <a:pt x="39" y="144"/>
                      </a:lnTo>
                      <a:lnTo>
                        <a:pt x="33" y="138"/>
                      </a:lnTo>
                      <a:lnTo>
                        <a:pt x="28" y="129"/>
                      </a:lnTo>
                      <a:lnTo>
                        <a:pt x="18" y="119"/>
                      </a:lnTo>
                      <a:lnTo>
                        <a:pt x="14" y="112"/>
                      </a:lnTo>
                      <a:lnTo>
                        <a:pt x="9" y="112"/>
                      </a:lnTo>
                      <a:lnTo>
                        <a:pt x="7" y="113"/>
                      </a:lnTo>
                      <a:lnTo>
                        <a:pt x="4" y="117"/>
                      </a:lnTo>
                      <a:lnTo>
                        <a:pt x="1" y="112"/>
                      </a:lnTo>
                      <a:lnTo>
                        <a:pt x="0" y="109"/>
                      </a:lnTo>
                      <a:lnTo>
                        <a:pt x="1" y="107"/>
                      </a:lnTo>
                      <a:lnTo>
                        <a:pt x="6" y="107"/>
                      </a:lnTo>
                      <a:lnTo>
                        <a:pt x="17" y="103"/>
                      </a:lnTo>
                      <a:lnTo>
                        <a:pt x="31" y="91"/>
                      </a:lnTo>
                      <a:lnTo>
                        <a:pt x="35" y="86"/>
                      </a:lnTo>
                      <a:lnTo>
                        <a:pt x="40" y="77"/>
                      </a:lnTo>
                      <a:lnTo>
                        <a:pt x="55" y="56"/>
                      </a:lnTo>
                      <a:lnTo>
                        <a:pt x="56" y="50"/>
                      </a:lnTo>
                      <a:lnTo>
                        <a:pt x="56" y="33"/>
                      </a:lnTo>
                      <a:lnTo>
                        <a:pt x="57" y="32"/>
                      </a:lnTo>
                      <a:lnTo>
                        <a:pt x="61" y="29"/>
                      </a:lnTo>
                      <a:lnTo>
                        <a:pt x="65" y="22"/>
                      </a:lnTo>
                      <a:lnTo>
                        <a:pt x="70" y="9"/>
                      </a:lnTo>
                      <a:lnTo>
                        <a:pt x="73" y="9"/>
                      </a:lnTo>
                      <a:lnTo>
                        <a:pt x="76" y="7"/>
                      </a:lnTo>
                      <a:lnTo>
                        <a:pt x="83" y="9"/>
                      </a:lnTo>
                      <a:lnTo>
                        <a:pt x="92" y="9"/>
                      </a:lnTo>
                      <a:lnTo>
                        <a:pt x="102" y="11"/>
                      </a:lnTo>
                      <a:lnTo>
                        <a:pt x="109" y="10"/>
                      </a:lnTo>
                      <a:lnTo>
                        <a:pt x="111" y="7"/>
                      </a:lnTo>
                      <a:lnTo>
                        <a:pt x="122" y="5"/>
                      </a:lnTo>
                      <a:lnTo>
                        <a:pt x="131" y="6"/>
                      </a:lnTo>
                      <a:lnTo>
                        <a:pt x="133" y="5"/>
                      </a:lnTo>
                      <a:lnTo>
                        <a:pt x="133" y="1"/>
                      </a:lnTo>
                      <a:lnTo>
                        <a:pt x="135" y="1"/>
                      </a:lnTo>
                      <a:lnTo>
                        <a:pt x="141" y="1"/>
                      </a:lnTo>
                      <a:lnTo>
                        <a:pt x="146" y="0"/>
                      </a:lnTo>
                      <a:lnTo>
                        <a:pt x="152" y="2"/>
                      </a:lnTo>
                      <a:lnTo>
                        <a:pt x="168" y="2"/>
                      </a:lnTo>
                      <a:lnTo>
                        <a:pt x="169" y="4"/>
                      </a:lnTo>
                      <a:lnTo>
                        <a:pt x="174" y="2"/>
                      </a:lnTo>
                      <a:lnTo>
                        <a:pt x="176" y="7"/>
                      </a:lnTo>
                      <a:lnTo>
                        <a:pt x="183" y="9"/>
                      </a:lnTo>
                      <a:lnTo>
                        <a:pt x="194" y="17"/>
                      </a:lnTo>
                      <a:lnTo>
                        <a:pt x="195" y="23"/>
                      </a:lnTo>
                      <a:lnTo>
                        <a:pt x="202" y="31"/>
                      </a:lnTo>
                      <a:lnTo>
                        <a:pt x="206" y="29"/>
                      </a:lnTo>
                      <a:lnTo>
                        <a:pt x="212" y="28"/>
                      </a:lnTo>
                      <a:lnTo>
                        <a:pt x="212" y="32"/>
                      </a:lnTo>
                      <a:lnTo>
                        <a:pt x="216" y="33"/>
                      </a:lnTo>
                      <a:lnTo>
                        <a:pt x="221" y="29"/>
                      </a:lnTo>
                      <a:lnTo>
                        <a:pt x="223" y="29"/>
                      </a:lnTo>
                      <a:lnTo>
                        <a:pt x="233" y="44"/>
                      </a:lnTo>
                      <a:lnTo>
                        <a:pt x="238" y="54"/>
                      </a:lnTo>
                      <a:lnTo>
                        <a:pt x="238" y="58"/>
                      </a:lnTo>
                      <a:lnTo>
                        <a:pt x="242" y="59"/>
                      </a:lnTo>
                      <a:lnTo>
                        <a:pt x="245" y="64"/>
                      </a:lnTo>
                      <a:lnTo>
                        <a:pt x="245" y="66"/>
                      </a:lnTo>
                      <a:lnTo>
                        <a:pt x="248" y="68"/>
                      </a:lnTo>
                      <a:lnTo>
                        <a:pt x="251" y="66"/>
                      </a:lnTo>
                      <a:lnTo>
                        <a:pt x="253" y="66"/>
                      </a:lnTo>
                      <a:lnTo>
                        <a:pt x="255" y="74"/>
                      </a:lnTo>
                      <a:lnTo>
                        <a:pt x="258" y="75"/>
                      </a:lnTo>
                      <a:lnTo>
                        <a:pt x="260" y="79"/>
                      </a:lnTo>
                      <a:lnTo>
                        <a:pt x="256" y="80"/>
                      </a:lnTo>
                      <a:lnTo>
                        <a:pt x="256" y="81"/>
                      </a:lnTo>
                      <a:lnTo>
                        <a:pt x="261" y="82"/>
                      </a:lnTo>
                      <a:lnTo>
                        <a:pt x="264" y="86"/>
                      </a:lnTo>
                      <a:lnTo>
                        <a:pt x="267" y="88"/>
                      </a:lnTo>
                      <a:lnTo>
                        <a:pt x="271" y="88"/>
                      </a:lnTo>
                      <a:lnTo>
                        <a:pt x="277" y="91"/>
                      </a:lnTo>
                      <a:lnTo>
                        <a:pt x="280" y="95"/>
                      </a:lnTo>
                      <a:lnTo>
                        <a:pt x="281" y="99"/>
                      </a:lnTo>
                      <a:lnTo>
                        <a:pt x="283" y="101"/>
                      </a:lnTo>
                      <a:lnTo>
                        <a:pt x="289" y="103"/>
                      </a:lnTo>
                      <a:lnTo>
                        <a:pt x="296" y="109"/>
                      </a:lnTo>
                      <a:lnTo>
                        <a:pt x="298" y="112"/>
                      </a:lnTo>
                      <a:lnTo>
                        <a:pt x="299" y="115"/>
                      </a:lnTo>
                      <a:lnTo>
                        <a:pt x="297" y="123"/>
                      </a:lnTo>
                      <a:lnTo>
                        <a:pt x="297" y="129"/>
                      </a:lnTo>
                      <a:lnTo>
                        <a:pt x="299" y="129"/>
                      </a:lnTo>
                      <a:lnTo>
                        <a:pt x="301" y="133"/>
                      </a:lnTo>
                      <a:lnTo>
                        <a:pt x="302" y="133"/>
                      </a:lnTo>
                      <a:lnTo>
                        <a:pt x="305" y="136"/>
                      </a:lnTo>
                      <a:lnTo>
                        <a:pt x="307" y="144"/>
                      </a:lnTo>
                      <a:lnTo>
                        <a:pt x="307" y="150"/>
                      </a:lnTo>
                      <a:lnTo>
                        <a:pt x="309" y="156"/>
                      </a:lnTo>
                      <a:lnTo>
                        <a:pt x="310" y="160"/>
                      </a:lnTo>
                      <a:lnTo>
                        <a:pt x="305" y="167"/>
                      </a:lnTo>
                      <a:lnTo>
                        <a:pt x="305" y="169"/>
                      </a:lnTo>
                      <a:lnTo>
                        <a:pt x="313" y="181"/>
                      </a:lnTo>
                      <a:lnTo>
                        <a:pt x="315" y="187"/>
                      </a:lnTo>
                      <a:lnTo>
                        <a:pt x="316" y="188"/>
                      </a:lnTo>
                      <a:lnTo>
                        <a:pt x="320" y="188"/>
                      </a:lnTo>
                      <a:lnTo>
                        <a:pt x="323" y="185"/>
                      </a:lnTo>
                      <a:lnTo>
                        <a:pt x="328" y="185"/>
                      </a:lnTo>
                      <a:lnTo>
                        <a:pt x="328" y="189"/>
                      </a:lnTo>
                      <a:lnTo>
                        <a:pt x="331" y="193"/>
                      </a:lnTo>
                      <a:lnTo>
                        <a:pt x="332" y="197"/>
                      </a:lnTo>
                      <a:lnTo>
                        <a:pt x="335" y="199"/>
                      </a:lnTo>
                      <a:lnTo>
                        <a:pt x="337" y="204"/>
                      </a:lnTo>
                      <a:lnTo>
                        <a:pt x="341" y="209"/>
                      </a:lnTo>
                      <a:lnTo>
                        <a:pt x="342" y="212"/>
                      </a:lnTo>
                      <a:lnTo>
                        <a:pt x="341" y="212"/>
                      </a:lnTo>
                      <a:lnTo>
                        <a:pt x="340" y="214"/>
                      </a:lnTo>
                      <a:lnTo>
                        <a:pt x="342" y="217"/>
                      </a:lnTo>
                      <a:lnTo>
                        <a:pt x="342" y="221"/>
                      </a:lnTo>
                      <a:lnTo>
                        <a:pt x="339" y="225"/>
                      </a:lnTo>
                      <a:lnTo>
                        <a:pt x="340" y="232"/>
                      </a:lnTo>
                      <a:lnTo>
                        <a:pt x="344" y="236"/>
                      </a:lnTo>
                      <a:lnTo>
                        <a:pt x="344" y="238"/>
                      </a:lnTo>
                      <a:lnTo>
                        <a:pt x="341" y="239"/>
                      </a:lnTo>
                      <a:lnTo>
                        <a:pt x="331" y="239"/>
                      </a:lnTo>
                      <a:lnTo>
                        <a:pt x="325" y="242"/>
                      </a:lnTo>
                      <a:lnTo>
                        <a:pt x="321" y="242"/>
                      </a:lnTo>
                      <a:lnTo>
                        <a:pt x="310" y="241"/>
                      </a:lnTo>
                      <a:lnTo>
                        <a:pt x="308" y="242"/>
                      </a:lnTo>
                      <a:lnTo>
                        <a:pt x="301" y="242"/>
                      </a:lnTo>
                      <a:lnTo>
                        <a:pt x="293" y="244"/>
                      </a:lnTo>
                      <a:lnTo>
                        <a:pt x="287" y="244"/>
                      </a:lnTo>
                      <a:lnTo>
                        <a:pt x="282" y="242"/>
                      </a:lnTo>
                      <a:lnTo>
                        <a:pt x="278" y="242"/>
                      </a:lnTo>
                      <a:lnTo>
                        <a:pt x="271" y="239"/>
                      </a:lnTo>
                      <a:lnTo>
                        <a:pt x="264" y="239"/>
                      </a:lnTo>
                      <a:lnTo>
                        <a:pt x="258" y="233"/>
                      </a:lnTo>
                      <a:lnTo>
                        <a:pt x="255" y="235"/>
                      </a:lnTo>
                      <a:lnTo>
                        <a:pt x="255" y="238"/>
                      </a:lnTo>
                      <a:lnTo>
                        <a:pt x="248" y="237"/>
                      </a:lnTo>
                      <a:lnTo>
                        <a:pt x="248" y="231"/>
                      </a:lnTo>
                      <a:lnTo>
                        <a:pt x="245" y="228"/>
                      </a:lnTo>
                      <a:lnTo>
                        <a:pt x="237" y="227"/>
                      </a:lnTo>
                      <a:lnTo>
                        <a:pt x="231" y="228"/>
                      </a:lnTo>
                      <a:lnTo>
                        <a:pt x="226" y="225"/>
                      </a:lnTo>
                      <a:lnTo>
                        <a:pt x="212" y="224"/>
                      </a:lnTo>
                      <a:lnTo>
                        <a:pt x="162" y="224"/>
                      </a:lnTo>
                      <a:lnTo>
                        <a:pt x="159" y="225"/>
                      </a:lnTo>
                      <a:lnTo>
                        <a:pt x="135" y="225"/>
                      </a:lnTo>
                      <a:lnTo>
                        <a:pt x="122" y="231"/>
                      </a:lnTo>
                      <a:lnTo>
                        <a:pt x="111" y="236"/>
                      </a:lnTo>
                      <a:lnTo>
                        <a:pt x="102" y="238"/>
                      </a:lnTo>
                      <a:lnTo>
                        <a:pt x="72" y="237"/>
                      </a:lnTo>
                      <a:lnTo>
                        <a:pt x="68" y="239"/>
                      </a:lnTo>
                      <a:lnTo>
                        <a:pt x="57" y="244"/>
                      </a:lnTo>
                      <a:lnTo>
                        <a:pt x="50" y="244"/>
                      </a:lnTo>
                      <a:lnTo>
                        <a:pt x="46" y="243"/>
                      </a:lnTo>
                      <a:lnTo>
                        <a:pt x="45" y="241"/>
                      </a:lnTo>
                      <a:lnTo>
                        <a:pt x="43" y="242"/>
                      </a:lnTo>
                      <a:lnTo>
                        <a:pt x="44" y="241"/>
                      </a:lnTo>
                      <a:lnTo>
                        <a:pt x="41" y="239"/>
                      </a:lnTo>
                      <a:lnTo>
                        <a:pt x="43" y="205"/>
                      </a:lnTo>
                      <a:lnTo>
                        <a:pt x="47" y="199"/>
                      </a:lnTo>
                      <a:lnTo>
                        <a:pt x="86" y="195"/>
                      </a:lnTo>
                      <a:lnTo>
                        <a:pt x="94" y="195"/>
                      </a:lnTo>
                      <a:lnTo>
                        <a:pt x="95" y="195"/>
                      </a:lnTo>
                      <a:lnTo>
                        <a:pt x="98" y="188"/>
                      </a:lnTo>
                      <a:lnTo>
                        <a:pt x="103" y="187"/>
                      </a:lnTo>
                      <a:lnTo>
                        <a:pt x="106" y="188"/>
                      </a:lnTo>
                      <a:lnTo>
                        <a:pt x="119" y="187"/>
                      </a:lnTo>
                      <a:lnTo>
                        <a:pt x="127" y="183"/>
                      </a:lnTo>
                      <a:lnTo>
                        <a:pt x="131" y="178"/>
                      </a:lnTo>
                      <a:lnTo>
                        <a:pt x="133" y="177"/>
                      </a:lnTo>
                      <a:lnTo>
                        <a:pt x="140" y="178"/>
                      </a:lnTo>
                      <a:lnTo>
                        <a:pt x="143" y="182"/>
                      </a:lnTo>
                      <a:lnTo>
                        <a:pt x="151" y="184"/>
                      </a:lnTo>
                      <a:lnTo>
                        <a:pt x="159" y="189"/>
                      </a:lnTo>
                      <a:lnTo>
                        <a:pt x="167" y="190"/>
                      </a:lnTo>
                      <a:lnTo>
                        <a:pt x="175" y="194"/>
                      </a:lnTo>
                      <a:lnTo>
                        <a:pt x="183" y="194"/>
                      </a:lnTo>
                      <a:lnTo>
                        <a:pt x="185" y="195"/>
                      </a:lnTo>
                      <a:lnTo>
                        <a:pt x="191" y="192"/>
                      </a:lnTo>
                      <a:lnTo>
                        <a:pt x="203" y="189"/>
                      </a:lnTo>
                      <a:lnTo>
                        <a:pt x="207" y="185"/>
                      </a:lnTo>
                      <a:lnTo>
                        <a:pt x="207" y="182"/>
                      </a:lnTo>
                      <a:lnTo>
                        <a:pt x="207" y="177"/>
                      </a:lnTo>
                      <a:lnTo>
                        <a:pt x="206" y="177"/>
                      </a:lnTo>
                      <a:lnTo>
                        <a:pt x="203" y="177"/>
                      </a:lnTo>
                      <a:lnTo>
                        <a:pt x="200" y="176"/>
                      </a:lnTo>
                      <a:lnTo>
                        <a:pt x="195" y="176"/>
                      </a:lnTo>
                      <a:lnTo>
                        <a:pt x="191" y="177"/>
                      </a:lnTo>
                      <a:lnTo>
                        <a:pt x="180" y="182"/>
                      </a:lnTo>
                      <a:lnTo>
                        <a:pt x="175" y="181"/>
                      </a:lnTo>
                      <a:lnTo>
                        <a:pt x="169" y="178"/>
                      </a:lnTo>
                      <a:lnTo>
                        <a:pt x="165" y="172"/>
                      </a:lnTo>
                      <a:lnTo>
                        <a:pt x="164" y="171"/>
                      </a:lnTo>
                      <a:lnTo>
                        <a:pt x="152" y="171"/>
                      </a:lnTo>
                      <a:lnTo>
                        <a:pt x="146" y="163"/>
                      </a:lnTo>
                      <a:lnTo>
                        <a:pt x="140" y="162"/>
                      </a:lnTo>
                      <a:lnTo>
                        <a:pt x="137" y="161"/>
                      </a:lnTo>
                      <a:lnTo>
                        <a:pt x="131" y="162"/>
                      </a:lnTo>
                      <a:lnTo>
                        <a:pt x="126" y="165"/>
                      </a:lnTo>
                      <a:lnTo>
                        <a:pt x="120" y="163"/>
                      </a:lnTo>
                      <a:lnTo>
                        <a:pt x="115" y="168"/>
                      </a:lnTo>
                      <a:lnTo>
                        <a:pt x="111" y="174"/>
                      </a:lnTo>
                      <a:lnTo>
                        <a:pt x="55" y="17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60" name="Freeform 48"/>
                <p:cNvSpPr>
                  <a:spLocks noChangeAspect="1"/>
                </p:cNvSpPr>
                <p:nvPr/>
              </p:nvSpPr>
              <p:spPr bwMode="gray">
                <a:xfrm>
                  <a:off x="5276055" y="3708747"/>
                  <a:ext cx="190500" cy="187325"/>
                </a:xfrm>
                <a:custGeom>
                  <a:avLst/>
                  <a:gdLst/>
                  <a:ahLst/>
                  <a:cxnLst>
                    <a:cxn ang="0">
                      <a:pos x="450" y="144"/>
                    </a:cxn>
                    <a:cxn ang="0">
                      <a:pos x="521" y="238"/>
                    </a:cxn>
                    <a:cxn ang="0">
                      <a:pos x="505" y="292"/>
                    </a:cxn>
                    <a:cxn ang="0">
                      <a:pos x="538" y="325"/>
                    </a:cxn>
                    <a:cxn ang="0">
                      <a:pos x="537" y="349"/>
                    </a:cxn>
                    <a:cxn ang="0">
                      <a:pos x="536" y="380"/>
                    </a:cxn>
                    <a:cxn ang="0">
                      <a:pos x="528" y="402"/>
                    </a:cxn>
                    <a:cxn ang="0">
                      <a:pos x="542" y="432"/>
                    </a:cxn>
                    <a:cxn ang="0">
                      <a:pos x="550" y="467"/>
                    </a:cxn>
                    <a:cxn ang="0">
                      <a:pos x="561" y="488"/>
                    </a:cxn>
                    <a:cxn ang="0">
                      <a:pos x="587" y="514"/>
                    </a:cxn>
                    <a:cxn ang="0">
                      <a:pos x="593" y="526"/>
                    </a:cxn>
                    <a:cxn ang="0">
                      <a:pos x="541" y="557"/>
                    </a:cxn>
                    <a:cxn ang="0">
                      <a:pos x="476" y="564"/>
                    </a:cxn>
                    <a:cxn ang="0">
                      <a:pos x="436" y="583"/>
                    </a:cxn>
                    <a:cxn ang="0">
                      <a:pos x="378" y="589"/>
                    </a:cxn>
                    <a:cxn ang="0">
                      <a:pos x="355" y="580"/>
                    </a:cxn>
                    <a:cxn ang="0">
                      <a:pos x="331" y="584"/>
                    </a:cxn>
                    <a:cxn ang="0">
                      <a:pos x="280" y="567"/>
                    </a:cxn>
                    <a:cxn ang="0">
                      <a:pos x="270" y="531"/>
                    </a:cxn>
                    <a:cxn ang="0">
                      <a:pos x="249" y="476"/>
                    </a:cxn>
                    <a:cxn ang="0">
                      <a:pos x="229" y="473"/>
                    </a:cxn>
                    <a:cxn ang="0">
                      <a:pos x="208" y="475"/>
                    </a:cxn>
                    <a:cxn ang="0">
                      <a:pos x="178" y="459"/>
                    </a:cxn>
                    <a:cxn ang="0">
                      <a:pos x="125" y="440"/>
                    </a:cxn>
                    <a:cxn ang="0">
                      <a:pos x="95" y="418"/>
                    </a:cxn>
                    <a:cxn ang="0">
                      <a:pos x="65" y="386"/>
                    </a:cxn>
                    <a:cxn ang="0">
                      <a:pos x="49" y="328"/>
                    </a:cxn>
                    <a:cxn ang="0">
                      <a:pos x="11" y="278"/>
                    </a:cxn>
                    <a:cxn ang="0">
                      <a:pos x="9" y="231"/>
                    </a:cxn>
                    <a:cxn ang="0">
                      <a:pos x="0" y="187"/>
                    </a:cxn>
                    <a:cxn ang="0">
                      <a:pos x="39" y="159"/>
                    </a:cxn>
                    <a:cxn ang="0">
                      <a:pos x="64" y="121"/>
                    </a:cxn>
                    <a:cxn ang="0">
                      <a:pos x="52" y="102"/>
                    </a:cxn>
                    <a:cxn ang="0">
                      <a:pos x="49" y="83"/>
                    </a:cxn>
                    <a:cxn ang="0">
                      <a:pos x="66" y="46"/>
                    </a:cxn>
                    <a:cxn ang="0">
                      <a:pos x="66" y="5"/>
                    </a:cxn>
                    <a:cxn ang="0">
                      <a:pos x="119" y="7"/>
                    </a:cxn>
                    <a:cxn ang="0">
                      <a:pos x="118" y="83"/>
                    </a:cxn>
                    <a:cxn ang="0">
                      <a:pos x="133" y="88"/>
                    </a:cxn>
                    <a:cxn ang="0">
                      <a:pos x="148" y="75"/>
                    </a:cxn>
                    <a:cxn ang="0">
                      <a:pos x="173" y="86"/>
                    </a:cxn>
                    <a:cxn ang="0">
                      <a:pos x="186" y="84"/>
                    </a:cxn>
                    <a:cxn ang="0">
                      <a:pos x="214" y="79"/>
                    </a:cxn>
                    <a:cxn ang="0">
                      <a:pos x="209" y="66"/>
                    </a:cxn>
                    <a:cxn ang="0">
                      <a:pos x="209" y="48"/>
                    </a:cxn>
                    <a:cxn ang="0">
                      <a:pos x="225" y="35"/>
                    </a:cxn>
                    <a:cxn ang="0">
                      <a:pos x="238" y="21"/>
                    </a:cxn>
                    <a:cxn ang="0">
                      <a:pos x="251" y="0"/>
                    </a:cxn>
                  </a:cxnLst>
                  <a:rect l="0" t="0" r="r" b="b"/>
                  <a:pathLst>
                    <a:path w="596" h="591">
                      <a:moveTo>
                        <a:pt x="442" y="112"/>
                      </a:moveTo>
                      <a:lnTo>
                        <a:pt x="445" y="117"/>
                      </a:lnTo>
                      <a:lnTo>
                        <a:pt x="445" y="125"/>
                      </a:lnTo>
                      <a:lnTo>
                        <a:pt x="450" y="144"/>
                      </a:lnTo>
                      <a:lnTo>
                        <a:pt x="453" y="155"/>
                      </a:lnTo>
                      <a:lnTo>
                        <a:pt x="531" y="201"/>
                      </a:lnTo>
                      <a:lnTo>
                        <a:pt x="528" y="207"/>
                      </a:lnTo>
                      <a:lnTo>
                        <a:pt x="521" y="238"/>
                      </a:lnTo>
                      <a:lnTo>
                        <a:pt x="517" y="244"/>
                      </a:lnTo>
                      <a:lnTo>
                        <a:pt x="514" y="256"/>
                      </a:lnTo>
                      <a:lnTo>
                        <a:pt x="504" y="281"/>
                      </a:lnTo>
                      <a:lnTo>
                        <a:pt x="505" y="292"/>
                      </a:lnTo>
                      <a:lnTo>
                        <a:pt x="507" y="298"/>
                      </a:lnTo>
                      <a:lnTo>
                        <a:pt x="523" y="309"/>
                      </a:lnTo>
                      <a:lnTo>
                        <a:pt x="530" y="317"/>
                      </a:lnTo>
                      <a:lnTo>
                        <a:pt x="538" y="325"/>
                      </a:lnTo>
                      <a:lnTo>
                        <a:pt x="544" y="336"/>
                      </a:lnTo>
                      <a:lnTo>
                        <a:pt x="544" y="341"/>
                      </a:lnTo>
                      <a:lnTo>
                        <a:pt x="542" y="342"/>
                      </a:lnTo>
                      <a:lnTo>
                        <a:pt x="537" y="349"/>
                      </a:lnTo>
                      <a:lnTo>
                        <a:pt x="536" y="362"/>
                      </a:lnTo>
                      <a:lnTo>
                        <a:pt x="533" y="368"/>
                      </a:lnTo>
                      <a:lnTo>
                        <a:pt x="537" y="374"/>
                      </a:lnTo>
                      <a:lnTo>
                        <a:pt x="536" y="380"/>
                      </a:lnTo>
                      <a:lnTo>
                        <a:pt x="538" y="385"/>
                      </a:lnTo>
                      <a:lnTo>
                        <a:pt x="537" y="395"/>
                      </a:lnTo>
                      <a:lnTo>
                        <a:pt x="531" y="395"/>
                      </a:lnTo>
                      <a:lnTo>
                        <a:pt x="528" y="402"/>
                      </a:lnTo>
                      <a:lnTo>
                        <a:pt x="531" y="412"/>
                      </a:lnTo>
                      <a:lnTo>
                        <a:pt x="537" y="425"/>
                      </a:lnTo>
                      <a:lnTo>
                        <a:pt x="542" y="429"/>
                      </a:lnTo>
                      <a:lnTo>
                        <a:pt x="542" y="432"/>
                      </a:lnTo>
                      <a:lnTo>
                        <a:pt x="538" y="435"/>
                      </a:lnTo>
                      <a:lnTo>
                        <a:pt x="550" y="455"/>
                      </a:lnTo>
                      <a:lnTo>
                        <a:pt x="552" y="460"/>
                      </a:lnTo>
                      <a:lnTo>
                        <a:pt x="550" y="467"/>
                      </a:lnTo>
                      <a:lnTo>
                        <a:pt x="555" y="472"/>
                      </a:lnTo>
                      <a:lnTo>
                        <a:pt x="558" y="478"/>
                      </a:lnTo>
                      <a:lnTo>
                        <a:pt x="558" y="484"/>
                      </a:lnTo>
                      <a:lnTo>
                        <a:pt x="561" y="488"/>
                      </a:lnTo>
                      <a:lnTo>
                        <a:pt x="561" y="497"/>
                      </a:lnTo>
                      <a:lnTo>
                        <a:pt x="573" y="503"/>
                      </a:lnTo>
                      <a:lnTo>
                        <a:pt x="577" y="513"/>
                      </a:lnTo>
                      <a:lnTo>
                        <a:pt x="587" y="514"/>
                      </a:lnTo>
                      <a:lnTo>
                        <a:pt x="592" y="518"/>
                      </a:lnTo>
                      <a:lnTo>
                        <a:pt x="595" y="519"/>
                      </a:lnTo>
                      <a:lnTo>
                        <a:pt x="596" y="525"/>
                      </a:lnTo>
                      <a:lnTo>
                        <a:pt x="593" y="526"/>
                      </a:lnTo>
                      <a:lnTo>
                        <a:pt x="579" y="536"/>
                      </a:lnTo>
                      <a:lnTo>
                        <a:pt x="564" y="550"/>
                      </a:lnTo>
                      <a:lnTo>
                        <a:pt x="560" y="552"/>
                      </a:lnTo>
                      <a:lnTo>
                        <a:pt x="541" y="557"/>
                      </a:lnTo>
                      <a:lnTo>
                        <a:pt x="507" y="569"/>
                      </a:lnTo>
                      <a:lnTo>
                        <a:pt x="499" y="570"/>
                      </a:lnTo>
                      <a:lnTo>
                        <a:pt x="489" y="570"/>
                      </a:lnTo>
                      <a:lnTo>
                        <a:pt x="476" y="564"/>
                      </a:lnTo>
                      <a:lnTo>
                        <a:pt x="467" y="567"/>
                      </a:lnTo>
                      <a:lnTo>
                        <a:pt x="453" y="568"/>
                      </a:lnTo>
                      <a:lnTo>
                        <a:pt x="440" y="581"/>
                      </a:lnTo>
                      <a:lnTo>
                        <a:pt x="436" y="583"/>
                      </a:lnTo>
                      <a:lnTo>
                        <a:pt x="429" y="583"/>
                      </a:lnTo>
                      <a:lnTo>
                        <a:pt x="398" y="581"/>
                      </a:lnTo>
                      <a:lnTo>
                        <a:pt x="387" y="589"/>
                      </a:lnTo>
                      <a:lnTo>
                        <a:pt x="378" y="589"/>
                      </a:lnTo>
                      <a:lnTo>
                        <a:pt x="371" y="591"/>
                      </a:lnTo>
                      <a:lnTo>
                        <a:pt x="366" y="590"/>
                      </a:lnTo>
                      <a:lnTo>
                        <a:pt x="361" y="588"/>
                      </a:lnTo>
                      <a:lnTo>
                        <a:pt x="355" y="580"/>
                      </a:lnTo>
                      <a:lnTo>
                        <a:pt x="348" y="578"/>
                      </a:lnTo>
                      <a:lnTo>
                        <a:pt x="340" y="578"/>
                      </a:lnTo>
                      <a:lnTo>
                        <a:pt x="334" y="583"/>
                      </a:lnTo>
                      <a:lnTo>
                        <a:pt x="331" y="584"/>
                      </a:lnTo>
                      <a:lnTo>
                        <a:pt x="290" y="583"/>
                      </a:lnTo>
                      <a:lnTo>
                        <a:pt x="290" y="579"/>
                      </a:lnTo>
                      <a:lnTo>
                        <a:pt x="285" y="570"/>
                      </a:lnTo>
                      <a:lnTo>
                        <a:pt x="280" y="567"/>
                      </a:lnTo>
                      <a:lnTo>
                        <a:pt x="275" y="559"/>
                      </a:lnTo>
                      <a:lnTo>
                        <a:pt x="274" y="557"/>
                      </a:lnTo>
                      <a:lnTo>
                        <a:pt x="275" y="538"/>
                      </a:lnTo>
                      <a:lnTo>
                        <a:pt x="270" y="531"/>
                      </a:lnTo>
                      <a:lnTo>
                        <a:pt x="269" y="513"/>
                      </a:lnTo>
                      <a:lnTo>
                        <a:pt x="264" y="494"/>
                      </a:lnTo>
                      <a:lnTo>
                        <a:pt x="261" y="487"/>
                      </a:lnTo>
                      <a:lnTo>
                        <a:pt x="249" y="476"/>
                      </a:lnTo>
                      <a:lnTo>
                        <a:pt x="237" y="472"/>
                      </a:lnTo>
                      <a:lnTo>
                        <a:pt x="232" y="480"/>
                      </a:lnTo>
                      <a:lnTo>
                        <a:pt x="230" y="476"/>
                      </a:lnTo>
                      <a:lnTo>
                        <a:pt x="229" y="473"/>
                      </a:lnTo>
                      <a:lnTo>
                        <a:pt x="226" y="472"/>
                      </a:lnTo>
                      <a:lnTo>
                        <a:pt x="221" y="472"/>
                      </a:lnTo>
                      <a:lnTo>
                        <a:pt x="210" y="476"/>
                      </a:lnTo>
                      <a:lnTo>
                        <a:pt x="208" y="475"/>
                      </a:lnTo>
                      <a:lnTo>
                        <a:pt x="203" y="468"/>
                      </a:lnTo>
                      <a:lnTo>
                        <a:pt x="193" y="470"/>
                      </a:lnTo>
                      <a:lnTo>
                        <a:pt x="182" y="462"/>
                      </a:lnTo>
                      <a:lnTo>
                        <a:pt x="178" y="459"/>
                      </a:lnTo>
                      <a:lnTo>
                        <a:pt x="176" y="456"/>
                      </a:lnTo>
                      <a:lnTo>
                        <a:pt x="165" y="456"/>
                      </a:lnTo>
                      <a:lnTo>
                        <a:pt x="154" y="452"/>
                      </a:lnTo>
                      <a:lnTo>
                        <a:pt x="125" y="440"/>
                      </a:lnTo>
                      <a:lnTo>
                        <a:pt x="117" y="438"/>
                      </a:lnTo>
                      <a:lnTo>
                        <a:pt x="109" y="434"/>
                      </a:lnTo>
                      <a:lnTo>
                        <a:pt x="105" y="427"/>
                      </a:lnTo>
                      <a:lnTo>
                        <a:pt x="95" y="418"/>
                      </a:lnTo>
                      <a:lnTo>
                        <a:pt x="87" y="416"/>
                      </a:lnTo>
                      <a:lnTo>
                        <a:pt x="81" y="417"/>
                      </a:lnTo>
                      <a:lnTo>
                        <a:pt x="70" y="398"/>
                      </a:lnTo>
                      <a:lnTo>
                        <a:pt x="65" y="386"/>
                      </a:lnTo>
                      <a:lnTo>
                        <a:pt x="58" y="374"/>
                      </a:lnTo>
                      <a:lnTo>
                        <a:pt x="49" y="352"/>
                      </a:lnTo>
                      <a:lnTo>
                        <a:pt x="50" y="338"/>
                      </a:lnTo>
                      <a:lnTo>
                        <a:pt x="49" y="328"/>
                      </a:lnTo>
                      <a:lnTo>
                        <a:pt x="31" y="310"/>
                      </a:lnTo>
                      <a:lnTo>
                        <a:pt x="9" y="298"/>
                      </a:lnTo>
                      <a:lnTo>
                        <a:pt x="6" y="284"/>
                      </a:lnTo>
                      <a:lnTo>
                        <a:pt x="11" y="278"/>
                      </a:lnTo>
                      <a:lnTo>
                        <a:pt x="15" y="272"/>
                      </a:lnTo>
                      <a:lnTo>
                        <a:pt x="11" y="258"/>
                      </a:lnTo>
                      <a:lnTo>
                        <a:pt x="9" y="246"/>
                      </a:lnTo>
                      <a:lnTo>
                        <a:pt x="9" y="231"/>
                      </a:lnTo>
                      <a:lnTo>
                        <a:pt x="5" y="225"/>
                      </a:lnTo>
                      <a:lnTo>
                        <a:pt x="1" y="222"/>
                      </a:lnTo>
                      <a:lnTo>
                        <a:pt x="0" y="206"/>
                      </a:lnTo>
                      <a:lnTo>
                        <a:pt x="0" y="187"/>
                      </a:lnTo>
                      <a:lnTo>
                        <a:pt x="3" y="186"/>
                      </a:lnTo>
                      <a:lnTo>
                        <a:pt x="14" y="183"/>
                      </a:lnTo>
                      <a:lnTo>
                        <a:pt x="28" y="179"/>
                      </a:lnTo>
                      <a:lnTo>
                        <a:pt x="39" y="159"/>
                      </a:lnTo>
                      <a:lnTo>
                        <a:pt x="44" y="153"/>
                      </a:lnTo>
                      <a:lnTo>
                        <a:pt x="50" y="139"/>
                      </a:lnTo>
                      <a:lnTo>
                        <a:pt x="60" y="127"/>
                      </a:lnTo>
                      <a:lnTo>
                        <a:pt x="64" y="121"/>
                      </a:lnTo>
                      <a:lnTo>
                        <a:pt x="64" y="113"/>
                      </a:lnTo>
                      <a:lnTo>
                        <a:pt x="62" y="107"/>
                      </a:lnTo>
                      <a:lnTo>
                        <a:pt x="58" y="104"/>
                      </a:lnTo>
                      <a:lnTo>
                        <a:pt x="52" y="102"/>
                      </a:lnTo>
                      <a:lnTo>
                        <a:pt x="48" y="99"/>
                      </a:lnTo>
                      <a:lnTo>
                        <a:pt x="48" y="95"/>
                      </a:lnTo>
                      <a:lnTo>
                        <a:pt x="48" y="89"/>
                      </a:lnTo>
                      <a:lnTo>
                        <a:pt x="49" y="83"/>
                      </a:lnTo>
                      <a:lnTo>
                        <a:pt x="54" y="78"/>
                      </a:lnTo>
                      <a:lnTo>
                        <a:pt x="65" y="63"/>
                      </a:lnTo>
                      <a:lnTo>
                        <a:pt x="68" y="53"/>
                      </a:lnTo>
                      <a:lnTo>
                        <a:pt x="66" y="46"/>
                      </a:lnTo>
                      <a:lnTo>
                        <a:pt x="62" y="31"/>
                      </a:lnTo>
                      <a:lnTo>
                        <a:pt x="49" y="10"/>
                      </a:lnTo>
                      <a:lnTo>
                        <a:pt x="44" y="3"/>
                      </a:lnTo>
                      <a:lnTo>
                        <a:pt x="66" y="5"/>
                      </a:lnTo>
                      <a:lnTo>
                        <a:pt x="73" y="2"/>
                      </a:lnTo>
                      <a:lnTo>
                        <a:pt x="73" y="0"/>
                      </a:lnTo>
                      <a:lnTo>
                        <a:pt x="118" y="0"/>
                      </a:lnTo>
                      <a:lnTo>
                        <a:pt x="119" y="7"/>
                      </a:lnTo>
                      <a:lnTo>
                        <a:pt x="118" y="26"/>
                      </a:lnTo>
                      <a:lnTo>
                        <a:pt x="114" y="40"/>
                      </a:lnTo>
                      <a:lnTo>
                        <a:pt x="113" y="61"/>
                      </a:lnTo>
                      <a:lnTo>
                        <a:pt x="118" y="83"/>
                      </a:lnTo>
                      <a:lnTo>
                        <a:pt x="117" y="90"/>
                      </a:lnTo>
                      <a:lnTo>
                        <a:pt x="122" y="99"/>
                      </a:lnTo>
                      <a:lnTo>
                        <a:pt x="129" y="95"/>
                      </a:lnTo>
                      <a:lnTo>
                        <a:pt x="133" y="88"/>
                      </a:lnTo>
                      <a:lnTo>
                        <a:pt x="139" y="86"/>
                      </a:lnTo>
                      <a:lnTo>
                        <a:pt x="138" y="78"/>
                      </a:lnTo>
                      <a:lnTo>
                        <a:pt x="143" y="72"/>
                      </a:lnTo>
                      <a:lnTo>
                        <a:pt x="148" y="75"/>
                      </a:lnTo>
                      <a:lnTo>
                        <a:pt x="157" y="85"/>
                      </a:lnTo>
                      <a:lnTo>
                        <a:pt x="163" y="90"/>
                      </a:lnTo>
                      <a:lnTo>
                        <a:pt x="170" y="86"/>
                      </a:lnTo>
                      <a:lnTo>
                        <a:pt x="173" y="86"/>
                      </a:lnTo>
                      <a:lnTo>
                        <a:pt x="176" y="107"/>
                      </a:lnTo>
                      <a:lnTo>
                        <a:pt x="183" y="101"/>
                      </a:lnTo>
                      <a:lnTo>
                        <a:pt x="182" y="94"/>
                      </a:lnTo>
                      <a:lnTo>
                        <a:pt x="186" y="84"/>
                      </a:lnTo>
                      <a:lnTo>
                        <a:pt x="189" y="83"/>
                      </a:lnTo>
                      <a:lnTo>
                        <a:pt x="200" y="83"/>
                      </a:lnTo>
                      <a:lnTo>
                        <a:pt x="205" y="83"/>
                      </a:lnTo>
                      <a:lnTo>
                        <a:pt x="214" y="79"/>
                      </a:lnTo>
                      <a:lnTo>
                        <a:pt x="225" y="72"/>
                      </a:lnTo>
                      <a:lnTo>
                        <a:pt x="226" y="69"/>
                      </a:lnTo>
                      <a:lnTo>
                        <a:pt x="224" y="64"/>
                      </a:lnTo>
                      <a:lnTo>
                        <a:pt x="209" y="66"/>
                      </a:lnTo>
                      <a:lnTo>
                        <a:pt x="200" y="62"/>
                      </a:lnTo>
                      <a:lnTo>
                        <a:pt x="202" y="58"/>
                      </a:lnTo>
                      <a:lnTo>
                        <a:pt x="211" y="52"/>
                      </a:lnTo>
                      <a:lnTo>
                        <a:pt x="209" y="48"/>
                      </a:lnTo>
                      <a:lnTo>
                        <a:pt x="211" y="46"/>
                      </a:lnTo>
                      <a:lnTo>
                        <a:pt x="219" y="46"/>
                      </a:lnTo>
                      <a:lnTo>
                        <a:pt x="220" y="42"/>
                      </a:lnTo>
                      <a:lnTo>
                        <a:pt x="225" y="35"/>
                      </a:lnTo>
                      <a:lnTo>
                        <a:pt x="226" y="30"/>
                      </a:lnTo>
                      <a:lnTo>
                        <a:pt x="231" y="29"/>
                      </a:lnTo>
                      <a:lnTo>
                        <a:pt x="234" y="20"/>
                      </a:lnTo>
                      <a:lnTo>
                        <a:pt x="238" y="21"/>
                      </a:lnTo>
                      <a:lnTo>
                        <a:pt x="240" y="18"/>
                      </a:lnTo>
                      <a:lnTo>
                        <a:pt x="236" y="12"/>
                      </a:lnTo>
                      <a:lnTo>
                        <a:pt x="240" y="5"/>
                      </a:lnTo>
                      <a:lnTo>
                        <a:pt x="251" y="0"/>
                      </a:lnTo>
                      <a:lnTo>
                        <a:pt x="442" y="11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61" name="Freeform 49"/>
                <p:cNvSpPr>
                  <a:spLocks noChangeAspect="1"/>
                </p:cNvSpPr>
                <p:nvPr/>
              </p:nvSpPr>
              <p:spPr bwMode="gray">
                <a:xfrm>
                  <a:off x="4528343" y="3518247"/>
                  <a:ext cx="52388" cy="52388"/>
                </a:xfrm>
                <a:custGeom>
                  <a:avLst/>
                  <a:gdLst/>
                  <a:ahLst/>
                  <a:cxnLst>
                    <a:cxn ang="0">
                      <a:pos x="8" y="51"/>
                    </a:cxn>
                    <a:cxn ang="0">
                      <a:pos x="17" y="50"/>
                    </a:cxn>
                    <a:cxn ang="0">
                      <a:pos x="23" y="39"/>
                    </a:cxn>
                    <a:cxn ang="0">
                      <a:pos x="32" y="37"/>
                    </a:cxn>
                    <a:cxn ang="0">
                      <a:pos x="37" y="31"/>
                    </a:cxn>
                    <a:cxn ang="0">
                      <a:pos x="46" y="16"/>
                    </a:cxn>
                    <a:cxn ang="0">
                      <a:pos x="49" y="6"/>
                    </a:cxn>
                    <a:cxn ang="0">
                      <a:pos x="61" y="7"/>
                    </a:cxn>
                    <a:cxn ang="0">
                      <a:pos x="70" y="5"/>
                    </a:cxn>
                    <a:cxn ang="0">
                      <a:pos x="76" y="0"/>
                    </a:cxn>
                    <a:cxn ang="0">
                      <a:pos x="115" y="1"/>
                    </a:cxn>
                    <a:cxn ang="0">
                      <a:pos x="125" y="12"/>
                    </a:cxn>
                    <a:cxn ang="0">
                      <a:pos x="134" y="21"/>
                    </a:cxn>
                    <a:cxn ang="0">
                      <a:pos x="136" y="27"/>
                    </a:cxn>
                    <a:cxn ang="0">
                      <a:pos x="135" y="32"/>
                    </a:cxn>
                    <a:cxn ang="0">
                      <a:pos x="145" y="35"/>
                    </a:cxn>
                    <a:cxn ang="0">
                      <a:pos x="143" y="40"/>
                    </a:cxn>
                    <a:cxn ang="0">
                      <a:pos x="143" y="45"/>
                    </a:cxn>
                    <a:cxn ang="0">
                      <a:pos x="146" y="53"/>
                    </a:cxn>
                    <a:cxn ang="0">
                      <a:pos x="152" y="60"/>
                    </a:cxn>
                    <a:cxn ang="0">
                      <a:pos x="153" y="71"/>
                    </a:cxn>
                    <a:cxn ang="0">
                      <a:pos x="146" y="85"/>
                    </a:cxn>
                    <a:cxn ang="0">
                      <a:pos x="143" y="92"/>
                    </a:cxn>
                    <a:cxn ang="0">
                      <a:pos x="162" y="82"/>
                    </a:cxn>
                    <a:cxn ang="0">
                      <a:pos x="164" y="85"/>
                    </a:cxn>
                    <a:cxn ang="0">
                      <a:pos x="163" y="93"/>
                    </a:cxn>
                    <a:cxn ang="0">
                      <a:pos x="167" y="98"/>
                    </a:cxn>
                    <a:cxn ang="0">
                      <a:pos x="152" y="105"/>
                    </a:cxn>
                    <a:cxn ang="0">
                      <a:pos x="150" y="123"/>
                    </a:cxn>
                    <a:cxn ang="0">
                      <a:pos x="143" y="129"/>
                    </a:cxn>
                    <a:cxn ang="0">
                      <a:pos x="136" y="136"/>
                    </a:cxn>
                    <a:cxn ang="0">
                      <a:pos x="121" y="146"/>
                    </a:cxn>
                    <a:cxn ang="0">
                      <a:pos x="113" y="148"/>
                    </a:cxn>
                    <a:cxn ang="0">
                      <a:pos x="112" y="156"/>
                    </a:cxn>
                    <a:cxn ang="0">
                      <a:pos x="108" y="163"/>
                    </a:cxn>
                    <a:cxn ang="0">
                      <a:pos x="102" y="166"/>
                    </a:cxn>
                    <a:cxn ang="0">
                      <a:pos x="61" y="147"/>
                    </a:cxn>
                    <a:cxn ang="0">
                      <a:pos x="51" y="140"/>
                    </a:cxn>
                    <a:cxn ang="0">
                      <a:pos x="32" y="124"/>
                    </a:cxn>
                    <a:cxn ang="0">
                      <a:pos x="23" y="118"/>
                    </a:cxn>
                    <a:cxn ang="0">
                      <a:pos x="22" y="110"/>
                    </a:cxn>
                    <a:cxn ang="0">
                      <a:pos x="16" y="102"/>
                    </a:cxn>
                    <a:cxn ang="0">
                      <a:pos x="5" y="93"/>
                    </a:cxn>
                    <a:cxn ang="0">
                      <a:pos x="8" y="86"/>
                    </a:cxn>
                    <a:cxn ang="0">
                      <a:pos x="13" y="87"/>
                    </a:cxn>
                    <a:cxn ang="0">
                      <a:pos x="11" y="82"/>
                    </a:cxn>
                    <a:cxn ang="0">
                      <a:pos x="5" y="78"/>
                    </a:cxn>
                    <a:cxn ang="0">
                      <a:pos x="5" y="65"/>
                    </a:cxn>
                    <a:cxn ang="0">
                      <a:pos x="0" y="60"/>
                    </a:cxn>
                    <a:cxn ang="0">
                      <a:pos x="2" y="49"/>
                    </a:cxn>
                  </a:cxnLst>
                  <a:rect l="0" t="0" r="r" b="b"/>
                  <a:pathLst>
                    <a:path w="167" h="166">
                      <a:moveTo>
                        <a:pt x="2" y="49"/>
                      </a:moveTo>
                      <a:lnTo>
                        <a:pt x="8" y="51"/>
                      </a:lnTo>
                      <a:lnTo>
                        <a:pt x="14" y="51"/>
                      </a:lnTo>
                      <a:lnTo>
                        <a:pt x="17" y="50"/>
                      </a:lnTo>
                      <a:lnTo>
                        <a:pt x="19" y="49"/>
                      </a:lnTo>
                      <a:lnTo>
                        <a:pt x="23" y="39"/>
                      </a:lnTo>
                      <a:lnTo>
                        <a:pt x="28" y="39"/>
                      </a:lnTo>
                      <a:lnTo>
                        <a:pt x="32" y="37"/>
                      </a:lnTo>
                      <a:lnTo>
                        <a:pt x="32" y="32"/>
                      </a:lnTo>
                      <a:lnTo>
                        <a:pt x="37" y="31"/>
                      </a:lnTo>
                      <a:lnTo>
                        <a:pt x="43" y="23"/>
                      </a:lnTo>
                      <a:lnTo>
                        <a:pt x="46" y="16"/>
                      </a:lnTo>
                      <a:lnTo>
                        <a:pt x="45" y="7"/>
                      </a:lnTo>
                      <a:lnTo>
                        <a:pt x="49" y="6"/>
                      </a:lnTo>
                      <a:lnTo>
                        <a:pt x="57" y="5"/>
                      </a:lnTo>
                      <a:lnTo>
                        <a:pt x="61" y="7"/>
                      </a:lnTo>
                      <a:lnTo>
                        <a:pt x="65" y="7"/>
                      </a:lnTo>
                      <a:lnTo>
                        <a:pt x="70" y="5"/>
                      </a:lnTo>
                      <a:lnTo>
                        <a:pt x="76" y="5"/>
                      </a:lnTo>
                      <a:lnTo>
                        <a:pt x="76" y="0"/>
                      </a:lnTo>
                      <a:lnTo>
                        <a:pt x="102" y="0"/>
                      </a:lnTo>
                      <a:lnTo>
                        <a:pt x="115" y="1"/>
                      </a:lnTo>
                      <a:lnTo>
                        <a:pt x="119" y="8"/>
                      </a:lnTo>
                      <a:lnTo>
                        <a:pt x="125" y="12"/>
                      </a:lnTo>
                      <a:lnTo>
                        <a:pt x="129" y="17"/>
                      </a:lnTo>
                      <a:lnTo>
                        <a:pt x="134" y="21"/>
                      </a:lnTo>
                      <a:lnTo>
                        <a:pt x="134" y="23"/>
                      </a:lnTo>
                      <a:lnTo>
                        <a:pt x="136" y="27"/>
                      </a:lnTo>
                      <a:lnTo>
                        <a:pt x="135" y="29"/>
                      </a:lnTo>
                      <a:lnTo>
                        <a:pt x="135" y="32"/>
                      </a:lnTo>
                      <a:lnTo>
                        <a:pt x="142" y="34"/>
                      </a:lnTo>
                      <a:lnTo>
                        <a:pt x="145" y="35"/>
                      </a:lnTo>
                      <a:lnTo>
                        <a:pt x="145" y="38"/>
                      </a:lnTo>
                      <a:lnTo>
                        <a:pt x="143" y="40"/>
                      </a:lnTo>
                      <a:lnTo>
                        <a:pt x="145" y="45"/>
                      </a:lnTo>
                      <a:lnTo>
                        <a:pt x="143" y="45"/>
                      </a:lnTo>
                      <a:lnTo>
                        <a:pt x="145" y="50"/>
                      </a:lnTo>
                      <a:lnTo>
                        <a:pt x="146" y="53"/>
                      </a:lnTo>
                      <a:lnTo>
                        <a:pt x="151" y="56"/>
                      </a:lnTo>
                      <a:lnTo>
                        <a:pt x="152" y="60"/>
                      </a:lnTo>
                      <a:lnTo>
                        <a:pt x="155" y="70"/>
                      </a:lnTo>
                      <a:lnTo>
                        <a:pt x="153" y="71"/>
                      </a:lnTo>
                      <a:lnTo>
                        <a:pt x="148" y="74"/>
                      </a:lnTo>
                      <a:lnTo>
                        <a:pt x="146" y="85"/>
                      </a:lnTo>
                      <a:lnTo>
                        <a:pt x="143" y="90"/>
                      </a:lnTo>
                      <a:lnTo>
                        <a:pt x="143" y="92"/>
                      </a:lnTo>
                      <a:lnTo>
                        <a:pt x="156" y="87"/>
                      </a:lnTo>
                      <a:lnTo>
                        <a:pt x="162" y="82"/>
                      </a:lnTo>
                      <a:lnTo>
                        <a:pt x="163" y="82"/>
                      </a:lnTo>
                      <a:lnTo>
                        <a:pt x="164" y="85"/>
                      </a:lnTo>
                      <a:lnTo>
                        <a:pt x="164" y="88"/>
                      </a:lnTo>
                      <a:lnTo>
                        <a:pt x="163" y="93"/>
                      </a:lnTo>
                      <a:lnTo>
                        <a:pt x="167" y="97"/>
                      </a:lnTo>
                      <a:lnTo>
                        <a:pt x="167" y="98"/>
                      </a:lnTo>
                      <a:lnTo>
                        <a:pt x="157" y="99"/>
                      </a:lnTo>
                      <a:lnTo>
                        <a:pt x="152" y="105"/>
                      </a:lnTo>
                      <a:lnTo>
                        <a:pt x="150" y="107"/>
                      </a:lnTo>
                      <a:lnTo>
                        <a:pt x="150" y="123"/>
                      </a:lnTo>
                      <a:lnTo>
                        <a:pt x="146" y="124"/>
                      </a:lnTo>
                      <a:lnTo>
                        <a:pt x="143" y="129"/>
                      </a:lnTo>
                      <a:lnTo>
                        <a:pt x="140" y="129"/>
                      </a:lnTo>
                      <a:lnTo>
                        <a:pt x="136" y="136"/>
                      </a:lnTo>
                      <a:lnTo>
                        <a:pt x="130" y="137"/>
                      </a:lnTo>
                      <a:lnTo>
                        <a:pt x="121" y="146"/>
                      </a:lnTo>
                      <a:lnTo>
                        <a:pt x="118" y="148"/>
                      </a:lnTo>
                      <a:lnTo>
                        <a:pt x="113" y="148"/>
                      </a:lnTo>
                      <a:lnTo>
                        <a:pt x="112" y="151"/>
                      </a:lnTo>
                      <a:lnTo>
                        <a:pt x="112" y="156"/>
                      </a:lnTo>
                      <a:lnTo>
                        <a:pt x="109" y="157"/>
                      </a:lnTo>
                      <a:lnTo>
                        <a:pt x="108" y="163"/>
                      </a:lnTo>
                      <a:lnTo>
                        <a:pt x="103" y="166"/>
                      </a:lnTo>
                      <a:lnTo>
                        <a:pt x="102" y="166"/>
                      </a:lnTo>
                      <a:lnTo>
                        <a:pt x="91" y="163"/>
                      </a:lnTo>
                      <a:lnTo>
                        <a:pt x="61" y="147"/>
                      </a:lnTo>
                      <a:lnTo>
                        <a:pt x="53" y="146"/>
                      </a:lnTo>
                      <a:lnTo>
                        <a:pt x="51" y="140"/>
                      </a:lnTo>
                      <a:lnTo>
                        <a:pt x="48" y="135"/>
                      </a:lnTo>
                      <a:lnTo>
                        <a:pt x="32" y="124"/>
                      </a:lnTo>
                      <a:lnTo>
                        <a:pt x="24" y="120"/>
                      </a:lnTo>
                      <a:lnTo>
                        <a:pt x="23" y="118"/>
                      </a:lnTo>
                      <a:lnTo>
                        <a:pt x="23" y="113"/>
                      </a:lnTo>
                      <a:lnTo>
                        <a:pt x="22" y="110"/>
                      </a:lnTo>
                      <a:lnTo>
                        <a:pt x="22" y="107"/>
                      </a:lnTo>
                      <a:lnTo>
                        <a:pt x="16" y="102"/>
                      </a:lnTo>
                      <a:lnTo>
                        <a:pt x="10" y="102"/>
                      </a:lnTo>
                      <a:lnTo>
                        <a:pt x="5" y="93"/>
                      </a:lnTo>
                      <a:lnTo>
                        <a:pt x="5" y="86"/>
                      </a:lnTo>
                      <a:lnTo>
                        <a:pt x="8" y="86"/>
                      </a:lnTo>
                      <a:lnTo>
                        <a:pt x="10" y="87"/>
                      </a:lnTo>
                      <a:lnTo>
                        <a:pt x="13" y="87"/>
                      </a:lnTo>
                      <a:lnTo>
                        <a:pt x="13" y="86"/>
                      </a:lnTo>
                      <a:lnTo>
                        <a:pt x="11" y="82"/>
                      </a:lnTo>
                      <a:lnTo>
                        <a:pt x="7" y="81"/>
                      </a:lnTo>
                      <a:lnTo>
                        <a:pt x="5" y="78"/>
                      </a:lnTo>
                      <a:lnTo>
                        <a:pt x="6" y="71"/>
                      </a:lnTo>
                      <a:lnTo>
                        <a:pt x="5" y="65"/>
                      </a:lnTo>
                      <a:lnTo>
                        <a:pt x="3" y="62"/>
                      </a:lnTo>
                      <a:lnTo>
                        <a:pt x="0" y="60"/>
                      </a:lnTo>
                      <a:lnTo>
                        <a:pt x="0" y="55"/>
                      </a:lnTo>
                      <a:lnTo>
                        <a:pt x="2" y="4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62" name="Freeform 50"/>
                <p:cNvSpPr>
                  <a:spLocks noChangeAspect="1"/>
                </p:cNvSpPr>
                <p:nvPr/>
              </p:nvSpPr>
              <p:spPr bwMode="gray">
                <a:xfrm>
                  <a:off x="4610893" y="3505547"/>
                  <a:ext cx="106363" cy="111125"/>
                </a:xfrm>
                <a:custGeom>
                  <a:avLst/>
                  <a:gdLst/>
                  <a:ahLst/>
                  <a:cxnLst>
                    <a:cxn ang="0">
                      <a:pos x="97" y="342"/>
                    </a:cxn>
                    <a:cxn ang="0">
                      <a:pos x="173" y="317"/>
                    </a:cxn>
                    <a:cxn ang="0">
                      <a:pos x="258" y="307"/>
                    </a:cxn>
                    <a:cxn ang="0">
                      <a:pos x="301" y="315"/>
                    </a:cxn>
                    <a:cxn ang="0">
                      <a:pos x="317" y="310"/>
                    </a:cxn>
                    <a:cxn ang="0">
                      <a:pos x="318" y="280"/>
                    </a:cxn>
                    <a:cxn ang="0">
                      <a:pos x="296" y="238"/>
                    </a:cxn>
                    <a:cxn ang="0">
                      <a:pos x="307" y="199"/>
                    </a:cxn>
                    <a:cxn ang="0">
                      <a:pos x="318" y="161"/>
                    </a:cxn>
                    <a:cxn ang="0">
                      <a:pos x="332" y="144"/>
                    </a:cxn>
                    <a:cxn ang="0">
                      <a:pos x="327" y="95"/>
                    </a:cxn>
                    <a:cxn ang="0">
                      <a:pos x="326" y="82"/>
                    </a:cxn>
                    <a:cxn ang="0">
                      <a:pos x="322" y="70"/>
                    </a:cxn>
                    <a:cxn ang="0">
                      <a:pos x="307" y="54"/>
                    </a:cxn>
                    <a:cxn ang="0">
                      <a:pos x="290" y="48"/>
                    </a:cxn>
                    <a:cxn ang="0">
                      <a:pos x="250" y="49"/>
                    </a:cxn>
                    <a:cxn ang="0">
                      <a:pos x="230" y="61"/>
                    </a:cxn>
                    <a:cxn ang="0">
                      <a:pos x="218" y="57"/>
                    </a:cxn>
                    <a:cxn ang="0">
                      <a:pos x="205" y="50"/>
                    </a:cxn>
                    <a:cxn ang="0">
                      <a:pos x="197" y="39"/>
                    </a:cxn>
                    <a:cxn ang="0">
                      <a:pos x="188" y="30"/>
                    </a:cxn>
                    <a:cxn ang="0">
                      <a:pos x="173" y="25"/>
                    </a:cxn>
                    <a:cxn ang="0">
                      <a:pos x="154" y="16"/>
                    </a:cxn>
                    <a:cxn ang="0">
                      <a:pos x="140" y="27"/>
                    </a:cxn>
                    <a:cxn ang="0">
                      <a:pos x="129" y="10"/>
                    </a:cxn>
                    <a:cxn ang="0">
                      <a:pos x="124" y="1"/>
                    </a:cxn>
                    <a:cxn ang="0">
                      <a:pos x="108" y="5"/>
                    </a:cxn>
                    <a:cxn ang="0">
                      <a:pos x="105" y="18"/>
                    </a:cxn>
                    <a:cxn ang="0">
                      <a:pos x="86" y="27"/>
                    </a:cxn>
                    <a:cxn ang="0">
                      <a:pos x="73" y="25"/>
                    </a:cxn>
                    <a:cxn ang="0">
                      <a:pos x="65" y="27"/>
                    </a:cxn>
                    <a:cxn ang="0">
                      <a:pos x="53" y="18"/>
                    </a:cxn>
                    <a:cxn ang="0">
                      <a:pos x="42" y="25"/>
                    </a:cxn>
                    <a:cxn ang="0">
                      <a:pos x="26" y="39"/>
                    </a:cxn>
                    <a:cxn ang="0">
                      <a:pos x="24" y="70"/>
                    </a:cxn>
                    <a:cxn ang="0">
                      <a:pos x="37" y="90"/>
                    </a:cxn>
                    <a:cxn ang="0">
                      <a:pos x="42" y="97"/>
                    </a:cxn>
                    <a:cxn ang="0">
                      <a:pos x="41" y="111"/>
                    </a:cxn>
                    <a:cxn ang="0">
                      <a:pos x="47" y="125"/>
                    </a:cxn>
                    <a:cxn ang="0">
                      <a:pos x="41" y="129"/>
                    </a:cxn>
                    <a:cxn ang="0">
                      <a:pos x="17" y="128"/>
                    </a:cxn>
                    <a:cxn ang="0">
                      <a:pos x="17" y="139"/>
                    </a:cxn>
                    <a:cxn ang="0">
                      <a:pos x="31" y="145"/>
                    </a:cxn>
                    <a:cxn ang="0">
                      <a:pos x="28" y="152"/>
                    </a:cxn>
                    <a:cxn ang="0">
                      <a:pos x="22" y="177"/>
                    </a:cxn>
                    <a:cxn ang="0">
                      <a:pos x="8" y="192"/>
                    </a:cxn>
                    <a:cxn ang="0">
                      <a:pos x="17" y="202"/>
                    </a:cxn>
                    <a:cxn ang="0">
                      <a:pos x="0" y="233"/>
                    </a:cxn>
                    <a:cxn ang="0">
                      <a:pos x="8" y="236"/>
                    </a:cxn>
                    <a:cxn ang="0">
                      <a:pos x="22" y="245"/>
                    </a:cxn>
                    <a:cxn ang="0">
                      <a:pos x="38" y="256"/>
                    </a:cxn>
                    <a:cxn ang="0">
                      <a:pos x="52" y="267"/>
                    </a:cxn>
                    <a:cxn ang="0">
                      <a:pos x="65" y="280"/>
                    </a:cxn>
                    <a:cxn ang="0">
                      <a:pos x="66" y="300"/>
                    </a:cxn>
                    <a:cxn ang="0">
                      <a:pos x="57" y="311"/>
                    </a:cxn>
                    <a:cxn ang="0">
                      <a:pos x="57" y="350"/>
                    </a:cxn>
                  </a:cxnLst>
                  <a:rect l="0" t="0" r="r" b="b"/>
                  <a:pathLst>
                    <a:path w="337" h="354">
                      <a:moveTo>
                        <a:pt x="57" y="350"/>
                      </a:moveTo>
                      <a:lnTo>
                        <a:pt x="58" y="353"/>
                      </a:lnTo>
                      <a:lnTo>
                        <a:pt x="74" y="354"/>
                      </a:lnTo>
                      <a:lnTo>
                        <a:pt x="97" y="342"/>
                      </a:lnTo>
                      <a:lnTo>
                        <a:pt x="121" y="332"/>
                      </a:lnTo>
                      <a:lnTo>
                        <a:pt x="135" y="326"/>
                      </a:lnTo>
                      <a:lnTo>
                        <a:pt x="160" y="318"/>
                      </a:lnTo>
                      <a:lnTo>
                        <a:pt x="173" y="317"/>
                      </a:lnTo>
                      <a:lnTo>
                        <a:pt x="208" y="311"/>
                      </a:lnTo>
                      <a:lnTo>
                        <a:pt x="219" y="310"/>
                      </a:lnTo>
                      <a:lnTo>
                        <a:pt x="240" y="307"/>
                      </a:lnTo>
                      <a:lnTo>
                        <a:pt x="258" y="307"/>
                      </a:lnTo>
                      <a:lnTo>
                        <a:pt x="274" y="312"/>
                      </a:lnTo>
                      <a:lnTo>
                        <a:pt x="295" y="316"/>
                      </a:lnTo>
                      <a:lnTo>
                        <a:pt x="299" y="316"/>
                      </a:lnTo>
                      <a:lnTo>
                        <a:pt x="301" y="315"/>
                      </a:lnTo>
                      <a:lnTo>
                        <a:pt x="305" y="308"/>
                      </a:lnTo>
                      <a:lnTo>
                        <a:pt x="307" y="307"/>
                      </a:lnTo>
                      <a:lnTo>
                        <a:pt x="313" y="307"/>
                      </a:lnTo>
                      <a:lnTo>
                        <a:pt x="317" y="310"/>
                      </a:lnTo>
                      <a:lnTo>
                        <a:pt x="323" y="308"/>
                      </a:lnTo>
                      <a:lnTo>
                        <a:pt x="323" y="294"/>
                      </a:lnTo>
                      <a:lnTo>
                        <a:pt x="321" y="281"/>
                      </a:lnTo>
                      <a:lnTo>
                        <a:pt x="318" y="280"/>
                      </a:lnTo>
                      <a:lnTo>
                        <a:pt x="311" y="279"/>
                      </a:lnTo>
                      <a:lnTo>
                        <a:pt x="307" y="274"/>
                      </a:lnTo>
                      <a:lnTo>
                        <a:pt x="304" y="258"/>
                      </a:lnTo>
                      <a:lnTo>
                        <a:pt x="296" y="238"/>
                      </a:lnTo>
                      <a:lnTo>
                        <a:pt x="296" y="230"/>
                      </a:lnTo>
                      <a:lnTo>
                        <a:pt x="297" y="213"/>
                      </a:lnTo>
                      <a:lnTo>
                        <a:pt x="301" y="206"/>
                      </a:lnTo>
                      <a:lnTo>
                        <a:pt x="307" y="199"/>
                      </a:lnTo>
                      <a:lnTo>
                        <a:pt x="310" y="194"/>
                      </a:lnTo>
                      <a:lnTo>
                        <a:pt x="310" y="183"/>
                      </a:lnTo>
                      <a:lnTo>
                        <a:pt x="312" y="174"/>
                      </a:lnTo>
                      <a:lnTo>
                        <a:pt x="318" y="161"/>
                      </a:lnTo>
                      <a:lnTo>
                        <a:pt x="322" y="152"/>
                      </a:lnTo>
                      <a:lnTo>
                        <a:pt x="324" y="150"/>
                      </a:lnTo>
                      <a:lnTo>
                        <a:pt x="328" y="145"/>
                      </a:lnTo>
                      <a:lnTo>
                        <a:pt x="332" y="144"/>
                      </a:lnTo>
                      <a:lnTo>
                        <a:pt x="332" y="139"/>
                      </a:lnTo>
                      <a:lnTo>
                        <a:pt x="337" y="138"/>
                      </a:lnTo>
                      <a:lnTo>
                        <a:pt x="334" y="122"/>
                      </a:lnTo>
                      <a:lnTo>
                        <a:pt x="327" y="95"/>
                      </a:lnTo>
                      <a:lnTo>
                        <a:pt x="324" y="91"/>
                      </a:lnTo>
                      <a:lnTo>
                        <a:pt x="321" y="90"/>
                      </a:lnTo>
                      <a:lnTo>
                        <a:pt x="321" y="87"/>
                      </a:lnTo>
                      <a:lnTo>
                        <a:pt x="326" y="82"/>
                      </a:lnTo>
                      <a:lnTo>
                        <a:pt x="323" y="77"/>
                      </a:lnTo>
                      <a:lnTo>
                        <a:pt x="324" y="74"/>
                      </a:lnTo>
                      <a:lnTo>
                        <a:pt x="324" y="68"/>
                      </a:lnTo>
                      <a:lnTo>
                        <a:pt x="322" y="70"/>
                      </a:lnTo>
                      <a:lnTo>
                        <a:pt x="316" y="70"/>
                      </a:lnTo>
                      <a:lnTo>
                        <a:pt x="313" y="69"/>
                      </a:lnTo>
                      <a:lnTo>
                        <a:pt x="308" y="59"/>
                      </a:lnTo>
                      <a:lnTo>
                        <a:pt x="307" y="54"/>
                      </a:lnTo>
                      <a:lnTo>
                        <a:pt x="302" y="53"/>
                      </a:lnTo>
                      <a:lnTo>
                        <a:pt x="296" y="43"/>
                      </a:lnTo>
                      <a:lnTo>
                        <a:pt x="295" y="43"/>
                      </a:lnTo>
                      <a:lnTo>
                        <a:pt x="290" y="48"/>
                      </a:lnTo>
                      <a:lnTo>
                        <a:pt x="279" y="43"/>
                      </a:lnTo>
                      <a:lnTo>
                        <a:pt x="272" y="43"/>
                      </a:lnTo>
                      <a:lnTo>
                        <a:pt x="262" y="46"/>
                      </a:lnTo>
                      <a:lnTo>
                        <a:pt x="250" y="49"/>
                      </a:lnTo>
                      <a:lnTo>
                        <a:pt x="242" y="52"/>
                      </a:lnTo>
                      <a:lnTo>
                        <a:pt x="236" y="53"/>
                      </a:lnTo>
                      <a:lnTo>
                        <a:pt x="234" y="59"/>
                      </a:lnTo>
                      <a:lnTo>
                        <a:pt x="230" y="61"/>
                      </a:lnTo>
                      <a:lnTo>
                        <a:pt x="223" y="58"/>
                      </a:lnTo>
                      <a:lnTo>
                        <a:pt x="221" y="54"/>
                      </a:lnTo>
                      <a:lnTo>
                        <a:pt x="220" y="54"/>
                      </a:lnTo>
                      <a:lnTo>
                        <a:pt x="218" y="57"/>
                      </a:lnTo>
                      <a:lnTo>
                        <a:pt x="214" y="57"/>
                      </a:lnTo>
                      <a:lnTo>
                        <a:pt x="214" y="58"/>
                      </a:lnTo>
                      <a:lnTo>
                        <a:pt x="207" y="54"/>
                      </a:lnTo>
                      <a:lnTo>
                        <a:pt x="205" y="50"/>
                      </a:lnTo>
                      <a:lnTo>
                        <a:pt x="202" y="47"/>
                      </a:lnTo>
                      <a:lnTo>
                        <a:pt x="198" y="47"/>
                      </a:lnTo>
                      <a:lnTo>
                        <a:pt x="198" y="42"/>
                      </a:lnTo>
                      <a:lnTo>
                        <a:pt x="197" y="39"/>
                      </a:lnTo>
                      <a:lnTo>
                        <a:pt x="194" y="38"/>
                      </a:lnTo>
                      <a:lnTo>
                        <a:pt x="191" y="32"/>
                      </a:lnTo>
                      <a:lnTo>
                        <a:pt x="189" y="31"/>
                      </a:lnTo>
                      <a:lnTo>
                        <a:pt x="188" y="30"/>
                      </a:lnTo>
                      <a:lnTo>
                        <a:pt x="187" y="25"/>
                      </a:lnTo>
                      <a:lnTo>
                        <a:pt x="187" y="23"/>
                      </a:lnTo>
                      <a:lnTo>
                        <a:pt x="184" y="22"/>
                      </a:lnTo>
                      <a:lnTo>
                        <a:pt x="173" y="25"/>
                      </a:lnTo>
                      <a:lnTo>
                        <a:pt x="171" y="23"/>
                      </a:lnTo>
                      <a:lnTo>
                        <a:pt x="167" y="17"/>
                      </a:lnTo>
                      <a:lnTo>
                        <a:pt x="165" y="16"/>
                      </a:lnTo>
                      <a:lnTo>
                        <a:pt x="154" y="16"/>
                      </a:lnTo>
                      <a:lnTo>
                        <a:pt x="150" y="16"/>
                      </a:lnTo>
                      <a:lnTo>
                        <a:pt x="148" y="23"/>
                      </a:lnTo>
                      <a:lnTo>
                        <a:pt x="144" y="23"/>
                      </a:lnTo>
                      <a:lnTo>
                        <a:pt x="140" y="27"/>
                      </a:lnTo>
                      <a:lnTo>
                        <a:pt x="130" y="27"/>
                      </a:lnTo>
                      <a:lnTo>
                        <a:pt x="132" y="25"/>
                      </a:lnTo>
                      <a:lnTo>
                        <a:pt x="130" y="14"/>
                      </a:lnTo>
                      <a:lnTo>
                        <a:pt x="129" y="10"/>
                      </a:lnTo>
                      <a:lnTo>
                        <a:pt x="129" y="9"/>
                      </a:lnTo>
                      <a:lnTo>
                        <a:pt x="129" y="4"/>
                      </a:lnTo>
                      <a:lnTo>
                        <a:pt x="127" y="0"/>
                      </a:lnTo>
                      <a:lnTo>
                        <a:pt x="124" y="1"/>
                      </a:lnTo>
                      <a:lnTo>
                        <a:pt x="118" y="1"/>
                      </a:lnTo>
                      <a:lnTo>
                        <a:pt x="116" y="9"/>
                      </a:lnTo>
                      <a:lnTo>
                        <a:pt x="114" y="9"/>
                      </a:lnTo>
                      <a:lnTo>
                        <a:pt x="108" y="5"/>
                      </a:lnTo>
                      <a:lnTo>
                        <a:pt x="106" y="5"/>
                      </a:lnTo>
                      <a:lnTo>
                        <a:pt x="103" y="9"/>
                      </a:lnTo>
                      <a:lnTo>
                        <a:pt x="103" y="12"/>
                      </a:lnTo>
                      <a:lnTo>
                        <a:pt x="105" y="18"/>
                      </a:lnTo>
                      <a:lnTo>
                        <a:pt x="103" y="21"/>
                      </a:lnTo>
                      <a:lnTo>
                        <a:pt x="92" y="21"/>
                      </a:lnTo>
                      <a:lnTo>
                        <a:pt x="86" y="23"/>
                      </a:lnTo>
                      <a:lnTo>
                        <a:pt x="86" y="27"/>
                      </a:lnTo>
                      <a:lnTo>
                        <a:pt x="84" y="32"/>
                      </a:lnTo>
                      <a:lnTo>
                        <a:pt x="80" y="32"/>
                      </a:lnTo>
                      <a:lnTo>
                        <a:pt x="76" y="30"/>
                      </a:lnTo>
                      <a:lnTo>
                        <a:pt x="73" y="25"/>
                      </a:lnTo>
                      <a:lnTo>
                        <a:pt x="70" y="25"/>
                      </a:lnTo>
                      <a:lnTo>
                        <a:pt x="68" y="26"/>
                      </a:lnTo>
                      <a:lnTo>
                        <a:pt x="66" y="27"/>
                      </a:lnTo>
                      <a:lnTo>
                        <a:pt x="65" y="27"/>
                      </a:lnTo>
                      <a:lnTo>
                        <a:pt x="64" y="21"/>
                      </a:lnTo>
                      <a:lnTo>
                        <a:pt x="60" y="16"/>
                      </a:lnTo>
                      <a:lnTo>
                        <a:pt x="57" y="15"/>
                      </a:lnTo>
                      <a:lnTo>
                        <a:pt x="53" y="18"/>
                      </a:lnTo>
                      <a:lnTo>
                        <a:pt x="48" y="17"/>
                      </a:lnTo>
                      <a:lnTo>
                        <a:pt x="46" y="18"/>
                      </a:lnTo>
                      <a:lnTo>
                        <a:pt x="43" y="21"/>
                      </a:lnTo>
                      <a:lnTo>
                        <a:pt x="42" y="25"/>
                      </a:lnTo>
                      <a:lnTo>
                        <a:pt x="39" y="28"/>
                      </a:lnTo>
                      <a:lnTo>
                        <a:pt x="33" y="30"/>
                      </a:lnTo>
                      <a:lnTo>
                        <a:pt x="32" y="32"/>
                      </a:lnTo>
                      <a:lnTo>
                        <a:pt x="26" y="39"/>
                      </a:lnTo>
                      <a:lnTo>
                        <a:pt x="25" y="42"/>
                      </a:lnTo>
                      <a:lnTo>
                        <a:pt x="22" y="44"/>
                      </a:lnTo>
                      <a:lnTo>
                        <a:pt x="24" y="53"/>
                      </a:lnTo>
                      <a:lnTo>
                        <a:pt x="24" y="70"/>
                      </a:lnTo>
                      <a:lnTo>
                        <a:pt x="24" y="73"/>
                      </a:lnTo>
                      <a:lnTo>
                        <a:pt x="31" y="76"/>
                      </a:lnTo>
                      <a:lnTo>
                        <a:pt x="38" y="76"/>
                      </a:lnTo>
                      <a:lnTo>
                        <a:pt x="37" y="90"/>
                      </a:lnTo>
                      <a:lnTo>
                        <a:pt x="41" y="89"/>
                      </a:lnTo>
                      <a:lnTo>
                        <a:pt x="44" y="93"/>
                      </a:lnTo>
                      <a:lnTo>
                        <a:pt x="44" y="96"/>
                      </a:lnTo>
                      <a:lnTo>
                        <a:pt x="42" y="97"/>
                      </a:lnTo>
                      <a:lnTo>
                        <a:pt x="38" y="101"/>
                      </a:lnTo>
                      <a:lnTo>
                        <a:pt x="35" y="109"/>
                      </a:lnTo>
                      <a:lnTo>
                        <a:pt x="37" y="109"/>
                      </a:lnTo>
                      <a:lnTo>
                        <a:pt x="41" y="111"/>
                      </a:lnTo>
                      <a:lnTo>
                        <a:pt x="44" y="111"/>
                      </a:lnTo>
                      <a:lnTo>
                        <a:pt x="44" y="117"/>
                      </a:lnTo>
                      <a:lnTo>
                        <a:pt x="47" y="120"/>
                      </a:lnTo>
                      <a:lnTo>
                        <a:pt x="47" y="125"/>
                      </a:lnTo>
                      <a:lnTo>
                        <a:pt x="48" y="134"/>
                      </a:lnTo>
                      <a:lnTo>
                        <a:pt x="47" y="134"/>
                      </a:lnTo>
                      <a:lnTo>
                        <a:pt x="44" y="128"/>
                      </a:lnTo>
                      <a:lnTo>
                        <a:pt x="41" y="129"/>
                      </a:lnTo>
                      <a:lnTo>
                        <a:pt x="38" y="129"/>
                      </a:lnTo>
                      <a:lnTo>
                        <a:pt x="35" y="125"/>
                      </a:lnTo>
                      <a:lnTo>
                        <a:pt x="26" y="124"/>
                      </a:lnTo>
                      <a:lnTo>
                        <a:pt x="17" y="128"/>
                      </a:lnTo>
                      <a:lnTo>
                        <a:pt x="17" y="129"/>
                      </a:lnTo>
                      <a:lnTo>
                        <a:pt x="19" y="129"/>
                      </a:lnTo>
                      <a:lnTo>
                        <a:pt x="20" y="134"/>
                      </a:lnTo>
                      <a:lnTo>
                        <a:pt x="17" y="139"/>
                      </a:lnTo>
                      <a:lnTo>
                        <a:pt x="20" y="141"/>
                      </a:lnTo>
                      <a:lnTo>
                        <a:pt x="26" y="141"/>
                      </a:lnTo>
                      <a:lnTo>
                        <a:pt x="30" y="141"/>
                      </a:lnTo>
                      <a:lnTo>
                        <a:pt x="31" y="145"/>
                      </a:lnTo>
                      <a:lnTo>
                        <a:pt x="30" y="147"/>
                      </a:lnTo>
                      <a:lnTo>
                        <a:pt x="32" y="147"/>
                      </a:lnTo>
                      <a:lnTo>
                        <a:pt x="33" y="150"/>
                      </a:lnTo>
                      <a:lnTo>
                        <a:pt x="28" y="152"/>
                      </a:lnTo>
                      <a:lnTo>
                        <a:pt x="27" y="157"/>
                      </a:lnTo>
                      <a:lnTo>
                        <a:pt x="27" y="166"/>
                      </a:lnTo>
                      <a:lnTo>
                        <a:pt x="22" y="172"/>
                      </a:lnTo>
                      <a:lnTo>
                        <a:pt x="22" y="177"/>
                      </a:lnTo>
                      <a:lnTo>
                        <a:pt x="9" y="176"/>
                      </a:lnTo>
                      <a:lnTo>
                        <a:pt x="5" y="178"/>
                      </a:lnTo>
                      <a:lnTo>
                        <a:pt x="6" y="183"/>
                      </a:lnTo>
                      <a:lnTo>
                        <a:pt x="8" y="192"/>
                      </a:lnTo>
                      <a:lnTo>
                        <a:pt x="10" y="193"/>
                      </a:lnTo>
                      <a:lnTo>
                        <a:pt x="12" y="197"/>
                      </a:lnTo>
                      <a:lnTo>
                        <a:pt x="12" y="198"/>
                      </a:lnTo>
                      <a:lnTo>
                        <a:pt x="17" y="202"/>
                      </a:lnTo>
                      <a:lnTo>
                        <a:pt x="14" y="217"/>
                      </a:lnTo>
                      <a:lnTo>
                        <a:pt x="12" y="220"/>
                      </a:lnTo>
                      <a:lnTo>
                        <a:pt x="4" y="227"/>
                      </a:lnTo>
                      <a:lnTo>
                        <a:pt x="0" y="233"/>
                      </a:lnTo>
                      <a:lnTo>
                        <a:pt x="0" y="235"/>
                      </a:lnTo>
                      <a:lnTo>
                        <a:pt x="3" y="235"/>
                      </a:lnTo>
                      <a:lnTo>
                        <a:pt x="4" y="237"/>
                      </a:lnTo>
                      <a:lnTo>
                        <a:pt x="8" y="236"/>
                      </a:lnTo>
                      <a:lnTo>
                        <a:pt x="9" y="238"/>
                      </a:lnTo>
                      <a:lnTo>
                        <a:pt x="11" y="240"/>
                      </a:lnTo>
                      <a:lnTo>
                        <a:pt x="15" y="240"/>
                      </a:lnTo>
                      <a:lnTo>
                        <a:pt x="22" y="245"/>
                      </a:lnTo>
                      <a:lnTo>
                        <a:pt x="32" y="245"/>
                      </a:lnTo>
                      <a:lnTo>
                        <a:pt x="35" y="245"/>
                      </a:lnTo>
                      <a:lnTo>
                        <a:pt x="38" y="252"/>
                      </a:lnTo>
                      <a:lnTo>
                        <a:pt x="38" y="256"/>
                      </a:lnTo>
                      <a:lnTo>
                        <a:pt x="41" y="257"/>
                      </a:lnTo>
                      <a:lnTo>
                        <a:pt x="44" y="262"/>
                      </a:lnTo>
                      <a:lnTo>
                        <a:pt x="46" y="265"/>
                      </a:lnTo>
                      <a:lnTo>
                        <a:pt x="52" y="267"/>
                      </a:lnTo>
                      <a:lnTo>
                        <a:pt x="57" y="272"/>
                      </a:lnTo>
                      <a:lnTo>
                        <a:pt x="63" y="270"/>
                      </a:lnTo>
                      <a:lnTo>
                        <a:pt x="63" y="275"/>
                      </a:lnTo>
                      <a:lnTo>
                        <a:pt x="65" y="280"/>
                      </a:lnTo>
                      <a:lnTo>
                        <a:pt x="66" y="286"/>
                      </a:lnTo>
                      <a:lnTo>
                        <a:pt x="64" y="294"/>
                      </a:lnTo>
                      <a:lnTo>
                        <a:pt x="66" y="299"/>
                      </a:lnTo>
                      <a:lnTo>
                        <a:pt x="66" y="300"/>
                      </a:lnTo>
                      <a:lnTo>
                        <a:pt x="62" y="300"/>
                      </a:lnTo>
                      <a:lnTo>
                        <a:pt x="60" y="303"/>
                      </a:lnTo>
                      <a:lnTo>
                        <a:pt x="60" y="311"/>
                      </a:lnTo>
                      <a:lnTo>
                        <a:pt x="57" y="311"/>
                      </a:lnTo>
                      <a:lnTo>
                        <a:pt x="57" y="313"/>
                      </a:lnTo>
                      <a:lnTo>
                        <a:pt x="57" y="318"/>
                      </a:lnTo>
                      <a:lnTo>
                        <a:pt x="55" y="323"/>
                      </a:lnTo>
                      <a:lnTo>
                        <a:pt x="57" y="35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63" name="Freeform 51"/>
                <p:cNvSpPr>
                  <a:spLocks noChangeAspect="1"/>
                </p:cNvSpPr>
                <p:nvPr/>
              </p:nvSpPr>
              <p:spPr bwMode="gray">
                <a:xfrm>
                  <a:off x="4756943" y="3497609"/>
                  <a:ext cx="38100" cy="90488"/>
                </a:xfrm>
                <a:custGeom>
                  <a:avLst/>
                  <a:gdLst/>
                  <a:ahLst/>
                  <a:cxnLst>
                    <a:cxn ang="0">
                      <a:pos x="80" y="281"/>
                    </a:cxn>
                    <a:cxn ang="0">
                      <a:pos x="77" y="279"/>
                    </a:cxn>
                    <a:cxn ang="0">
                      <a:pos x="61" y="262"/>
                    </a:cxn>
                    <a:cxn ang="0">
                      <a:pos x="53" y="252"/>
                    </a:cxn>
                    <a:cxn ang="0">
                      <a:pos x="48" y="241"/>
                    </a:cxn>
                    <a:cxn ang="0">
                      <a:pos x="47" y="231"/>
                    </a:cxn>
                    <a:cxn ang="0">
                      <a:pos x="46" y="209"/>
                    </a:cxn>
                    <a:cxn ang="0">
                      <a:pos x="47" y="188"/>
                    </a:cxn>
                    <a:cxn ang="0">
                      <a:pos x="43" y="148"/>
                    </a:cxn>
                    <a:cxn ang="0">
                      <a:pos x="42" y="114"/>
                    </a:cxn>
                    <a:cxn ang="0">
                      <a:pos x="41" y="101"/>
                    </a:cxn>
                    <a:cxn ang="0">
                      <a:pos x="38" y="95"/>
                    </a:cxn>
                    <a:cxn ang="0">
                      <a:pos x="34" y="89"/>
                    </a:cxn>
                    <a:cxn ang="0">
                      <a:pos x="32" y="68"/>
                    </a:cxn>
                    <a:cxn ang="0">
                      <a:pos x="29" y="53"/>
                    </a:cxn>
                    <a:cxn ang="0">
                      <a:pos x="25" y="48"/>
                    </a:cxn>
                    <a:cxn ang="0">
                      <a:pos x="18" y="41"/>
                    </a:cxn>
                    <a:cxn ang="0">
                      <a:pos x="14" y="33"/>
                    </a:cxn>
                    <a:cxn ang="0">
                      <a:pos x="5" y="27"/>
                    </a:cxn>
                    <a:cxn ang="0">
                      <a:pos x="4" y="21"/>
                    </a:cxn>
                    <a:cxn ang="0">
                      <a:pos x="8" y="16"/>
                    </a:cxn>
                    <a:cxn ang="0">
                      <a:pos x="8" y="11"/>
                    </a:cxn>
                    <a:cxn ang="0">
                      <a:pos x="11" y="6"/>
                    </a:cxn>
                    <a:cxn ang="0">
                      <a:pos x="10" y="5"/>
                    </a:cxn>
                    <a:cxn ang="0">
                      <a:pos x="2" y="4"/>
                    </a:cxn>
                    <a:cxn ang="0">
                      <a:pos x="0" y="3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5" y="6"/>
                    </a:cxn>
                    <a:cxn ang="0">
                      <a:pos x="38" y="11"/>
                    </a:cxn>
                    <a:cxn ang="0">
                      <a:pos x="42" y="11"/>
                    </a:cxn>
                    <a:cxn ang="0">
                      <a:pos x="45" y="8"/>
                    </a:cxn>
                    <a:cxn ang="0">
                      <a:pos x="59" y="9"/>
                    </a:cxn>
                    <a:cxn ang="0">
                      <a:pos x="61" y="8"/>
                    </a:cxn>
                    <a:cxn ang="0">
                      <a:pos x="58" y="10"/>
                    </a:cxn>
                    <a:cxn ang="0">
                      <a:pos x="57" y="17"/>
                    </a:cxn>
                    <a:cxn ang="0">
                      <a:pos x="53" y="25"/>
                    </a:cxn>
                    <a:cxn ang="0">
                      <a:pos x="52" y="35"/>
                    </a:cxn>
                    <a:cxn ang="0">
                      <a:pos x="52" y="43"/>
                    </a:cxn>
                    <a:cxn ang="0">
                      <a:pos x="57" y="47"/>
                    </a:cxn>
                    <a:cxn ang="0">
                      <a:pos x="63" y="51"/>
                    </a:cxn>
                    <a:cxn ang="0">
                      <a:pos x="67" y="51"/>
                    </a:cxn>
                    <a:cxn ang="0">
                      <a:pos x="72" y="53"/>
                    </a:cxn>
                    <a:cxn ang="0">
                      <a:pos x="84" y="69"/>
                    </a:cxn>
                    <a:cxn ang="0">
                      <a:pos x="93" y="89"/>
                    </a:cxn>
                    <a:cxn ang="0">
                      <a:pos x="99" y="110"/>
                    </a:cxn>
                    <a:cxn ang="0">
                      <a:pos x="102" y="119"/>
                    </a:cxn>
                    <a:cxn ang="0">
                      <a:pos x="104" y="125"/>
                    </a:cxn>
                    <a:cxn ang="0">
                      <a:pos x="106" y="134"/>
                    </a:cxn>
                    <a:cxn ang="0">
                      <a:pos x="108" y="145"/>
                    </a:cxn>
                    <a:cxn ang="0">
                      <a:pos x="110" y="164"/>
                    </a:cxn>
                    <a:cxn ang="0">
                      <a:pos x="110" y="215"/>
                    </a:cxn>
                    <a:cxn ang="0">
                      <a:pos x="106" y="238"/>
                    </a:cxn>
                    <a:cxn ang="0">
                      <a:pos x="106" y="248"/>
                    </a:cxn>
                    <a:cxn ang="0">
                      <a:pos x="110" y="261"/>
                    </a:cxn>
                    <a:cxn ang="0">
                      <a:pos x="112" y="268"/>
                    </a:cxn>
                    <a:cxn ang="0">
                      <a:pos x="113" y="269"/>
                    </a:cxn>
                    <a:cxn ang="0">
                      <a:pos x="120" y="270"/>
                    </a:cxn>
                    <a:cxn ang="0">
                      <a:pos x="99" y="275"/>
                    </a:cxn>
                    <a:cxn ang="0">
                      <a:pos x="80" y="281"/>
                    </a:cxn>
                  </a:cxnLst>
                  <a:rect l="0" t="0" r="r" b="b"/>
                  <a:pathLst>
                    <a:path w="120" h="281">
                      <a:moveTo>
                        <a:pt x="80" y="281"/>
                      </a:moveTo>
                      <a:lnTo>
                        <a:pt x="77" y="279"/>
                      </a:lnTo>
                      <a:lnTo>
                        <a:pt x="61" y="262"/>
                      </a:lnTo>
                      <a:lnTo>
                        <a:pt x="53" y="252"/>
                      </a:lnTo>
                      <a:lnTo>
                        <a:pt x="48" y="241"/>
                      </a:lnTo>
                      <a:lnTo>
                        <a:pt x="47" y="231"/>
                      </a:lnTo>
                      <a:lnTo>
                        <a:pt x="46" y="209"/>
                      </a:lnTo>
                      <a:lnTo>
                        <a:pt x="47" y="188"/>
                      </a:lnTo>
                      <a:lnTo>
                        <a:pt x="43" y="148"/>
                      </a:lnTo>
                      <a:lnTo>
                        <a:pt x="42" y="114"/>
                      </a:lnTo>
                      <a:lnTo>
                        <a:pt x="41" y="101"/>
                      </a:lnTo>
                      <a:lnTo>
                        <a:pt x="38" y="95"/>
                      </a:lnTo>
                      <a:lnTo>
                        <a:pt x="34" y="89"/>
                      </a:lnTo>
                      <a:lnTo>
                        <a:pt x="32" y="68"/>
                      </a:lnTo>
                      <a:lnTo>
                        <a:pt x="29" y="53"/>
                      </a:lnTo>
                      <a:lnTo>
                        <a:pt x="25" y="48"/>
                      </a:lnTo>
                      <a:lnTo>
                        <a:pt x="18" y="41"/>
                      </a:lnTo>
                      <a:lnTo>
                        <a:pt x="14" y="33"/>
                      </a:lnTo>
                      <a:lnTo>
                        <a:pt x="5" y="27"/>
                      </a:lnTo>
                      <a:lnTo>
                        <a:pt x="4" y="21"/>
                      </a:lnTo>
                      <a:lnTo>
                        <a:pt x="8" y="16"/>
                      </a:lnTo>
                      <a:lnTo>
                        <a:pt x="8" y="11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2" y="4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5" y="6"/>
                      </a:lnTo>
                      <a:lnTo>
                        <a:pt x="38" y="11"/>
                      </a:lnTo>
                      <a:lnTo>
                        <a:pt x="42" y="11"/>
                      </a:lnTo>
                      <a:lnTo>
                        <a:pt x="45" y="8"/>
                      </a:lnTo>
                      <a:lnTo>
                        <a:pt x="59" y="9"/>
                      </a:lnTo>
                      <a:lnTo>
                        <a:pt x="61" y="8"/>
                      </a:lnTo>
                      <a:lnTo>
                        <a:pt x="58" y="10"/>
                      </a:lnTo>
                      <a:lnTo>
                        <a:pt x="57" y="17"/>
                      </a:lnTo>
                      <a:lnTo>
                        <a:pt x="53" y="25"/>
                      </a:lnTo>
                      <a:lnTo>
                        <a:pt x="52" y="35"/>
                      </a:lnTo>
                      <a:lnTo>
                        <a:pt x="52" y="43"/>
                      </a:lnTo>
                      <a:lnTo>
                        <a:pt x="57" y="47"/>
                      </a:lnTo>
                      <a:lnTo>
                        <a:pt x="63" y="51"/>
                      </a:lnTo>
                      <a:lnTo>
                        <a:pt x="67" y="51"/>
                      </a:lnTo>
                      <a:lnTo>
                        <a:pt x="72" y="53"/>
                      </a:lnTo>
                      <a:lnTo>
                        <a:pt x="84" y="69"/>
                      </a:lnTo>
                      <a:lnTo>
                        <a:pt x="93" y="89"/>
                      </a:lnTo>
                      <a:lnTo>
                        <a:pt x="99" y="110"/>
                      </a:lnTo>
                      <a:lnTo>
                        <a:pt x="102" y="119"/>
                      </a:lnTo>
                      <a:lnTo>
                        <a:pt x="104" y="125"/>
                      </a:lnTo>
                      <a:lnTo>
                        <a:pt x="106" y="134"/>
                      </a:lnTo>
                      <a:lnTo>
                        <a:pt x="108" y="145"/>
                      </a:lnTo>
                      <a:lnTo>
                        <a:pt x="110" y="164"/>
                      </a:lnTo>
                      <a:lnTo>
                        <a:pt x="110" y="215"/>
                      </a:lnTo>
                      <a:lnTo>
                        <a:pt x="106" y="238"/>
                      </a:lnTo>
                      <a:lnTo>
                        <a:pt x="106" y="248"/>
                      </a:lnTo>
                      <a:lnTo>
                        <a:pt x="110" y="261"/>
                      </a:lnTo>
                      <a:lnTo>
                        <a:pt x="112" y="268"/>
                      </a:lnTo>
                      <a:lnTo>
                        <a:pt x="113" y="269"/>
                      </a:lnTo>
                      <a:lnTo>
                        <a:pt x="120" y="270"/>
                      </a:lnTo>
                      <a:lnTo>
                        <a:pt x="99" y="275"/>
                      </a:lnTo>
                      <a:lnTo>
                        <a:pt x="80" y="28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64" name="Freeform 52"/>
                <p:cNvSpPr>
                  <a:spLocks noChangeAspect="1"/>
                </p:cNvSpPr>
                <p:nvPr/>
              </p:nvSpPr>
              <p:spPr bwMode="gray">
                <a:xfrm>
                  <a:off x="4972842" y="3600797"/>
                  <a:ext cx="331788" cy="323850"/>
                </a:xfrm>
                <a:custGeom>
                  <a:avLst/>
                  <a:gdLst/>
                  <a:ahLst/>
                  <a:cxnLst>
                    <a:cxn ang="0">
                      <a:pos x="960" y="671"/>
                    </a:cxn>
                    <a:cxn ang="0">
                      <a:pos x="939" y="609"/>
                    </a:cxn>
                    <a:cxn ang="0">
                      <a:pos x="933" y="528"/>
                    </a:cxn>
                    <a:cxn ang="0">
                      <a:pos x="933" y="488"/>
                    </a:cxn>
                    <a:cxn ang="0">
                      <a:pos x="927" y="435"/>
                    </a:cxn>
                    <a:cxn ang="0">
                      <a:pos x="934" y="392"/>
                    </a:cxn>
                    <a:cxn ang="0">
                      <a:pos x="960" y="337"/>
                    </a:cxn>
                    <a:cxn ang="0">
                      <a:pos x="979" y="248"/>
                    </a:cxn>
                    <a:cxn ang="0">
                      <a:pos x="1015" y="202"/>
                    </a:cxn>
                    <a:cxn ang="0">
                      <a:pos x="1043" y="167"/>
                    </a:cxn>
                    <a:cxn ang="0">
                      <a:pos x="1020" y="143"/>
                    </a:cxn>
                    <a:cxn ang="0">
                      <a:pos x="1019" y="90"/>
                    </a:cxn>
                    <a:cxn ang="0">
                      <a:pos x="955" y="36"/>
                    </a:cxn>
                    <a:cxn ang="0">
                      <a:pos x="892" y="52"/>
                    </a:cxn>
                    <a:cxn ang="0">
                      <a:pos x="839" y="5"/>
                    </a:cxn>
                    <a:cxn ang="0">
                      <a:pos x="771" y="0"/>
                    </a:cxn>
                    <a:cxn ang="0">
                      <a:pos x="697" y="16"/>
                    </a:cxn>
                    <a:cxn ang="0">
                      <a:pos x="676" y="10"/>
                    </a:cxn>
                    <a:cxn ang="0">
                      <a:pos x="601" y="27"/>
                    </a:cxn>
                    <a:cxn ang="0">
                      <a:pos x="509" y="53"/>
                    </a:cxn>
                    <a:cxn ang="0">
                      <a:pos x="436" y="25"/>
                    </a:cxn>
                    <a:cxn ang="0">
                      <a:pos x="384" y="16"/>
                    </a:cxn>
                    <a:cxn ang="0">
                      <a:pos x="359" y="75"/>
                    </a:cxn>
                    <a:cxn ang="0">
                      <a:pos x="326" y="159"/>
                    </a:cxn>
                    <a:cxn ang="0">
                      <a:pos x="298" y="327"/>
                    </a:cxn>
                    <a:cxn ang="0">
                      <a:pos x="217" y="423"/>
                    </a:cxn>
                    <a:cxn ang="0">
                      <a:pos x="181" y="516"/>
                    </a:cxn>
                    <a:cxn ang="0">
                      <a:pos x="112" y="531"/>
                    </a:cxn>
                    <a:cxn ang="0">
                      <a:pos x="68" y="551"/>
                    </a:cxn>
                    <a:cxn ang="0">
                      <a:pos x="18" y="560"/>
                    </a:cxn>
                    <a:cxn ang="0">
                      <a:pos x="3" y="612"/>
                    </a:cxn>
                    <a:cxn ang="0">
                      <a:pos x="9" y="624"/>
                    </a:cxn>
                    <a:cxn ang="0">
                      <a:pos x="70" y="606"/>
                    </a:cxn>
                    <a:cxn ang="0">
                      <a:pos x="155" y="606"/>
                    </a:cxn>
                    <a:cxn ang="0">
                      <a:pos x="225" y="613"/>
                    </a:cxn>
                    <a:cxn ang="0">
                      <a:pos x="244" y="654"/>
                    </a:cxn>
                    <a:cxn ang="0">
                      <a:pos x="289" y="727"/>
                    </a:cxn>
                    <a:cxn ang="0">
                      <a:pos x="366" y="725"/>
                    </a:cxn>
                    <a:cxn ang="0">
                      <a:pos x="393" y="694"/>
                    </a:cxn>
                    <a:cxn ang="0">
                      <a:pos x="444" y="664"/>
                    </a:cxn>
                    <a:cxn ang="0">
                      <a:pos x="520" y="699"/>
                    </a:cxn>
                    <a:cxn ang="0">
                      <a:pos x="527" y="781"/>
                    </a:cxn>
                    <a:cxn ang="0">
                      <a:pos x="541" y="850"/>
                    </a:cxn>
                    <a:cxn ang="0">
                      <a:pos x="531" y="894"/>
                    </a:cxn>
                    <a:cxn ang="0">
                      <a:pos x="549" y="908"/>
                    </a:cxn>
                    <a:cxn ang="0">
                      <a:pos x="613" y="891"/>
                    </a:cxn>
                    <a:cxn ang="0">
                      <a:pos x="645" y="882"/>
                    </a:cxn>
                    <a:cxn ang="0">
                      <a:pos x="667" y="903"/>
                    </a:cxn>
                    <a:cxn ang="0">
                      <a:pos x="697" y="901"/>
                    </a:cxn>
                    <a:cxn ang="0">
                      <a:pos x="736" y="925"/>
                    </a:cxn>
                    <a:cxn ang="0">
                      <a:pos x="799" y="934"/>
                    </a:cxn>
                    <a:cxn ang="0">
                      <a:pos x="858" y="961"/>
                    </a:cxn>
                    <a:cxn ang="0">
                      <a:pos x="898" y="999"/>
                    </a:cxn>
                    <a:cxn ang="0">
                      <a:pos x="941" y="1010"/>
                    </a:cxn>
                    <a:cxn ang="0">
                      <a:pos x="959" y="1018"/>
                    </a:cxn>
                    <a:cxn ang="0">
                      <a:pos x="956" y="958"/>
                    </a:cxn>
                    <a:cxn ang="0">
                      <a:pos x="911" y="955"/>
                    </a:cxn>
                    <a:cxn ang="0">
                      <a:pos x="895" y="917"/>
                    </a:cxn>
                    <a:cxn ang="0">
                      <a:pos x="912" y="820"/>
                    </a:cxn>
                    <a:cxn ang="0">
                      <a:pos x="914" y="772"/>
                    </a:cxn>
                    <a:cxn ang="0">
                      <a:pos x="941" y="748"/>
                    </a:cxn>
                  </a:cxnLst>
                  <a:rect l="0" t="0" r="r" b="b"/>
                  <a:pathLst>
                    <a:path w="1045" h="1018">
                      <a:moveTo>
                        <a:pt x="1003" y="735"/>
                      </a:moveTo>
                      <a:lnTo>
                        <a:pt x="995" y="700"/>
                      </a:lnTo>
                      <a:lnTo>
                        <a:pt x="986" y="688"/>
                      </a:lnTo>
                      <a:lnTo>
                        <a:pt x="972" y="684"/>
                      </a:lnTo>
                      <a:lnTo>
                        <a:pt x="960" y="671"/>
                      </a:lnTo>
                      <a:lnTo>
                        <a:pt x="952" y="662"/>
                      </a:lnTo>
                      <a:lnTo>
                        <a:pt x="945" y="646"/>
                      </a:lnTo>
                      <a:lnTo>
                        <a:pt x="940" y="639"/>
                      </a:lnTo>
                      <a:lnTo>
                        <a:pt x="936" y="622"/>
                      </a:lnTo>
                      <a:lnTo>
                        <a:pt x="939" y="609"/>
                      </a:lnTo>
                      <a:lnTo>
                        <a:pt x="939" y="597"/>
                      </a:lnTo>
                      <a:lnTo>
                        <a:pt x="933" y="585"/>
                      </a:lnTo>
                      <a:lnTo>
                        <a:pt x="927" y="566"/>
                      </a:lnTo>
                      <a:lnTo>
                        <a:pt x="928" y="551"/>
                      </a:lnTo>
                      <a:lnTo>
                        <a:pt x="933" y="528"/>
                      </a:lnTo>
                      <a:lnTo>
                        <a:pt x="932" y="517"/>
                      </a:lnTo>
                      <a:lnTo>
                        <a:pt x="928" y="520"/>
                      </a:lnTo>
                      <a:lnTo>
                        <a:pt x="927" y="515"/>
                      </a:lnTo>
                      <a:lnTo>
                        <a:pt x="928" y="503"/>
                      </a:lnTo>
                      <a:lnTo>
                        <a:pt x="933" y="488"/>
                      </a:lnTo>
                      <a:lnTo>
                        <a:pt x="934" y="478"/>
                      </a:lnTo>
                      <a:lnTo>
                        <a:pt x="938" y="471"/>
                      </a:lnTo>
                      <a:lnTo>
                        <a:pt x="935" y="447"/>
                      </a:lnTo>
                      <a:lnTo>
                        <a:pt x="933" y="441"/>
                      </a:lnTo>
                      <a:lnTo>
                        <a:pt x="927" y="435"/>
                      </a:lnTo>
                      <a:lnTo>
                        <a:pt x="922" y="428"/>
                      </a:lnTo>
                      <a:lnTo>
                        <a:pt x="920" y="424"/>
                      </a:lnTo>
                      <a:lnTo>
                        <a:pt x="920" y="417"/>
                      </a:lnTo>
                      <a:lnTo>
                        <a:pt x="930" y="403"/>
                      </a:lnTo>
                      <a:lnTo>
                        <a:pt x="934" y="392"/>
                      </a:lnTo>
                      <a:lnTo>
                        <a:pt x="941" y="379"/>
                      </a:lnTo>
                      <a:lnTo>
                        <a:pt x="949" y="367"/>
                      </a:lnTo>
                      <a:lnTo>
                        <a:pt x="956" y="360"/>
                      </a:lnTo>
                      <a:lnTo>
                        <a:pt x="959" y="358"/>
                      </a:lnTo>
                      <a:lnTo>
                        <a:pt x="960" y="337"/>
                      </a:lnTo>
                      <a:lnTo>
                        <a:pt x="962" y="309"/>
                      </a:lnTo>
                      <a:lnTo>
                        <a:pt x="962" y="295"/>
                      </a:lnTo>
                      <a:lnTo>
                        <a:pt x="970" y="264"/>
                      </a:lnTo>
                      <a:lnTo>
                        <a:pt x="976" y="253"/>
                      </a:lnTo>
                      <a:lnTo>
                        <a:pt x="979" y="248"/>
                      </a:lnTo>
                      <a:lnTo>
                        <a:pt x="992" y="234"/>
                      </a:lnTo>
                      <a:lnTo>
                        <a:pt x="1003" y="221"/>
                      </a:lnTo>
                      <a:lnTo>
                        <a:pt x="1009" y="215"/>
                      </a:lnTo>
                      <a:lnTo>
                        <a:pt x="1011" y="209"/>
                      </a:lnTo>
                      <a:lnTo>
                        <a:pt x="1015" y="202"/>
                      </a:lnTo>
                      <a:lnTo>
                        <a:pt x="1026" y="197"/>
                      </a:lnTo>
                      <a:lnTo>
                        <a:pt x="1032" y="192"/>
                      </a:lnTo>
                      <a:lnTo>
                        <a:pt x="1041" y="183"/>
                      </a:lnTo>
                      <a:lnTo>
                        <a:pt x="1045" y="175"/>
                      </a:lnTo>
                      <a:lnTo>
                        <a:pt x="1043" y="167"/>
                      </a:lnTo>
                      <a:lnTo>
                        <a:pt x="1041" y="162"/>
                      </a:lnTo>
                      <a:lnTo>
                        <a:pt x="1032" y="160"/>
                      </a:lnTo>
                      <a:lnTo>
                        <a:pt x="1027" y="156"/>
                      </a:lnTo>
                      <a:lnTo>
                        <a:pt x="1022" y="151"/>
                      </a:lnTo>
                      <a:lnTo>
                        <a:pt x="1020" y="143"/>
                      </a:lnTo>
                      <a:lnTo>
                        <a:pt x="1019" y="121"/>
                      </a:lnTo>
                      <a:lnTo>
                        <a:pt x="1022" y="103"/>
                      </a:lnTo>
                      <a:lnTo>
                        <a:pt x="1025" y="94"/>
                      </a:lnTo>
                      <a:lnTo>
                        <a:pt x="1025" y="90"/>
                      </a:lnTo>
                      <a:lnTo>
                        <a:pt x="1019" y="90"/>
                      </a:lnTo>
                      <a:lnTo>
                        <a:pt x="1013" y="85"/>
                      </a:lnTo>
                      <a:lnTo>
                        <a:pt x="1004" y="76"/>
                      </a:lnTo>
                      <a:lnTo>
                        <a:pt x="990" y="68"/>
                      </a:lnTo>
                      <a:lnTo>
                        <a:pt x="966" y="42"/>
                      </a:lnTo>
                      <a:lnTo>
                        <a:pt x="955" y="36"/>
                      </a:lnTo>
                      <a:lnTo>
                        <a:pt x="943" y="46"/>
                      </a:lnTo>
                      <a:lnTo>
                        <a:pt x="932" y="47"/>
                      </a:lnTo>
                      <a:lnTo>
                        <a:pt x="905" y="41"/>
                      </a:lnTo>
                      <a:lnTo>
                        <a:pt x="898" y="49"/>
                      </a:lnTo>
                      <a:lnTo>
                        <a:pt x="892" y="52"/>
                      </a:lnTo>
                      <a:lnTo>
                        <a:pt x="869" y="43"/>
                      </a:lnTo>
                      <a:lnTo>
                        <a:pt x="864" y="33"/>
                      </a:lnTo>
                      <a:lnTo>
                        <a:pt x="858" y="25"/>
                      </a:lnTo>
                      <a:lnTo>
                        <a:pt x="846" y="16"/>
                      </a:lnTo>
                      <a:lnTo>
                        <a:pt x="839" y="5"/>
                      </a:lnTo>
                      <a:lnTo>
                        <a:pt x="811" y="5"/>
                      </a:lnTo>
                      <a:lnTo>
                        <a:pt x="803" y="16"/>
                      </a:lnTo>
                      <a:lnTo>
                        <a:pt x="791" y="9"/>
                      </a:lnTo>
                      <a:lnTo>
                        <a:pt x="784" y="16"/>
                      </a:lnTo>
                      <a:lnTo>
                        <a:pt x="771" y="0"/>
                      </a:lnTo>
                      <a:lnTo>
                        <a:pt x="756" y="5"/>
                      </a:lnTo>
                      <a:lnTo>
                        <a:pt x="733" y="9"/>
                      </a:lnTo>
                      <a:lnTo>
                        <a:pt x="713" y="4"/>
                      </a:lnTo>
                      <a:lnTo>
                        <a:pt x="709" y="16"/>
                      </a:lnTo>
                      <a:lnTo>
                        <a:pt x="697" y="16"/>
                      </a:lnTo>
                      <a:lnTo>
                        <a:pt x="690" y="19"/>
                      </a:lnTo>
                      <a:lnTo>
                        <a:pt x="682" y="16"/>
                      </a:lnTo>
                      <a:lnTo>
                        <a:pt x="683" y="16"/>
                      </a:lnTo>
                      <a:lnTo>
                        <a:pt x="682" y="10"/>
                      </a:lnTo>
                      <a:lnTo>
                        <a:pt x="676" y="10"/>
                      </a:lnTo>
                      <a:lnTo>
                        <a:pt x="665" y="16"/>
                      </a:lnTo>
                      <a:lnTo>
                        <a:pt x="639" y="21"/>
                      </a:lnTo>
                      <a:lnTo>
                        <a:pt x="628" y="27"/>
                      </a:lnTo>
                      <a:lnTo>
                        <a:pt x="610" y="32"/>
                      </a:lnTo>
                      <a:lnTo>
                        <a:pt x="601" y="27"/>
                      </a:lnTo>
                      <a:lnTo>
                        <a:pt x="583" y="24"/>
                      </a:lnTo>
                      <a:lnTo>
                        <a:pt x="569" y="32"/>
                      </a:lnTo>
                      <a:lnTo>
                        <a:pt x="567" y="49"/>
                      </a:lnTo>
                      <a:lnTo>
                        <a:pt x="559" y="53"/>
                      </a:lnTo>
                      <a:lnTo>
                        <a:pt x="509" y="53"/>
                      </a:lnTo>
                      <a:lnTo>
                        <a:pt x="486" y="47"/>
                      </a:lnTo>
                      <a:lnTo>
                        <a:pt x="472" y="37"/>
                      </a:lnTo>
                      <a:lnTo>
                        <a:pt x="465" y="46"/>
                      </a:lnTo>
                      <a:lnTo>
                        <a:pt x="457" y="43"/>
                      </a:lnTo>
                      <a:lnTo>
                        <a:pt x="436" y="25"/>
                      </a:lnTo>
                      <a:lnTo>
                        <a:pt x="434" y="16"/>
                      </a:lnTo>
                      <a:lnTo>
                        <a:pt x="427" y="6"/>
                      </a:lnTo>
                      <a:lnTo>
                        <a:pt x="411" y="5"/>
                      </a:lnTo>
                      <a:lnTo>
                        <a:pt x="397" y="5"/>
                      </a:lnTo>
                      <a:lnTo>
                        <a:pt x="384" y="16"/>
                      </a:lnTo>
                      <a:lnTo>
                        <a:pt x="378" y="22"/>
                      </a:lnTo>
                      <a:lnTo>
                        <a:pt x="371" y="37"/>
                      </a:lnTo>
                      <a:lnTo>
                        <a:pt x="363" y="42"/>
                      </a:lnTo>
                      <a:lnTo>
                        <a:pt x="360" y="56"/>
                      </a:lnTo>
                      <a:lnTo>
                        <a:pt x="359" y="75"/>
                      </a:lnTo>
                      <a:lnTo>
                        <a:pt x="362" y="84"/>
                      </a:lnTo>
                      <a:lnTo>
                        <a:pt x="349" y="86"/>
                      </a:lnTo>
                      <a:lnTo>
                        <a:pt x="352" y="103"/>
                      </a:lnTo>
                      <a:lnTo>
                        <a:pt x="347" y="122"/>
                      </a:lnTo>
                      <a:lnTo>
                        <a:pt x="326" y="159"/>
                      </a:lnTo>
                      <a:lnTo>
                        <a:pt x="316" y="183"/>
                      </a:lnTo>
                      <a:lnTo>
                        <a:pt x="307" y="227"/>
                      </a:lnTo>
                      <a:lnTo>
                        <a:pt x="306" y="293"/>
                      </a:lnTo>
                      <a:lnTo>
                        <a:pt x="299" y="323"/>
                      </a:lnTo>
                      <a:lnTo>
                        <a:pt x="298" y="327"/>
                      </a:lnTo>
                      <a:lnTo>
                        <a:pt x="283" y="340"/>
                      </a:lnTo>
                      <a:lnTo>
                        <a:pt x="264" y="350"/>
                      </a:lnTo>
                      <a:lnTo>
                        <a:pt x="247" y="366"/>
                      </a:lnTo>
                      <a:lnTo>
                        <a:pt x="224" y="402"/>
                      </a:lnTo>
                      <a:lnTo>
                        <a:pt x="217" y="423"/>
                      </a:lnTo>
                      <a:lnTo>
                        <a:pt x="213" y="444"/>
                      </a:lnTo>
                      <a:lnTo>
                        <a:pt x="213" y="462"/>
                      </a:lnTo>
                      <a:lnTo>
                        <a:pt x="209" y="480"/>
                      </a:lnTo>
                      <a:lnTo>
                        <a:pt x="196" y="501"/>
                      </a:lnTo>
                      <a:lnTo>
                        <a:pt x="181" y="516"/>
                      </a:lnTo>
                      <a:lnTo>
                        <a:pt x="167" y="523"/>
                      </a:lnTo>
                      <a:lnTo>
                        <a:pt x="144" y="544"/>
                      </a:lnTo>
                      <a:lnTo>
                        <a:pt x="123" y="552"/>
                      </a:lnTo>
                      <a:lnTo>
                        <a:pt x="113" y="549"/>
                      </a:lnTo>
                      <a:lnTo>
                        <a:pt x="112" y="531"/>
                      </a:lnTo>
                      <a:lnTo>
                        <a:pt x="110" y="526"/>
                      </a:lnTo>
                      <a:lnTo>
                        <a:pt x="96" y="530"/>
                      </a:lnTo>
                      <a:lnTo>
                        <a:pt x="83" y="532"/>
                      </a:lnTo>
                      <a:lnTo>
                        <a:pt x="75" y="538"/>
                      </a:lnTo>
                      <a:lnTo>
                        <a:pt x="68" y="551"/>
                      </a:lnTo>
                      <a:lnTo>
                        <a:pt x="56" y="554"/>
                      </a:lnTo>
                      <a:lnTo>
                        <a:pt x="40" y="544"/>
                      </a:lnTo>
                      <a:lnTo>
                        <a:pt x="36" y="546"/>
                      </a:lnTo>
                      <a:lnTo>
                        <a:pt x="27" y="552"/>
                      </a:lnTo>
                      <a:lnTo>
                        <a:pt x="18" y="560"/>
                      </a:lnTo>
                      <a:lnTo>
                        <a:pt x="14" y="576"/>
                      </a:lnTo>
                      <a:lnTo>
                        <a:pt x="11" y="591"/>
                      </a:lnTo>
                      <a:lnTo>
                        <a:pt x="10" y="603"/>
                      </a:lnTo>
                      <a:lnTo>
                        <a:pt x="2" y="608"/>
                      </a:lnTo>
                      <a:lnTo>
                        <a:pt x="3" y="612"/>
                      </a:lnTo>
                      <a:lnTo>
                        <a:pt x="3" y="619"/>
                      </a:lnTo>
                      <a:lnTo>
                        <a:pt x="0" y="625"/>
                      </a:lnTo>
                      <a:lnTo>
                        <a:pt x="2" y="629"/>
                      </a:lnTo>
                      <a:lnTo>
                        <a:pt x="3" y="627"/>
                      </a:lnTo>
                      <a:lnTo>
                        <a:pt x="9" y="624"/>
                      </a:lnTo>
                      <a:lnTo>
                        <a:pt x="27" y="619"/>
                      </a:lnTo>
                      <a:lnTo>
                        <a:pt x="41" y="612"/>
                      </a:lnTo>
                      <a:lnTo>
                        <a:pt x="54" y="607"/>
                      </a:lnTo>
                      <a:lnTo>
                        <a:pt x="63" y="607"/>
                      </a:lnTo>
                      <a:lnTo>
                        <a:pt x="70" y="606"/>
                      </a:lnTo>
                      <a:lnTo>
                        <a:pt x="94" y="607"/>
                      </a:lnTo>
                      <a:lnTo>
                        <a:pt x="116" y="605"/>
                      </a:lnTo>
                      <a:lnTo>
                        <a:pt x="123" y="607"/>
                      </a:lnTo>
                      <a:lnTo>
                        <a:pt x="142" y="608"/>
                      </a:lnTo>
                      <a:lnTo>
                        <a:pt x="155" y="606"/>
                      </a:lnTo>
                      <a:lnTo>
                        <a:pt x="169" y="606"/>
                      </a:lnTo>
                      <a:lnTo>
                        <a:pt x="202" y="603"/>
                      </a:lnTo>
                      <a:lnTo>
                        <a:pt x="218" y="605"/>
                      </a:lnTo>
                      <a:lnTo>
                        <a:pt x="220" y="606"/>
                      </a:lnTo>
                      <a:lnTo>
                        <a:pt x="225" y="613"/>
                      </a:lnTo>
                      <a:lnTo>
                        <a:pt x="229" y="614"/>
                      </a:lnTo>
                      <a:lnTo>
                        <a:pt x="233" y="613"/>
                      </a:lnTo>
                      <a:lnTo>
                        <a:pt x="237" y="622"/>
                      </a:lnTo>
                      <a:lnTo>
                        <a:pt x="242" y="640"/>
                      </a:lnTo>
                      <a:lnTo>
                        <a:pt x="244" y="654"/>
                      </a:lnTo>
                      <a:lnTo>
                        <a:pt x="245" y="659"/>
                      </a:lnTo>
                      <a:lnTo>
                        <a:pt x="252" y="671"/>
                      </a:lnTo>
                      <a:lnTo>
                        <a:pt x="256" y="687"/>
                      </a:lnTo>
                      <a:lnTo>
                        <a:pt x="268" y="700"/>
                      </a:lnTo>
                      <a:lnTo>
                        <a:pt x="289" y="727"/>
                      </a:lnTo>
                      <a:lnTo>
                        <a:pt x="301" y="732"/>
                      </a:lnTo>
                      <a:lnTo>
                        <a:pt x="315" y="732"/>
                      </a:lnTo>
                      <a:lnTo>
                        <a:pt x="336" y="725"/>
                      </a:lnTo>
                      <a:lnTo>
                        <a:pt x="349" y="722"/>
                      </a:lnTo>
                      <a:lnTo>
                        <a:pt x="366" y="725"/>
                      </a:lnTo>
                      <a:lnTo>
                        <a:pt x="386" y="725"/>
                      </a:lnTo>
                      <a:lnTo>
                        <a:pt x="389" y="710"/>
                      </a:lnTo>
                      <a:lnTo>
                        <a:pt x="390" y="703"/>
                      </a:lnTo>
                      <a:lnTo>
                        <a:pt x="392" y="698"/>
                      </a:lnTo>
                      <a:lnTo>
                        <a:pt x="393" y="694"/>
                      </a:lnTo>
                      <a:lnTo>
                        <a:pt x="395" y="689"/>
                      </a:lnTo>
                      <a:lnTo>
                        <a:pt x="396" y="678"/>
                      </a:lnTo>
                      <a:lnTo>
                        <a:pt x="398" y="670"/>
                      </a:lnTo>
                      <a:lnTo>
                        <a:pt x="441" y="670"/>
                      </a:lnTo>
                      <a:lnTo>
                        <a:pt x="444" y="664"/>
                      </a:lnTo>
                      <a:lnTo>
                        <a:pt x="467" y="664"/>
                      </a:lnTo>
                      <a:lnTo>
                        <a:pt x="466" y="686"/>
                      </a:lnTo>
                      <a:lnTo>
                        <a:pt x="514" y="687"/>
                      </a:lnTo>
                      <a:lnTo>
                        <a:pt x="518" y="691"/>
                      </a:lnTo>
                      <a:lnTo>
                        <a:pt x="520" y="699"/>
                      </a:lnTo>
                      <a:lnTo>
                        <a:pt x="522" y="731"/>
                      </a:lnTo>
                      <a:lnTo>
                        <a:pt x="525" y="743"/>
                      </a:lnTo>
                      <a:lnTo>
                        <a:pt x="525" y="759"/>
                      </a:lnTo>
                      <a:lnTo>
                        <a:pt x="527" y="775"/>
                      </a:lnTo>
                      <a:lnTo>
                        <a:pt x="527" y="781"/>
                      </a:lnTo>
                      <a:lnTo>
                        <a:pt x="524" y="792"/>
                      </a:lnTo>
                      <a:lnTo>
                        <a:pt x="524" y="806"/>
                      </a:lnTo>
                      <a:lnTo>
                        <a:pt x="526" y="815"/>
                      </a:lnTo>
                      <a:lnTo>
                        <a:pt x="535" y="829"/>
                      </a:lnTo>
                      <a:lnTo>
                        <a:pt x="541" y="850"/>
                      </a:lnTo>
                      <a:lnTo>
                        <a:pt x="547" y="866"/>
                      </a:lnTo>
                      <a:lnTo>
                        <a:pt x="547" y="874"/>
                      </a:lnTo>
                      <a:lnTo>
                        <a:pt x="542" y="881"/>
                      </a:lnTo>
                      <a:lnTo>
                        <a:pt x="531" y="892"/>
                      </a:lnTo>
                      <a:lnTo>
                        <a:pt x="531" y="894"/>
                      </a:lnTo>
                      <a:lnTo>
                        <a:pt x="532" y="897"/>
                      </a:lnTo>
                      <a:lnTo>
                        <a:pt x="534" y="898"/>
                      </a:lnTo>
                      <a:lnTo>
                        <a:pt x="537" y="899"/>
                      </a:lnTo>
                      <a:lnTo>
                        <a:pt x="543" y="907"/>
                      </a:lnTo>
                      <a:lnTo>
                        <a:pt x="549" y="908"/>
                      </a:lnTo>
                      <a:lnTo>
                        <a:pt x="552" y="907"/>
                      </a:lnTo>
                      <a:lnTo>
                        <a:pt x="554" y="901"/>
                      </a:lnTo>
                      <a:lnTo>
                        <a:pt x="557" y="893"/>
                      </a:lnTo>
                      <a:lnTo>
                        <a:pt x="562" y="891"/>
                      </a:lnTo>
                      <a:lnTo>
                        <a:pt x="613" y="891"/>
                      </a:lnTo>
                      <a:lnTo>
                        <a:pt x="623" y="887"/>
                      </a:lnTo>
                      <a:lnTo>
                        <a:pt x="632" y="890"/>
                      </a:lnTo>
                      <a:lnTo>
                        <a:pt x="634" y="890"/>
                      </a:lnTo>
                      <a:lnTo>
                        <a:pt x="644" y="882"/>
                      </a:lnTo>
                      <a:lnTo>
                        <a:pt x="645" y="882"/>
                      </a:lnTo>
                      <a:lnTo>
                        <a:pt x="655" y="880"/>
                      </a:lnTo>
                      <a:lnTo>
                        <a:pt x="659" y="880"/>
                      </a:lnTo>
                      <a:lnTo>
                        <a:pt x="661" y="881"/>
                      </a:lnTo>
                      <a:lnTo>
                        <a:pt x="667" y="891"/>
                      </a:lnTo>
                      <a:lnTo>
                        <a:pt x="667" y="903"/>
                      </a:lnTo>
                      <a:lnTo>
                        <a:pt x="669" y="908"/>
                      </a:lnTo>
                      <a:lnTo>
                        <a:pt x="672" y="908"/>
                      </a:lnTo>
                      <a:lnTo>
                        <a:pt x="686" y="902"/>
                      </a:lnTo>
                      <a:lnTo>
                        <a:pt x="691" y="901"/>
                      </a:lnTo>
                      <a:lnTo>
                        <a:pt x="697" y="901"/>
                      </a:lnTo>
                      <a:lnTo>
                        <a:pt x="708" y="896"/>
                      </a:lnTo>
                      <a:lnTo>
                        <a:pt x="714" y="904"/>
                      </a:lnTo>
                      <a:lnTo>
                        <a:pt x="718" y="913"/>
                      </a:lnTo>
                      <a:lnTo>
                        <a:pt x="723" y="919"/>
                      </a:lnTo>
                      <a:lnTo>
                        <a:pt x="736" y="925"/>
                      </a:lnTo>
                      <a:lnTo>
                        <a:pt x="748" y="933"/>
                      </a:lnTo>
                      <a:lnTo>
                        <a:pt x="766" y="940"/>
                      </a:lnTo>
                      <a:lnTo>
                        <a:pt x="778" y="941"/>
                      </a:lnTo>
                      <a:lnTo>
                        <a:pt x="787" y="939"/>
                      </a:lnTo>
                      <a:lnTo>
                        <a:pt x="799" y="934"/>
                      </a:lnTo>
                      <a:lnTo>
                        <a:pt x="809" y="931"/>
                      </a:lnTo>
                      <a:lnTo>
                        <a:pt x="814" y="933"/>
                      </a:lnTo>
                      <a:lnTo>
                        <a:pt x="833" y="951"/>
                      </a:lnTo>
                      <a:lnTo>
                        <a:pt x="847" y="957"/>
                      </a:lnTo>
                      <a:lnTo>
                        <a:pt x="858" y="961"/>
                      </a:lnTo>
                      <a:lnTo>
                        <a:pt x="869" y="962"/>
                      </a:lnTo>
                      <a:lnTo>
                        <a:pt x="876" y="968"/>
                      </a:lnTo>
                      <a:lnTo>
                        <a:pt x="881" y="980"/>
                      </a:lnTo>
                      <a:lnTo>
                        <a:pt x="885" y="987"/>
                      </a:lnTo>
                      <a:lnTo>
                        <a:pt x="898" y="999"/>
                      </a:lnTo>
                      <a:lnTo>
                        <a:pt x="912" y="1007"/>
                      </a:lnTo>
                      <a:lnTo>
                        <a:pt x="922" y="1011"/>
                      </a:lnTo>
                      <a:lnTo>
                        <a:pt x="932" y="1012"/>
                      </a:lnTo>
                      <a:lnTo>
                        <a:pt x="935" y="1012"/>
                      </a:lnTo>
                      <a:lnTo>
                        <a:pt x="941" y="1010"/>
                      </a:lnTo>
                      <a:lnTo>
                        <a:pt x="945" y="1009"/>
                      </a:lnTo>
                      <a:lnTo>
                        <a:pt x="946" y="1010"/>
                      </a:lnTo>
                      <a:lnTo>
                        <a:pt x="951" y="1017"/>
                      </a:lnTo>
                      <a:lnTo>
                        <a:pt x="955" y="1018"/>
                      </a:lnTo>
                      <a:lnTo>
                        <a:pt x="959" y="1018"/>
                      </a:lnTo>
                      <a:lnTo>
                        <a:pt x="961" y="1016"/>
                      </a:lnTo>
                      <a:lnTo>
                        <a:pt x="961" y="1009"/>
                      </a:lnTo>
                      <a:lnTo>
                        <a:pt x="960" y="1001"/>
                      </a:lnTo>
                      <a:lnTo>
                        <a:pt x="959" y="966"/>
                      </a:lnTo>
                      <a:lnTo>
                        <a:pt x="956" y="958"/>
                      </a:lnTo>
                      <a:lnTo>
                        <a:pt x="950" y="957"/>
                      </a:lnTo>
                      <a:lnTo>
                        <a:pt x="941" y="962"/>
                      </a:lnTo>
                      <a:lnTo>
                        <a:pt x="930" y="960"/>
                      </a:lnTo>
                      <a:lnTo>
                        <a:pt x="918" y="960"/>
                      </a:lnTo>
                      <a:lnTo>
                        <a:pt x="911" y="955"/>
                      </a:lnTo>
                      <a:lnTo>
                        <a:pt x="901" y="942"/>
                      </a:lnTo>
                      <a:lnTo>
                        <a:pt x="895" y="936"/>
                      </a:lnTo>
                      <a:lnTo>
                        <a:pt x="893" y="934"/>
                      </a:lnTo>
                      <a:lnTo>
                        <a:pt x="892" y="924"/>
                      </a:lnTo>
                      <a:lnTo>
                        <a:pt x="895" y="917"/>
                      </a:lnTo>
                      <a:lnTo>
                        <a:pt x="897" y="905"/>
                      </a:lnTo>
                      <a:lnTo>
                        <a:pt x="912" y="866"/>
                      </a:lnTo>
                      <a:lnTo>
                        <a:pt x="913" y="859"/>
                      </a:lnTo>
                      <a:lnTo>
                        <a:pt x="914" y="834"/>
                      </a:lnTo>
                      <a:lnTo>
                        <a:pt x="912" y="820"/>
                      </a:lnTo>
                      <a:lnTo>
                        <a:pt x="905" y="801"/>
                      </a:lnTo>
                      <a:lnTo>
                        <a:pt x="905" y="791"/>
                      </a:lnTo>
                      <a:lnTo>
                        <a:pt x="907" y="788"/>
                      </a:lnTo>
                      <a:lnTo>
                        <a:pt x="909" y="779"/>
                      </a:lnTo>
                      <a:lnTo>
                        <a:pt x="914" y="772"/>
                      </a:lnTo>
                      <a:lnTo>
                        <a:pt x="922" y="758"/>
                      </a:lnTo>
                      <a:lnTo>
                        <a:pt x="924" y="756"/>
                      </a:lnTo>
                      <a:lnTo>
                        <a:pt x="929" y="752"/>
                      </a:lnTo>
                      <a:lnTo>
                        <a:pt x="932" y="752"/>
                      </a:lnTo>
                      <a:lnTo>
                        <a:pt x="941" y="748"/>
                      </a:lnTo>
                      <a:lnTo>
                        <a:pt x="1003" y="73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sp>
              <p:nvSpPr>
                <p:cNvPr id="165" name="Freeform 134"/>
                <p:cNvSpPr>
                  <a:spLocks noChangeAspect="1"/>
                </p:cNvSpPr>
                <p:nvPr/>
              </p:nvSpPr>
              <p:spPr bwMode="gray">
                <a:xfrm>
                  <a:off x="5488780" y="3469034"/>
                  <a:ext cx="25400" cy="33338"/>
                </a:xfrm>
                <a:custGeom>
                  <a:avLst/>
                  <a:gdLst/>
                  <a:ahLst/>
                  <a:cxnLst>
                    <a:cxn ang="0">
                      <a:pos x="65" y="0"/>
                    </a:cxn>
                    <a:cxn ang="0">
                      <a:pos x="48" y="11"/>
                    </a:cxn>
                    <a:cxn ang="0">
                      <a:pos x="33" y="19"/>
                    </a:cxn>
                    <a:cxn ang="0">
                      <a:pos x="28" y="25"/>
                    </a:cxn>
                    <a:cxn ang="0">
                      <a:pos x="22" y="29"/>
                    </a:cxn>
                    <a:cxn ang="0">
                      <a:pos x="17" y="51"/>
                    </a:cxn>
                    <a:cxn ang="0">
                      <a:pos x="15" y="62"/>
                    </a:cxn>
                    <a:cxn ang="0">
                      <a:pos x="9" y="74"/>
                    </a:cxn>
                    <a:cxn ang="0">
                      <a:pos x="0" y="85"/>
                    </a:cxn>
                    <a:cxn ang="0">
                      <a:pos x="0" y="88"/>
                    </a:cxn>
                    <a:cxn ang="0">
                      <a:pos x="1" y="97"/>
                    </a:cxn>
                    <a:cxn ang="0">
                      <a:pos x="7" y="103"/>
                    </a:cxn>
                    <a:cxn ang="0">
                      <a:pos x="20" y="105"/>
                    </a:cxn>
                    <a:cxn ang="0">
                      <a:pos x="24" y="102"/>
                    </a:cxn>
                    <a:cxn ang="0">
                      <a:pos x="31" y="105"/>
                    </a:cxn>
                    <a:cxn ang="0">
                      <a:pos x="32" y="103"/>
                    </a:cxn>
                    <a:cxn ang="0">
                      <a:pos x="33" y="100"/>
                    </a:cxn>
                    <a:cxn ang="0">
                      <a:pos x="45" y="96"/>
                    </a:cxn>
                    <a:cxn ang="0">
                      <a:pos x="50" y="97"/>
                    </a:cxn>
                    <a:cxn ang="0">
                      <a:pos x="59" y="105"/>
                    </a:cxn>
                    <a:cxn ang="0">
                      <a:pos x="59" y="106"/>
                    </a:cxn>
                    <a:cxn ang="0">
                      <a:pos x="61" y="100"/>
                    </a:cxn>
                    <a:cxn ang="0">
                      <a:pos x="71" y="88"/>
                    </a:cxn>
                    <a:cxn ang="0">
                      <a:pos x="76" y="76"/>
                    </a:cxn>
                    <a:cxn ang="0">
                      <a:pos x="79" y="74"/>
                    </a:cxn>
                    <a:cxn ang="0">
                      <a:pos x="76" y="72"/>
                    </a:cxn>
                    <a:cxn ang="0">
                      <a:pos x="74" y="72"/>
                    </a:cxn>
                    <a:cxn ang="0">
                      <a:pos x="71" y="69"/>
                    </a:cxn>
                    <a:cxn ang="0">
                      <a:pos x="64" y="70"/>
                    </a:cxn>
                    <a:cxn ang="0">
                      <a:pos x="56" y="69"/>
                    </a:cxn>
                    <a:cxn ang="0">
                      <a:pos x="48" y="72"/>
                    </a:cxn>
                    <a:cxn ang="0">
                      <a:pos x="47" y="74"/>
                    </a:cxn>
                    <a:cxn ang="0">
                      <a:pos x="44" y="75"/>
                    </a:cxn>
                    <a:cxn ang="0">
                      <a:pos x="40" y="74"/>
                    </a:cxn>
                    <a:cxn ang="0">
                      <a:pos x="38" y="70"/>
                    </a:cxn>
                    <a:cxn ang="0">
                      <a:pos x="39" y="69"/>
                    </a:cxn>
                    <a:cxn ang="0">
                      <a:pos x="44" y="70"/>
                    </a:cxn>
                    <a:cxn ang="0">
                      <a:pos x="47" y="70"/>
                    </a:cxn>
                    <a:cxn ang="0">
                      <a:pos x="48" y="67"/>
                    </a:cxn>
                    <a:cxn ang="0">
                      <a:pos x="53" y="59"/>
                    </a:cxn>
                    <a:cxn ang="0">
                      <a:pos x="56" y="57"/>
                    </a:cxn>
                    <a:cxn ang="0">
                      <a:pos x="61" y="57"/>
                    </a:cxn>
                    <a:cxn ang="0">
                      <a:pos x="66" y="51"/>
                    </a:cxn>
                    <a:cxn ang="0">
                      <a:pos x="77" y="48"/>
                    </a:cxn>
                    <a:cxn ang="0">
                      <a:pos x="83" y="45"/>
                    </a:cxn>
                    <a:cxn ang="0">
                      <a:pos x="83" y="38"/>
                    </a:cxn>
                    <a:cxn ang="0">
                      <a:pos x="81" y="22"/>
                    </a:cxn>
                    <a:cxn ang="0">
                      <a:pos x="80" y="20"/>
                    </a:cxn>
                    <a:cxn ang="0">
                      <a:pos x="75" y="16"/>
                    </a:cxn>
                    <a:cxn ang="0">
                      <a:pos x="71" y="9"/>
                    </a:cxn>
                    <a:cxn ang="0">
                      <a:pos x="67" y="5"/>
                    </a:cxn>
                    <a:cxn ang="0">
                      <a:pos x="65" y="0"/>
                    </a:cxn>
                  </a:cxnLst>
                  <a:rect l="0" t="0" r="r" b="b"/>
                  <a:pathLst>
                    <a:path w="83" h="106">
                      <a:moveTo>
                        <a:pt x="65" y="0"/>
                      </a:moveTo>
                      <a:lnTo>
                        <a:pt x="48" y="11"/>
                      </a:lnTo>
                      <a:lnTo>
                        <a:pt x="33" y="19"/>
                      </a:lnTo>
                      <a:lnTo>
                        <a:pt x="28" y="25"/>
                      </a:lnTo>
                      <a:lnTo>
                        <a:pt x="22" y="29"/>
                      </a:lnTo>
                      <a:lnTo>
                        <a:pt x="17" y="51"/>
                      </a:lnTo>
                      <a:lnTo>
                        <a:pt x="15" y="62"/>
                      </a:lnTo>
                      <a:lnTo>
                        <a:pt x="9" y="74"/>
                      </a:lnTo>
                      <a:lnTo>
                        <a:pt x="0" y="85"/>
                      </a:lnTo>
                      <a:lnTo>
                        <a:pt x="0" y="88"/>
                      </a:lnTo>
                      <a:lnTo>
                        <a:pt x="1" y="97"/>
                      </a:lnTo>
                      <a:lnTo>
                        <a:pt x="7" y="103"/>
                      </a:lnTo>
                      <a:lnTo>
                        <a:pt x="20" y="105"/>
                      </a:lnTo>
                      <a:lnTo>
                        <a:pt x="24" y="102"/>
                      </a:lnTo>
                      <a:lnTo>
                        <a:pt x="31" y="105"/>
                      </a:lnTo>
                      <a:lnTo>
                        <a:pt x="32" y="103"/>
                      </a:lnTo>
                      <a:lnTo>
                        <a:pt x="33" y="100"/>
                      </a:lnTo>
                      <a:lnTo>
                        <a:pt x="45" y="96"/>
                      </a:lnTo>
                      <a:lnTo>
                        <a:pt x="50" y="97"/>
                      </a:lnTo>
                      <a:lnTo>
                        <a:pt x="59" y="105"/>
                      </a:lnTo>
                      <a:lnTo>
                        <a:pt x="59" y="106"/>
                      </a:lnTo>
                      <a:lnTo>
                        <a:pt x="61" y="100"/>
                      </a:lnTo>
                      <a:lnTo>
                        <a:pt x="71" y="88"/>
                      </a:lnTo>
                      <a:lnTo>
                        <a:pt x="76" y="76"/>
                      </a:lnTo>
                      <a:lnTo>
                        <a:pt x="79" y="74"/>
                      </a:lnTo>
                      <a:lnTo>
                        <a:pt x="76" y="72"/>
                      </a:lnTo>
                      <a:lnTo>
                        <a:pt x="74" y="72"/>
                      </a:lnTo>
                      <a:lnTo>
                        <a:pt x="71" y="69"/>
                      </a:lnTo>
                      <a:lnTo>
                        <a:pt x="64" y="70"/>
                      </a:lnTo>
                      <a:lnTo>
                        <a:pt x="56" y="69"/>
                      </a:lnTo>
                      <a:lnTo>
                        <a:pt x="48" y="72"/>
                      </a:lnTo>
                      <a:lnTo>
                        <a:pt x="47" y="74"/>
                      </a:lnTo>
                      <a:lnTo>
                        <a:pt x="44" y="75"/>
                      </a:lnTo>
                      <a:lnTo>
                        <a:pt x="40" y="74"/>
                      </a:lnTo>
                      <a:lnTo>
                        <a:pt x="38" y="70"/>
                      </a:lnTo>
                      <a:lnTo>
                        <a:pt x="39" y="69"/>
                      </a:lnTo>
                      <a:lnTo>
                        <a:pt x="44" y="70"/>
                      </a:lnTo>
                      <a:lnTo>
                        <a:pt x="47" y="70"/>
                      </a:lnTo>
                      <a:lnTo>
                        <a:pt x="48" y="67"/>
                      </a:lnTo>
                      <a:lnTo>
                        <a:pt x="53" y="59"/>
                      </a:lnTo>
                      <a:lnTo>
                        <a:pt x="56" y="57"/>
                      </a:lnTo>
                      <a:lnTo>
                        <a:pt x="61" y="57"/>
                      </a:lnTo>
                      <a:lnTo>
                        <a:pt x="66" y="51"/>
                      </a:lnTo>
                      <a:lnTo>
                        <a:pt x="77" y="48"/>
                      </a:lnTo>
                      <a:lnTo>
                        <a:pt x="83" y="45"/>
                      </a:lnTo>
                      <a:lnTo>
                        <a:pt x="83" y="38"/>
                      </a:lnTo>
                      <a:lnTo>
                        <a:pt x="81" y="22"/>
                      </a:lnTo>
                      <a:lnTo>
                        <a:pt x="80" y="20"/>
                      </a:lnTo>
                      <a:lnTo>
                        <a:pt x="75" y="16"/>
                      </a:lnTo>
                      <a:lnTo>
                        <a:pt x="71" y="9"/>
                      </a:lnTo>
                      <a:lnTo>
                        <a:pt x="67" y="5"/>
                      </a:lnTo>
                      <a:lnTo>
                        <a:pt x="65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+mj-ea"/>
                    <a:ea typeface="+mj-ea"/>
                  </a:endParaRPr>
                </a:p>
              </p:txBody>
            </p:sp>
            <p:grpSp>
              <p:nvGrpSpPr>
                <p:cNvPr id="166" name="Group 364"/>
                <p:cNvGrpSpPr>
                  <a:grpSpLocks noChangeAspect="1"/>
                </p:cNvGrpSpPr>
                <p:nvPr/>
              </p:nvGrpSpPr>
              <p:grpSpPr bwMode="gray">
                <a:xfrm>
                  <a:off x="5141117" y="3280172"/>
                  <a:ext cx="289379" cy="349200"/>
                  <a:chOff x="3548063" y="12700"/>
                  <a:chExt cx="5667375" cy="6838950"/>
                </a:xfrm>
                <a:grpFill/>
              </p:grpSpPr>
              <p:sp>
                <p:nvSpPr>
                  <p:cNvPr id="167" name="Freeform 6"/>
                  <p:cNvSpPr>
                    <a:spLocks/>
                  </p:cNvSpPr>
                  <p:nvPr/>
                </p:nvSpPr>
                <p:spPr bwMode="gray">
                  <a:xfrm>
                    <a:off x="4084638" y="3873500"/>
                    <a:ext cx="4257675" cy="2978150"/>
                  </a:xfrm>
                  <a:custGeom>
                    <a:avLst/>
                    <a:gdLst/>
                    <a:ahLst/>
                    <a:cxnLst>
                      <a:cxn ang="0">
                        <a:pos x="48" y="773"/>
                      </a:cxn>
                      <a:cxn ang="0">
                        <a:pos x="161" y="852"/>
                      </a:cxn>
                      <a:cxn ang="0">
                        <a:pos x="327" y="893"/>
                      </a:cxn>
                      <a:cxn ang="0">
                        <a:pos x="367" y="981"/>
                      </a:cxn>
                      <a:cxn ang="0">
                        <a:pos x="535" y="1117"/>
                      </a:cxn>
                      <a:cxn ang="0">
                        <a:pos x="626" y="1220"/>
                      </a:cxn>
                      <a:cxn ang="0">
                        <a:pos x="678" y="1341"/>
                      </a:cxn>
                      <a:cxn ang="0">
                        <a:pos x="854" y="1468"/>
                      </a:cxn>
                      <a:cxn ang="0">
                        <a:pos x="909" y="1581"/>
                      </a:cxn>
                      <a:cxn ang="0">
                        <a:pos x="1000" y="1688"/>
                      </a:cxn>
                      <a:cxn ang="0">
                        <a:pos x="1141" y="1680"/>
                      </a:cxn>
                      <a:cxn ang="0">
                        <a:pos x="1339" y="1660"/>
                      </a:cxn>
                      <a:cxn ang="0">
                        <a:pos x="1531" y="1816"/>
                      </a:cxn>
                      <a:cxn ang="0">
                        <a:pos x="1614" y="1872"/>
                      </a:cxn>
                      <a:cxn ang="0">
                        <a:pos x="1741" y="1860"/>
                      </a:cxn>
                      <a:cxn ang="0">
                        <a:pos x="1850" y="1876"/>
                      </a:cxn>
                      <a:cxn ang="0">
                        <a:pos x="2024" y="1836"/>
                      </a:cxn>
                      <a:cxn ang="0">
                        <a:pos x="2268" y="1775"/>
                      </a:cxn>
                      <a:cxn ang="0">
                        <a:pos x="2420" y="1664"/>
                      </a:cxn>
                      <a:cxn ang="0">
                        <a:pos x="2674" y="1664"/>
                      </a:cxn>
                      <a:cxn ang="0">
                        <a:pos x="2678" y="1511"/>
                      </a:cxn>
                      <a:cxn ang="0">
                        <a:pos x="2523" y="1448"/>
                      </a:cxn>
                      <a:cxn ang="0">
                        <a:pos x="2444" y="1260"/>
                      </a:cxn>
                      <a:cxn ang="0">
                        <a:pos x="2311" y="1137"/>
                      </a:cxn>
                      <a:cxn ang="0">
                        <a:pos x="2248" y="1028"/>
                      </a:cxn>
                      <a:cxn ang="0">
                        <a:pos x="2137" y="1000"/>
                      </a:cxn>
                      <a:cxn ang="0">
                        <a:pos x="2060" y="957"/>
                      </a:cxn>
                      <a:cxn ang="0">
                        <a:pos x="2101" y="852"/>
                      </a:cxn>
                      <a:cxn ang="0">
                        <a:pos x="2272" y="824"/>
                      </a:cxn>
                      <a:cxn ang="0">
                        <a:pos x="2307" y="608"/>
                      </a:cxn>
                      <a:cxn ang="0">
                        <a:pos x="2284" y="481"/>
                      </a:cxn>
                      <a:cxn ang="0">
                        <a:pos x="2115" y="123"/>
                      </a:cxn>
                      <a:cxn ang="0">
                        <a:pos x="2020" y="60"/>
                      </a:cxn>
                      <a:cxn ang="0">
                        <a:pos x="1947" y="254"/>
                      </a:cxn>
                      <a:cxn ang="0">
                        <a:pos x="1713" y="551"/>
                      </a:cxn>
                      <a:cxn ang="0">
                        <a:pos x="1412" y="428"/>
                      </a:cxn>
                      <a:cxn ang="0">
                        <a:pos x="1222" y="561"/>
                      </a:cxn>
                      <a:cxn ang="0">
                        <a:pos x="965" y="586"/>
                      </a:cxn>
                      <a:cxn ang="0">
                        <a:pos x="632" y="598"/>
                      </a:cxn>
                      <a:cxn ang="0">
                        <a:pos x="521" y="408"/>
                      </a:cxn>
                      <a:cxn ang="0">
                        <a:pos x="299" y="555"/>
                      </a:cxn>
                      <a:cxn ang="0">
                        <a:pos x="18" y="583"/>
                      </a:cxn>
                    </a:cxnLst>
                    <a:rect l="0" t="0" r="r" b="b"/>
                    <a:pathLst>
                      <a:path w="2682" h="1876">
                        <a:moveTo>
                          <a:pt x="0" y="682"/>
                        </a:moveTo>
                        <a:lnTo>
                          <a:pt x="8" y="733"/>
                        </a:lnTo>
                        <a:lnTo>
                          <a:pt x="48" y="773"/>
                        </a:lnTo>
                        <a:lnTo>
                          <a:pt x="92" y="777"/>
                        </a:lnTo>
                        <a:lnTo>
                          <a:pt x="143" y="792"/>
                        </a:lnTo>
                        <a:lnTo>
                          <a:pt x="161" y="852"/>
                        </a:lnTo>
                        <a:lnTo>
                          <a:pt x="204" y="866"/>
                        </a:lnTo>
                        <a:lnTo>
                          <a:pt x="296" y="866"/>
                        </a:lnTo>
                        <a:lnTo>
                          <a:pt x="327" y="893"/>
                        </a:lnTo>
                        <a:lnTo>
                          <a:pt x="367" y="921"/>
                        </a:lnTo>
                        <a:lnTo>
                          <a:pt x="371" y="941"/>
                        </a:lnTo>
                        <a:lnTo>
                          <a:pt x="367" y="981"/>
                        </a:lnTo>
                        <a:lnTo>
                          <a:pt x="391" y="1024"/>
                        </a:lnTo>
                        <a:lnTo>
                          <a:pt x="466" y="1072"/>
                        </a:lnTo>
                        <a:lnTo>
                          <a:pt x="535" y="1117"/>
                        </a:lnTo>
                        <a:lnTo>
                          <a:pt x="563" y="1157"/>
                        </a:lnTo>
                        <a:lnTo>
                          <a:pt x="606" y="1181"/>
                        </a:lnTo>
                        <a:lnTo>
                          <a:pt x="626" y="1220"/>
                        </a:lnTo>
                        <a:lnTo>
                          <a:pt x="642" y="1264"/>
                        </a:lnTo>
                        <a:lnTo>
                          <a:pt x="670" y="1300"/>
                        </a:lnTo>
                        <a:lnTo>
                          <a:pt x="678" y="1341"/>
                        </a:lnTo>
                        <a:lnTo>
                          <a:pt x="713" y="1353"/>
                        </a:lnTo>
                        <a:lnTo>
                          <a:pt x="830" y="1432"/>
                        </a:lnTo>
                        <a:lnTo>
                          <a:pt x="854" y="1468"/>
                        </a:lnTo>
                        <a:lnTo>
                          <a:pt x="858" y="1511"/>
                        </a:lnTo>
                        <a:lnTo>
                          <a:pt x="882" y="1539"/>
                        </a:lnTo>
                        <a:lnTo>
                          <a:pt x="909" y="1581"/>
                        </a:lnTo>
                        <a:lnTo>
                          <a:pt x="957" y="1616"/>
                        </a:lnTo>
                        <a:lnTo>
                          <a:pt x="981" y="1648"/>
                        </a:lnTo>
                        <a:lnTo>
                          <a:pt x="1000" y="1688"/>
                        </a:lnTo>
                        <a:lnTo>
                          <a:pt x="1092" y="1723"/>
                        </a:lnTo>
                        <a:lnTo>
                          <a:pt x="1115" y="1712"/>
                        </a:lnTo>
                        <a:lnTo>
                          <a:pt x="1141" y="1680"/>
                        </a:lnTo>
                        <a:lnTo>
                          <a:pt x="1248" y="1704"/>
                        </a:lnTo>
                        <a:lnTo>
                          <a:pt x="1292" y="1700"/>
                        </a:lnTo>
                        <a:lnTo>
                          <a:pt x="1339" y="1660"/>
                        </a:lnTo>
                        <a:lnTo>
                          <a:pt x="1383" y="1684"/>
                        </a:lnTo>
                        <a:lnTo>
                          <a:pt x="1476" y="1787"/>
                        </a:lnTo>
                        <a:lnTo>
                          <a:pt x="1531" y="1816"/>
                        </a:lnTo>
                        <a:lnTo>
                          <a:pt x="1567" y="1852"/>
                        </a:lnTo>
                        <a:lnTo>
                          <a:pt x="1591" y="1872"/>
                        </a:lnTo>
                        <a:lnTo>
                          <a:pt x="1614" y="1872"/>
                        </a:lnTo>
                        <a:lnTo>
                          <a:pt x="1642" y="1852"/>
                        </a:lnTo>
                        <a:lnTo>
                          <a:pt x="1697" y="1848"/>
                        </a:lnTo>
                        <a:lnTo>
                          <a:pt x="1741" y="1860"/>
                        </a:lnTo>
                        <a:lnTo>
                          <a:pt x="1779" y="1852"/>
                        </a:lnTo>
                        <a:lnTo>
                          <a:pt x="1826" y="1848"/>
                        </a:lnTo>
                        <a:lnTo>
                          <a:pt x="1850" y="1876"/>
                        </a:lnTo>
                        <a:lnTo>
                          <a:pt x="1917" y="1860"/>
                        </a:lnTo>
                        <a:lnTo>
                          <a:pt x="1973" y="1856"/>
                        </a:lnTo>
                        <a:lnTo>
                          <a:pt x="2024" y="1836"/>
                        </a:lnTo>
                        <a:lnTo>
                          <a:pt x="2086" y="1844"/>
                        </a:lnTo>
                        <a:lnTo>
                          <a:pt x="2161" y="1844"/>
                        </a:lnTo>
                        <a:lnTo>
                          <a:pt x="2268" y="1775"/>
                        </a:lnTo>
                        <a:lnTo>
                          <a:pt x="2331" y="1700"/>
                        </a:lnTo>
                        <a:lnTo>
                          <a:pt x="2379" y="1668"/>
                        </a:lnTo>
                        <a:lnTo>
                          <a:pt x="2420" y="1664"/>
                        </a:lnTo>
                        <a:lnTo>
                          <a:pt x="2539" y="1676"/>
                        </a:lnTo>
                        <a:lnTo>
                          <a:pt x="2591" y="1676"/>
                        </a:lnTo>
                        <a:lnTo>
                          <a:pt x="2674" y="1664"/>
                        </a:lnTo>
                        <a:lnTo>
                          <a:pt x="2678" y="1577"/>
                        </a:lnTo>
                        <a:lnTo>
                          <a:pt x="2682" y="1539"/>
                        </a:lnTo>
                        <a:lnTo>
                          <a:pt x="2678" y="1511"/>
                        </a:lnTo>
                        <a:lnTo>
                          <a:pt x="2650" y="1492"/>
                        </a:lnTo>
                        <a:lnTo>
                          <a:pt x="2555" y="1472"/>
                        </a:lnTo>
                        <a:lnTo>
                          <a:pt x="2523" y="1448"/>
                        </a:lnTo>
                        <a:lnTo>
                          <a:pt x="2503" y="1412"/>
                        </a:lnTo>
                        <a:lnTo>
                          <a:pt x="2464" y="1307"/>
                        </a:lnTo>
                        <a:lnTo>
                          <a:pt x="2444" y="1260"/>
                        </a:lnTo>
                        <a:lnTo>
                          <a:pt x="2424" y="1220"/>
                        </a:lnTo>
                        <a:lnTo>
                          <a:pt x="2339" y="1169"/>
                        </a:lnTo>
                        <a:lnTo>
                          <a:pt x="2311" y="1137"/>
                        </a:lnTo>
                        <a:lnTo>
                          <a:pt x="2288" y="1105"/>
                        </a:lnTo>
                        <a:lnTo>
                          <a:pt x="2280" y="1068"/>
                        </a:lnTo>
                        <a:lnTo>
                          <a:pt x="2248" y="1028"/>
                        </a:lnTo>
                        <a:lnTo>
                          <a:pt x="2212" y="1008"/>
                        </a:lnTo>
                        <a:lnTo>
                          <a:pt x="2169" y="993"/>
                        </a:lnTo>
                        <a:lnTo>
                          <a:pt x="2137" y="1000"/>
                        </a:lnTo>
                        <a:lnTo>
                          <a:pt x="2105" y="973"/>
                        </a:lnTo>
                        <a:lnTo>
                          <a:pt x="2082" y="973"/>
                        </a:lnTo>
                        <a:lnTo>
                          <a:pt x="2060" y="957"/>
                        </a:lnTo>
                        <a:lnTo>
                          <a:pt x="2078" y="925"/>
                        </a:lnTo>
                        <a:lnTo>
                          <a:pt x="2101" y="905"/>
                        </a:lnTo>
                        <a:lnTo>
                          <a:pt x="2101" y="852"/>
                        </a:lnTo>
                        <a:lnTo>
                          <a:pt x="2141" y="836"/>
                        </a:lnTo>
                        <a:lnTo>
                          <a:pt x="2228" y="844"/>
                        </a:lnTo>
                        <a:lnTo>
                          <a:pt x="2272" y="824"/>
                        </a:lnTo>
                        <a:lnTo>
                          <a:pt x="2299" y="800"/>
                        </a:lnTo>
                        <a:lnTo>
                          <a:pt x="2307" y="741"/>
                        </a:lnTo>
                        <a:lnTo>
                          <a:pt x="2307" y="608"/>
                        </a:lnTo>
                        <a:lnTo>
                          <a:pt x="2295" y="608"/>
                        </a:lnTo>
                        <a:lnTo>
                          <a:pt x="2264" y="608"/>
                        </a:lnTo>
                        <a:lnTo>
                          <a:pt x="2284" y="481"/>
                        </a:lnTo>
                        <a:lnTo>
                          <a:pt x="2204" y="371"/>
                        </a:lnTo>
                        <a:lnTo>
                          <a:pt x="2131" y="329"/>
                        </a:lnTo>
                        <a:lnTo>
                          <a:pt x="2115" y="123"/>
                        </a:lnTo>
                        <a:lnTo>
                          <a:pt x="2137" y="16"/>
                        </a:lnTo>
                        <a:lnTo>
                          <a:pt x="2026" y="0"/>
                        </a:lnTo>
                        <a:lnTo>
                          <a:pt x="2020" y="60"/>
                        </a:lnTo>
                        <a:lnTo>
                          <a:pt x="1899" y="79"/>
                        </a:lnTo>
                        <a:lnTo>
                          <a:pt x="1947" y="139"/>
                        </a:lnTo>
                        <a:lnTo>
                          <a:pt x="1947" y="254"/>
                        </a:lnTo>
                        <a:lnTo>
                          <a:pt x="1957" y="285"/>
                        </a:lnTo>
                        <a:lnTo>
                          <a:pt x="1862" y="345"/>
                        </a:lnTo>
                        <a:lnTo>
                          <a:pt x="1713" y="551"/>
                        </a:lnTo>
                        <a:lnTo>
                          <a:pt x="1630" y="571"/>
                        </a:lnTo>
                        <a:lnTo>
                          <a:pt x="1567" y="513"/>
                        </a:lnTo>
                        <a:lnTo>
                          <a:pt x="1412" y="428"/>
                        </a:lnTo>
                        <a:lnTo>
                          <a:pt x="1329" y="466"/>
                        </a:lnTo>
                        <a:lnTo>
                          <a:pt x="1333" y="555"/>
                        </a:lnTo>
                        <a:lnTo>
                          <a:pt x="1222" y="561"/>
                        </a:lnTo>
                        <a:lnTo>
                          <a:pt x="1159" y="630"/>
                        </a:lnTo>
                        <a:lnTo>
                          <a:pt x="1006" y="630"/>
                        </a:lnTo>
                        <a:lnTo>
                          <a:pt x="965" y="586"/>
                        </a:lnTo>
                        <a:lnTo>
                          <a:pt x="795" y="583"/>
                        </a:lnTo>
                        <a:lnTo>
                          <a:pt x="715" y="624"/>
                        </a:lnTo>
                        <a:lnTo>
                          <a:pt x="632" y="598"/>
                        </a:lnTo>
                        <a:lnTo>
                          <a:pt x="610" y="519"/>
                        </a:lnTo>
                        <a:lnTo>
                          <a:pt x="547" y="472"/>
                        </a:lnTo>
                        <a:lnTo>
                          <a:pt x="521" y="408"/>
                        </a:lnTo>
                        <a:lnTo>
                          <a:pt x="357" y="444"/>
                        </a:lnTo>
                        <a:lnTo>
                          <a:pt x="367" y="497"/>
                        </a:lnTo>
                        <a:lnTo>
                          <a:pt x="299" y="555"/>
                        </a:lnTo>
                        <a:lnTo>
                          <a:pt x="204" y="535"/>
                        </a:lnTo>
                        <a:lnTo>
                          <a:pt x="125" y="577"/>
                        </a:lnTo>
                        <a:lnTo>
                          <a:pt x="18" y="583"/>
                        </a:lnTo>
                        <a:lnTo>
                          <a:pt x="8" y="620"/>
                        </a:lnTo>
                        <a:lnTo>
                          <a:pt x="0" y="682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latin typeface="+mj-ea"/>
                      <a:ea typeface="+mj-ea"/>
                    </a:endParaRPr>
                  </a:p>
                </p:txBody>
              </p:sp>
              <p:sp>
                <p:nvSpPr>
                  <p:cNvPr id="168" name="Freeform 9"/>
                  <p:cNvSpPr>
                    <a:spLocks/>
                  </p:cNvSpPr>
                  <p:nvPr/>
                </p:nvSpPr>
                <p:spPr bwMode="gray">
                  <a:xfrm>
                    <a:off x="3548063" y="12700"/>
                    <a:ext cx="5667375" cy="4860925"/>
                  </a:xfrm>
                  <a:custGeom>
                    <a:avLst/>
                    <a:gdLst/>
                    <a:ahLst/>
                    <a:cxnLst>
                      <a:cxn ang="0">
                        <a:pos x="158" y="2581"/>
                      </a:cxn>
                      <a:cxn ang="0">
                        <a:pos x="200" y="2618"/>
                      </a:cxn>
                      <a:cxn ang="0">
                        <a:pos x="178" y="2702"/>
                      </a:cxn>
                      <a:cxn ang="0">
                        <a:pos x="346" y="2917"/>
                      </a:cxn>
                      <a:cxn ang="0">
                        <a:pos x="463" y="3009"/>
                      </a:cxn>
                      <a:cxn ang="0">
                        <a:pos x="705" y="2929"/>
                      </a:cxn>
                      <a:cxn ang="0">
                        <a:pos x="885" y="2904"/>
                      </a:cxn>
                      <a:cxn ang="0">
                        <a:pos x="1053" y="3056"/>
                      </a:cxn>
                      <a:cxn ang="0">
                        <a:pos x="1344" y="3062"/>
                      </a:cxn>
                      <a:cxn ang="0">
                        <a:pos x="1671" y="2987"/>
                      </a:cxn>
                      <a:cxn ang="0">
                        <a:pos x="1905" y="2945"/>
                      </a:cxn>
                      <a:cxn ang="0">
                        <a:pos x="2200" y="2777"/>
                      </a:cxn>
                      <a:cxn ang="0">
                        <a:pos x="2285" y="2571"/>
                      </a:cxn>
                      <a:cxn ang="0">
                        <a:pos x="2364" y="2432"/>
                      </a:cxn>
                      <a:cxn ang="0">
                        <a:pos x="2469" y="2761"/>
                      </a:cxn>
                      <a:cxn ang="0">
                        <a:pos x="2602" y="3040"/>
                      </a:cxn>
                      <a:cxn ang="0">
                        <a:pos x="2645" y="2997"/>
                      </a:cxn>
                      <a:cxn ang="0">
                        <a:pos x="2661" y="2866"/>
                      </a:cxn>
                      <a:cxn ang="0">
                        <a:pos x="2689" y="2805"/>
                      </a:cxn>
                      <a:cxn ang="0">
                        <a:pos x="2786" y="2737"/>
                      </a:cxn>
                      <a:cxn ang="0">
                        <a:pos x="2845" y="2557"/>
                      </a:cxn>
                      <a:cxn ang="0">
                        <a:pos x="3053" y="2317"/>
                      </a:cxn>
                      <a:cxn ang="0">
                        <a:pos x="3152" y="1998"/>
                      </a:cxn>
                      <a:cxn ang="0">
                        <a:pos x="3156" y="1790"/>
                      </a:cxn>
                      <a:cxn ang="0">
                        <a:pos x="3231" y="1519"/>
                      </a:cxn>
                      <a:cxn ang="0">
                        <a:pos x="3263" y="1371"/>
                      </a:cxn>
                      <a:cxn ang="0">
                        <a:pos x="3368" y="1319"/>
                      </a:cxn>
                      <a:cxn ang="0">
                        <a:pos x="3534" y="1244"/>
                      </a:cxn>
                      <a:cxn ang="0">
                        <a:pos x="3558" y="1115"/>
                      </a:cxn>
                      <a:cxn ang="0">
                        <a:pos x="3507" y="1107"/>
                      </a:cxn>
                      <a:cxn ang="0">
                        <a:pos x="3435" y="1032"/>
                      </a:cxn>
                      <a:cxn ang="0">
                        <a:pos x="3334" y="960"/>
                      </a:cxn>
                      <a:cxn ang="0">
                        <a:pos x="3295" y="616"/>
                      </a:cxn>
                      <a:cxn ang="0">
                        <a:pos x="3291" y="436"/>
                      </a:cxn>
                      <a:cxn ang="0">
                        <a:pos x="3224" y="255"/>
                      </a:cxn>
                      <a:cxn ang="0">
                        <a:pos x="3097" y="121"/>
                      </a:cxn>
                      <a:cxn ang="0">
                        <a:pos x="2948" y="0"/>
                      </a:cxn>
                      <a:cxn ang="0">
                        <a:pos x="2758" y="180"/>
                      </a:cxn>
                      <a:cxn ang="0">
                        <a:pos x="2507" y="313"/>
                      </a:cxn>
                      <a:cxn ang="0">
                        <a:pos x="2075" y="212"/>
                      </a:cxn>
                      <a:cxn ang="0">
                        <a:pos x="2043" y="208"/>
                      </a:cxn>
                      <a:cxn ang="0">
                        <a:pos x="1697" y="255"/>
                      </a:cxn>
                      <a:cxn ang="0">
                        <a:pos x="1083" y="255"/>
                      </a:cxn>
                      <a:cxn ang="0">
                        <a:pos x="669" y="463"/>
                      </a:cxn>
                      <a:cxn ang="0">
                        <a:pos x="465" y="824"/>
                      </a:cxn>
                      <a:cxn ang="0">
                        <a:pos x="465" y="1472"/>
                      </a:cxn>
                      <a:cxn ang="0">
                        <a:pos x="319" y="1668"/>
                      </a:cxn>
                      <a:cxn ang="0">
                        <a:pos x="232" y="1683"/>
                      </a:cxn>
                      <a:cxn ang="0">
                        <a:pos x="200" y="1806"/>
                      </a:cxn>
                      <a:cxn ang="0">
                        <a:pos x="91" y="1994"/>
                      </a:cxn>
                      <a:cxn ang="0">
                        <a:pos x="87" y="2050"/>
                      </a:cxn>
                      <a:cxn ang="0">
                        <a:pos x="36" y="2125"/>
                      </a:cxn>
                      <a:cxn ang="0">
                        <a:pos x="4" y="2258"/>
                      </a:cxn>
                      <a:cxn ang="0">
                        <a:pos x="12" y="2341"/>
                      </a:cxn>
                      <a:cxn ang="0">
                        <a:pos x="91" y="2383"/>
                      </a:cxn>
                    </a:cxnLst>
                    <a:rect l="0" t="0" r="r" b="b"/>
                    <a:pathLst>
                      <a:path w="3570" h="3062">
                        <a:moveTo>
                          <a:pt x="91" y="2383"/>
                        </a:moveTo>
                        <a:lnTo>
                          <a:pt x="111" y="2446"/>
                        </a:lnTo>
                        <a:lnTo>
                          <a:pt x="158" y="2581"/>
                        </a:lnTo>
                        <a:lnTo>
                          <a:pt x="162" y="2589"/>
                        </a:lnTo>
                        <a:lnTo>
                          <a:pt x="188" y="2599"/>
                        </a:lnTo>
                        <a:lnTo>
                          <a:pt x="200" y="2618"/>
                        </a:lnTo>
                        <a:lnTo>
                          <a:pt x="212" y="2654"/>
                        </a:lnTo>
                        <a:lnTo>
                          <a:pt x="212" y="2686"/>
                        </a:lnTo>
                        <a:lnTo>
                          <a:pt x="178" y="2702"/>
                        </a:lnTo>
                        <a:lnTo>
                          <a:pt x="216" y="2761"/>
                        </a:lnTo>
                        <a:lnTo>
                          <a:pt x="283" y="2834"/>
                        </a:lnTo>
                        <a:lnTo>
                          <a:pt x="346" y="2917"/>
                        </a:lnTo>
                        <a:lnTo>
                          <a:pt x="366" y="2981"/>
                        </a:lnTo>
                        <a:lnTo>
                          <a:pt x="356" y="3015"/>
                        </a:lnTo>
                        <a:lnTo>
                          <a:pt x="463" y="3009"/>
                        </a:lnTo>
                        <a:lnTo>
                          <a:pt x="542" y="2967"/>
                        </a:lnTo>
                        <a:lnTo>
                          <a:pt x="637" y="2987"/>
                        </a:lnTo>
                        <a:lnTo>
                          <a:pt x="705" y="2929"/>
                        </a:lnTo>
                        <a:lnTo>
                          <a:pt x="695" y="2876"/>
                        </a:lnTo>
                        <a:lnTo>
                          <a:pt x="859" y="2840"/>
                        </a:lnTo>
                        <a:lnTo>
                          <a:pt x="885" y="2904"/>
                        </a:lnTo>
                        <a:lnTo>
                          <a:pt x="948" y="2951"/>
                        </a:lnTo>
                        <a:lnTo>
                          <a:pt x="970" y="3030"/>
                        </a:lnTo>
                        <a:lnTo>
                          <a:pt x="1053" y="3056"/>
                        </a:lnTo>
                        <a:lnTo>
                          <a:pt x="1133" y="3015"/>
                        </a:lnTo>
                        <a:lnTo>
                          <a:pt x="1303" y="3018"/>
                        </a:lnTo>
                        <a:lnTo>
                          <a:pt x="1344" y="3062"/>
                        </a:lnTo>
                        <a:lnTo>
                          <a:pt x="1497" y="3062"/>
                        </a:lnTo>
                        <a:lnTo>
                          <a:pt x="1560" y="2993"/>
                        </a:lnTo>
                        <a:lnTo>
                          <a:pt x="1671" y="2987"/>
                        </a:lnTo>
                        <a:lnTo>
                          <a:pt x="1667" y="2898"/>
                        </a:lnTo>
                        <a:lnTo>
                          <a:pt x="1750" y="2860"/>
                        </a:lnTo>
                        <a:lnTo>
                          <a:pt x="1905" y="2945"/>
                        </a:lnTo>
                        <a:lnTo>
                          <a:pt x="1968" y="3003"/>
                        </a:lnTo>
                        <a:lnTo>
                          <a:pt x="2051" y="2983"/>
                        </a:lnTo>
                        <a:lnTo>
                          <a:pt x="2200" y="2777"/>
                        </a:lnTo>
                        <a:lnTo>
                          <a:pt x="2295" y="2717"/>
                        </a:lnTo>
                        <a:lnTo>
                          <a:pt x="2285" y="2686"/>
                        </a:lnTo>
                        <a:lnTo>
                          <a:pt x="2285" y="2571"/>
                        </a:lnTo>
                        <a:lnTo>
                          <a:pt x="2237" y="2511"/>
                        </a:lnTo>
                        <a:lnTo>
                          <a:pt x="2358" y="2492"/>
                        </a:lnTo>
                        <a:lnTo>
                          <a:pt x="2364" y="2432"/>
                        </a:lnTo>
                        <a:lnTo>
                          <a:pt x="2475" y="2448"/>
                        </a:lnTo>
                        <a:lnTo>
                          <a:pt x="2453" y="2555"/>
                        </a:lnTo>
                        <a:lnTo>
                          <a:pt x="2469" y="2761"/>
                        </a:lnTo>
                        <a:lnTo>
                          <a:pt x="2542" y="2803"/>
                        </a:lnTo>
                        <a:lnTo>
                          <a:pt x="2622" y="2913"/>
                        </a:lnTo>
                        <a:lnTo>
                          <a:pt x="2602" y="3040"/>
                        </a:lnTo>
                        <a:lnTo>
                          <a:pt x="2633" y="3040"/>
                        </a:lnTo>
                        <a:lnTo>
                          <a:pt x="2645" y="3040"/>
                        </a:lnTo>
                        <a:lnTo>
                          <a:pt x="2645" y="2997"/>
                        </a:lnTo>
                        <a:lnTo>
                          <a:pt x="2661" y="2933"/>
                        </a:lnTo>
                        <a:lnTo>
                          <a:pt x="2669" y="2890"/>
                        </a:lnTo>
                        <a:lnTo>
                          <a:pt x="2661" y="2866"/>
                        </a:lnTo>
                        <a:lnTo>
                          <a:pt x="2661" y="2822"/>
                        </a:lnTo>
                        <a:lnTo>
                          <a:pt x="2677" y="2830"/>
                        </a:lnTo>
                        <a:lnTo>
                          <a:pt x="2689" y="2805"/>
                        </a:lnTo>
                        <a:lnTo>
                          <a:pt x="2717" y="2757"/>
                        </a:lnTo>
                        <a:lnTo>
                          <a:pt x="2742" y="2737"/>
                        </a:lnTo>
                        <a:lnTo>
                          <a:pt x="2786" y="2737"/>
                        </a:lnTo>
                        <a:lnTo>
                          <a:pt x="2806" y="2717"/>
                        </a:lnTo>
                        <a:lnTo>
                          <a:pt x="2826" y="2610"/>
                        </a:lnTo>
                        <a:lnTo>
                          <a:pt x="2845" y="2557"/>
                        </a:lnTo>
                        <a:lnTo>
                          <a:pt x="2984" y="2363"/>
                        </a:lnTo>
                        <a:lnTo>
                          <a:pt x="3020" y="2325"/>
                        </a:lnTo>
                        <a:lnTo>
                          <a:pt x="3053" y="2317"/>
                        </a:lnTo>
                        <a:lnTo>
                          <a:pt x="3081" y="2286"/>
                        </a:lnTo>
                        <a:lnTo>
                          <a:pt x="3152" y="2062"/>
                        </a:lnTo>
                        <a:lnTo>
                          <a:pt x="3152" y="1998"/>
                        </a:lnTo>
                        <a:lnTo>
                          <a:pt x="3140" y="1935"/>
                        </a:lnTo>
                        <a:lnTo>
                          <a:pt x="3140" y="1858"/>
                        </a:lnTo>
                        <a:lnTo>
                          <a:pt x="3156" y="1790"/>
                        </a:lnTo>
                        <a:lnTo>
                          <a:pt x="3184" y="1735"/>
                        </a:lnTo>
                        <a:lnTo>
                          <a:pt x="3220" y="1602"/>
                        </a:lnTo>
                        <a:lnTo>
                          <a:pt x="3231" y="1519"/>
                        </a:lnTo>
                        <a:lnTo>
                          <a:pt x="3231" y="1487"/>
                        </a:lnTo>
                        <a:lnTo>
                          <a:pt x="3247" y="1406"/>
                        </a:lnTo>
                        <a:lnTo>
                          <a:pt x="3263" y="1371"/>
                        </a:lnTo>
                        <a:lnTo>
                          <a:pt x="3315" y="1367"/>
                        </a:lnTo>
                        <a:lnTo>
                          <a:pt x="3350" y="1347"/>
                        </a:lnTo>
                        <a:lnTo>
                          <a:pt x="3368" y="1319"/>
                        </a:lnTo>
                        <a:lnTo>
                          <a:pt x="3451" y="1279"/>
                        </a:lnTo>
                        <a:lnTo>
                          <a:pt x="3483" y="1268"/>
                        </a:lnTo>
                        <a:lnTo>
                          <a:pt x="3534" y="1244"/>
                        </a:lnTo>
                        <a:lnTo>
                          <a:pt x="3562" y="1186"/>
                        </a:lnTo>
                        <a:lnTo>
                          <a:pt x="3570" y="1151"/>
                        </a:lnTo>
                        <a:lnTo>
                          <a:pt x="3558" y="1115"/>
                        </a:lnTo>
                        <a:lnTo>
                          <a:pt x="3538" y="1115"/>
                        </a:lnTo>
                        <a:lnTo>
                          <a:pt x="3527" y="1099"/>
                        </a:lnTo>
                        <a:lnTo>
                          <a:pt x="3507" y="1107"/>
                        </a:lnTo>
                        <a:lnTo>
                          <a:pt x="3491" y="1060"/>
                        </a:lnTo>
                        <a:lnTo>
                          <a:pt x="3463" y="1036"/>
                        </a:lnTo>
                        <a:lnTo>
                          <a:pt x="3435" y="1032"/>
                        </a:lnTo>
                        <a:lnTo>
                          <a:pt x="3376" y="1008"/>
                        </a:lnTo>
                        <a:lnTo>
                          <a:pt x="3354" y="988"/>
                        </a:lnTo>
                        <a:lnTo>
                          <a:pt x="3334" y="960"/>
                        </a:lnTo>
                        <a:lnTo>
                          <a:pt x="3307" y="840"/>
                        </a:lnTo>
                        <a:lnTo>
                          <a:pt x="3295" y="749"/>
                        </a:lnTo>
                        <a:lnTo>
                          <a:pt x="3295" y="616"/>
                        </a:lnTo>
                        <a:lnTo>
                          <a:pt x="3291" y="459"/>
                        </a:lnTo>
                        <a:lnTo>
                          <a:pt x="3303" y="463"/>
                        </a:lnTo>
                        <a:lnTo>
                          <a:pt x="3291" y="436"/>
                        </a:lnTo>
                        <a:lnTo>
                          <a:pt x="3231" y="368"/>
                        </a:lnTo>
                        <a:lnTo>
                          <a:pt x="3228" y="317"/>
                        </a:lnTo>
                        <a:lnTo>
                          <a:pt x="3224" y="255"/>
                        </a:lnTo>
                        <a:lnTo>
                          <a:pt x="3180" y="192"/>
                        </a:lnTo>
                        <a:lnTo>
                          <a:pt x="3140" y="172"/>
                        </a:lnTo>
                        <a:lnTo>
                          <a:pt x="3097" y="121"/>
                        </a:lnTo>
                        <a:lnTo>
                          <a:pt x="3053" y="97"/>
                        </a:lnTo>
                        <a:lnTo>
                          <a:pt x="2996" y="73"/>
                        </a:lnTo>
                        <a:lnTo>
                          <a:pt x="2948" y="0"/>
                        </a:lnTo>
                        <a:lnTo>
                          <a:pt x="2861" y="77"/>
                        </a:lnTo>
                        <a:lnTo>
                          <a:pt x="2806" y="57"/>
                        </a:lnTo>
                        <a:lnTo>
                          <a:pt x="2758" y="180"/>
                        </a:lnTo>
                        <a:lnTo>
                          <a:pt x="2645" y="208"/>
                        </a:lnTo>
                        <a:lnTo>
                          <a:pt x="2614" y="305"/>
                        </a:lnTo>
                        <a:lnTo>
                          <a:pt x="2507" y="313"/>
                        </a:lnTo>
                        <a:lnTo>
                          <a:pt x="2435" y="261"/>
                        </a:lnTo>
                        <a:lnTo>
                          <a:pt x="2055" y="255"/>
                        </a:lnTo>
                        <a:lnTo>
                          <a:pt x="2075" y="212"/>
                        </a:lnTo>
                        <a:lnTo>
                          <a:pt x="2063" y="212"/>
                        </a:lnTo>
                        <a:lnTo>
                          <a:pt x="2055" y="208"/>
                        </a:lnTo>
                        <a:lnTo>
                          <a:pt x="2043" y="208"/>
                        </a:lnTo>
                        <a:lnTo>
                          <a:pt x="2016" y="255"/>
                        </a:lnTo>
                        <a:lnTo>
                          <a:pt x="1905" y="255"/>
                        </a:lnTo>
                        <a:lnTo>
                          <a:pt x="1697" y="255"/>
                        </a:lnTo>
                        <a:lnTo>
                          <a:pt x="1491" y="255"/>
                        </a:lnTo>
                        <a:lnTo>
                          <a:pt x="1283" y="255"/>
                        </a:lnTo>
                        <a:lnTo>
                          <a:pt x="1083" y="255"/>
                        </a:lnTo>
                        <a:lnTo>
                          <a:pt x="877" y="255"/>
                        </a:lnTo>
                        <a:lnTo>
                          <a:pt x="669" y="255"/>
                        </a:lnTo>
                        <a:lnTo>
                          <a:pt x="669" y="463"/>
                        </a:lnTo>
                        <a:lnTo>
                          <a:pt x="669" y="695"/>
                        </a:lnTo>
                        <a:lnTo>
                          <a:pt x="465" y="695"/>
                        </a:lnTo>
                        <a:lnTo>
                          <a:pt x="465" y="824"/>
                        </a:lnTo>
                        <a:lnTo>
                          <a:pt x="465" y="1044"/>
                        </a:lnTo>
                        <a:lnTo>
                          <a:pt x="465" y="1256"/>
                        </a:lnTo>
                        <a:lnTo>
                          <a:pt x="465" y="1472"/>
                        </a:lnTo>
                        <a:lnTo>
                          <a:pt x="457" y="1664"/>
                        </a:lnTo>
                        <a:lnTo>
                          <a:pt x="434" y="1668"/>
                        </a:lnTo>
                        <a:lnTo>
                          <a:pt x="319" y="1668"/>
                        </a:lnTo>
                        <a:lnTo>
                          <a:pt x="283" y="1672"/>
                        </a:lnTo>
                        <a:lnTo>
                          <a:pt x="236" y="1679"/>
                        </a:lnTo>
                        <a:lnTo>
                          <a:pt x="232" y="1683"/>
                        </a:lnTo>
                        <a:lnTo>
                          <a:pt x="220" y="1719"/>
                        </a:lnTo>
                        <a:lnTo>
                          <a:pt x="216" y="1763"/>
                        </a:lnTo>
                        <a:lnTo>
                          <a:pt x="200" y="1806"/>
                        </a:lnTo>
                        <a:lnTo>
                          <a:pt x="154" y="1874"/>
                        </a:lnTo>
                        <a:lnTo>
                          <a:pt x="91" y="1943"/>
                        </a:lnTo>
                        <a:lnTo>
                          <a:pt x="91" y="1994"/>
                        </a:lnTo>
                        <a:lnTo>
                          <a:pt x="95" y="2026"/>
                        </a:lnTo>
                        <a:lnTo>
                          <a:pt x="91" y="2046"/>
                        </a:lnTo>
                        <a:lnTo>
                          <a:pt x="87" y="2050"/>
                        </a:lnTo>
                        <a:lnTo>
                          <a:pt x="55" y="2070"/>
                        </a:lnTo>
                        <a:lnTo>
                          <a:pt x="43" y="2086"/>
                        </a:lnTo>
                        <a:lnTo>
                          <a:pt x="36" y="2125"/>
                        </a:lnTo>
                        <a:lnTo>
                          <a:pt x="36" y="2179"/>
                        </a:lnTo>
                        <a:lnTo>
                          <a:pt x="28" y="2214"/>
                        </a:lnTo>
                        <a:lnTo>
                          <a:pt x="4" y="2258"/>
                        </a:lnTo>
                        <a:lnTo>
                          <a:pt x="0" y="2278"/>
                        </a:lnTo>
                        <a:lnTo>
                          <a:pt x="0" y="2341"/>
                        </a:lnTo>
                        <a:lnTo>
                          <a:pt x="12" y="2341"/>
                        </a:lnTo>
                        <a:lnTo>
                          <a:pt x="32" y="2337"/>
                        </a:lnTo>
                        <a:lnTo>
                          <a:pt x="95" y="2321"/>
                        </a:lnTo>
                        <a:lnTo>
                          <a:pt x="91" y="2383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latin typeface="+mj-ea"/>
                      <a:ea typeface="+mj-ea"/>
                    </a:endParaRPr>
                  </a:p>
                </p:txBody>
              </p:sp>
            </p:grpSp>
          </p:grpSp>
        </p:grpSp>
      </p:grpSp>
      <p:grpSp>
        <p:nvGrpSpPr>
          <p:cNvPr id="364" name="Group 36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5442999" y="3004089"/>
            <a:ext cx="1107996" cy="433104"/>
            <a:chOff x="5442999" y="3004089"/>
            <a:chExt cx="1107996" cy="433104"/>
          </a:xfrm>
        </p:grpSpPr>
        <p:sp>
          <p:nvSpPr>
            <p:cNvPr id="365" name="TextBox 364"/>
            <p:cNvSpPr txBox="1"/>
            <p:nvPr/>
          </p:nvSpPr>
          <p:spPr>
            <a:xfrm>
              <a:off x="5442999" y="3004089"/>
              <a:ext cx="1107996" cy="23083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rtlCol="0">
              <a:spAutoFit/>
            </a:bodyPr>
            <a:lstStyle/>
            <a:p>
              <a:r>
                <a:rPr lang="en-US" sz="900">
                  <a:solidFill>
                    <a:schemeClr val="bg1"/>
                  </a:solidFill>
                  <a:latin typeface="+mj-ea"/>
                  <a:ea typeface="+mj-ea"/>
                </a:rPr>
                <a:t>TEXT GOES HERE</a:t>
              </a:r>
            </a:p>
          </p:txBody>
        </p:sp>
        <p:sp>
          <p:nvSpPr>
            <p:cNvPr id="366" name="Right Triangle 365"/>
            <p:cNvSpPr/>
            <p:nvPr/>
          </p:nvSpPr>
          <p:spPr>
            <a:xfrm flipV="1">
              <a:off x="5442999" y="3231521"/>
              <a:ext cx="152090" cy="205672"/>
            </a:xfrm>
            <a:prstGeom prst="rt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ea"/>
                <a:ea typeface="+mj-ea"/>
              </a:endParaRPr>
            </a:p>
          </p:txBody>
        </p:sp>
      </p:grpSp>
      <p:sp>
        <p:nvSpPr>
          <p:cNvPr id="367" name="TextBox 36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442999" y="2701221"/>
            <a:ext cx="517834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00" b="1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USA</a:t>
            </a:r>
          </a:p>
        </p:txBody>
      </p:sp>
      <p:sp>
        <p:nvSpPr>
          <p:cNvPr id="368" name="Freeform 36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445649" y="3526899"/>
            <a:ext cx="214160" cy="368087"/>
          </a:xfrm>
          <a:custGeom>
            <a:avLst/>
            <a:gdLst/>
            <a:ahLst/>
            <a:cxnLst/>
            <a:rect l="l" t="t" r="r" b="b"/>
            <a:pathLst>
              <a:path w="130628" h="224517">
                <a:moveTo>
                  <a:pt x="24492" y="61232"/>
                </a:moveTo>
                <a:lnTo>
                  <a:pt x="106135" y="61232"/>
                </a:lnTo>
                <a:cubicBezTo>
                  <a:pt x="112939" y="61232"/>
                  <a:pt x="118722" y="63613"/>
                  <a:pt x="123485" y="68375"/>
                </a:cubicBezTo>
                <a:cubicBezTo>
                  <a:pt x="128247" y="73138"/>
                  <a:pt x="130628" y="78921"/>
                  <a:pt x="130628" y="85725"/>
                </a:cubicBezTo>
                <a:lnTo>
                  <a:pt x="130628" y="138792"/>
                </a:lnTo>
                <a:cubicBezTo>
                  <a:pt x="130628" y="142194"/>
                  <a:pt x="129438" y="145086"/>
                  <a:pt x="127056" y="147467"/>
                </a:cubicBezTo>
                <a:cubicBezTo>
                  <a:pt x="124675" y="149848"/>
                  <a:pt x="121784" y="151039"/>
                  <a:pt x="118382" y="151039"/>
                </a:cubicBezTo>
                <a:cubicBezTo>
                  <a:pt x="114980" y="151039"/>
                  <a:pt x="112089" y="149848"/>
                  <a:pt x="109707" y="147467"/>
                </a:cubicBezTo>
                <a:cubicBezTo>
                  <a:pt x="107326" y="145086"/>
                  <a:pt x="106135" y="142194"/>
                  <a:pt x="106135" y="138792"/>
                </a:cubicBezTo>
                <a:lnTo>
                  <a:pt x="106135" y="93889"/>
                </a:lnTo>
                <a:lnTo>
                  <a:pt x="97971" y="93889"/>
                </a:lnTo>
                <a:lnTo>
                  <a:pt x="97971" y="210230"/>
                </a:lnTo>
                <a:cubicBezTo>
                  <a:pt x="97971" y="214142"/>
                  <a:pt x="96568" y="217501"/>
                  <a:pt x="93761" y="220308"/>
                </a:cubicBezTo>
                <a:cubicBezTo>
                  <a:pt x="90955" y="223114"/>
                  <a:pt x="87596" y="224517"/>
                  <a:pt x="83684" y="224517"/>
                </a:cubicBezTo>
                <a:cubicBezTo>
                  <a:pt x="79772" y="224517"/>
                  <a:pt x="76412" y="223114"/>
                  <a:pt x="73606" y="220308"/>
                </a:cubicBezTo>
                <a:cubicBezTo>
                  <a:pt x="70799" y="217501"/>
                  <a:pt x="69396" y="214142"/>
                  <a:pt x="69396" y="210230"/>
                </a:cubicBezTo>
                <a:lnTo>
                  <a:pt x="69396" y="151039"/>
                </a:lnTo>
                <a:lnTo>
                  <a:pt x="61232" y="151039"/>
                </a:lnTo>
                <a:lnTo>
                  <a:pt x="61232" y="210230"/>
                </a:lnTo>
                <a:cubicBezTo>
                  <a:pt x="61232" y="214142"/>
                  <a:pt x="59829" y="217501"/>
                  <a:pt x="57022" y="220308"/>
                </a:cubicBezTo>
                <a:cubicBezTo>
                  <a:pt x="54216" y="223114"/>
                  <a:pt x="50856" y="224517"/>
                  <a:pt x="46944" y="224517"/>
                </a:cubicBezTo>
                <a:cubicBezTo>
                  <a:pt x="43032" y="224517"/>
                  <a:pt x="39673" y="223114"/>
                  <a:pt x="36866" y="220308"/>
                </a:cubicBezTo>
                <a:cubicBezTo>
                  <a:pt x="34060" y="217501"/>
                  <a:pt x="32657" y="214142"/>
                  <a:pt x="32657" y="210230"/>
                </a:cubicBezTo>
                <a:lnTo>
                  <a:pt x="32657" y="93889"/>
                </a:lnTo>
                <a:lnTo>
                  <a:pt x="24492" y="93889"/>
                </a:lnTo>
                <a:lnTo>
                  <a:pt x="24492" y="138792"/>
                </a:lnTo>
                <a:cubicBezTo>
                  <a:pt x="24492" y="142194"/>
                  <a:pt x="23302" y="145086"/>
                  <a:pt x="20921" y="147467"/>
                </a:cubicBezTo>
                <a:cubicBezTo>
                  <a:pt x="18539" y="149848"/>
                  <a:pt x="15648" y="151039"/>
                  <a:pt x="12246" y="151039"/>
                </a:cubicBezTo>
                <a:cubicBezTo>
                  <a:pt x="8844" y="151039"/>
                  <a:pt x="5953" y="149848"/>
                  <a:pt x="3572" y="147467"/>
                </a:cubicBezTo>
                <a:cubicBezTo>
                  <a:pt x="1190" y="145086"/>
                  <a:pt x="0" y="142194"/>
                  <a:pt x="0" y="138792"/>
                </a:cubicBezTo>
                <a:lnTo>
                  <a:pt x="0" y="85725"/>
                </a:lnTo>
                <a:cubicBezTo>
                  <a:pt x="0" y="78921"/>
                  <a:pt x="2381" y="73138"/>
                  <a:pt x="7143" y="68375"/>
                </a:cubicBezTo>
                <a:cubicBezTo>
                  <a:pt x="11906" y="63613"/>
                  <a:pt x="17689" y="61232"/>
                  <a:pt x="24492" y="61232"/>
                </a:cubicBezTo>
                <a:close/>
                <a:moveTo>
                  <a:pt x="65314" y="0"/>
                </a:moveTo>
                <a:cubicBezTo>
                  <a:pt x="73223" y="0"/>
                  <a:pt x="79963" y="2785"/>
                  <a:pt x="85533" y="8355"/>
                </a:cubicBezTo>
                <a:cubicBezTo>
                  <a:pt x="91104" y="13926"/>
                  <a:pt x="93889" y="20665"/>
                  <a:pt x="93889" y="28575"/>
                </a:cubicBezTo>
                <a:cubicBezTo>
                  <a:pt x="93889" y="36484"/>
                  <a:pt x="91104" y="43223"/>
                  <a:pt x="85533" y="48794"/>
                </a:cubicBezTo>
                <a:cubicBezTo>
                  <a:pt x="79963" y="54364"/>
                  <a:pt x="73223" y="57150"/>
                  <a:pt x="65314" y="57150"/>
                </a:cubicBezTo>
                <a:cubicBezTo>
                  <a:pt x="57405" y="57150"/>
                  <a:pt x="50665" y="54364"/>
                  <a:pt x="45095" y="48794"/>
                </a:cubicBezTo>
                <a:cubicBezTo>
                  <a:pt x="39524" y="43223"/>
                  <a:pt x="36739" y="36484"/>
                  <a:pt x="36739" y="28575"/>
                </a:cubicBezTo>
                <a:cubicBezTo>
                  <a:pt x="36739" y="20665"/>
                  <a:pt x="39524" y="13926"/>
                  <a:pt x="45095" y="8355"/>
                </a:cubicBezTo>
                <a:cubicBezTo>
                  <a:pt x="50665" y="2785"/>
                  <a:pt x="57405" y="0"/>
                  <a:pt x="6531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69" name="Rectangle 36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711790" y="3480174"/>
            <a:ext cx="158341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="1">
                <a:solidFill>
                  <a:schemeClr val="accent1"/>
                </a:solidFill>
                <a:latin typeface="+mj-ea"/>
                <a:ea typeface="+mj-ea"/>
              </a:rPr>
              <a:t>1885,25k</a:t>
            </a:r>
            <a:endParaRPr lang="en-US" sz="900">
              <a:solidFill>
                <a:schemeClr val="bg1">
                  <a:lumMod val="65000"/>
                </a:schemeClr>
              </a:solidFill>
              <a:latin typeface="+mj-ea"/>
              <a:ea typeface="+mj-ea"/>
            </a:endParaRPr>
          </a:p>
          <a:p>
            <a:r>
              <a:rPr lang="en-US" sz="900">
                <a:solidFill>
                  <a:schemeClr val="bg1">
                    <a:lumMod val="65000"/>
                  </a:schemeClr>
                </a:solidFill>
                <a:latin typeface="+mj-ea"/>
                <a:ea typeface="+mj-ea"/>
              </a:rPr>
              <a:t>Conveniently iterate top-line alignments for</a:t>
            </a:r>
          </a:p>
        </p:txBody>
      </p:sp>
      <p:grpSp>
        <p:nvGrpSpPr>
          <p:cNvPr id="370" name="Group 36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6718252" y="4939568"/>
            <a:ext cx="1107996" cy="433104"/>
            <a:chOff x="6718252" y="4939568"/>
            <a:chExt cx="1107996" cy="433104"/>
          </a:xfrm>
        </p:grpSpPr>
        <p:sp>
          <p:nvSpPr>
            <p:cNvPr id="371" name="TextBox 370"/>
            <p:cNvSpPr txBox="1"/>
            <p:nvPr/>
          </p:nvSpPr>
          <p:spPr>
            <a:xfrm>
              <a:off x="6718252" y="4939568"/>
              <a:ext cx="1107996" cy="230832"/>
            </a:xfrm>
            <a:prstGeom prst="rect">
              <a:avLst/>
            </a:prstGeom>
            <a:solidFill>
              <a:schemeClr val="accent6"/>
            </a:solidFill>
          </p:spPr>
          <p:txBody>
            <a:bodyPr wrap="none" rtlCol="0">
              <a:spAutoFit/>
            </a:bodyPr>
            <a:lstStyle/>
            <a:p>
              <a:r>
                <a:rPr lang="en-US" sz="900">
                  <a:solidFill>
                    <a:schemeClr val="bg1"/>
                  </a:solidFill>
                  <a:latin typeface="+mj-ea"/>
                  <a:ea typeface="+mj-ea"/>
                </a:rPr>
                <a:t>TEXT GOES HERE</a:t>
              </a:r>
            </a:p>
          </p:txBody>
        </p:sp>
        <p:sp>
          <p:nvSpPr>
            <p:cNvPr id="372" name="Right Triangle 371"/>
            <p:cNvSpPr/>
            <p:nvPr/>
          </p:nvSpPr>
          <p:spPr>
            <a:xfrm flipV="1">
              <a:off x="6718252" y="5167000"/>
              <a:ext cx="152090" cy="205672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ea"/>
                <a:ea typeface="+mj-ea"/>
              </a:endParaRPr>
            </a:p>
          </p:txBody>
        </p:sp>
      </p:grpSp>
      <p:sp>
        <p:nvSpPr>
          <p:cNvPr id="373" name="TextBox 37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6718252" y="4636700"/>
            <a:ext cx="76617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00" b="1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BRAZIL</a:t>
            </a:r>
          </a:p>
        </p:txBody>
      </p:sp>
      <p:sp>
        <p:nvSpPr>
          <p:cNvPr id="374" name="Freeform 37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720902" y="5462378"/>
            <a:ext cx="214160" cy="368087"/>
          </a:xfrm>
          <a:custGeom>
            <a:avLst/>
            <a:gdLst/>
            <a:ahLst/>
            <a:cxnLst/>
            <a:rect l="l" t="t" r="r" b="b"/>
            <a:pathLst>
              <a:path w="130628" h="224517">
                <a:moveTo>
                  <a:pt x="24492" y="61232"/>
                </a:moveTo>
                <a:lnTo>
                  <a:pt x="106135" y="61232"/>
                </a:lnTo>
                <a:cubicBezTo>
                  <a:pt x="112939" y="61232"/>
                  <a:pt x="118722" y="63613"/>
                  <a:pt x="123485" y="68375"/>
                </a:cubicBezTo>
                <a:cubicBezTo>
                  <a:pt x="128247" y="73138"/>
                  <a:pt x="130628" y="78921"/>
                  <a:pt x="130628" y="85725"/>
                </a:cubicBezTo>
                <a:lnTo>
                  <a:pt x="130628" y="138792"/>
                </a:lnTo>
                <a:cubicBezTo>
                  <a:pt x="130628" y="142194"/>
                  <a:pt x="129438" y="145086"/>
                  <a:pt x="127056" y="147467"/>
                </a:cubicBezTo>
                <a:cubicBezTo>
                  <a:pt x="124675" y="149848"/>
                  <a:pt x="121784" y="151039"/>
                  <a:pt x="118382" y="151039"/>
                </a:cubicBezTo>
                <a:cubicBezTo>
                  <a:pt x="114980" y="151039"/>
                  <a:pt x="112089" y="149848"/>
                  <a:pt x="109707" y="147467"/>
                </a:cubicBezTo>
                <a:cubicBezTo>
                  <a:pt x="107326" y="145086"/>
                  <a:pt x="106135" y="142194"/>
                  <a:pt x="106135" y="138792"/>
                </a:cubicBezTo>
                <a:lnTo>
                  <a:pt x="106135" y="93889"/>
                </a:lnTo>
                <a:lnTo>
                  <a:pt x="97971" y="93889"/>
                </a:lnTo>
                <a:lnTo>
                  <a:pt x="97971" y="210230"/>
                </a:lnTo>
                <a:cubicBezTo>
                  <a:pt x="97971" y="214142"/>
                  <a:pt x="96568" y="217501"/>
                  <a:pt x="93761" y="220308"/>
                </a:cubicBezTo>
                <a:cubicBezTo>
                  <a:pt x="90955" y="223114"/>
                  <a:pt x="87596" y="224517"/>
                  <a:pt x="83684" y="224517"/>
                </a:cubicBezTo>
                <a:cubicBezTo>
                  <a:pt x="79772" y="224517"/>
                  <a:pt x="76412" y="223114"/>
                  <a:pt x="73606" y="220308"/>
                </a:cubicBezTo>
                <a:cubicBezTo>
                  <a:pt x="70799" y="217501"/>
                  <a:pt x="69396" y="214142"/>
                  <a:pt x="69396" y="210230"/>
                </a:cubicBezTo>
                <a:lnTo>
                  <a:pt x="69396" y="151039"/>
                </a:lnTo>
                <a:lnTo>
                  <a:pt x="61232" y="151039"/>
                </a:lnTo>
                <a:lnTo>
                  <a:pt x="61232" y="210230"/>
                </a:lnTo>
                <a:cubicBezTo>
                  <a:pt x="61232" y="214142"/>
                  <a:pt x="59829" y="217501"/>
                  <a:pt x="57022" y="220308"/>
                </a:cubicBezTo>
                <a:cubicBezTo>
                  <a:pt x="54216" y="223114"/>
                  <a:pt x="50856" y="224517"/>
                  <a:pt x="46944" y="224517"/>
                </a:cubicBezTo>
                <a:cubicBezTo>
                  <a:pt x="43032" y="224517"/>
                  <a:pt x="39673" y="223114"/>
                  <a:pt x="36866" y="220308"/>
                </a:cubicBezTo>
                <a:cubicBezTo>
                  <a:pt x="34060" y="217501"/>
                  <a:pt x="32657" y="214142"/>
                  <a:pt x="32657" y="210230"/>
                </a:cubicBezTo>
                <a:lnTo>
                  <a:pt x="32657" y="93889"/>
                </a:lnTo>
                <a:lnTo>
                  <a:pt x="24492" y="93889"/>
                </a:lnTo>
                <a:lnTo>
                  <a:pt x="24492" y="138792"/>
                </a:lnTo>
                <a:cubicBezTo>
                  <a:pt x="24492" y="142194"/>
                  <a:pt x="23302" y="145086"/>
                  <a:pt x="20921" y="147467"/>
                </a:cubicBezTo>
                <a:cubicBezTo>
                  <a:pt x="18539" y="149848"/>
                  <a:pt x="15648" y="151039"/>
                  <a:pt x="12246" y="151039"/>
                </a:cubicBezTo>
                <a:cubicBezTo>
                  <a:pt x="8844" y="151039"/>
                  <a:pt x="5953" y="149848"/>
                  <a:pt x="3572" y="147467"/>
                </a:cubicBezTo>
                <a:cubicBezTo>
                  <a:pt x="1190" y="145086"/>
                  <a:pt x="0" y="142194"/>
                  <a:pt x="0" y="138792"/>
                </a:cubicBezTo>
                <a:lnTo>
                  <a:pt x="0" y="85725"/>
                </a:lnTo>
                <a:cubicBezTo>
                  <a:pt x="0" y="78921"/>
                  <a:pt x="2381" y="73138"/>
                  <a:pt x="7143" y="68375"/>
                </a:cubicBezTo>
                <a:cubicBezTo>
                  <a:pt x="11906" y="63613"/>
                  <a:pt x="17689" y="61232"/>
                  <a:pt x="24492" y="61232"/>
                </a:cubicBezTo>
                <a:close/>
                <a:moveTo>
                  <a:pt x="65314" y="0"/>
                </a:moveTo>
                <a:cubicBezTo>
                  <a:pt x="73223" y="0"/>
                  <a:pt x="79963" y="2785"/>
                  <a:pt x="85533" y="8355"/>
                </a:cubicBezTo>
                <a:cubicBezTo>
                  <a:pt x="91104" y="13926"/>
                  <a:pt x="93889" y="20665"/>
                  <a:pt x="93889" y="28575"/>
                </a:cubicBezTo>
                <a:cubicBezTo>
                  <a:pt x="93889" y="36484"/>
                  <a:pt x="91104" y="43223"/>
                  <a:pt x="85533" y="48794"/>
                </a:cubicBezTo>
                <a:cubicBezTo>
                  <a:pt x="79963" y="54364"/>
                  <a:pt x="73223" y="57150"/>
                  <a:pt x="65314" y="57150"/>
                </a:cubicBezTo>
                <a:cubicBezTo>
                  <a:pt x="57405" y="57150"/>
                  <a:pt x="50665" y="54364"/>
                  <a:pt x="45095" y="48794"/>
                </a:cubicBezTo>
                <a:cubicBezTo>
                  <a:pt x="39524" y="43223"/>
                  <a:pt x="36739" y="36484"/>
                  <a:pt x="36739" y="28575"/>
                </a:cubicBezTo>
                <a:cubicBezTo>
                  <a:pt x="36739" y="20665"/>
                  <a:pt x="39524" y="13926"/>
                  <a:pt x="45095" y="8355"/>
                </a:cubicBezTo>
                <a:cubicBezTo>
                  <a:pt x="50665" y="2785"/>
                  <a:pt x="57405" y="0"/>
                  <a:pt x="65314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75" name="Rectangle 37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987043" y="5415653"/>
            <a:ext cx="158341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="1">
                <a:solidFill>
                  <a:schemeClr val="accent6"/>
                </a:solidFill>
                <a:latin typeface="+mj-ea"/>
                <a:ea typeface="+mj-ea"/>
              </a:rPr>
              <a:t>5890,45k</a:t>
            </a:r>
            <a:endParaRPr lang="en-US" sz="900">
              <a:solidFill>
                <a:schemeClr val="accent6"/>
              </a:solidFill>
              <a:latin typeface="+mj-ea"/>
              <a:ea typeface="+mj-ea"/>
            </a:endParaRPr>
          </a:p>
          <a:p>
            <a:r>
              <a:rPr lang="en-US" sz="900">
                <a:solidFill>
                  <a:schemeClr val="bg1">
                    <a:lumMod val="65000"/>
                  </a:schemeClr>
                </a:solidFill>
                <a:latin typeface="+mj-ea"/>
                <a:ea typeface="+mj-ea"/>
              </a:rPr>
              <a:t>Conveniently iterate top-line alignments for</a:t>
            </a:r>
          </a:p>
        </p:txBody>
      </p:sp>
      <p:grpSp>
        <p:nvGrpSpPr>
          <p:cNvPr id="376" name="Group 37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0451201" y="3068964"/>
            <a:ext cx="1107996" cy="433104"/>
            <a:chOff x="9474094" y="3271822"/>
            <a:chExt cx="1107996" cy="433104"/>
          </a:xfrm>
        </p:grpSpPr>
        <p:sp>
          <p:nvSpPr>
            <p:cNvPr id="377" name="TextBox 376"/>
            <p:cNvSpPr txBox="1"/>
            <p:nvPr/>
          </p:nvSpPr>
          <p:spPr>
            <a:xfrm>
              <a:off x="9474094" y="3271822"/>
              <a:ext cx="1107996" cy="230832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rtlCol="0">
              <a:spAutoFit/>
            </a:bodyPr>
            <a:lstStyle/>
            <a:p>
              <a:r>
                <a:rPr lang="en-US" sz="900">
                  <a:solidFill>
                    <a:schemeClr val="bg1"/>
                  </a:solidFill>
                  <a:latin typeface="+mj-ea"/>
                  <a:ea typeface="+mj-ea"/>
                </a:rPr>
                <a:t>TEXT GOES HERE</a:t>
              </a:r>
            </a:p>
          </p:txBody>
        </p:sp>
        <p:sp>
          <p:nvSpPr>
            <p:cNvPr id="378" name="Right Triangle 377"/>
            <p:cNvSpPr/>
            <p:nvPr/>
          </p:nvSpPr>
          <p:spPr>
            <a:xfrm flipV="1">
              <a:off x="9474094" y="3499254"/>
              <a:ext cx="152090" cy="205672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ea"/>
                <a:ea typeface="+mj-ea"/>
              </a:endParaRPr>
            </a:p>
          </p:txBody>
        </p:sp>
      </p:grpSp>
      <p:sp>
        <p:nvSpPr>
          <p:cNvPr id="379" name="TextBox 37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10451201" y="2766096"/>
            <a:ext cx="1077539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00" b="1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MONGOLIA</a:t>
            </a:r>
          </a:p>
        </p:txBody>
      </p:sp>
      <p:sp>
        <p:nvSpPr>
          <p:cNvPr id="380" name="Freeform 37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453851" y="3591774"/>
            <a:ext cx="214160" cy="368087"/>
          </a:xfrm>
          <a:custGeom>
            <a:avLst/>
            <a:gdLst/>
            <a:ahLst/>
            <a:cxnLst/>
            <a:rect l="l" t="t" r="r" b="b"/>
            <a:pathLst>
              <a:path w="130628" h="224517">
                <a:moveTo>
                  <a:pt x="24492" y="61232"/>
                </a:moveTo>
                <a:lnTo>
                  <a:pt x="106135" y="61232"/>
                </a:lnTo>
                <a:cubicBezTo>
                  <a:pt x="112939" y="61232"/>
                  <a:pt x="118722" y="63613"/>
                  <a:pt x="123485" y="68375"/>
                </a:cubicBezTo>
                <a:cubicBezTo>
                  <a:pt x="128247" y="73138"/>
                  <a:pt x="130628" y="78921"/>
                  <a:pt x="130628" y="85725"/>
                </a:cubicBezTo>
                <a:lnTo>
                  <a:pt x="130628" y="138792"/>
                </a:lnTo>
                <a:cubicBezTo>
                  <a:pt x="130628" y="142194"/>
                  <a:pt x="129438" y="145086"/>
                  <a:pt x="127056" y="147467"/>
                </a:cubicBezTo>
                <a:cubicBezTo>
                  <a:pt x="124675" y="149848"/>
                  <a:pt x="121784" y="151039"/>
                  <a:pt x="118382" y="151039"/>
                </a:cubicBezTo>
                <a:cubicBezTo>
                  <a:pt x="114980" y="151039"/>
                  <a:pt x="112089" y="149848"/>
                  <a:pt x="109707" y="147467"/>
                </a:cubicBezTo>
                <a:cubicBezTo>
                  <a:pt x="107326" y="145086"/>
                  <a:pt x="106135" y="142194"/>
                  <a:pt x="106135" y="138792"/>
                </a:cubicBezTo>
                <a:lnTo>
                  <a:pt x="106135" y="93889"/>
                </a:lnTo>
                <a:lnTo>
                  <a:pt x="97971" y="93889"/>
                </a:lnTo>
                <a:lnTo>
                  <a:pt x="97971" y="210230"/>
                </a:lnTo>
                <a:cubicBezTo>
                  <a:pt x="97971" y="214142"/>
                  <a:pt x="96568" y="217501"/>
                  <a:pt x="93761" y="220308"/>
                </a:cubicBezTo>
                <a:cubicBezTo>
                  <a:pt x="90955" y="223114"/>
                  <a:pt x="87596" y="224517"/>
                  <a:pt x="83684" y="224517"/>
                </a:cubicBezTo>
                <a:cubicBezTo>
                  <a:pt x="79772" y="224517"/>
                  <a:pt x="76412" y="223114"/>
                  <a:pt x="73606" y="220308"/>
                </a:cubicBezTo>
                <a:cubicBezTo>
                  <a:pt x="70799" y="217501"/>
                  <a:pt x="69396" y="214142"/>
                  <a:pt x="69396" y="210230"/>
                </a:cubicBezTo>
                <a:lnTo>
                  <a:pt x="69396" y="151039"/>
                </a:lnTo>
                <a:lnTo>
                  <a:pt x="61232" y="151039"/>
                </a:lnTo>
                <a:lnTo>
                  <a:pt x="61232" y="210230"/>
                </a:lnTo>
                <a:cubicBezTo>
                  <a:pt x="61232" y="214142"/>
                  <a:pt x="59829" y="217501"/>
                  <a:pt x="57022" y="220308"/>
                </a:cubicBezTo>
                <a:cubicBezTo>
                  <a:pt x="54216" y="223114"/>
                  <a:pt x="50856" y="224517"/>
                  <a:pt x="46944" y="224517"/>
                </a:cubicBezTo>
                <a:cubicBezTo>
                  <a:pt x="43032" y="224517"/>
                  <a:pt x="39673" y="223114"/>
                  <a:pt x="36866" y="220308"/>
                </a:cubicBezTo>
                <a:cubicBezTo>
                  <a:pt x="34060" y="217501"/>
                  <a:pt x="32657" y="214142"/>
                  <a:pt x="32657" y="210230"/>
                </a:cubicBezTo>
                <a:lnTo>
                  <a:pt x="32657" y="93889"/>
                </a:lnTo>
                <a:lnTo>
                  <a:pt x="24492" y="93889"/>
                </a:lnTo>
                <a:lnTo>
                  <a:pt x="24492" y="138792"/>
                </a:lnTo>
                <a:cubicBezTo>
                  <a:pt x="24492" y="142194"/>
                  <a:pt x="23302" y="145086"/>
                  <a:pt x="20921" y="147467"/>
                </a:cubicBezTo>
                <a:cubicBezTo>
                  <a:pt x="18539" y="149848"/>
                  <a:pt x="15648" y="151039"/>
                  <a:pt x="12246" y="151039"/>
                </a:cubicBezTo>
                <a:cubicBezTo>
                  <a:pt x="8844" y="151039"/>
                  <a:pt x="5953" y="149848"/>
                  <a:pt x="3572" y="147467"/>
                </a:cubicBezTo>
                <a:cubicBezTo>
                  <a:pt x="1190" y="145086"/>
                  <a:pt x="0" y="142194"/>
                  <a:pt x="0" y="138792"/>
                </a:cubicBezTo>
                <a:lnTo>
                  <a:pt x="0" y="85725"/>
                </a:lnTo>
                <a:cubicBezTo>
                  <a:pt x="0" y="78921"/>
                  <a:pt x="2381" y="73138"/>
                  <a:pt x="7143" y="68375"/>
                </a:cubicBezTo>
                <a:cubicBezTo>
                  <a:pt x="11906" y="63613"/>
                  <a:pt x="17689" y="61232"/>
                  <a:pt x="24492" y="61232"/>
                </a:cubicBezTo>
                <a:close/>
                <a:moveTo>
                  <a:pt x="65314" y="0"/>
                </a:moveTo>
                <a:cubicBezTo>
                  <a:pt x="73223" y="0"/>
                  <a:pt x="79963" y="2785"/>
                  <a:pt x="85533" y="8355"/>
                </a:cubicBezTo>
                <a:cubicBezTo>
                  <a:pt x="91104" y="13926"/>
                  <a:pt x="93889" y="20665"/>
                  <a:pt x="93889" y="28575"/>
                </a:cubicBezTo>
                <a:cubicBezTo>
                  <a:pt x="93889" y="36484"/>
                  <a:pt x="91104" y="43223"/>
                  <a:pt x="85533" y="48794"/>
                </a:cubicBezTo>
                <a:cubicBezTo>
                  <a:pt x="79963" y="54364"/>
                  <a:pt x="73223" y="57150"/>
                  <a:pt x="65314" y="57150"/>
                </a:cubicBezTo>
                <a:cubicBezTo>
                  <a:pt x="57405" y="57150"/>
                  <a:pt x="50665" y="54364"/>
                  <a:pt x="45095" y="48794"/>
                </a:cubicBezTo>
                <a:cubicBezTo>
                  <a:pt x="39524" y="43223"/>
                  <a:pt x="36739" y="36484"/>
                  <a:pt x="36739" y="28575"/>
                </a:cubicBezTo>
                <a:cubicBezTo>
                  <a:pt x="36739" y="20665"/>
                  <a:pt x="39524" y="13926"/>
                  <a:pt x="45095" y="8355"/>
                </a:cubicBezTo>
                <a:cubicBezTo>
                  <a:pt x="50665" y="2785"/>
                  <a:pt x="57405" y="0"/>
                  <a:pt x="6531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81" name="Rectangle 38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719992" y="3545049"/>
            <a:ext cx="158341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="1">
                <a:solidFill>
                  <a:schemeClr val="accent3"/>
                </a:solidFill>
                <a:latin typeface="+mj-ea"/>
                <a:ea typeface="+mj-ea"/>
              </a:rPr>
              <a:t>1502,05k</a:t>
            </a:r>
            <a:endParaRPr lang="en-US" sz="900">
              <a:solidFill>
                <a:schemeClr val="accent3"/>
              </a:solidFill>
              <a:latin typeface="+mj-ea"/>
              <a:ea typeface="+mj-ea"/>
            </a:endParaRPr>
          </a:p>
          <a:p>
            <a:r>
              <a:rPr lang="en-US" sz="900">
                <a:solidFill>
                  <a:schemeClr val="bg1">
                    <a:lumMod val="65000"/>
                  </a:schemeClr>
                </a:solidFill>
                <a:latin typeface="+mj-ea"/>
                <a:ea typeface="+mj-ea"/>
              </a:rPr>
              <a:t>Conveniently iterate top-line alignments for</a:t>
            </a:r>
          </a:p>
        </p:txBody>
      </p:sp>
      <p:grpSp>
        <p:nvGrpSpPr>
          <p:cNvPr id="382" name="Group 38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9572508" y="5184867"/>
            <a:ext cx="1107996" cy="433104"/>
            <a:chOff x="9572508" y="5184867"/>
            <a:chExt cx="1107996" cy="433104"/>
          </a:xfrm>
        </p:grpSpPr>
        <p:sp>
          <p:nvSpPr>
            <p:cNvPr id="383" name="TextBox 382"/>
            <p:cNvSpPr txBox="1"/>
            <p:nvPr/>
          </p:nvSpPr>
          <p:spPr>
            <a:xfrm>
              <a:off x="9572508" y="5184867"/>
              <a:ext cx="1107996" cy="23083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rtlCol="0">
              <a:spAutoFit/>
            </a:bodyPr>
            <a:lstStyle/>
            <a:p>
              <a:r>
                <a:rPr lang="en-US" sz="900">
                  <a:solidFill>
                    <a:schemeClr val="bg1"/>
                  </a:solidFill>
                  <a:latin typeface="+mj-ea"/>
                  <a:ea typeface="+mj-ea"/>
                </a:rPr>
                <a:t>TEXT GOES HERE</a:t>
              </a:r>
            </a:p>
          </p:txBody>
        </p:sp>
        <p:sp>
          <p:nvSpPr>
            <p:cNvPr id="384" name="Right Triangle 383"/>
            <p:cNvSpPr/>
            <p:nvPr/>
          </p:nvSpPr>
          <p:spPr>
            <a:xfrm flipV="1">
              <a:off x="9572508" y="5412299"/>
              <a:ext cx="152090" cy="205672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ea"/>
                <a:ea typeface="+mj-ea"/>
              </a:endParaRPr>
            </a:p>
          </p:txBody>
        </p:sp>
      </p:grpSp>
      <p:sp>
        <p:nvSpPr>
          <p:cNvPr id="385" name="TextBox 38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9572508" y="4881999"/>
            <a:ext cx="108459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00" b="1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AUSTRALIA</a:t>
            </a:r>
          </a:p>
        </p:txBody>
      </p:sp>
      <p:sp>
        <p:nvSpPr>
          <p:cNvPr id="386" name="Freeform 38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575158" y="5707677"/>
            <a:ext cx="214160" cy="368087"/>
          </a:xfrm>
          <a:custGeom>
            <a:avLst/>
            <a:gdLst/>
            <a:ahLst/>
            <a:cxnLst/>
            <a:rect l="l" t="t" r="r" b="b"/>
            <a:pathLst>
              <a:path w="130628" h="224517">
                <a:moveTo>
                  <a:pt x="24492" y="61232"/>
                </a:moveTo>
                <a:lnTo>
                  <a:pt x="106135" y="61232"/>
                </a:lnTo>
                <a:cubicBezTo>
                  <a:pt x="112939" y="61232"/>
                  <a:pt x="118722" y="63613"/>
                  <a:pt x="123485" y="68375"/>
                </a:cubicBezTo>
                <a:cubicBezTo>
                  <a:pt x="128247" y="73138"/>
                  <a:pt x="130628" y="78921"/>
                  <a:pt x="130628" y="85725"/>
                </a:cubicBezTo>
                <a:lnTo>
                  <a:pt x="130628" y="138792"/>
                </a:lnTo>
                <a:cubicBezTo>
                  <a:pt x="130628" y="142194"/>
                  <a:pt x="129438" y="145086"/>
                  <a:pt x="127056" y="147467"/>
                </a:cubicBezTo>
                <a:cubicBezTo>
                  <a:pt x="124675" y="149848"/>
                  <a:pt x="121784" y="151039"/>
                  <a:pt x="118382" y="151039"/>
                </a:cubicBezTo>
                <a:cubicBezTo>
                  <a:pt x="114980" y="151039"/>
                  <a:pt x="112089" y="149848"/>
                  <a:pt x="109707" y="147467"/>
                </a:cubicBezTo>
                <a:cubicBezTo>
                  <a:pt x="107326" y="145086"/>
                  <a:pt x="106135" y="142194"/>
                  <a:pt x="106135" y="138792"/>
                </a:cubicBezTo>
                <a:lnTo>
                  <a:pt x="106135" y="93889"/>
                </a:lnTo>
                <a:lnTo>
                  <a:pt x="97971" y="93889"/>
                </a:lnTo>
                <a:lnTo>
                  <a:pt x="97971" y="210230"/>
                </a:lnTo>
                <a:cubicBezTo>
                  <a:pt x="97971" y="214142"/>
                  <a:pt x="96568" y="217501"/>
                  <a:pt x="93761" y="220308"/>
                </a:cubicBezTo>
                <a:cubicBezTo>
                  <a:pt x="90955" y="223114"/>
                  <a:pt x="87596" y="224517"/>
                  <a:pt x="83684" y="224517"/>
                </a:cubicBezTo>
                <a:cubicBezTo>
                  <a:pt x="79772" y="224517"/>
                  <a:pt x="76412" y="223114"/>
                  <a:pt x="73606" y="220308"/>
                </a:cubicBezTo>
                <a:cubicBezTo>
                  <a:pt x="70799" y="217501"/>
                  <a:pt x="69396" y="214142"/>
                  <a:pt x="69396" y="210230"/>
                </a:cubicBezTo>
                <a:lnTo>
                  <a:pt x="69396" y="151039"/>
                </a:lnTo>
                <a:lnTo>
                  <a:pt x="61232" y="151039"/>
                </a:lnTo>
                <a:lnTo>
                  <a:pt x="61232" y="210230"/>
                </a:lnTo>
                <a:cubicBezTo>
                  <a:pt x="61232" y="214142"/>
                  <a:pt x="59829" y="217501"/>
                  <a:pt x="57022" y="220308"/>
                </a:cubicBezTo>
                <a:cubicBezTo>
                  <a:pt x="54216" y="223114"/>
                  <a:pt x="50856" y="224517"/>
                  <a:pt x="46944" y="224517"/>
                </a:cubicBezTo>
                <a:cubicBezTo>
                  <a:pt x="43032" y="224517"/>
                  <a:pt x="39673" y="223114"/>
                  <a:pt x="36866" y="220308"/>
                </a:cubicBezTo>
                <a:cubicBezTo>
                  <a:pt x="34060" y="217501"/>
                  <a:pt x="32657" y="214142"/>
                  <a:pt x="32657" y="210230"/>
                </a:cubicBezTo>
                <a:lnTo>
                  <a:pt x="32657" y="93889"/>
                </a:lnTo>
                <a:lnTo>
                  <a:pt x="24492" y="93889"/>
                </a:lnTo>
                <a:lnTo>
                  <a:pt x="24492" y="138792"/>
                </a:lnTo>
                <a:cubicBezTo>
                  <a:pt x="24492" y="142194"/>
                  <a:pt x="23302" y="145086"/>
                  <a:pt x="20921" y="147467"/>
                </a:cubicBezTo>
                <a:cubicBezTo>
                  <a:pt x="18539" y="149848"/>
                  <a:pt x="15648" y="151039"/>
                  <a:pt x="12246" y="151039"/>
                </a:cubicBezTo>
                <a:cubicBezTo>
                  <a:pt x="8844" y="151039"/>
                  <a:pt x="5953" y="149848"/>
                  <a:pt x="3572" y="147467"/>
                </a:cubicBezTo>
                <a:cubicBezTo>
                  <a:pt x="1190" y="145086"/>
                  <a:pt x="0" y="142194"/>
                  <a:pt x="0" y="138792"/>
                </a:cubicBezTo>
                <a:lnTo>
                  <a:pt x="0" y="85725"/>
                </a:lnTo>
                <a:cubicBezTo>
                  <a:pt x="0" y="78921"/>
                  <a:pt x="2381" y="73138"/>
                  <a:pt x="7143" y="68375"/>
                </a:cubicBezTo>
                <a:cubicBezTo>
                  <a:pt x="11906" y="63613"/>
                  <a:pt x="17689" y="61232"/>
                  <a:pt x="24492" y="61232"/>
                </a:cubicBezTo>
                <a:close/>
                <a:moveTo>
                  <a:pt x="65314" y="0"/>
                </a:moveTo>
                <a:cubicBezTo>
                  <a:pt x="73223" y="0"/>
                  <a:pt x="79963" y="2785"/>
                  <a:pt x="85533" y="8355"/>
                </a:cubicBezTo>
                <a:cubicBezTo>
                  <a:pt x="91104" y="13926"/>
                  <a:pt x="93889" y="20665"/>
                  <a:pt x="93889" y="28575"/>
                </a:cubicBezTo>
                <a:cubicBezTo>
                  <a:pt x="93889" y="36484"/>
                  <a:pt x="91104" y="43223"/>
                  <a:pt x="85533" y="48794"/>
                </a:cubicBezTo>
                <a:cubicBezTo>
                  <a:pt x="79963" y="54364"/>
                  <a:pt x="73223" y="57150"/>
                  <a:pt x="65314" y="57150"/>
                </a:cubicBezTo>
                <a:cubicBezTo>
                  <a:pt x="57405" y="57150"/>
                  <a:pt x="50665" y="54364"/>
                  <a:pt x="45095" y="48794"/>
                </a:cubicBezTo>
                <a:cubicBezTo>
                  <a:pt x="39524" y="43223"/>
                  <a:pt x="36739" y="36484"/>
                  <a:pt x="36739" y="28575"/>
                </a:cubicBezTo>
                <a:cubicBezTo>
                  <a:pt x="36739" y="20665"/>
                  <a:pt x="39524" y="13926"/>
                  <a:pt x="45095" y="8355"/>
                </a:cubicBezTo>
                <a:cubicBezTo>
                  <a:pt x="50665" y="2785"/>
                  <a:pt x="57405" y="0"/>
                  <a:pt x="6531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87" name="Rectangle 38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841299" y="5660952"/>
            <a:ext cx="158341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="1">
                <a:solidFill>
                  <a:schemeClr val="accent2"/>
                </a:solidFill>
                <a:latin typeface="+mj-ea"/>
                <a:ea typeface="+mj-ea"/>
              </a:rPr>
              <a:t>6987,25k</a:t>
            </a:r>
            <a:endParaRPr lang="en-US" sz="900">
              <a:solidFill>
                <a:schemeClr val="accent2"/>
              </a:solidFill>
              <a:latin typeface="+mj-ea"/>
              <a:ea typeface="+mj-ea"/>
            </a:endParaRPr>
          </a:p>
          <a:p>
            <a:r>
              <a:rPr lang="en-US" sz="900">
                <a:solidFill>
                  <a:schemeClr val="bg1">
                    <a:lumMod val="65000"/>
                  </a:schemeClr>
                </a:solidFill>
                <a:latin typeface="+mj-ea"/>
                <a:ea typeface="+mj-ea"/>
              </a:rPr>
              <a:t>Conveniently iterate top-line alignments for</a:t>
            </a:r>
          </a:p>
        </p:txBody>
      </p:sp>
      <p:sp>
        <p:nvSpPr>
          <p:cNvPr id="388" name="TextBox 38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23668" y="1596616"/>
            <a:ext cx="377784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World amp: 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infographic</a:t>
            </a:r>
          </a:p>
          <a:p>
            <a:pPr algn="just"/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Analysis</a:t>
            </a:r>
          </a:p>
          <a:p>
            <a:pPr algn="just"/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</a:endParaRPr>
          </a:p>
          <a:p>
            <a:pPr algn="just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| MARKETING TEAM</a:t>
            </a:r>
          </a:p>
          <a:p>
            <a:pPr algn="just"/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89" name="Rectangle 38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2384" y="4359574"/>
            <a:ext cx="4572000" cy="744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ea"/>
              <a:ea typeface="+mj-ea"/>
            </a:endParaRPr>
          </a:p>
        </p:txBody>
      </p:sp>
      <p:sp>
        <p:nvSpPr>
          <p:cNvPr id="390" name="Rectangle 38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5623" y="4359574"/>
            <a:ext cx="3566160" cy="7442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ea"/>
              <a:ea typeface="+mj-ea"/>
            </a:endParaRPr>
          </a:p>
        </p:txBody>
      </p:sp>
      <p:sp>
        <p:nvSpPr>
          <p:cNvPr id="391" name="TextBox 39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27790" y="4128742"/>
            <a:ext cx="127631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Design &amp; Illustration</a:t>
            </a:r>
          </a:p>
        </p:txBody>
      </p:sp>
      <p:sp>
        <p:nvSpPr>
          <p:cNvPr id="392" name="TextBox 39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813417" y="4128742"/>
            <a:ext cx="4187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80%</a:t>
            </a:r>
          </a:p>
        </p:txBody>
      </p:sp>
      <p:sp>
        <p:nvSpPr>
          <p:cNvPr id="393" name="Rectangle 39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2384" y="4828288"/>
            <a:ext cx="4572000" cy="744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ea"/>
              <a:ea typeface="+mj-ea"/>
            </a:endParaRPr>
          </a:p>
        </p:txBody>
      </p:sp>
      <p:sp>
        <p:nvSpPr>
          <p:cNvPr id="394" name="Rectangle 39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5623" y="4828288"/>
            <a:ext cx="2286000" cy="7442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ea"/>
              <a:ea typeface="+mj-ea"/>
            </a:endParaRPr>
          </a:p>
        </p:txBody>
      </p:sp>
      <p:sp>
        <p:nvSpPr>
          <p:cNvPr id="395" name="TextBox 39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27790" y="4597456"/>
            <a:ext cx="144302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Marketing &amp; Consulting</a:t>
            </a:r>
          </a:p>
        </p:txBody>
      </p:sp>
      <p:sp>
        <p:nvSpPr>
          <p:cNvPr id="396" name="TextBox 39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813417" y="4597456"/>
            <a:ext cx="4187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45%</a:t>
            </a:r>
          </a:p>
        </p:txBody>
      </p:sp>
      <p:sp>
        <p:nvSpPr>
          <p:cNvPr id="397" name="Rectangle 39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2384" y="5297002"/>
            <a:ext cx="4572000" cy="744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ea"/>
              <a:ea typeface="+mj-ea"/>
            </a:endParaRPr>
          </a:p>
        </p:txBody>
      </p:sp>
      <p:sp>
        <p:nvSpPr>
          <p:cNvPr id="398" name="Rectangle 39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5623" y="5297002"/>
            <a:ext cx="4206240" cy="7442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ea"/>
              <a:ea typeface="+mj-ea"/>
            </a:endParaRPr>
          </a:p>
        </p:txBody>
      </p:sp>
      <p:sp>
        <p:nvSpPr>
          <p:cNvPr id="399" name="TextBox 39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27790" y="5066170"/>
            <a:ext cx="116891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Web Site &amp; Coding</a:t>
            </a:r>
          </a:p>
        </p:txBody>
      </p:sp>
      <p:sp>
        <p:nvSpPr>
          <p:cNvPr id="400" name="TextBox 39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813417" y="5066170"/>
            <a:ext cx="4187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95%</a:t>
            </a:r>
          </a:p>
        </p:txBody>
      </p:sp>
      <p:sp>
        <p:nvSpPr>
          <p:cNvPr id="403" name="TextBox 40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27790" y="5534883"/>
            <a:ext cx="13756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Business &amp; Consulting</a:t>
            </a:r>
          </a:p>
        </p:txBody>
      </p:sp>
      <p:sp>
        <p:nvSpPr>
          <p:cNvPr id="404" name="TextBox 40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813417" y="5534883"/>
            <a:ext cx="4187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80%</a:t>
            </a:r>
          </a:p>
        </p:txBody>
      </p:sp>
      <p:sp>
        <p:nvSpPr>
          <p:cNvPr id="405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560359" y="2703766"/>
            <a:ext cx="429645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406" name="e7d195523061f1c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 hidden="1"/>
          <p:cNvSpPr txBox="1"/>
          <p:nvPr/>
        </p:nvSpPr>
        <p:spPr>
          <a:xfrm>
            <a:off x="-355600" y="1803400"/>
            <a:ext cx="329642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3460471822"/>
      </p:ext>
    </p:extLst>
  </p:cSld>
  <p:clrMapOvr>
    <a:masterClrMapping/>
  </p:clrMapOvr>
  <p:transition spd="slow">
    <p:push dir="u"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63">
            <a:extLst>
              <a:ext uri="{FF2B5EF4-FFF2-40B4-BE49-F238E27FC236}">
                <a16:creationId xmlns:a16="http://schemas.microsoft.com/office/drawing/2014/main" id="{6FEF9783-1603-61CE-81AF-05DE57E50C9C}"/>
              </a:ext>
            </a:extLst>
          </p:cNvPr>
          <p:cNvSpPr/>
          <p:nvPr/>
        </p:nvSpPr>
        <p:spPr bwMode="auto">
          <a:xfrm>
            <a:off x="2630195" y="2259566"/>
            <a:ext cx="317113" cy="237823"/>
          </a:xfrm>
          <a:custGeom>
            <a:avLst/>
            <a:gdLst>
              <a:gd name="connsiteX0" fmla="*/ 202025 w 339741"/>
              <a:gd name="connsiteY0" fmla="*/ 0 h 254794"/>
              <a:gd name="connsiteX1" fmla="*/ 219091 w 339741"/>
              <a:gd name="connsiteY1" fmla="*/ 7144 h 254794"/>
              <a:gd name="connsiteX2" fmla="*/ 339741 w 339741"/>
              <a:gd name="connsiteY2" fmla="*/ 127794 h 254794"/>
              <a:gd name="connsiteX3" fmla="*/ 219091 w 339741"/>
              <a:gd name="connsiteY3" fmla="*/ 245269 h 254794"/>
              <a:gd name="connsiteX4" fmla="*/ 203216 w 339741"/>
              <a:gd name="connsiteY4" fmla="*/ 254794 h 254794"/>
              <a:gd name="connsiteX5" fmla="*/ 187341 w 339741"/>
              <a:gd name="connsiteY5" fmla="*/ 245269 h 254794"/>
              <a:gd name="connsiteX6" fmla="*/ 187341 w 339741"/>
              <a:gd name="connsiteY6" fmla="*/ 213519 h 254794"/>
              <a:gd name="connsiteX7" fmla="*/ 273066 w 339741"/>
              <a:gd name="connsiteY7" fmla="*/ 127794 h 254794"/>
              <a:gd name="connsiteX8" fmla="*/ 187341 w 339741"/>
              <a:gd name="connsiteY8" fmla="*/ 42069 h 254794"/>
              <a:gd name="connsiteX9" fmla="*/ 187341 w 339741"/>
              <a:gd name="connsiteY9" fmla="*/ 7144 h 254794"/>
              <a:gd name="connsiteX10" fmla="*/ 202025 w 339741"/>
              <a:gd name="connsiteY10" fmla="*/ 0 h 254794"/>
              <a:gd name="connsiteX11" fmla="*/ 22007 w 339741"/>
              <a:gd name="connsiteY11" fmla="*/ 0 h 254794"/>
              <a:gd name="connsiteX12" fmla="*/ 39299 w 339741"/>
              <a:gd name="connsiteY12" fmla="*/ 7144 h 254794"/>
              <a:gd name="connsiteX13" fmla="*/ 158766 w 339741"/>
              <a:gd name="connsiteY13" fmla="*/ 127794 h 254794"/>
              <a:gd name="connsiteX14" fmla="*/ 39299 w 339741"/>
              <a:gd name="connsiteY14" fmla="*/ 245269 h 254794"/>
              <a:gd name="connsiteX15" fmla="*/ 23579 w 339741"/>
              <a:gd name="connsiteY15" fmla="*/ 254794 h 254794"/>
              <a:gd name="connsiteX16" fmla="*/ 4716 w 339741"/>
              <a:gd name="connsiteY16" fmla="*/ 245269 h 254794"/>
              <a:gd name="connsiteX17" fmla="*/ 4716 w 339741"/>
              <a:gd name="connsiteY17" fmla="*/ 213519 h 254794"/>
              <a:gd name="connsiteX18" fmla="*/ 92745 w 339741"/>
              <a:gd name="connsiteY18" fmla="*/ 127794 h 254794"/>
              <a:gd name="connsiteX19" fmla="*/ 4716 w 339741"/>
              <a:gd name="connsiteY19" fmla="*/ 42069 h 254794"/>
              <a:gd name="connsiteX20" fmla="*/ 4716 w 339741"/>
              <a:gd name="connsiteY20" fmla="*/ 7144 h 254794"/>
              <a:gd name="connsiteX21" fmla="*/ 22007 w 339741"/>
              <a:gd name="connsiteY21" fmla="*/ 0 h 25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39741" h="254794">
                <a:moveTo>
                  <a:pt x="202025" y="0"/>
                </a:moveTo>
                <a:cubicBezTo>
                  <a:pt x="207979" y="0"/>
                  <a:pt x="214329" y="2382"/>
                  <a:pt x="219091" y="7144"/>
                </a:cubicBezTo>
                <a:cubicBezTo>
                  <a:pt x="339741" y="127794"/>
                  <a:pt x="339741" y="127794"/>
                  <a:pt x="339741" y="127794"/>
                </a:cubicBezTo>
                <a:cubicBezTo>
                  <a:pt x="219091" y="245269"/>
                  <a:pt x="219091" y="245269"/>
                  <a:pt x="219091" y="245269"/>
                </a:cubicBezTo>
                <a:cubicBezTo>
                  <a:pt x="215916" y="251619"/>
                  <a:pt x="209566" y="254794"/>
                  <a:pt x="203216" y="254794"/>
                </a:cubicBezTo>
                <a:cubicBezTo>
                  <a:pt x="196866" y="254794"/>
                  <a:pt x="190516" y="251619"/>
                  <a:pt x="187341" y="245269"/>
                </a:cubicBezTo>
                <a:cubicBezTo>
                  <a:pt x="177816" y="238919"/>
                  <a:pt x="177816" y="223044"/>
                  <a:pt x="187341" y="213519"/>
                </a:cubicBezTo>
                <a:cubicBezTo>
                  <a:pt x="273066" y="127794"/>
                  <a:pt x="273066" y="127794"/>
                  <a:pt x="273066" y="127794"/>
                </a:cubicBezTo>
                <a:cubicBezTo>
                  <a:pt x="187341" y="42069"/>
                  <a:pt x="187341" y="42069"/>
                  <a:pt x="187341" y="42069"/>
                </a:cubicBezTo>
                <a:cubicBezTo>
                  <a:pt x="177816" y="32544"/>
                  <a:pt x="177816" y="16669"/>
                  <a:pt x="187341" y="7144"/>
                </a:cubicBezTo>
                <a:cubicBezTo>
                  <a:pt x="190516" y="2382"/>
                  <a:pt x="196072" y="0"/>
                  <a:pt x="202025" y="0"/>
                </a:cubicBezTo>
                <a:close/>
                <a:moveTo>
                  <a:pt x="22007" y="0"/>
                </a:moveTo>
                <a:cubicBezTo>
                  <a:pt x="28295" y="0"/>
                  <a:pt x="34583" y="2382"/>
                  <a:pt x="39299" y="7144"/>
                </a:cubicBezTo>
                <a:cubicBezTo>
                  <a:pt x="158766" y="127794"/>
                  <a:pt x="158766" y="127794"/>
                  <a:pt x="158766" y="127794"/>
                </a:cubicBezTo>
                <a:cubicBezTo>
                  <a:pt x="39299" y="245269"/>
                  <a:pt x="39299" y="245269"/>
                  <a:pt x="39299" y="245269"/>
                </a:cubicBezTo>
                <a:cubicBezTo>
                  <a:pt x="36155" y="251619"/>
                  <a:pt x="29867" y="254794"/>
                  <a:pt x="23579" y="254794"/>
                </a:cubicBezTo>
                <a:cubicBezTo>
                  <a:pt x="17291" y="254794"/>
                  <a:pt x="11004" y="251619"/>
                  <a:pt x="4716" y="245269"/>
                </a:cubicBezTo>
                <a:cubicBezTo>
                  <a:pt x="-1572" y="238919"/>
                  <a:pt x="-1572" y="223044"/>
                  <a:pt x="4716" y="213519"/>
                </a:cubicBezTo>
                <a:cubicBezTo>
                  <a:pt x="92745" y="127794"/>
                  <a:pt x="92745" y="127794"/>
                  <a:pt x="92745" y="127794"/>
                </a:cubicBezTo>
                <a:cubicBezTo>
                  <a:pt x="4716" y="42069"/>
                  <a:pt x="4716" y="42069"/>
                  <a:pt x="4716" y="42069"/>
                </a:cubicBezTo>
                <a:cubicBezTo>
                  <a:pt x="-1572" y="32544"/>
                  <a:pt x="-1572" y="16669"/>
                  <a:pt x="4716" y="7144"/>
                </a:cubicBezTo>
                <a:cubicBezTo>
                  <a:pt x="9432" y="2382"/>
                  <a:pt x="15720" y="0"/>
                  <a:pt x="2200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pc="-30">
              <a:latin typeface="Source Han Sans CN" panose="020B0400000000000000" pitchFamily="34" charset="-128"/>
              <a:ea typeface="Source Han Sans CN" panose="020B0400000000000000" pitchFamily="34" charset="-128"/>
            </a:endParaRPr>
          </a:p>
        </p:txBody>
      </p:sp>
      <p:grpSp>
        <p:nvGrpSpPr>
          <p:cNvPr id="3" name="Group 1">
            <a:extLst>
              <a:ext uri="{FF2B5EF4-FFF2-40B4-BE49-F238E27FC236}">
                <a16:creationId xmlns:a16="http://schemas.microsoft.com/office/drawing/2014/main" id="{B343CC3A-4041-3420-DA7E-293DA2BD341C}"/>
              </a:ext>
            </a:extLst>
          </p:cNvPr>
          <p:cNvGrpSpPr/>
          <p:nvPr/>
        </p:nvGrpSpPr>
        <p:grpSpPr>
          <a:xfrm>
            <a:off x="1351269" y="1813973"/>
            <a:ext cx="639763" cy="1188664"/>
            <a:chOff x="1368576" y="1859503"/>
            <a:chExt cx="1422400" cy="2746375"/>
          </a:xfrm>
          <a:solidFill>
            <a:schemeClr val="accent1"/>
          </a:solidFill>
        </p:grpSpPr>
        <p:sp>
          <p:nvSpPr>
            <p:cNvPr id="69" name="Freeform 37">
              <a:extLst>
                <a:ext uri="{FF2B5EF4-FFF2-40B4-BE49-F238E27FC236}">
                  <a16:creationId xmlns:a16="http://schemas.microsoft.com/office/drawing/2014/main" id="{F06E0AC3-8828-136F-6D52-541DF32933A8}"/>
                </a:ext>
              </a:extLst>
            </p:cNvPr>
            <p:cNvSpPr/>
            <p:nvPr/>
          </p:nvSpPr>
          <p:spPr bwMode="auto">
            <a:xfrm>
              <a:off x="1965476" y="4231228"/>
              <a:ext cx="228600" cy="374650"/>
            </a:xfrm>
            <a:custGeom>
              <a:avLst/>
              <a:gdLst>
                <a:gd name="T0" fmla="*/ 52 w 72"/>
                <a:gd name="T1" fmla="*/ 0 h 118"/>
                <a:gd name="T2" fmla="*/ 52 w 72"/>
                <a:gd name="T3" fmla="*/ 71 h 118"/>
                <a:gd name="T4" fmla="*/ 69 w 72"/>
                <a:gd name="T5" fmla="*/ 71 h 118"/>
                <a:gd name="T6" fmla="*/ 72 w 72"/>
                <a:gd name="T7" fmla="*/ 73 h 118"/>
                <a:gd name="T8" fmla="*/ 71 w 72"/>
                <a:gd name="T9" fmla="*/ 77 h 118"/>
                <a:gd name="T10" fmla="*/ 36 w 72"/>
                <a:gd name="T11" fmla="*/ 118 h 118"/>
                <a:gd name="T12" fmla="*/ 1 w 72"/>
                <a:gd name="T13" fmla="*/ 77 h 118"/>
                <a:gd name="T14" fmla="*/ 0 w 72"/>
                <a:gd name="T15" fmla="*/ 73 h 118"/>
                <a:gd name="T16" fmla="*/ 3 w 72"/>
                <a:gd name="T17" fmla="*/ 71 h 118"/>
                <a:gd name="T18" fmla="*/ 20 w 72"/>
                <a:gd name="T19" fmla="*/ 71 h 118"/>
                <a:gd name="T20" fmla="*/ 20 w 72"/>
                <a:gd name="T21" fmla="*/ 0 h 118"/>
                <a:gd name="T22" fmla="*/ 52 w 72"/>
                <a:gd name="T2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18">
                  <a:moveTo>
                    <a:pt x="52" y="0"/>
                  </a:moveTo>
                  <a:cubicBezTo>
                    <a:pt x="52" y="71"/>
                    <a:pt x="52" y="71"/>
                    <a:pt x="52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70" y="71"/>
                    <a:pt x="71" y="72"/>
                    <a:pt x="72" y="73"/>
                  </a:cubicBezTo>
                  <a:cubicBezTo>
                    <a:pt x="72" y="75"/>
                    <a:pt x="72" y="76"/>
                    <a:pt x="71" y="77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5"/>
                    <a:pt x="0" y="73"/>
                  </a:cubicBezTo>
                  <a:cubicBezTo>
                    <a:pt x="1" y="72"/>
                    <a:pt x="2" y="71"/>
                    <a:pt x="3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pc="-30"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70" name="Freeform 38">
              <a:extLst>
                <a:ext uri="{FF2B5EF4-FFF2-40B4-BE49-F238E27FC236}">
                  <a16:creationId xmlns:a16="http://schemas.microsoft.com/office/drawing/2014/main" id="{93CEA2B3-D227-5BF5-E462-2B01E97FE6BD}"/>
                </a:ext>
              </a:extLst>
            </p:cNvPr>
            <p:cNvSpPr/>
            <p:nvPr/>
          </p:nvSpPr>
          <p:spPr bwMode="auto">
            <a:xfrm>
              <a:off x="2028976" y="4231228"/>
              <a:ext cx="101600" cy="79375"/>
            </a:xfrm>
            <a:custGeom>
              <a:avLst/>
              <a:gdLst>
                <a:gd name="T0" fmla="*/ 32 w 32"/>
                <a:gd name="T1" fmla="*/ 0 h 25"/>
                <a:gd name="T2" fmla="*/ 32 w 32"/>
                <a:gd name="T3" fmla="*/ 25 h 25"/>
                <a:gd name="T4" fmla="*/ 16 w 32"/>
                <a:gd name="T5" fmla="*/ 20 h 25"/>
                <a:gd name="T6" fmla="*/ 0 w 32"/>
                <a:gd name="T7" fmla="*/ 25 h 25"/>
                <a:gd name="T8" fmla="*/ 0 w 32"/>
                <a:gd name="T9" fmla="*/ 0 h 25"/>
                <a:gd name="T10" fmla="*/ 32 w 3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5">
                  <a:moveTo>
                    <a:pt x="32" y="0"/>
                  </a:moveTo>
                  <a:cubicBezTo>
                    <a:pt x="32" y="25"/>
                    <a:pt x="32" y="25"/>
                    <a:pt x="32" y="25"/>
                  </a:cubicBezTo>
                  <a:cubicBezTo>
                    <a:pt x="28" y="22"/>
                    <a:pt x="22" y="20"/>
                    <a:pt x="16" y="20"/>
                  </a:cubicBezTo>
                  <a:cubicBezTo>
                    <a:pt x="10" y="20"/>
                    <a:pt x="4" y="22"/>
                    <a:pt x="0" y="2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pc="-30"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71" name="Freeform 39">
              <a:extLst>
                <a:ext uri="{FF2B5EF4-FFF2-40B4-BE49-F238E27FC236}">
                  <a16:creationId xmlns:a16="http://schemas.microsoft.com/office/drawing/2014/main" id="{86823BDD-A910-768E-D1E5-D7DF7CB090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68576" y="1859503"/>
              <a:ext cx="1422400" cy="2514600"/>
            </a:xfrm>
            <a:custGeom>
              <a:avLst/>
              <a:gdLst>
                <a:gd name="T0" fmla="*/ 224 w 448"/>
                <a:gd name="T1" fmla="*/ 0 h 792"/>
                <a:gd name="T2" fmla="*/ 0 w 448"/>
                <a:gd name="T3" fmla="*/ 224 h 792"/>
                <a:gd name="T4" fmla="*/ 0 w 448"/>
                <a:gd name="T5" fmla="*/ 570 h 792"/>
                <a:gd name="T6" fmla="*/ 196 w 448"/>
                <a:gd name="T7" fmla="*/ 792 h 792"/>
                <a:gd name="T8" fmla="*/ 196 w 448"/>
                <a:gd name="T9" fmla="*/ 777 h 792"/>
                <a:gd name="T10" fmla="*/ 224 w 448"/>
                <a:gd name="T11" fmla="*/ 749 h 792"/>
                <a:gd name="T12" fmla="*/ 252 w 448"/>
                <a:gd name="T13" fmla="*/ 777 h 792"/>
                <a:gd name="T14" fmla="*/ 252 w 448"/>
                <a:gd name="T15" fmla="*/ 792 h 792"/>
                <a:gd name="T16" fmla="*/ 448 w 448"/>
                <a:gd name="T17" fmla="*/ 570 h 792"/>
                <a:gd name="T18" fmla="*/ 448 w 448"/>
                <a:gd name="T19" fmla="*/ 224 h 792"/>
                <a:gd name="T20" fmla="*/ 224 w 448"/>
                <a:gd name="T21" fmla="*/ 0 h 792"/>
                <a:gd name="T22" fmla="*/ 224 w 448"/>
                <a:gd name="T23" fmla="*/ 414 h 792"/>
                <a:gd name="T24" fmla="*/ 34 w 448"/>
                <a:gd name="T25" fmla="*/ 224 h 792"/>
                <a:gd name="T26" fmla="*/ 224 w 448"/>
                <a:gd name="T27" fmla="*/ 34 h 792"/>
                <a:gd name="T28" fmla="*/ 414 w 448"/>
                <a:gd name="T29" fmla="*/ 224 h 792"/>
                <a:gd name="T30" fmla="*/ 224 w 448"/>
                <a:gd name="T31" fmla="*/ 41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8" h="792">
                  <a:moveTo>
                    <a:pt x="224" y="0"/>
                  </a:moveTo>
                  <a:cubicBezTo>
                    <a:pt x="100" y="0"/>
                    <a:pt x="0" y="100"/>
                    <a:pt x="0" y="224"/>
                  </a:cubicBezTo>
                  <a:cubicBezTo>
                    <a:pt x="0" y="570"/>
                    <a:pt x="0" y="570"/>
                    <a:pt x="0" y="570"/>
                  </a:cubicBezTo>
                  <a:cubicBezTo>
                    <a:pt x="0" y="684"/>
                    <a:pt x="86" y="778"/>
                    <a:pt x="196" y="792"/>
                  </a:cubicBezTo>
                  <a:cubicBezTo>
                    <a:pt x="196" y="777"/>
                    <a:pt x="196" y="777"/>
                    <a:pt x="196" y="777"/>
                  </a:cubicBezTo>
                  <a:cubicBezTo>
                    <a:pt x="196" y="761"/>
                    <a:pt x="209" y="749"/>
                    <a:pt x="224" y="749"/>
                  </a:cubicBezTo>
                  <a:cubicBezTo>
                    <a:pt x="239" y="749"/>
                    <a:pt x="252" y="761"/>
                    <a:pt x="252" y="777"/>
                  </a:cubicBezTo>
                  <a:cubicBezTo>
                    <a:pt x="252" y="792"/>
                    <a:pt x="252" y="792"/>
                    <a:pt x="252" y="792"/>
                  </a:cubicBezTo>
                  <a:cubicBezTo>
                    <a:pt x="362" y="778"/>
                    <a:pt x="448" y="684"/>
                    <a:pt x="448" y="570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48" y="100"/>
                    <a:pt x="348" y="0"/>
                    <a:pt x="224" y="0"/>
                  </a:cubicBezTo>
                  <a:close/>
                  <a:moveTo>
                    <a:pt x="224" y="414"/>
                  </a:moveTo>
                  <a:cubicBezTo>
                    <a:pt x="119" y="414"/>
                    <a:pt x="34" y="329"/>
                    <a:pt x="34" y="224"/>
                  </a:cubicBezTo>
                  <a:cubicBezTo>
                    <a:pt x="34" y="119"/>
                    <a:pt x="119" y="34"/>
                    <a:pt x="224" y="34"/>
                  </a:cubicBezTo>
                  <a:cubicBezTo>
                    <a:pt x="329" y="34"/>
                    <a:pt x="414" y="119"/>
                    <a:pt x="414" y="224"/>
                  </a:cubicBezTo>
                  <a:cubicBezTo>
                    <a:pt x="414" y="329"/>
                    <a:pt x="329" y="414"/>
                    <a:pt x="224" y="4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274320" numCol="1" anchor="b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sz="4000" dirty="0">
                <a:solidFill>
                  <a:srgbClr val="FFFFFF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</p:grpSp>
      <p:sp>
        <p:nvSpPr>
          <p:cNvPr id="4" name="TextBox 13">
            <a:extLst>
              <a:ext uri="{FF2B5EF4-FFF2-40B4-BE49-F238E27FC236}">
                <a16:creationId xmlns:a16="http://schemas.microsoft.com/office/drawing/2014/main" id="{DC02EAC0-8FCB-3762-23B9-71E349F1F0D3}"/>
              </a:ext>
            </a:extLst>
          </p:cNvPr>
          <p:cNvSpPr txBox="1"/>
          <p:nvPr/>
        </p:nvSpPr>
        <p:spPr>
          <a:xfrm>
            <a:off x="1439286" y="1847754"/>
            <a:ext cx="4180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rPr>
              <a:t>1976</a:t>
            </a:r>
          </a:p>
        </p:txBody>
      </p:sp>
      <p:grpSp>
        <p:nvGrpSpPr>
          <p:cNvPr id="5" name="Group 1036">
            <a:extLst>
              <a:ext uri="{FF2B5EF4-FFF2-40B4-BE49-F238E27FC236}">
                <a16:creationId xmlns:a16="http://schemas.microsoft.com/office/drawing/2014/main" id="{26CDA6A4-BE70-B71B-6929-FF1F4472607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6883" y="3883521"/>
            <a:ext cx="246521" cy="245024"/>
            <a:chOff x="9876" y="-1946"/>
            <a:chExt cx="822" cy="817"/>
          </a:xfrm>
          <a:solidFill>
            <a:schemeClr val="bg1"/>
          </a:solidFill>
        </p:grpSpPr>
        <p:sp>
          <p:nvSpPr>
            <p:cNvPr id="63" name="Freeform 1038">
              <a:extLst>
                <a:ext uri="{FF2B5EF4-FFF2-40B4-BE49-F238E27FC236}">
                  <a16:creationId xmlns:a16="http://schemas.microsoft.com/office/drawing/2014/main" id="{D368B8C3-23F6-FE75-6B79-69721A9FD5E1}"/>
                </a:ext>
              </a:extLst>
            </p:cNvPr>
            <p:cNvSpPr/>
            <p:nvPr/>
          </p:nvSpPr>
          <p:spPr bwMode="auto">
            <a:xfrm>
              <a:off x="10016" y="-1801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5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6 h 298"/>
                <a:gd name="T24" fmla="*/ 1396 w 1421"/>
                <a:gd name="T25" fmla="*/ 232 h 298"/>
                <a:gd name="T26" fmla="*/ 1378 w 1421"/>
                <a:gd name="T27" fmla="*/ 254 h 298"/>
                <a:gd name="T28" fmla="*/ 1356 w 1421"/>
                <a:gd name="T29" fmla="*/ 272 h 298"/>
                <a:gd name="T30" fmla="*/ 1330 w 1421"/>
                <a:gd name="T31" fmla="*/ 285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5 h 298"/>
                <a:gd name="T42" fmla="*/ 65 w 1421"/>
                <a:gd name="T43" fmla="*/ 272 h 298"/>
                <a:gd name="T44" fmla="*/ 44 w 1421"/>
                <a:gd name="T45" fmla="*/ 254 h 298"/>
                <a:gd name="T46" fmla="*/ 25 w 1421"/>
                <a:gd name="T47" fmla="*/ 232 h 298"/>
                <a:gd name="T48" fmla="*/ 11 w 1421"/>
                <a:gd name="T49" fmla="*/ 206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5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5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6"/>
                  </a:lnTo>
                  <a:lnTo>
                    <a:pt x="1396" y="232"/>
                  </a:lnTo>
                  <a:lnTo>
                    <a:pt x="1378" y="254"/>
                  </a:lnTo>
                  <a:lnTo>
                    <a:pt x="1356" y="272"/>
                  </a:lnTo>
                  <a:lnTo>
                    <a:pt x="1330" y="285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5"/>
                  </a:lnTo>
                  <a:lnTo>
                    <a:pt x="65" y="272"/>
                  </a:lnTo>
                  <a:lnTo>
                    <a:pt x="44" y="254"/>
                  </a:lnTo>
                  <a:lnTo>
                    <a:pt x="25" y="232"/>
                  </a:lnTo>
                  <a:lnTo>
                    <a:pt x="11" y="206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5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64" name="Freeform 1039">
              <a:extLst>
                <a:ext uri="{FF2B5EF4-FFF2-40B4-BE49-F238E27FC236}">
                  <a16:creationId xmlns:a16="http://schemas.microsoft.com/office/drawing/2014/main" id="{B24F5171-5075-E7D5-8B41-DE6B932ABFAA}"/>
                </a:ext>
              </a:extLst>
            </p:cNvPr>
            <p:cNvSpPr/>
            <p:nvPr/>
          </p:nvSpPr>
          <p:spPr bwMode="auto">
            <a:xfrm>
              <a:off x="10016" y="-1662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6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7 h 298"/>
                <a:gd name="T24" fmla="*/ 1396 w 1421"/>
                <a:gd name="T25" fmla="*/ 232 h 298"/>
                <a:gd name="T26" fmla="*/ 1378 w 1421"/>
                <a:gd name="T27" fmla="*/ 255 h 298"/>
                <a:gd name="T28" fmla="*/ 1356 w 1421"/>
                <a:gd name="T29" fmla="*/ 272 h 298"/>
                <a:gd name="T30" fmla="*/ 1330 w 1421"/>
                <a:gd name="T31" fmla="*/ 287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7 h 298"/>
                <a:gd name="T42" fmla="*/ 65 w 1421"/>
                <a:gd name="T43" fmla="*/ 272 h 298"/>
                <a:gd name="T44" fmla="*/ 44 w 1421"/>
                <a:gd name="T45" fmla="*/ 255 h 298"/>
                <a:gd name="T46" fmla="*/ 25 w 1421"/>
                <a:gd name="T47" fmla="*/ 232 h 298"/>
                <a:gd name="T48" fmla="*/ 11 w 1421"/>
                <a:gd name="T49" fmla="*/ 207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6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6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7"/>
                  </a:lnTo>
                  <a:lnTo>
                    <a:pt x="1396" y="232"/>
                  </a:lnTo>
                  <a:lnTo>
                    <a:pt x="1378" y="255"/>
                  </a:lnTo>
                  <a:lnTo>
                    <a:pt x="1356" y="272"/>
                  </a:lnTo>
                  <a:lnTo>
                    <a:pt x="1330" y="287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7"/>
                  </a:lnTo>
                  <a:lnTo>
                    <a:pt x="65" y="272"/>
                  </a:lnTo>
                  <a:lnTo>
                    <a:pt x="44" y="255"/>
                  </a:lnTo>
                  <a:lnTo>
                    <a:pt x="25" y="232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6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65" name="Freeform 1040">
              <a:extLst>
                <a:ext uri="{FF2B5EF4-FFF2-40B4-BE49-F238E27FC236}">
                  <a16:creationId xmlns:a16="http://schemas.microsoft.com/office/drawing/2014/main" id="{36FDC3DD-0758-C54A-0019-EF9C517DB8B5}"/>
                </a:ext>
              </a:extLst>
            </p:cNvPr>
            <p:cNvSpPr/>
            <p:nvPr/>
          </p:nvSpPr>
          <p:spPr bwMode="auto">
            <a:xfrm>
              <a:off x="10016" y="-1522"/>
              <a:ext cx="215" cy="74"/>
            </a:xfrm>
            <a:custGeom>
              <a:avLst/>
              <a:gdLst>
                <a:gd name="T0" fmla="*/ 149 w 860"/>
                <a:gd name="T1" fmla="*/ 0 h 297"/>
                <a:gd name="T2" fmla="*/ 711 w 860"/>
                <a:gd name="T3" fmla="*/ 0 h 297"/>
                <a:gd name="T4" fmla="*/ 741 w 860"/>
                <a:gd name="T5" fmla="*/ 3 h 297"/>
                <a:gd name="T6" fmla="*/ 769 w 860"/>
                <a:gd name="T7" fmla="*/ 11 h 297"/>
                <a:gd name="T8" fmla="*/ 795 w 860"/>
                <a:gd name="T9" fmla="*/ 26 h 297"/>
                <a:gd name="T10" fmla="*/ 817 w 860"/>
                <a:gd name="T11" fmla="*/ 43 h 297"/>
                <a:gd name="T12" fmla="*/ 835 w 860"/>
                <a:gd name="T13" fmla="*/ 66 h 297"/>
                <a:gd name="T14" fmla="*/ 849 w 860"/>
                <a:gd name="T15" fmla="*/ 90 h 297"/>
                <a:gd name="T16" fmla="*/ 857 w 860"/>
                <a:gd name="T17" fmla="*/ 118 h 297"/>
                <a:gd name="T18" fmla="*/ 860 w 860"/>
                <a:gd name="T19" fmla="*/ 149 h 297"/>
                <a:gd name="T20" fmla="*/ 857 w 860"/>
                <a:gd name="T21" fmla="*/ 179 h 297"/>
                <a:gd name="T22" fmla="*/ 849 w 860"/>
                <a:gd name="T23" fmla="*/ 207 h 297"/>
                <a:gd name="T24" fmla="*/ 835 w 860"/>
                <a:gd name="T25" fmla="*/ 231 h 297"/>
                <a:gd name="T26" fmla="*/ 817 w 860"/>
                <a:gd name="T27" fmla="*/ 254 h 297"/>
                <a:gd name="T28" fmla="*/ 795 w 860"/>
                <a:gd name="T29" fmla="*/ 271 h 297"/>
                <a:gd name="T30" fmla="*/ 769 w 860"/>
                <a:gd name="T31" fmla="*/ 286 h 297"/>
                <a:gd name="T32" fmla="*/ 741 w 860"/>
                <a:gd name="T33" fmla="*/ 294 h 297"/>
                <a:gd name="T34" fmla="*/ 711 w 860"/>
                <a:gd name="T35" fmla="*/ 297 h 297"/>
                <a:gd name="T36" fmla="*/ 149 w 860"/>
                <a:gd name="T37" fmla="*/ 297 h 297"/>
                <a:gd name="T38" fmla="*/ 119 w 860"/>
                <a:gd name="T39" fmla="*/ 294 h 297"/>
                <a:gd name="T40" fmla="*/ 91 w 860"/>
                <a:gd name="T41" fmla="*/ 286 h 297"/>
                <a:gd name="T42" fmla="*/ 65 w 860"/>
                <a:gd name="T43" fmla="*/ 271 h 297"/>
                <a:gd name="T44" fmla="*/ 44 w 860"/>
                <a:gd name="T45" fmla="*/ 254 h 297"/>
                <a:gd name="T46" fmla="*/ 25 w 860"/>
                <a:gd name="T47" fmla="*/ 231 h 297"/>
                <a:gd name="T48" fmla="*/ 11 w 860"/>
                <a:gd name="T49" fmla="*/ 207 h 297"/>
                <a:gd name="T50" fmla="*/ 3 w 860"/>
                <a:gd name="T51" fmla="*/ 179 h 297"/>
                <a:gd name="T52" fmla="*/ 0 w 860"/>
                <a:gd name="T53" fmla="*/ 149 h 297"/>
                <a:gd name="T54" fmla="*/ 3 w 860"/>
                <a:gd name="T55" fmla="*/ 118 h 297"/>
                <a:gd name="T56" fmla="*/ 11 w 860"/>
                <a:gd name="T57" fmla="*/ 90 h 297"/>
                <a:gd name="T58" fmla="*/ 25 w 860"/>
                <a:gd name="T59" fmla="*/ 66 h 297"/>
                <a:gd name="T60" fmla="*/ 44 w 860"/>
                <a:gd name="T61" fmla="*/ 43 h 297"/>
                <a:gd name="T62" fmla="*/ 65 w 860"/>
                <a:gd name="T63" fmla="*/ 26 h 297"/>
                <a:gd name="T64" fmla="*/ 91 w 860"/>
                <a:gd name="T65" fmla="*/ 11 h 297"/>
                <a:gd name="T66" fmla="*/ 119 w 860"/>
                <a:gd name="T67" fmla="*/ 3 h 297"/>
                <a:gd name="T68" fmla="*/ 149 w 860"/>
                <a:gd name="T6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0" h="297">
                  <a:moveTo>
                    <a:pt x="149" y="0"/>
                  </a:moveTo>
                  <a:lnTo>
                    <a:pt x="711" y="0"/>
                  </a:lnTo>
                  <a:lnTo>
                    <a:pt x="741" y="3"/>
                  </a:lnTo>
                  <a:lnTo>
                    <a:pt x="769" y="11"/>
                  </a:lnTo>
                  <a:lnTo>
                    <a:pt x="795" y="26"/>
                  </a:lnTo>
                  <a:lnTo>
                    <a:pt x="817" y="43"/>
                  </a:lnTo>
                  <a:lnTo>
                    <a:pt x="835" y="66"/>
                  </a:lnTo>
                  <a:lnTo>
                    <a:pt x="849" y="90"/>
                  </a:lnTo>
                  <a:lnTo>
                    <a:pt x="857" y="118"/>
                  </a:lnTo>
                  <a:lnTo>
                    <a:pt x="860" y="149"/>
                  </a:lnTo>
                  <a:lnTo>
                    <a:pt x="857" y="179"/>
                  </a:lnTo>
                  <a:lnTo>
                    <a:pt x="849" y="207"/>
                  </a:lnTo>
                  <a:lnTo>
                    <a:pt x="835" y="231"/>
                  </a:lnTo>
                  <a:lnTo>
                    <a:pt x="817" y="254"/>
                  </a:lnTo>
                  <a:lnTo>
                    <a:pt x="795" y="271"/>
                  </a:lnTo>
                  <a:lnTo>
                    <a:pt x="769" y="286"/>
                  </a:lnTo>
                  <a:lnTo>
                    <a:pt x="741" y="294"/>
                  </a:lnTo>
                  <a:lnTo>
                    <a:pt x="711" y="297"/>
                  </a:lnTo>
                  <a:lnTo>
                    <a:pt x="149" y="297"/>
                  </a:lnTo>
                  <a:lnTo>
                    <a:pt x="119" y="294"/>
                  </a:lnTo>
                  <a:lnTo>
                    <a:pt x="91" y="286"/>
                  </a:lnTo>
                  <a:lnTo>
                    <a:pt x="65" y="271"/>
                  </a:lnTo>
                  <a:lnTo>
                    <a:pt x="44" y="254"/>
                  </a:lnTo>
                  <a:lnTo>
                    <a:pt x="25" y="231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8"/>
                  </a:lnTo>
                  <a:lnTo>
                    <a:pt x="11" y="90"/>
                  </a:lnTo>
                  <a:lnTo>
                    <a:pt x="25" y="66"/>
                  </a:lnTo>
                  <a:lnTo>
                    <a:pt x="44" y="43"/>
                  </a:lnTo>
                  <a:lnTo>
                    <a:pt x="65" y="26"/>
                  </a:lnTo>
                  <a:lnTo>
                    <a:pt x="91" y="11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66" name="Freeform 1041">
              <a:extLst>
                <a:ext uri="{FF2B5EF4-FFF2-40B4-BE49-F238E27FC236}">
                  <a16:creationId xmlns:a16="http://schemas.microsoft.com/office/drawing/2014/main" id="{B898C2D3-F70D-B534-74E1-87A7BF46D4BB}"/>
                </a:ext>
              </a:extLst>
            </p:cNvPr>
            <p:cNvSpPr/>
            <p:nvPr/>
          </p:nvSpPr>
          <p:spPr bwMode="auto">
            <a:xfrm>
              <a:off x="9876" y="-1946"/>
              <a:ext cx="636" cy="817"/>
            </a:xfrm>
            <a:custGeom>
              <a:avLst/>
              <a:gdLst>
                <a:gd name="T0" fmla="*/ 150 w 2545"/>
                <a:gd name="T1" fmla="*/ 0 h 3271"/>
                <a:gd name="T2" fmla="*/ 2395 w 2545"/>
                <a:gd name="T3" fmla="*/ 0 h 3271"/>
                <a:gd name="T4" fmla="*/ 2425 w 2545"/>
                <a:gd name="T5" fmla="*/ 3 h 3271"/>
                <a:gd name="T6" fmla="*/ 2453 w 2545"/>
                <a:gd name="T7" fmla="*/ 11 h 3271"/>
                <a:gd name="T8" fmla="*/ 2479 w 2545"/>
                <a:gd name="T9" fmla="*/ 26 h 3271"/>
                <a:gd name="T10" fmla="*/ 2501 w 2545"/>
                <a:gd name="T11" fmla="*/ 43 h 3271"/>
                <a:gd name="T12" fmla="*/ 2520 w 2545"/>
                <a:gd name="T13" fmla="*/ 66 h 3271"/>
                <a:gd name="T14" fmla="*/ 2533 w 2545"/>
                <a:gd name="T15" fmla="*/ 90 h 3271"/>
                <a:gd name="T16" fmla="*/ 2542 w 2545"/>
                <a:gd name="T17" fmla="*/ 118 h 3271"/>
                <a:gd name="T18" fmla="*/ 2545 w 2545"/>
                <a:gd name="T19" fmla="*/ 148 h 3271"/>
                <a:gd name="T20" fmla="*/ 2545 w 2545"/>
                <a:gd name="T21" fmla="*/ 369 h 3271"/>
                <a:gd name="T22" fmla="*/ 2246 w 2545"/>
                <a:gd name="T23" fmla="*/ 885 h 3271"/>
                <a:gd name="T24" fmla="*/ 2246 w 2545"/>
                <a:gd name="T25" fmla="*/ 297 h 3271"/>
                <a:gd name="T26" fmla="*/ 300 w 2545"/>
                <a:gd name="T27" fmla="*/ 297 h 3271"/>
                <a:gd name="T28" fmla="*/ 300 w 2545"/>
                <a:gd name="T29" fmla="*/ 2973 h 3271"/>
                <a:gd name="T30" fmla="*/ 2246 w 2545"/>
                <a:gd name="T31" fmla="*/ 2973 h 3271"/>
                <a:gd name="T32" fmla="*/ 2246 w 2545"/>
                <a:gd name="T33" fmla="*/ 2603 h 3271"/>
                <a:gd name="T34" fmla="*/ 2403 w 2545"/>
                <a:gd name="T35" fmla="*/ 2500 h 3271"/>
                <a:gd name="T36" fmla="*/ 2430 w 2545"/>
                <a:gd name="T37" fmla="*/ 2478 h 3271"/>
                <a:gd name="T38" fmla="*/ 2454 w 2545"/>
                <a:gd name="T39" fmla="*/ 2453 h 3271"/>
                <a:gd name="T40" fmla="*/ 2474 w 2545"/>
                <a:gd name="T41" fmla="*/ 2425 h 3271"/>
                <a:gd name="T42" fmla="*/ 2545 w 2545"/>
                <a:gd name="T43" fmla="*/ 2302 h 3271"/>
                <a:gd name="T44" fmla="*/ 2545 w 2545"/>
                <a:gd name="T45" fmla="*/ 3122 h 3271"/>
                <a:gd name="T46" fmla="*/ 2542 w 2545"/>
                <a:gd name="T47" fmla="*/ 3151 h 3271"/>
                <a:gd name="T48" fmla="*/ 2533 w 2545"/>
                <a:gd name="T49" fmla="*/ 3179 h 3271"/>
                <a:gd name="T50" fmla="*/ 2520 w 2545"/>
                <a:gd name="T51" fmla="*/ 3205 h 3271"/>
                <a:gd name="T52" fmla="*/ 2501 w 2545"/>
                <a:gd name="T53" fmla="*/ 3226 h 3271"/>
                <a:gd name="T54" fmla="*/ 2479 w 2545"/>
                <a:gd name="T55" fmla="*/ 3245 h 3271"/>
                <a:gd name="T56" fmla="*/ 2453 w 2545"/>
                <a:gd name="T57" fmla="*/ 3258 h 3271"/>
                <a:gd name="T58" fmla="*/ 2425 w 2545"/>
                <a:gd name="T59" fmla="*/ 3268 h 3271"/>
                <a:gd name="T60" fmla="*/ 2395 w 2545"/>
                <a:gd name="T61" fmla="*/ 3271 h 3271"/>
                <a:gd name="T62" fmla="*/ 150 w 2545"/>
                <a:gd name="T63" fmla="*/ 3271 h 3271"/>
                <a:gd name="T64" fmla="*/ 120 w 2545"/>
                <a:gd name="T65" fmla="*/ 3268 h 3271"/>
                <a:gd name="T66" fmla="*/ 92 w 2545"/>
                <a:gd name="T67" fmla="*/ 3258 h 3271"/>
                <a:gd name="T68" fmla="*/ 66 w 2545"/>
                <a:gd name="T69" fmla="*/ 3245 h 3271"/>
                <a:gd name="T70" fmla="*/ 44 w 2545"/>
                <a:gd name="T71" fmla="*/ 3226 h 3271"/>
                <a:gd name="T72" fmla="*/ 26 w 2545"/>
                <a:gd name="T73" fmla="*/ 3205 h 3271"/>
                <a:gd name="T74" fmla="*/ 12 w 2545"/>
                <a:gd name="T75" fmla="*/ 3179 h 3271"/>
                <a:gd name="T76" fmla="*/ 3 w 2545"/>
                <a:gd name="T77" fmla="*/ 3151 h 3271"/>
                <a:gd name="T78" fmla="*/ 0 w 2545"/>
                <a:gd name="T79" fmla="*/ 3122 h 3271"/>
                <a:gd name="T80" fmla="*/ 0 w 2545"/>
                <a:gd name="T81" fmla="*/ 148 h 3271"/>
                <a:gd name="T82" fmla="*/ 3 w 2545"/>
                <a:gd name="T83" fmla="*/ 118 h 3271"/>
                <a:gd name="T84" fmla="*/ 12 w 2545"/>
                <a:gd name="T85" fmla="*/ 90 h 3271"/>
                <a:gd name="T86" fmla="*/ 26 w 2545"/>
                <a:gd name="T87" fmla="*/ 66 h 3271"/>
                <a:gd name="T88" fmla="*/ 44 w 2545"/>
                <a:gd name="T89" fmla="*/ 43 h 3271"/>
                <a:gd name="T90" fmla="*/ 66 w 2545"/>
                <a:gd name="T91" fmla="*/ 26 h 3271"/>
                <a:gd name="T92" fmla="*/ 92 w 2545"/>
                <a:gd name="T93" fmla="*/ 11 h 3271"/>
                <a:gd name="T94" fmla="*/ 120 w 2545"/>
                <a:gd name="T95" fmla="*/ 3 h 3271"/>
                <a:gd name="T96" fmla="*/ 150 w 2545"/>
                <a:gd name="T97" fmla="*/ 0 h 3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45" h="3271">
                  <a:moveTo>
                    <a:pt x="150" y="0"/>
                  </a:moveTo>
                  <a:lnTo>
                    <a:pt x="2395" y="0"/>
                  </a:lnTo>
                  <a:lnTo>
                    <a:pt x="2425" y="3"/>
                  </a:lnTo>
                  <a:lnTo>
                    <a:pt x="2453" y="11"/>
                  </a:lnTo>
                  <a:lnTo>
                    <a:pt x="2479" y="26"/>
                  </a:lnTo>
                  <a:lnTo>
                    <a:pt x="2501" y="43"/>
                  </a:lnTo>
                  <a:lnTo>
                    <a:pt x="2520" y="66"/>
                  </a:lnTo>
                  <a:lnTo>
                    <a:pt x="2533" y="90"/>
                  </a:lnTo>
                  <a:lnTo>
                    <a:pt x="2542" y="118"/>
                  </a:lnTo>
                  <a:lnTo>
                    <a:pt x="2545" y="148"/>
                  </a:lnTo>
                  <a:lnTo>
                    <a:pt x="2545" y="369"/>
                  </a:lnTo>
                  <a:lnTo>
                    <a:pt x="2246" y="885"/>
                  </a:lnTo>
                  <a:lnTo>
                    <a:pt x="2246" y="297"/>
                  </a:lnTo>
                  <a:lnTo>
                    <a:pt x="300" y="297"/>
                  </a:lnTo>
                  <a:lnTo>
                    <a:pt x="300" y="2973"/>
                  </a:lnTo>
                  <a:lnTo>
                    <a:pt x="2246" y="2973"/>
                  </a:lnTo>
                  <a:lnTo>
                    <a:pt x="2246" y="2603"/>
                  </a:lnTo>
                  <a:lnTo>
                    <a:pt x="2403" y="2500"/>
                  </a:lnTo>
                  <a:lnTo>
                    <a:pt x="2430" y="2478"/>
                  </a:lnTo>
                  <a:lnTo>
                    <a:pt x="2454" y="2453"/>
                  </a:lnTo>
                  <a:lnTo>
                    <a:pt x="2474" y="2425"/>
                  </a:lnTo>
                  <a:lnTo>
                    <a:pt x="2545" y="2302"/>
                  </a:lnTo>
                  <a:lnTo>
                    <a:pt x="2545" y="3122"/>
                  </a:lnTo>
                  <a:lnTo>
                    <a:pt x="2542" y="3151"/>
                  </a:lnTo>
                  <a:lnTo>
                    <a:pt x="2533" y="3179"/>
                  </a:lnTo>
                  <a:lnTo>
                    <a:pt x="2520" y="3205"/>
                  </a:lnTo>
                  <a:lnTo>
                    <a:pt x="2501" y="3226"/>
                  </a:lnTo>
                  <a:lnTo>
                    <a:pt x="2479" y="3245"/>
                  </a:lnTo>
                  <a:lnTo>
                    <a:pt x="2453" y="3258"/>
                  </a:lnTo>
                  <a:lnTo>
                    <a:pt x="2425" y="3268"/>
                  </a:lnTo>
                  <a:lnTo>
                    <a:pt x="2395" y="3271"/>
                  </a:lnTo>
                  <a:lnTo>
                    <a:pt x="150" y="3271"/>
                  </a:lnTo>
                  <a:lnTo>
                    <a:pt x="120" y="3268"/>
                  </a:lnTo>
                  <a:lnTo>
                    <a:pt x="92" y="3258"/>
                  </a:lnTo>
                  <a:lnTo>
                    <a:pt x="66" y="3245"/>
                  </a:lnTo>
                  <a:lnTo>
                    <a:pt x="44" y="3226"/>
                  </a:lnTo>
                  <a:lnTo>
                    <a:pt x="26" y="3205"/>
                  </a:lnTo>
                  <a:lnTo>
                    <a:pt x="12" y="3179"/>
                  </a:lnTo>
                  <a:lnTo>
                    <a:pt x="3" y="3151"/>
                  </a:lnTo>
                  <a:lnTo>
                    <a:pt x="0" y="3122"/>
                  </a:lnTo>
                  <a:lnTo>
                    <a:pt x="0" y="148"/>
                  </a:lnTo>
                  <a:lnTo>
                    <a:pt x="3" y="118"/>
                  </a:lnTo>
                  <a:lnTo>
                    <a:pt x="12" y="90"/>
                  </a:lnTo>
                  <a:lnTo>
                    <a:pt x="26" y="66"/>
                  </a:lnTo>
                  <a:lnTo>
                    <a:pt x="44" y="43"/>
                  </a:lnTo>
                  <a:lnTo>
                    <a:pt x="66" y="26"/>
                  </a:lnTo>
                  <a:lnTo>
                    <a:pt x="92" y="11"/>
                  </a:lnTo>
                  <a:lnTo>
                    <a:pt x="120" y="3"/>
                  </a:lnTo>
                  <a:lnTo>
                    <a:pt x="1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dirty="0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67" name="Freeform 1042">
              <a:extLst>
                <a:ext uri="{FF2B5EF4-FFF2-40B4-BE49-F238E27FC236}">
                  <a16:creationId xmlns:a16="http://schemas.microsoft.com/office/drawing/2014/main" id="{D850A8B6-8182-F4BB-22D1-53AD894B16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05" y="-1855"/>
              <a:ext cx="393" cy="586"/>
            </a:xfrm>
            <a:custGeom>
              <a:avLst/>
              <a:gdLst>
                <a:gd name="T0" fmla="*/ 130 w 1574"/>
                <a:gd name="T1" fmla="*/ 1973 h 2342"/>
                <a:gd name="T2" fmla="*/ 221 w 1574"/>
                <a:gd name="T3" fmla="*/ 2017 h 2342"/>
                <a:gd name="T4" fmla="*/ 305 w 1574"/>
                <a:gd name="T5" fmla="*/ 2073 h 2342"/>
                <a:gd name="T6" fmla="*/ 434 w 1574"/>
                <a:gd name="T7" fmla="*/ 1957 h 2342"/>
                <a:gd name="T8" fmla="*/ 385 w 1574"/>
                <a:gd name="T9" fmla="*/ 1912 h 2342"/>
                <a:gd name="T10" fmla="*/ 311 w 1574"/>
                <a:gd name="T11" fmla="*/ 1861 h 2342"/>
                <a:gd name="T12" fmla="*/ 242 w 1574"/>
                <a:gd name="T13" fmla="*/ 1827 h 2342"/>
                <a:gd name="T14" fmla="*/ 186 w 1574"/>
                <a:gd name="T15" fmla="*/ 1808 h 2342"/>
                <a:gd name="T16" fmla="*/ 140 w 1574"/>
                <a:gd name="T17" fmla="*/ 1799 h 2342"/>
                <a:gd name="T18" fmla="*/ 1106 w 1574"/>
                <a:gd name="T19" fmla="*/ 0 h 2342"/>
                <a:gd name="T20" fmla="*/ 1161 w 1574"/>
                <a:gd name="T21" fmla="*/ 7 h 2342"/>
                <a:gd name="T22" fmla="*/ 1227 w 1574"/>
                <a:gd name="T23" fmla="*/ 25 h 2342"/>
                <a:gd name="T24" fmla="*/ 1305 w 1574"/>
                <a:gd name="T25" fmla="*/ 56 h 2342"/>
                <a:gd name="T26" fmla="*/ 1391 w 1574"/>
                <a:gd name="T27" fmla="*/ 107 h 2342"/>
                <a:gd name="T28" fmla="*/ 1462 w 1574"/>
                <a:gd name="T29" fmla="*/ 161 h 2342"/>
                <a:gd name="T30" fmla="*/ 1512 w 1574"/>
                <a:gd name="T31" fmla="*/ 213 h 2342"/>
                <a:gd name="T32" fmla="*/ 1544 w 1574"/>
                <a:gd name="T33" fmla="*/ 258 h 2342"/>
                <a:gd name="T34" fmla="*/ 1562 w 1574"/>
                <a:gd name="T35" fmla="*/ 294 h 2342"/>
                <a:gd name="T36" fmla="*/ 1571 w 1574"/>
                <a:gd name="T37" fmla="*/ 316 h 2342"/>
                <a:gd name="T38" fmla="*/ 1574 w 1574"/>
                <a:gd name="T39" fmla="*/ 340 h 2342"/>
                <a:gd name="T40" fmla="*/ 1563 w 1574"/>
                <a:gd name="T41" fmla="*/ 375 h 2342"/>
                <a:gd name="T42" fmla="*/ 618 w 1574"/>
                <a:gd name="T43" fmla="*/ 1998 h 2342"/>
                <a:gd name="T44" fmla="*/ 115 w 1574"/>
                <a:gd name="T45" fmla="*/ 2330 h 2342"/>
                <a:gd name="T46" fmla="*/ 77 w 1574"/>
                <a:gd name="T47" fmla="*/ 2342 h 2342"/>
                <a:gd name="T48" fmla="*/ 36 w 1574"/>
                <a:gd name="T49" fmla="*/ 2332 h 2342"/>
                <a:gd name="T50" fmla="*/ 13 w 1574"/>
                <a:gd name="T51" fmla="*/ 2311 h 2342"/>
                <a:gd name="T52" fmla="*/ 0 w 1574"/>
                <a:gd name="T53" fmla="*/ 2280 h 2342"/>
                <a:gd name="T54" fmla="*/ 34 w 1574"/>
                <a:gd name="T55" fmla="*/ 1683 h 2342"/>
                <a:gd name="T56" fmla="*/ 45 w 1574"/>
                <a:gd name="T57" fmla="*/ 1651 h 2342"/>
                <a:gd name="T58" fmla="*/ 991 w 1574"/>
                <a:gd name="T59" fmla="*/ 27 h 2342"/>
                <a:gd name="T60" fmla="*/ 1023 w 1574"/>
                <a:gd name="T61" fmla="*/ 7 h 2342"/>
                <a:gd name="T62" fmla="*/ 1036 w 1574"/>
                <a:gd name="T63" fmla="*/ 4 h 2342"/>
                <a:gd name="T64" fmla="*/ 1064 w 1574"/>
                <a:gd name="T65" fmla="*/ 0 h 2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74" h="2342">
                  <a:moveTo>
                    <a:pt x="140" y="1799"/>
                  </a:moveTo>
                  <a:lnTo>
                    <a:pt x="130" y="1973"/>
                  </a:lnTo>
                  <a:lnTo>
                    <a:pt x="175" y="1993"/>
                  </a:lnTo>
                  <a:lnTo>
                    <a:pt x="221" y="2017"/>
                  </a:lnTo>
                  <a:lnTo>
                    <a:pt x="264" y="2043"/>
                  </a:lnTo>
                  <a:lnTo>
                    <a:pt x="305" y="2073"/>
                  </a:lnTo>
                  <a:lnTo>
                    <a:pt x="451" y="1976"/>
                  </a:lnTo>
                  <a:lnTo>
                    <a:pt x="434" y="1957"/>
                  </a:lnTo>
                  <a:lnTo>
                    <a:pt x="412" y="1935"/>
                  </a:lnTo>
                  <a:lnTo>
                    <a:pt x="385" y="1912"/>
                  </a:lnTo>
                  <a:lnTo>
                    <a:pt x="351" y="1887"/>
                  </a:lnTo>
                  <a:lnTo>
                    <a:pt x="311" y="1861"/>
                  </a:lnTo>
                  <a:lnTo>
                    <a:pt x="276" y="1843"/>
                  </a:lnTo>
                  <a:lnTo>
                    <a:pt x="242" y="1827"/>
                  </a:lnTo>
                  <a:lnTo>
                    <a:pt x="212" y="1816"/>
                  </a:lnTo>
                  <a:lnTo>
                    <a:pt x="186" y="1808"/>
                  </a:lnTo>
                  <a:lnTo>
                    <a:pt x="162" y="1803"/>
                  </a:lnTo>
                  <a:lnTo>
                    <a:pt x="140" y="1799"/>
                  </a:lnTo>
                  <a:close/>
                  <a:moveTo>
                    <a:pt x="1083" y="0"/>
                  </a:moveTo>
                  <a:lnTo>
                    <a:pt x="1106" y="0"/>
                  </a:lnTo>
                  <a:lnTo>
                    <a:pt x="1132" y="2"/>
                  </a:lnTo>
                  <a:lnTo>
                    <a:pt x="1161" y="7"/>
                  </a:lnTo>
                  <a:lnTo>
                    <a:pt x="1192" y="14"/>
                  </a:lnTo>
                  <a:lnTo>
                    <a:pt x="1227" y="25"/>
                  </a:lnTo>
                  <a:lnTo>
                    <a:pt x="1264" y="39"/>
                  </a:lnTo>
                  <a:lnTo>
                    <a:pt x="1305" y="56"/>
                  </a:lnTo>
                  <a:lnTo>
                    <a:pt x="1347" y="80"/>
                  </a:lnTo>
                  <a:lnTo>
                    <a:pt x="1391" y="107"/>
                  </a:lnTo>
                  <a:lnTo>
                    <a:pt x="1430" y="135"/>
                  </a:lnTo>
                  <a:lnTo>
                    <a:pt x="1462" y="161"/>
                  </a:lnTo>
                  <a:lnTo>
                    <a:pt x="1489" y="188"/>
                  </a:lnTo>
                  <a:lnTo>
                    <a:pt x="1512" y="213"/>
                  </a:lnTo>
                  <a:lnTo>
                    <a:pt x="1529" y="236"/>
                  </a:lnTo>
                  <a:lnTo>
                    <a:pt x="1544" y="258"/>
                  </a:lnTo>
                  <a:lnTo>
                    <a:pt x="1554" y="277"/>
                  </a:lnTo>
                  <a:lnTo>
                    <a:pt x="1562" y="294"/>
                  </a:lnTo>
                  <a:lnTo>
                    <a:pt x="1567" y="307"/>
                  </a:lnTo>
                  <a:lnTo>
                    <a:pt x="1571" y="316"/>
                  </a:lnTo>
                  <a:lnTo>
                    <a:pt x="1572" y="322"/>
                  </a:lnTo>
                  <a:lnTo>
                    <a:pt x="1574" y="340"/>
                  </a:lnTo>
                  <a:lnTo>
                    <a:pt x="1571" y="359"/>
                  </a:lnTo>
                  <a:lnTo>
                    <a:pt x="1563" y="375"/>
                  </a:lnTo>
                  <a:lnTo>
                    <a:pt x="628" y="1985"/>
                  </a:lnTo>
                  <a:lnTo>
                    <a:pt x="618" y="1998"/>
                  </a:lnTo>
                  <a:lnTo>
                    <a:pt x="605" y="2009"/>
                  </a:lnTo>
                  <a:lnTo>
                    <a:pt x="115" y="2330"/>
                  </a:lnTo>
                  <a:lnTo>
                    <a:pt x="97" y="2339"/>
                  </a:lnTo>
                  <a:lnTo>
                    <a:pt x="77" y="2342"/>
                  </a:lnTo>
                  <a:lnTo>
                    <a:pt x="56" y="2340"/>
                  </a:lnTo>
                  <a:lnTo>
                    <a:pt x="36" y="2332"/>
                  </a:lnTo>
                  <a:lnTo>
                    <a:pt x="23" y="2323"/>
                  </a:lnTo>
                  <a:lnTo>
                    <a:pt x="13" y="2311"/>
                  </a:lnTo>
                  <a:lnTo>
                    <a:pt x="5" y="2296"/>
                  </a:lnTo>
                  <a:lnTo>
                    <a:pt x="0" y="2280"/>
                  </a:lnTo>
                  <a:lnTo>
                    <a:pt x="0" y="2263"/>
                  </a:lnTo>
                  <a:lnTo>
                    <a:pt x="34" y="1683"/>
                  </a:lnTo>
                  <a:lnTo>
                    <a:pt x="38" y="1666"/>
                  </a:lnTo>
                  <a:lnTo>
                    <a:pt x="45" y="1651"/>
                  </a:lnTo>
                  <a:lnTo>
                    <a:pt x="981" y="41"/>
                  </a:lnTo>
                  <a:lnTo>
                    <a:pt x="991" y="27"/>
                  </a:lnTo>
                  <a:lnTo>
                    <a:pt x="1005" y="15"/>
                  </a:lnTo>
                  <a:lnTo>
                    <a:pt x="1023" y="7"/>
                  </a:lnTo>
                  <a:lnTo>
                    <a:pt x="1027" y="6"/>
                  </a:lnTo>
                  <a:lnTo>
                    <a:pt x="1036" y="4"/>
                  </a:lnTo>
                  <a:lnTo>
                    <a:pt x="1049" y="2"/>
                  </a:lnTo>
                  <a:lnTo>
                    <a:pt x="1064" y="0"/>
                  </a:lnTo>
                  <a:lnTo>
                    <a:pt x="10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68" name="Freeform 1043">
              <a:extLst>
                <a:ext uri="{FF2B5EF4-FFF2-40B4-BE49-F238E27FC236}">
                  <a16:creationId xmlns:a16="http://schemas.microsoft.com/office/drawing/2014/main" id="{791B95D7-8227-BE92-9747-8F1FD33AF92F}"/>
                </a:ext>
              </a:extLst>
            </p:cNvPr>
            <p:cNvSpPr/>
            <p:nvPr/>
          </p:nvSpPr>
          <p:spPr bwMode="auto">
            <a:xfrm>
              <a:off x="9995" y="-1385"/>
              <a:ext cx="286" cy="146"/>
            </a:xfrm>
            <a:custGeom>
              <a:avLst/>
              <a:gdLst>
                <a:gd name="T0" fmla="*/ 551 w 1143"/>
                <a:gd name="T1" fmla="*/ 5 h 585"/>
                <a:gd name="T2" fmla="*/ 577 w 1143"/>
                <a:gd name="T3" fmla="*/ 28 h 585"/>
                <a:gd name="T4" fmla="*/ 585 w 1143"/>
                <a:gd name="T5" fmla="*/ 110 h 585"/>
                <a:gd name="T6" fmla="*/ 554 w 1143"/>
                <a:gd name="T7" fmla="*/ 197 h 585"/>
                <a:gd name="T8" fmla="*/ 563 w 1143"/>
                <a:gd name="T9" fmla="*/ 239 h 585"/>
                <a:gd name="T10" fmla="*/ 581 w 1143"/>
                <a:gd name="T11" fmla="*/ 267 h 585"/>
                <a:gd name="T12" fmla="*/ 631 w 1143"/>
                <a:gd name="T13" fmla="*/ 275 h 585"/>
                <a:gd name="T14" fmla="*/ 674 w 1143"/>
                <a:gd name="T15" fmla="*/ 319 h 585"/>
                <a:gd name="T16" fmla="*/ 685 w 1143"/>
                <a:gd name="T17" fmla="*/ 353 h 585"/>
                <a:gd name="T18" fmla="*/ 838 w 1143"/>
                <a:gd name="T19" fmla="*/ 347 h 585"/>
                <a:gd name="T20" fmla="*/ 986 w 1143"/>
                <a:gd name="T21" fmla="*/ 362 h 585"/>
                <a:gd name="T22" fmla="*/ 1106 w 1143"/>
                <a:gd name="T23" fmla="*/ 369 h 585"/>
                <a:gd name="T24" fmla="*/ 1137 w 1143"/>
                <a:gd name="T25" fmla="*/ 396 h 585"/>
                <a:gd name="T26" fmla="*/ 1142 w 1143"/>
                <a:gd name="T27" fmla="*/ 436 h 585"/>
                <a:gd name="T28" fmla="*/ 1119 w 1143"/>
                <a:gd name="T29" fmla="*/ 470 h 585"/>
                <a:gd name="T30" fmla="*/ 1055 w 1143"/>
                <a:gd name="T31" fmla="*/ 477 h 585"/>
                <a:gd name="T32" fmla="*/ 946 w 1143"/>
                <a:gd name="T33" fmla="*/ 461 h 585"/>
                <a:gd name="T34" fmla="*/ 834 w 1143"/>
                <a:gd name="T35" fmla="*/ 447 h 585"/>
                <a:gd name="T36" fmla="*/ 730 w 1143"/>
                <a:gd name="T37" fmla="*/ 456 h 585"/>
                <a:gd name="T38" fmla="*/ 672 w 1143"/>
                <a:gd name="T39" fmla="*/ 481 h 585"/>
                <a:gd name="T40" fmla="*/ 630 w 1143"/>
                <a:gd name="T41" fmla="*/ 486 h 585"/>
                <a:gd name="T42" fmla="*/ 596 w 1143"/>
                <a:gd name="T43" fmla="*/ 472 h 585"/>
                <a:gd name="T44" fmla="*/ 571 w 1143"/>
                <a:gd name="T45" fmla="*/ 449 h 585"/>
                <a:gd name="T46" fmla="*/ 565 w 1143"/>
                <a:gd name="T47" fmla="*/ 403 h 585"/>
                <a:gd name="T48" fmla="*/ 531 w 1143"/>
                <a:gd name="T49" fmla="*/ 452 h 585"/>
                <a:gd name="T50" fmla="*/ 490 w 1143"/>
                <a:gd name="T51" fmla="*/ 465 h 585"/>
                <a:gd name="T52" fmla="*/ 450 w 1143"/>
                <a:gd name="T53" fmla="*/ 451 h 585"/>
                <a:gd name="T54" fmla="*/ 435 w 1143"/>
                <a:gd name="T55" fmla="*/ 414 h 585"/>
                <a:gd name="T56" fmla="*/ 445 w 1143"/>
                <a:gd name="T57" fmla="*/ 385 h 585"/>
                <a:gd name="T58" fmla="*/ 454 w 1143"/>
                <a:gd name="T59" fmla="*/ 365 h 585"/>
                <a:gd name="T60" fmla="*/ 417 w 1143"/>
                <a:gd name="T61" fmla="*/ 400 h 585"/>
                <a:gd name="T62" fmla="*/ 375 w 1143"/>
                <a:gd name="T63" fmla="*/ 423 h 585"/>
                <a:gd name="T64" fmla="*/ 331 w 1143"/>
                <a:gd name="T65" fmla="*/ 412 h 585"/>
                <a:gd name="T66" fmla="*/ 311 w 1143"/>
                <a:gd name="T67" fmla="*/ 375 h 585"/>
                <a:gd name="T68" fmla="*/ 360 w 1143"/>
                <a:gd name="T69" fmla="*/ 285 h 585"/>
                <a:gd name="T70" fmla="*/ 250 w 1143"/>
                <a:gd name="T71" fmla="*/ 388 h 585"/>
                <a:gd name="T72" fmla="*/ 95 w 1143"/>
                <a:gd name="T73" fmla="*/ 574 h 585"/>
                <a:gd name="T74" fmla="*/ 49 w 1143"/>
                <a:gd name="T75" fmla="*/ 584 h 585"/>
                <a:gd name="T76" fmla="*/ 9 w 1143"/>
                <a:gd name="T77" fmla="*/ 562 h 585"/>
                <a:gd name="T78" fmla="*/ 2 w 1143"/>
                <a:gd name="T79" fmla="*/ 521 h 585"/>
                <a:gd name="T80" fmla="*/ 137 w 1143"/>
                <a:gd name="T81" fmla="*/ 347 h 585"/>
                <a:gd name="T82" fmla="*/ 341 w 1143"/>
                <a:gd name="T83" fmla="*/ 122 h 585"/>
                <a:gd name="T84" fmla="*/ 395 w 1143"/>
                <a:gd name="T85" fmla="*/ 70 h 585"/>
                <a:gd name="T86" fmla="*/ 458 w 1143"/>
                <a:gd name="T87" fmla="*/ 20 h 585"/>
                <a:gd name="T88" fmla="*/ 528 w 1143"/>
                <a:gd name="T89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43" h="585">
                  <a:moveTo>
                    <a:pt x="528" y="0"/>
                  </a:moveTo>
                  <a:lnTo>
                    <a:pt x="539" y="2"/>
                  </a:lnTo>
                  <a:lnTo>
                    <a:pt x="551" y="5"/>
                  </a:lnTo>
                  <a:lnTo>
                    <a:pt x="561" y="10"/>
                  </a:lnTo>
                  <a:lnTo>
                    <a:pt x="571" y="18"/>
                  </a:lnTo>
                  <a:lnTo>
                    <a:pt x="577" y="28"/>
                  </a:lnTo>
                  <a:lnTo>
                    <a:pt x="585" y="53"/>
                  </a:lnTo>
                  <a:lnTo>
                    <a:pt x="587" y="81"/>
                  </a:lnTo>
                  <a:lnTo>
                    <a:pt x="585" y="110"/>
                  </a:lnTo>
                  <a:lnTo>
                    <a:pt x="578" y="139"/>
                  </a:lnTo>
                  <a:lnTo>
                    <a:pt x="567" y="168"/>
                  </a:lnTo>
                  <a:lnTo>
                    <a:pt x="554" y="197"/>
                  </a:lnTo>
                  <a:lnTo>
                    <a:pt x="537" y="227"/>
                  </a:lnTo>
                  <a:lnTo>
                    <a:pt x="551" y="232"/>
                  </a:lnTo>
                  <a:lnTo>
                    <a:pt x="563" y="239"/>
                  </a:lnTo>
                  <a:lnTo>
                    <a:pt x="573" y="252"/>
                  </a:lnTo>
                  <a:lnTo>
                    <a:pt x="577" y="260"/>
                  </a:lnTo>
                  <a:lnTo>
                    <a:pt x="581" y="267"/>
                  </a:lnTo>
                  <a:lnTo>
                    <a:pt x="597" y="266"/>
                  </a:lnTo>
                  <a:lnTo>
                    <a:pt x="614" y="269"/>
                  </a:lnTo>
                  <a:lnTo>
                    <a:pt x="631" y="275"/>
                  </a:lnTo>
                  <a:lnTo>
                    <a:pt x="646" y="286"/>
                  </a:lnTo>
                  <a:lnTo>
                    <a:pt x="661" y="300"/>
                  </a:lnTo>
                  <a:lnTo>
                    <a:pt x="674" y="319"/>
                  </a:lnTo>
                  <a:lnTo>
                    <a:pt x="681" y="334"/>
                  </a:lnTo>
                  <a:lnTo>
                    <a:pt x="684" y="345"/>
                  </a:lnTo>
                  <a:lnTo>
                    <a:pt x="685" y="353"/>
                  </a:lnTo>
                  <a:lnTo>
                    <a:pt x="738" y="347"/>
                  </a:lnTo>
                  <a:lnTo>
                    <a:pt x="789" y="346"/>
                  </a:lnTo>
                  <a:lnTo>
                    <a:pt x="838" y="347"/>
                  </a:lnTo>
                  <a:lnTo>
                    <a:pt x="887" y="351"/>
                  </a:lnTo>
                  <a:lnTo>
                    <a:pt x="936" y="356"/>
                  </a:lnTo>
                  <a:lnTo>
                    <a:pt x="986" y="362"/>
                  </a:lnTo>
                  <a:lnTo>
                    <a:pt x="1036" y="365"/>
                  </a:lnTo>
                  <a:lnTo>
                    <a:pt x="1089" y="367"/>
                  </a:lnTo>
                  <a:lnTo>
                    <a:pt x="1106" y="369"/>
                  </a:lnTo>
                  <a:lnTo>
                    <a:pt x="1119" y="375"/>
                  </a:lnTo>
                  <a:lnTo>
                    <a:pt x="1130" y="384"/>
                  </a:lnTo>
                  <a:lnTo>
                    <a:pt x="1137" y="396"/>
                  </a:lnTo>
                  <a:lnTo>
                    <a:pt x="1142" y="408"/>
                  </a:lnTo>
                  <a:lnTo>
                    <a:pt x="1143" y="422"/>
                  </a:lnTo>
                  <a:lnTo>
                    <a:pt x="1142" y="436"/>
                  </a:lnTo>
                  <a:lnTo>
                    <a:pt x="1137" y="449"/>
                  </a:lnTo>
                  <a:lnTo>
                    <a:pt x="1130" y="460"/>
                  </a:lnTo>
                  <a:lnTo>
                    <a:pt x="1119" y="470"/>
                  </a:lnTo>
                  <a:lnTo>
                    <a:pt x="1106" y="476"/>
                  </a:lnTo>
                  <a:lnTo>
                    <a:pt x="1089" y="478"/>
                  </a:lnTo>
                  <a:lnTo>
                    <a:pt x="1055" y="477"/>
                  </a:lnTo>
                  <a:lnTo>
                    <a:pt x="1020" y="473"/>
                  </a:lnTo>
                  <a:lnTo>
                    <a:pt x="983" y="467"/>
                  </a:lnTo>
                  <a:lnTo>
                    <a:pt x="946" y="461"/>
                  </a:lnTo>
                  <a:lnTo>
                    <a:pt x="909" y="455"/>
                  </a:lnTo>
                  <a:lnTo>
                    <a:pt x="872" y="450"/>
                  </a:lnTo>
                  <a:lnTo>
                    <a:pt x="834" y="447"/>
                  </a:lnTo>
                  <a:lnTo>
                    <a:pt x="798" y="446"/>
                  </a:lnTo>
                  <a:lnTo>
                    <a:pt x="763" y="449"/>
                  </a:lnTo>
                  <a:lnTo>
                    <a:pt x="730" y="456"/>
                  </a:lnTo>
                  <a:lnTo>
                    <a:pt x="698" y="469"/>
                  </a:lnTo>
                  <a:lnTo>
                    <a:pt x="685" y="475"/>
                  </a:lnTo>
                  <a:lnTo>
                    <a:pt x="672" y="481"/>
                  </a:lnTo>
                  <a:lnTo>
                    <a:pt x="657" y="486"/>
                  </a:lnTo>
                  <a:lnTo>
                    <a:pt x="644" y="488"/>
                  </a:lnTo>
                  <a:lnTo>
                    <a:pt x="630" y="486"/>
                  </a:lnTo>
                  <a:lnTo>
                    <a:pt x="619" y="482"/>
                  </a:lnTo>
                  <a:lnTo>
                    <a:pt x="608" y="477"/>
                  </a:lnTo>
                  <a:lnTo>
                    <a:pt x="596" y="472"/>
                  </a:lnTo>
                  <a:lnTo>
                    <a:pt x="586" y="465"/>
                  </a:lnTo>
                  <a:lnTo>
                    <a:pt x="578" y="458"/>
                  </a:lnTo>
                  <a:lnTo>
                    <a:pt x="571" y="449"/>
                  </a:lnTo>
                  <a:lnTo>
                    <a:pt x="566" y="437"/>
                  </a:lnTo>
                  <a:lnTo>
                    <a:pt x="565" y="418"/>
                  </a:lnTo>
                  <a:lnTo>
                    <a:pt x="565" y="403"/>
                  </a:lnTo>
                  <a:lnTo>
                    <a:pt x="554" y="422"/>
                  </a:lnTo>
                  <a:lnTo>
                    <a:pt x="542" y="441"/>
                  </a:lnTo>
                  <a:lnTo>
                    <a:pt x="531" y="452"/>
                  </a:lnTo>
                  <a:lnTo>
                    <a:pt x="519" y="460"/>
                  </a:lnTo>
                  <a:lnTo>
                    <a:pt x="504" y="464"/>
                  </a:lnTo>
                  <a:lnTo>
                    <a:pt x="490" y="465"/>
                  </a:lnTo>
                  <a:lnTo>
                    <a:pt x="475" y="463"/>
                  </a:lnTo>
                  <a:lnTo>
                    <a:pt x="462" y="458"/>
                  </a:lnTo>
                  <a:lnTo>
                    <a:pt x="450" y="451"/>
                  </a:lnTo>
                  <a:lnTo>
                    <a:pt x="441" y="441"/>
                  </a:lnTo>
                  <a:lnTo>
                    <a:pt x="436" y="428"/>
                  </a:lnTo>
                  <a:lnTo>
                    <a:pt x="435" y="414"/>
                  </a:lnTo>
                  <a:lnTo>
                    <a:pt x="439" y="398"/>
                  </a:lnTo>
                  <a:lnTo>
                    <a:pt x="442" y="391"/>
                  </a:lnTo>
                  <a:lnTo>
                    <a:pt x="445" y="385"/>
                  </a:lnTo>
                  <a:lnTo>
                    <a:pt x="445" y="385"/>
                  </a:lnTo>
                  <a:lnTo>
                    <a:pt x="444" y="385"/>
                  </a:lnTo>
                  <a:lnTo>
                    <a:pt x="454" y="365"/>
                  </a:lnTo>
                  <a:lnTo>
                    <a:pt x="440" y="374"/>
                  </a:lnTo>
                  <a:lnTo>
                    <a:pt x="428" y="385"/>
                  </a:lnTo>
                  <a:lnTo>
                    <a:pt x="417" y="400"/>
                  </a:lnTo>
                  <a:lnTo>
                    <a:pt x="405" y="412"/>
                  </a:lnTo>
                  <a:lnTo>
                    <a:pt x="390" y="420"/>
                  </a:lnTo>
                  <a:lnTo>
                    <a:pt x="375" y="423"/>
                  </a:lnTo>
                  <a:lnTo>
                    <a:pt x="359" y="423"/>
                  </a:lnTo>
                  <a:lnTo>
                    <a:pt x="345" y="419"/>
                  </a:lnTo>
                  <a:lnTo>
                    <a:pt x="331" y="412"/>
                  </a:lnTo>
                  <a:lnTo>
                    <a:pt x="321" y="402"/>
                  </a:lnTo>
                  <a:lnTo>
                    <a:pt x="314" y="389"/>
                  </a:lnTo>
                  <a:lnTo>
                    <a:pt x="311" y="375"/>
                  </a:lnTo>
                  <a:lnTo>
                    <a:pt x="313" y="360"/>
                  </a:lnTo>
                  <a:lnTo>
                    <a:pt x="320" y="343"/>
                  </a:lnTo>
                  <a:lnTo>
                    <a:pt x="360" y="285"/>
                  </a:lnTo>
                  <a:lnTo>
                    <a:pt x="400" y="224"/>
                  </a:lnTo>
                  <a:lnTo>
                    <a:pt x="323" y="305"/>
                  </a:lnTo>
                  <a:lnTo>
                    <a:pt x="250" y="388"/>
                  </a:lnTo>
                  <a:lnTo>
                    <a:pt x="177" y="475"/>
                  </a:lnTo>
                  <a:lnTo>
                    <a:pt x="108" y="562"/>
                  </a:lnTo>
                  <a:lnTo>
                    <a:pt x="95" y="574"/>
                  </a:lnTo>
                  <a:lnTo>
                    <a:pt x="80" y="582"/>
                  </a:lnTo>
                  <a:lnTo>
                    <a:pt x="64" y="585"/>
                  </a:lnTo>
                  <a:lnTo>
                    <a:pt x="49" y="584"/>
                  </a:lnTo>
                  <a:lnTo>
                    <a:pt x="33" y="580"/>
                  </a:lnTo>
                  <a:lnTo>
                    <a:pt x="21" y="572"/>
                  </a:lnTo>
                  <a:lnTo>
                    <a:pt x="9" y="562"/>
                  </a:lnTo>
                  <a:lnTo>
                    <a:pt x="2" y="550"/>
                  </a:lnTo>
                  <a:lnTo>
                    <a:pt x="0" y="535"/>
                  </a:lnTo>
                  <a:lnTo>
                    <a:pt x="2" y="521"/>
                  </a:lnTo>
                  <a:lnTo>
                    <a:pt x="12" y="506"/>
                  </a:lnTo>
                  <a:lnTo>
                    <a:pt x="74" y="426"/>
                  </a:lnTo>
                  <a:lnTo>
                    <a:pt x="137" y="347"/>
                  </a:lnTo>
                  <a:lnTo>
                    <a:pt x="202" y="270"/>
                  </a:lnTo>
                  <a:lnTo>
                    <a:pt x="270" y="194"/>
                  </a:lnTo>
                  <a:lnTo>
                    <a:pt x="341" y="122"/>
                  </a:lnTo>
                  <a:lnTo>
                    <a:pt x="357" y="106"/>
                  </a:lnTo>
                  <a:lnTo>
                    <a:pt x="376" y="88"/>
                  </a:lnTo>
                  <a:lnTo>
                    <a:pt x="395" y="70"/>
                  </a:lnTo>
                  <a:lnTo>
                    <a:pt x="414" y="51"/>
                  </a:lnTo>
                  <a:lnTo>
                    <a:pt x="435" y="35"/>
                  </a:lnTo>
                  <a:lnTo>
                    <a:pt x="458" y="20"/>
                  </a:lnTo>
                  <a:lnTo>
                    <a:pt x="480" y="9"/>
                  </a:lnTo>
                  <a:lnTo>
                    <a:pt x="504" y="2"/>
                  </a:lnTo>
                  <a:lnTo>
                    <a:pt x="5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</p:grpSp>
      <p:sp>
        <p:nvSpPr>
          <p:cNvPr id="6" name="Rectangle 30">
            <a:extLst>
              <a:ext uri="{FF2B5EF4-FFF2-40B4-BE49-F238E27FC236}">
                <a16:creationId xmlns:a16="http://schemas.microsoft.com/office/drawing/2014/main" id="{5B18AE72-FF73-1E33-E7EF-DE61C56E1E01}"/>
              </a:ext>
            </a:extLst>
          </p:cNvPr>
          <p:cNvSpPr/>
          <p:nvPr/>
        </p:nvSpPr>
        <p:spPr>
          <a:xfrm>
            <a:off x="790109" y="3266711"/>
            <a:ext cx="1807781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16kb DRAM</a:t>
            </a: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和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4kb SRAM</a:t>
            </a: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问世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itchFamily="34" charset="0"/>
              <a:sym typeface="+mn-ea"/>
            </a:endParaRPr>
          </a:p>
        </p:txBody>
      </p:sp>
      <p:sp>
        <p:nvSpPr>
          <p:cNvPr id="7" name="Freeform 63">
            <a:extLst>
              <a:ext uri="{FF2B5EF4-FFF2-40B4-BE49-F238E27FC236}">
                <a16:creationId xmlns:a16="http://schemas.microsoft.com/office/drawing/2014/main" id="{BDA72E96-A7A5-715F-A586-A6B81D18A02E}"/>
              </a:ext>
            </a:extLst>
          </p:cNvPr>
          <p:cNvSpPr/>
          <p:nvPr/>
        </p:nvSpPr>
        <p:spPr bwMode="auto">
          <a:xfrm>
            <a:off x="4865396" y="2259566"/>
            <a:ext cx="317113" cy="237823"/>
          </a:xfrm>
          <a:custGeom>
            <a:avLst/>
            <a:gdLst>
              <a:gd name="connsiteX0" fmla="*/ 202025 w 339741"/>
              <a:gd name="connsiteY0" fmla="*/ 0 h 254794"/>
              <a:gd name="connsiteX1" fmla="*/ 219091 w 339741"/>
              <a:gd name="connsiteY1" fmla="*/ 7144 h 254794"/>
              <a:gd name="connsiteX2" fmla="*/ 339741 w 339741"/>
              <a:gd name="connsiteY2" fmla="*/ 127794 h 254794"/>
              <a:gd name="connsiteX3" fmla="*/ 219091 w 339741"/>
              <a:gd name="connsiteY3" fmla="*/ 245269 h 254794"/>
              <a:gd name="connsiteX4" fmla="*/ 203216 w 339741"/>
              <a:gd name="connsiteY4" fmla="*/ 254794 h 254794"/>
              <a:gd name="connsiteX5" fmla="*/ 187341 w 339741"/>
              <a:gd name="connsiteY5" fmla="*/ 245269 h 254794"/>
              <a:gd name="connsiteX6" fmla="*/ 187341 w 339741"/>
              <a:gd name="connsiteY6" fmla="*/ 213519 h 254794"/>
              <a:gd name="connsiteX7" fmla="*/ 273066 w 339741"/>
              <a:gd name="connsiteY7" fmla="*/ 127794 h 254794"/>
              <a:gd name="connsiteX8" fmla="*/ 187341 w 339741"/>
              <a:gd name="connsiteY8" fmla="*/ 42069 h 254794"/>
              <a:gd name="connsiteX9" fmla="*/ 187341 w 339741"/>
              <a:gd name="connsiteY9" fmla="*/ 7144 h 254794"/>
              <a:gd name="connsiteX10" fmla="*/ 202025 w 339741"/>
              <a:gd name="connsiteY10" fmla="*/ 0 h 254794"/>
              <a:gd name="connsiteX11" fmla="*/ 22007 w 339741"/>
              <a:gd name="connsiteY11" fmla="*/ 0 h 254794"/>
              <a:gd name="connsiteX12" fmla="*/ 39299 w 339741"/>
              <a:gd name="connsiteY12" fmla="*/ 7144 h 254794"/>
              <a:gd name="connsiteX13" fmla="*/ 158766 w 339741"/>
              <a:gd name="connsiteY13" fmla="*/ 127794 h 254794"/>
              <a:gd name="connsiteX14" fmla="*/ 39299 w 339741"/>
              <a:gd name="connsiteY14" fmla="*/ 245269 h 254794"/>
              <a:gd name="connsiteX15" fmla="*/ 23579 w 339741"/>
              <a:gd name="connsiteY15" fmla="*/ 254794 h 254794"/>
              <a:gd name="connsiteX16" fmla="*/ 4716 w 339741"/>
              <a:gd name="connsiteY16" fmla="*/ 245269 h 254794"/>
              <a:gd name="connsiteX17" fmla="*/ 4716 w 339741"/>
              <a:gd name="connsiteY17" fmla="*/ 213519 h 254794"/>
              <a:gd name="connsiteX18" fmla="*/ 92745 w 339741"/>
              <a:gd name="connsiteY18" fmla="*/ 127794 h 254794"/>
              <a:gd name="connsiteX19" fmla="*/ 4716 w 339741"/>
              <a:gd name="connsiteY19" fmla="*/ 42069 h 254794"/>
              <a:gd name="connsiteX20" fmla="*/ 4716 w 339741"/>
              <a:gd name="connsiteY20" fmla="*/ 7144 h 254794"/>
              <a:gd name="connsiteX21" fmla="*/ 22007 w 339741"/>
              <a:gd name="connsiteY21" fmla="*/ 0 h 25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39741" h="254794">
                <a:moveTo>
                  <a:pt x="202025" y="0"/>
                </a:moveTo>
                <a:cubicBezTo>
                  <a:pt x="207979" y="0"/>
                  <a:pt x="214329" y="2382"/>
                  <a:pt x="219091" y="7144"/>
                </a:cubicBezTo>
                <a:cubicBezTo>
                  <a:pt x="339741" y="127794"/>
                  <a:pt x="339741" y="127794"/>
                  <a:pt x="339741" y="127794"/>
                </a:cubicBezTo>
                <a:cubicBezTo>
                  <a:pt x="219091" y="245269"/>
                  <a:pt x="219091" y="245269"/>
                  <a:pt x="219091" y="245269"/>
                </a:cubicBezTo>
                <a:cubicBezTo>
                  <a:pt x="215916" y="251619"/>
                  <a:pt x="209566" y="254794"/>
                  <a:pt x="203216" y="254794"/>
                </a:cubicBezTo>
                <a:cubicBezTo>
                  <a:pt x="196866" y="254794"/>
                  <a:pt x="190516" y="251619"/>
                  <a:pt x="187341" y="245269"/>
                </a:cubicBezTo>
                <a:cubicBezTo>
                  <a:pt x="177816" y="238919"/>
                  <a:pt x="177816" y="223044"/>
                  <a:pt x="187341" y="213519"/>
                </a:cubicBezTo>
                <a:cubicBezTo>
                  <a:pt x="273066" y="127794"/>
                  <a:pt x="273066" y="127794"/>
                  <a:pt x="273066" y="127794"/>
                </a:cubicBezTo>
                <a:cubicBezTo>
                  <a:pt x="187341" y="42069"/>
                  <a:pt x="187341" y="42069"/>
                  <a:pt x="187341" y="42069"/>
                </a:cubicBezTo>
                <a:cubicBezTo>
                  <a:pt x="177816" y="32544"/>
                  <a:pt x="177816" y="16669"/>
                  <a:pt x="187341" y="7144"/>
                </a:cubicBezTo>
                <a:cubicBezTo>
                  <a:pt x="190516" y="2382"/>
                  <a:pt x="196072" y="0"/>
                  <a:pt x="202025" y="0"/>
                </a:cubicBezTo>
                <a:close/>
                <a:moveTo>
                  <a:pt x="22007" y="0"/>
                </a:moveTo>
                <a:cubicBezTo>
                  <a:pt x="28295" y="0"/>
                  <a:pt x="34583" y="2382"/>
                  <a:pt x="39299" y="7144"/>
                </a:cubicBezTo>
                <a:cubicBezTo>
                  <a:pt x="158766" y="127794"/>
                  <a:pt x="158766" y="127794"/>
                  <a:pt x="158766" y="127794"/>
                </a:cubicBezTo>
                <a:cubicBezTo>
                  <a:pt x="39299" y="245269"/>
                  <a:pt x="39299" y="245269"/>
                  <a:pt x="39299" y="245269"/>
                </a:cubicBezTo>
                <a:cubicBezTo>
                  <a:pt x="36155" y="251619"/>
                  <a:pt x="29867" y="254794"/>
                  <a:pt x="23579" y="254794"/>
                </a:cubicBezTo>
                <a:cubicBezTo>
                  <a:pt x="17291" y="254794"/>
                  <a:pt x="11004" y="251619"/>
                  <a:pt x="4716" y="245269"/>
                </a:cubicBezTo>
                <a:cubicBezTo>
                  <a:pt x="-1572" y="238919"/>
                  <a:pt x="-1572" y="223044"/>
                  <a:pt x="4716" y="213519"/>
                </a:cubicBezTo>
                <a:cubicBezTo>
                  <a:pt x="92745" y="127794"/>
                  <a:pt x="92745" y="127794"/>
                  <a:pt x="92745" y="127794"/>
                </a:cubicBezTo>
                <a:cubicBezTo>
                  <a:pt x="4716" y="42069"/>
                  <a:pt x="4716" y="42069"/>
                  <a:pt x="4716" y="42069"/>
                </a:cubicBezTo>
                <a:cubicBezTo>
                  <a:pt x="-1572" y="32544"/>
                  <a:pt x="-1572" y="16669"/>
                  <a:pt x="4716" y="7144"/>
                </a:cubicBezTo>
                <a:cubicBezTo>
                  <a:pt x="9432" y="2382"/>
                  <a:pt x="15720" y="0"/>
                  <a:pt x="2200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pc="-30">
              <a:latin typeface="Source Han Sans CN" panose="020B0400000000000000" pitchFamily="34" charset="-128"/>
              <a:ea typeface="Source Han Sans CN" panose="020B0400000000000000" pitchFamily="34" charset="-128"/>
            </a:endParaRPr>
          </a:p>
        </p:txBody>
      </p:sp>
      <p:grpSp>
        <p:nvGrpSpPr>
          <p:cNvPr id="8" name="Group 1">
            <a:extLst>
              <a:ext uri="{FF2B5EF4-FFF2-40B4-BE49-F238E27FC236}">
                <a16:creationId xmlns:a16="http://schemas.microsoft.com/office/drawing/2014/main" id="{DB2BBAB7-CE89-D39D-4864-2FEAA30B2161}"/>
              </a:ext>
            </a:extLst>
          </p:cNvPr>
          <p:cNvGrpSpPr/>
          <p:nvPr/>
        </p:nvGrpSpPr>
        <p:grpSpPr>
          <a:xfrm>
            <a:off x="3586469" y="1813170"/>
            <a:ext cx="639763" cy="1188664"/>
            <a:chOff x="1368576" y="1859503"/>
            <a:chExt cx="1422400" cy="2746375"/>
          </a:xfrm>
          <a:solidFill>
            <a:schemeClr val="accent1"/>
          </a:solidFill>
        </p:grpSpPr>
        <p:sp>
          <p:nvSpPr>
            <p:cNvPr id="60" name="Freeform 37">
              <a:extLst>
                <a:ext uri="{FF2B5EF4-FFF2-40B4-BE49-F238E27FC236}">
                  <a16:creationId xmlns:a16="http://schemas.microsoft.com/office/drawing/2014/main" id="{6AAAF44C-C49A-5400-42F5-E2FFD745F44B}"/>
                </a:ext>
              </a:extLst>
            </p:cNvPr>
            <p:cNvSpPr/>
            <p:nvPr/>
          </p:nvSpPr>
          <p:spPr bwMode="auto">
            <a:xfrm>
              <a:off x="1965476" y="4231228"/>
              <a:ext cx="228600" cy="374650"/>
            </a:xfrm>
            <a:custGeom>
              <a:avLst/>
              <a:gdLst>
                <a:gd name="T0" fmla="*/ 52 w 72"/>
                <a:gd name="T1" fmla="*/ 0 h 118"/>
                <a:gd name="T2" fmla="*/ 52 w 72"/>
                <a:gd name="T3" fmla="*/ 71 h 118"/>
                <a:gd name="T4" fmla="*/ 69 w 72"/>
                <a:gd name="T5" fmla="*/ 71 h 118"/>
                <a:gd name="T6" fmla="*/ 72 w 72"/>
                <a:gd name="T7" fmla="*/ 73 h 118"/>
                <a:gd name="T8" fmla="*/ 71 w 72"/>
                <a:gd name="T9" fmla="*/ 77 h 118"/>
                <a:gd name="T10" fmla="*/ 36 w 72"/>
                <a:gd name="T11" fmla="*/ 118 h 118"/>
                <a:gd name="T12" fmla="*/ 1 w 72"/>
                <a:gd name="T13" fmla="*/ 77 h 118"/>
                <a:gd name="T14" fmla="*/ 0 w 72"/>
                <a:gd name="T15" fmla="*/ 73 h 118"/>
                <a:gd name="T16" fmla="*/ 3 w 72"/>
                <a:gd name="T17" fmla="*/ 71 h 118"/>
                <a:gd name="T18" fmla="*/ 20 w 72"/>
                <a:gd name="T19" fmla="*/ 71 h 118"/>
                <a:gd name="T20" fmla="*/ 20 w 72"/>
                <a:gd name="T21" fmla="*/ 0 h 118"/>
                <a:gd name="T22" fmla="*/ 52 w 72"/>
                <a:gd name="T2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18">
                  <a:moveTo>
                    <a:pt x="52" y="0"/>
                  </a:moveTo>
                  <a:cubicBezTo>
                    <a:pt x="52" y="71"/>
                    <a:pt x="52" y="71"/>
                    <a:pt x="52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70" y="71"/>
                    <a:pt x="71" y="72"/>
                    <a:pt x="72" y="73"/>
                  </a:cubicBezTo>
                  <a:cubicBezTo>
                    <a:pt x="72" y="75"/>
                    <a:pt x="72" y="76"/>
                    <a:pt x="71" y="77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5"/>
                    <a:pt x="0" y="73"/>
                  </a:cubicBezTo>
                  <a:cubicBezTo>
                    <a:pt x="1" y="72"/>
                    <a:pt x="2" y="71"/>
                    <a:pt x="3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pc="-30"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61" name="Freeform 38">
              <a:extLst>
                <a:ext uri="{FF2B5EF4-FFF2-40B4-BE49-F238E27FC236}">
                  <a16:creationId xmlns:a16="http://schemas.microsoft.com/office/drawing/2014/main" id="{163EE558-2743-6E98-E464-7864CA17F530}"/>
                </a:ext>
              </a:extLst>
            </p:cNvPr>
            <p:cNvSpPr/>
            <p:nvPr/>
          </p:nvSpPr>
          <p:spPr bwMode="auto">
            <a:xfrm>
              <a:off x="2028976" y="4231228"/>
              <a:ext cx="101600" cy="79375"/>
            </a:xfrm>
            <a:custGeom>
              <a:avLst/>
              <a:gdLst>
                <a:gd name="T0" fmla="*/ 32 w 32"/>
                <a:gd name="T1" fmla="*/ 0 h 25"/>
                <a:gd name="T2" fmla="*/ 32 w 32"/>
                <a:gd name="T3" fmla="*/ 25 h 25"/>
                <a:gd name="T4" fmla="*/ 16 w 32"/>
                <a:gd name="T5" fmla="*/ 20 h 25"/>
                <a:gd name="T6" fmla="*/ 0 w 32"/>
                <a:gd name="T7" fmla="*/ 25 h 25"/>
                <a:gd name="T8" fmla="*/ 0 w 32"/>
                <a:gd name="T9" fmla="*/ 0 h 25"/>
                <a:gd name="T10" fmla="*/ 32 w 3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5">
                  <a:moveTo>
                    <a:pt x="32" y="0"/>
                  </a:moveTo>
                  <a:cubicBezTo>
                    <a:pt x="32" y="25"/>
                    <a:pt x="32" y="25"/>
                    <a:pt x="32" y="25"/>
                  </a:cubicBezTo>
                  <a:cubicBezTo>
                    <a:pt x="28" y="22"/>
                    <a:pt x="22" y="20"/>
                    <a:pt x="16" y="20"/>
                  </a:cubicBezTo>
                  <a:cubicBezTo>
                    <a:pt x="10" y="20"/>
                    <a:pt x="4" y="22"/>
                    <a:pt x="0" y="2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pc="-30"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62" name="Freeform 39">
              <a:extLst>
                <a:ext uri="{FF2B5EF4-FFF2-40B4-BE49-F238E27FC236}">
                  <a16:creationId xmlns:a16="http://schemas.microsoft.com/office/drawing/2014/main" id="{957F943E-2DCC-6752-D751-2AF9DEBC5B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68576" y="1859503"/>
              <a:ext cx="1422400" cy="2514600"/>
            </a:xfrm>
            <a:custGeom>
              <a:avLst/>
              <a:gdLst>
                <a:gd name="T0" fmla="*/ 224 w 448"/>
                <a:gd name="T1" fmla="*/ 0 h 792"/>
                <a:gd name="T2" fmla="*/ 0 w 448"/>
                <a:gd name="T3" fmla="*/ 224 h 792"/>
                <a:gd name="T4" fmla="*/ 0 w 448"/>
                <a:gd name="T5" fmla="*/ 570 h 792"/>
                <a:gd name="T6" fmla="*/ 196 w 448"/>
                <a:gd name="T7" fmla="*/ 792 h 792"/>
                <a:gd name="T8" fmla="*/ 196 w 448"/>
                <a:gd name="T9" fmla="*/ 777 h 792"/>
                <a:gd name="T10" fmla="*/ 224 w 448"/>
                <a:gd name="T11" fmla="*/ 749 h 792"/>
                <a:gd name="T12" fmla="*/ 252 w 448"/>
                <a:gd name="T13" fmla="*/ 777 h 792"/>
                <a:gd name="T14" fmla="*/ 252 w 448"/>
                <a:gd name="T15" fmla="*/ 792 h 792"/>
                <a:gd name="T16" fmla="*/ 448 w 448"/>
                <a:gd name="T17" fmla="*/ 570 h 792"/>
                <a:gd name="T18" fmla="*/ 448 w 448"/>
                <a:gd name="T19" fmla="*/ 224 h 792"/>
                <a:gd name="T20" fmla="*/ 224 w 448"/>
                <a:gd name="T21" fmla="*/ 0 h 792"/>
                <a:gd name="T22" fmla="*/ 224 w 448"/>
                <a:gd name="T23" fmla="*/ 414 h 792"/>
                <a:gd name="T24" fmla="*/ 34 w 448"/>
                <a:gd name="T25" fmla="*/ 224 h 792"/>
                <a:gd name="T26" fmla="*/ 224 w 448"/>
                <a:gd name="T27" fmla="*/ 34 h 792"/>
                <a:gd name="T28" fmla="*/ 414 w 448"/>
                <a:gd name="T29" fmla="*/ 224 h 792"/>
                <a:gd name="T30" fmla="*/ 224 w 448"/>
                <a:gd name="T31" fmla="*/ 41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8" h="792">
                  <a:moveTo>
                    <a:pt x="224" y="0"/>
                  </a:moveTo>
                  <a:cubicBezTo>
                    <a:pt x="100" y="0"/>
                    <a:pt x="0" y="100"/>
                    <a:pt x="0" y="224"/>
                  </a:cubicBezTo>
                  <a:cubicBezTo>
                    <a:pt x="0" y="570"/>
                    <a:pt x="0" y="570"/>
                    <a:pt x="0" y="570"/>
                  </a:cubicBezTo>
                  <a:cubicBezTo>
                    <a:pt x="0" y="684"/>
                    <a:pt x="86" y="778"/>
                    <a:pt x="196" y="792"/>
                  </a:cubicBezTo>
                  <a:cubicBezTo>
                    <a:pt x="196" y="777"/>
                    <a:pt x="196" y="777"/>
                    <a:pt x="196" y="777"/>
                  </a:cubicBezTo>
                  <a:cubicBezTo>
                    <a:pt x="196" y="761"/>
                    <a:pt x="209" y="749"/>
                    <a:pt x="224" y="749"/>
                  </a:cubicBezTo>
                  <a:cubicBezTo>
                    <a:pt x="239" y="749"/>
                    <a:pt x="252" y="761"/>
                    <a:pt x="252" y="777"/>
                  </a:cubicBezTo>
                  <a:cubicBezTo>
                    <a:pt x="252" y="792"/>
                    <a:pt x="252" y="792"/>
                    <a:pt x="252" y="792"/>
                  </a:cubicBezTo>
                  <a:cubicBezTo>
                    <a:pt x="362" y="778"/>
                    <a:pt x="448" y="684"/>
                    <a:pt x="448" y="570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48" y="100"/>
                    <a:pt x="348" y="0"/>
                    <a:pt x="224" y="0"/>
                  </a:cubicBezTo>
                  <a:close/>
                  <a:moveTo>
                    <a:pt x="224" y="414"/>
                  </a:moveTo>
                  <a:cubicBezTo>
                    <a:pt x="119" y="414"/>
                    <a:pt x="34" y="329"/>
                    <a:pt x="34" y="224"/>
                  </a:cubicBezTo>
                  <a:cubicBezTo>
                    <a:pt x="34" y="119"/>
                    <a:pt x="119" y="34"/>
                    <a:pt x="224" y="34"/>
                  </a:cubicBezTo>
                  <a:cubicBezTo>
                    <a:pt x="329" y="34"/>
                    <a:pt x="414" y="119"/>
                    <a:pt x="414" y="224"/>
                  </a:cubicBezTo>
                  <a:cubicBezTo>
                    <a:pt x="414" y="329"/>
                    <a:pt x="329" y="414"/>
                    <a:pt x="224" y="4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274320" numCol="1" anchor="b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sz="4000" dirty="0">
                <a:solidFill>
                  <a:srgbClr val="FFFFFF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</p:grpSp>
      <p:sp>
        <p:nvSpPr>
          <p:cNvPr id="9" name="TextBox 13">
            <a:extLst>
              <a:ext uri="{FF2B5EF4-FFF2-40B4-BE49-F238E27FC236}">
                <a16:creationId xmlns:a16="http://schemas.microsoft.com/office/drawing/2014/main" id="{CF94B3BB-ABD5-E04D-83EB-1EDB6659777A}"/>
              </a:ext>
            </a:extLst>
          </p:cNvPr>
          <p:cNvSpPr txBox="1"/>
          <p:nvPr/>
        </p:nvSpPr>
        <p:spPr>
          <a:xfrm>
            <a:off x="3674486" y="1847754"/>
            <a:ext cx="4180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rPr>
              <a:t>1978</a:t>
            </a:r>
          </a:p>
        </p:txBody>
      </p:sp>
      <p:sp>
        <p:nvSpPr>
          <p:cNvPr id="10" name="Freeform 63">
            <a:extLst>
              <a:ext uri="{FF2B5EF4-FFF2-40B4-BE49-F238E27FC236}">
                <a16:creationId xmlns:a16="http://schemas.microsoft.com/office/drawing/2014/main" id="{BAEAE699-3665-D982-2D5E-DFE3B06059F8}"/>
              </a:ext>
            </a:extLst>
          </p:cNvPr>
          <p:cNvSpPr/>
          <p:nvPr/>
        </p:nvSpPr>
        <p:spPr bwMode="auto">
          <a:xfrm>
            <a:off x="7260402" y="2259566"/>
            <a:ext cx="317113" cy="237823"/>
          </a:xfrm>
          <a:custGeom>
            <a:avLst/>
            <a:gdLst>
              <a:gd name="connsiteX0" fmla="*/ 202025 w 339741"/>
              <a:gd name="connsiteY0" fmla="*/ 0 h 254794"/>
              <a:gd name="connsiteX1" fmla="*/ 219091 w 339741"/>
              <a:gd name="connsiteY1" fmla="*/ 7144 h 254794"/>
              <a:gd name="connsiteX2" fmla="*/ 339741 w 339741"/>
              <a:gd name="connsiteY2" fmla="*/ 127794 h 254794"/>
              <a:gd name="connsiteX3" fmla="*/ 219091 w 339741"/>
              <a:gd name="connsiteY3" fmla="*/ 245269 h 254794"/>
              <a:gd name="connsiteX4" fmla="*/ 203216 w 339741"/>
              <a:gd name="connsiteY4" fmla="*/ 254794 h 254794"/>
              <a:gd name="connsiteX5" fmla="*/ 187341 w 339741"/>
              <a:gd name="connsiteY5" fmla="*/ 245269 h 254794"/>
              <a:gd name="connsiteX6" fmla="*/ 187341 w 339741"/>
              <a:gd name="connsiteY6" fmla="*/ 213519 h 254794"/>
              <a:gd name="connsiteX7" fmla="*/ 273066 w 339741"/>
              <a:gd name="connsiteY7" fmla="*/ 127794 h 254794"/>
              <a:gd name="connsiteX8" fmla="*/ 187341 w 339741"/>
              <a:gd name="connsiteY8" fmla="*/ 42069 h 254794"/>
              <a:gd name="connsiteX9" fmla="*/ 187341 w 339741"/>
              <a:gd name="connsiteY9" fmla="*/ 7144 h 254794"/>
              <a:gd name="connsiteX10" fmla="*/ 202025 w 339741"/>
              <a:gd name="connsiteY10" fmla="*/ 0 h 254794"/>
              <a:gd name="connsiteX11" fmla="*/ 22007 w 339741"/>
              <a:gd name="connsiteY11" fmla="*/ 0 h 254794"/>
              <a:gd name="connsiteX12" fmla="*/ 39299 w 339741"/>
              <a:gd name="connsiteY12" fmla="*/ 7144 h 254794"/>
              <a:gd name="connsiteX13" fmla="*/ 158766 w 339741"/>
              <a:gd name="connsiteY13" fmla="*/ 127794 h 254794"/>
              <a:gd name="connsiteX14" fmla="*/ 39299 w 339741"/>
              <a:gd name="connsiteY14" fmla="*/ 245269 h 254794"/>
              <a:gd name="connsiteX15" fmla="*/ 23579 w 339741"/>
              <a:gd name="connsiteY15" fmla="*/ 254794 h 254794"/>
              <a:gd name="connsiteX16" fmla="*/ 4716 w 339741"/>
              <a:gd name="connsiteY16" fmla="*/ 245269 h 254794"/>
              <a:gd name="connsiteX17" fmla="*/ 4716 w 339741"/>
              <a:gd name="connsiteY17" fmla="*/ 213519 h 254794"/>
              <a:gd name="connsiteX18" fmla="*/ 92745 w 339741"/>
              <a:gd name="connsiteY18" fmla="*/ 127794 h 254794"/>
              <a:gd name="connsiteX19" fmla="*/ 4716 w 339741"/>
              <a:gd name="connsiteY19" fmla="*/ 42069 h 254794"/>
              <a:gd name="connsiteX20" fmla="*/ 4716 w 339741"/>
              <a:gd name="connsiteY20" fmla="*/ 7144 h 254794"/>
              <a:gd name="connsiteX21" fmla="*/ 22007 w 339741"/>
              <a:gd name="connsiteY21" fmla="*/ 0 h 25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39741" h="254794">
                <a:moveTo>
                  <a:pt x="202025" y="0"/>
                </a:moveTo>
                <a:cubicBezTo>
                  <a:pt x="207979" y="0"/>
                  <a:pt x="214329" y="2382"/>
                  <a:pt x="219091" y="7144"/>
                </a:cubicBezTo>
                <a:cubicBezTo>
                  <a:pt x="339741" y="127794"/>
                  <a:pt x="339741" y="127794"/>
                  <a:pt x="339741" y="127794"/>
                </a:cubicBezTo>
                <a:cubicBezTo>
                  <a:pt x="219091" y="245269"/>
                  <a:pt x="219091" y="245269"/>
                  <a:pt x="219091" y="245269"/>
                </a:cubicBezTo>
                <a:cubicBezTo>
                  <a:pt x="215916" y="251619"/>
                  <a:pt x="209566" y="254794"/>
                  <a:pt x="203216" y="254794"/>
                </a:cubicBezTo>
                <a:cubicBezTo>
                  <a:pt x="196866" y="254794"/>
                  <a:pt x="190516" y="251619"/>
                  <a:pt x="187341" y="245269"/>
                </a:cubicBezTo>
                <a:cubicBezTo>
                  <a:pt x="177816" y="238919"/>
                  <a:pt x="177816" y="223044"/>
                  <a:pt x="187341" y="213519"/>
                </a:cubicBezTo>
                <a:cubicBezTo>
                  <a:pt x="273066" y="127794"/>
                  <a:pt x="273066" y="127794"/>
                  <a:pt x="273066" y="127794"/>
                </a:cubicBezTo>
                <a:cubicBezTo>
                  <a:pt x="187341" y="42069"/>
                  <a:pt x="187341" y="42069"/>
                  <a:pt x="187341" y="42069"/>
                </a:cubicBezTo>
                <a:cubicBezTo>
                  <a:pt x="177816" y="32544"/>
                  <a:pt x="177816" y="16669"/>
                  <a:pt x="187341" y="7144"/>
                </a:cubicBezTo>
                <a:cubicBezTo>
                  <a:pt x="190516" y="2382"/>
                  <a:pt x="196072" y="0"/>
                  <a:pt x="202025" y="0"/>
                </a:cubicBezTo>
                <a:close/>
                <a:moveTo>
                  <a:pt x="22007" y="0"/>
                </a:moveTo>
                <a:cubicBezTo>
                  <a:pt x="28295" y="0"/>
                  <a:pt x="34583" y="2382"/>
                  <a:pt x="39299" y="7144"/>
                </a:cubicBezTo>
                <a:cubicBezTo>
                  <a:pt x="158766" y="127794"/>
                  <a:pt x="158766" y="127794"/>
                  <a:pt x="158766" y="127794"/>
                </a:cubicBezTo>
                <a:cubicBezTo>
                  <a:pt x="39299" y="245269"/>
                  <a:pt x="39299" y="245269"/>
                  <a:pt x="39299" y="245269"/>
                </a:cubicBezTo>
                <a:cubicBezTo>
                  <a:pt x="36155" y="251619"/>
                  <a:pt x="29867" y="254794"/>
                  <a:pt x="23579" y="254794"/>
                </a:cubicBezTo>
                <a:cubicBezTo>
                  <a:pt x="17291" y="254794"/>
                  <a:pt x="11004" y="251619"/>
                  <a:pt x="4716" y="245269"/>
                </a:cubicBezTo>
                <a:cubicBezTo>
                  <a:pt x="-1572" y="238919"/>
                  <a:pt x="-1572" y="223044"/>
                  <a:pt x="4716" y="213519"/>
                </a:cubicBezTo>
                <a:cubicBezTo>
                  <a:pt x="92745" y="127794"/>
                  <a:pt x="92745" y="127794"/>
                  <a:pt x="92745" y="127794"/>
                </a:cubicBezTo>
                <a:cubicBezTo>
                  <a:pt x="4716" y="42069"/>
                  <a:pt x="4716" y="42069"/>
                  <a:pt x="4716" y="42069"/>
                </a:cubicBezTo>
                <a:cubicBezTo>
                  <a:pt x="-1572" y="32544"/>
                  <a:pt x="-1572" y="16669"/>
                  <a:pt x="4716" y="7144"/>
                </a:cubicBezTo>
                <a:cubicBezTo>
                  <a:pt x="9432" y="2382"/>
                  <a:pt x="15720" y="0"/>
                  <a:pt x="2200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pc="-30">
              <a:latin typeface="Source Han Sans CN" panose="020B0400000000000000" pitchFamily="34" charset="-128"/>
              <a:ea typeface="Source Han Sans CN" panose="020B0400000000000000" pitchFamily="34" charset="-128"/>
            </a:endParaRPr>
          </a:p>
        </p:txBody>
      </p:sp>
      <p:grpSp>
        <p:nvGrpSpPr>
          <p:cNvPr id="11" name="Group 1">
            <a:extLst>
              <a:ext uri="{FF2B5EF4-FFF2-40B4-BE49-F238E27FC236}">
                <a16:creationId xmlns:a16="http://schemas.microsoft.com/office/drawing/2014/main" id="{E6731631-13DA-47D0-F00A-37D453C003CD}"/>
              </a:ext>
            </a:extLst>
          </p:cNvPr>
          <p:cNvGrpSpPr/>
          <p:nvPr/>
        </p:nvGrpSpPr>
        <p:grpSpPr>
          <a:xfrm>
            <a:off x="5981475" y="1813170"/>
            <a:ext cx="639763" cy="1188664"/>
            <a:chOff x="1368576" y="1859503"/>
            <a:chExt cx="1422400" cy="2746375"/>
          </a:xfrm>
          <a:solidFill>
            <a:schemeClr val="accent1"/>
          </a:solidFill>
        </p:grpSpPr>
        <p:sp>
          <p:nvSpPr>
            <p:cNvPr id="57" name="Freeform 37">
              <a:extLst>
                <a:ext uri="{FF2B5EF4-FFF2-40B4-BE49-F238E27FC236}">
                  <a16:creationId xmlns:a16="http://schemas.microsoft.com/office/drawing/2014/main" id="{AF32FC18-C341-781D-C361-B84557081AAC}"/>
                </a:ext>
              </a:extLst>
            </p:cNvPr>
            <p:cNvSpPr/>
            <p:nvPr/>
          </p:nvSpPr>
          <p:spPr bwMode="auto">
            <a:xfrm>
              <a:off x="1965476" y="4231228"/>
              <a:ext cx="228600" cy="374650"/>
            </a:xfrm>
            <a:custGeom>
              <a:avLst/>
              <a:gdLst>
                <a:gd name="T0" fmla="*/ 52 w 72"/>
                <a:gd name="T1" fmla="*/ 0 h 118"/>
                <a:gd name="T2" fmla="*/ 52 w 72"/>
                <a:gd name="T3" fmla="*/ 71 h 118"/>
                <a:gd name="T4" fmla="*/ 69 w 72"/>
                <a:gd name="T5" fmla="*/ 71 h 118"/>
                <a:gd name="T6" fmla="*/ 72 w 72"/>
                <a:gd name="T7" fmla="*/ 73 h 118"/>
                <a:gd name="T8" fmla="*/ 71 w 72"/>
                <a:gd name="T9" fmla="*/ 77 h 118"/>
                <a:gd name="T10" fmla="*/ 36 w 72"/>
                <a:gd name="T11" fmla="*/ 118 h 118"/>
                <a:gd name="T12" fmla="*/ 1 w 72"/>
                <a:gd name="T13" fmla="*/ 77 h 118"/>
                <a:gd name="T14" fmla="*/ 0 w 72"/>
                <a:gd name="T15" fmla="*/ 73 h 118"/>
                <a:gd name="T16" fmla="*/ 3 w 72"/>
                <a:gd name="T17" fmla="*/ 71 h 118"/>
                <a:gd name="T18" fmla="*/ 20 w 72"/>
                <a:gd name="T19" fmla="*/ 71 h 118"/>
                <a:gd name="T20" fmla="*/ 20 w 72"/>
                <a:gd name="T21" fmla="*/ 0 h 118"/>
                <a:gd name="T22" fmla="*/ 52 w 72"/>
                <a:gd name="T2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18">
                  <a:moveTo>
                    <a:pt x="52" y="0"/>
                  </a:moveTo>
                  <a:cubicBezTo>
                    <a:pt x="52" y="71"/>
                    <a:pt x="52" y="71"/>
                    <a:pt x="52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70" y="71"/>
                    <a:pt x="71" y="72"/>
                    <a:pt x="72" y="73"/>
                  </a:cubicBezTo>
                  <a:cubicBezTo>
                    <a:pt x="72" y="75"/>
                    <a:pt x="72" y="76"/>
                    <a:pt x="71" y="77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5"/>
                    <a:pt x="0" y="73"/>
                  </a:cubicBezTo>
                  <a:cubicBezTo>
                    <a:pt x="1" y="72"/>
                    <a:pt x="2" y="71"/>
                    <a:pt x="3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pc="-30"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58" name="Freeform 38">
              <a:extLst>
                <a:ext uri="{FF2B5EF4-FFF2-40B4-BE49-F238E27FC236}">
                  <a16:creationId xmlns:a16="http://schemas.microsoft.com/office/drawing/2014/main" id="{EE2CDD3C-8349-72DF-E212-3CFB251E12F7}"/>
                </a:ext>
              </a:extLst>
            </p:cNvPr>
            <p:cNvSpPr/>
            <p:nvPr/>
          </p:nvSpPr>
          <p:spPr bwMode="auto">
            <a:xfrm>
              <a:off x="2028976" y="4231228"/>
              <a:ext cx="101600" cy="79375"/>
            </a:xfrm>
            <a:custGeom>
              <a:avLst/>
              <a:gdLst>
                <a:gd name="T0" fmla="*/ 32 w 32"/>
                <a:gd name="T1" fmla="*/ 0 h 25"/>
                <a:gd name="T2" fmla="*/ 32 w 32"/>
                <a:gd name="T3" fmla="*/ 25 h 25"/>
                <a:gd name="T4" fmla="*/ 16 w 32"/>
                <a:gd name="T5" fmla="*/ 20 h 25"/>
                <a:gd name="T6" fmla="*/ 0 w 32"/>
                <a:gd name="T7" fmla="*/ 25 h 25"/>
                <a:gd name="T8" fmla="*/ 0 w 32"/>
                <a:gd name="T9" fmla="*/ 0 h 25"/>
                <a:gd name="T10" fmla="*/ 32 w 3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5">
                  <a:moveTo>
                    <a:pt x="32" y="0"/>
                  </a:moveTo>
                  <a:cubicBezTo>
                    <a:pt x="32" y="25"/>
                    <a:pt x="32" y="25"/>
                    <a:pt x="32" y="25"/>
                  </a:cubicBezTo>
                  <a:cubicBezTo>
                    <a:pt x="28" y="22"/>
                    <a:pt x="22" y="20"/>
                    <a:pt x="16" y="20"/>
                  </a:cubicBezTo>
                  <a:cubicBezTo>
                    <a:pt x="10" y="20"/>
                    <a:pt x="4" y="22"/>
                    <a:pt x="0" y="2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pc="-30"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59" name="Freeform 39">
              <a:extLst>
                <a:ext uri="{FF2B5EF4-FFF2-40B4-BE49-F238E27FC236}">
                  <a16:creationId xmlns:a16="http://schemas.microsoft.com/office/drawing/2014/main" id="{F3E2B74A-9671-7B54-E106-4614E66FDE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68576" y="1859503"/>
              <a:ext cx="1422400" cy="2514600"/>
            </a:xfrm>
            <a:custGeom>
              <a:avLst/>
              <a:gdLst>
                <a:gd name="T0" fmla="*/ 224 w 448"/>
                <a:gd name="T1" fmla="*/ 0 h 792"/>
                <a:gd name="T2" fmla="*/ 0 w 448"/>
                <a:gd name="T3" fmla="*/ 224 h 792"/>
                <a:gd name="T4" fmla="*/ 0 w 448"/>
                <a:gd name="T5" fmla="*/ 570 h 792"/>
                <a:gd name="T6" fmla="*/ 196 w 448"/>
                <a:gd name="T7" fmla="*/ 792 h 792"/>
                <a:gd name="T8" fmla="*/ 196 w 448"/>
                <a:gd name="T9" fmla="*/ 777 h 792"/>
                <a:gd name="T10" fmla="*/ 224 w 448"/>
                <a:gd name="T11" fmla="*/ 749 h 792"/>
                <a:gd name="T12" fmla="*/ 252 w 448"/>
                <a:gd name="T13" fmla="*/ 777 h 792"/>
                <a:gd name="T14" fmla="*/ 252 w 448"/>
                <a:gd name="T15" fmla="*/ 792 h 792"/>
                <a:gd name="T16" fmla="*/ 448 w 448"/>
                <a:gd name="T17" fmla="*/ 570 h 792"/>
                <a:gd name="T18" fmla="*/ 448 w 448"/>
                <a:gd name="T19" fmla="*/ 224 h 792"/>
                <a:gd name="T20" fmla="*/ 224 w 448"/>
                <a:gd name="T21" fmla="*/ 0 h 792"/>
                <a:gd name="T22" fmla="*/ 224 w 448"/>
                <a:gd name="T23" fmla="*/ 414 h 792"/>
                <a:gd name="T24" fmla="*/ 34 w 448"/>
                <a:gd name="T25" fmla="*/ 224 h 792"/>
                <a:gd name="T26" fmla="*/ 224 w 448"/>
                <a:gd name="T27" fmla="*/ 34 h 792"/>
                <a:gd name="T28" fmla="*/ 414 w 448"/>
                <a:gd name="T29" fmla="*/ 224 h 792"/>
                <a:gd name="T30" fmla="*/ 224 w 448"/>
                <a:gd name="T31" fmla="*/ 41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8" h="792">
                  <a:moveTo>
                    <a:pt x="224" y="0"/>
                  </a:moveTo>
                  <a:cubicBezTo>
                    <a:pt x="100" y="0"/>
                    <a:pt x="0" y="100"/>
                    <a:pt x="0" y="224"/>
                  </a:cubicBezTo>
                  <a:cubicBezTo>
                    <a:pt x="0" y="570"/>
                    <a:pt x="0" y="570"/>
                    <a:pt x="0" y="570"/>
                  </a:cubicBezTo>
                  <a:cubicBezTo>
                    <a:pt x="0" y="684"/>
                    <a:pt x="86" y="778"/>
                    <a:pt x="196" y="792"/>
                  </a:cubicBezTo>
                  <a:cubicBezTo>
                    <a:pt x="196" y="777"/>
                    <a:pt x="196" y="777"/>
                    <a:pt x="196" y="777"/>
                  </a:cubicBezTo>
                  <a:cubicBezTo>
                    <a:pt x="196" y="761"/>
                    <a:pt x="209" y="749"/>
                    <a:pt x="224" y="749"/>
                  </a:cubicBezTo>
                  <a:cubicBezTo>
                    <a:pt x="239" y="749"/>
                    <a:pt x="252" y="761"/>
                    <a:pt x="252" y="777"/>
                  </a:cubicBezTo>
                  <a:cubicBezTo>
                    <a:pt x="252" y="792"/>
                    <a:pt x="252" y="792"/>
                    <a:pt x="252" y="792"/>
                  </a:cubicBezTo>
                  <a:cubicBezTo>
                    <a:pt x="362" y="778"/>
                    <a:pt x="448" y="684"/>
                    <a:pt x="448" y="570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48" y="100"/>
                    <a:pt x="348" y="0"/>
                    <a:pt x="224" y="0"/>
                  </a:cubicBezTo>
                  <a:close/>
                  <a:moveTo>
                    <a:pt x="224" y="414"/>
                  </a:moveTo>
                  <a:cubicBezTo>
                    <a:pt x="119" y="414"/>
                    <a:pt x="34" y="329"/>
                    <a:pt x="34" y="224"/>
                  </a:cubicBezTo>
                  <a:cubicBezTo>
                    <a:pt x="34" y="119"/>
                    <a:pt x="119" y="34"/>
                    <a:pt x="224" y="34"/>
                  </a:cubicBezTo>
                  <a:cubicBezTo>
                    <a:pt x="329" y="34"/>
                    <a:pt x="414" y="119"/>
                    <a:pt x="414" y="224"/>
                  </a:cubicBezTo>
                  <a:cubicBezTo>
                    <a:pt x="414" y="329"/>
                    <a:pt x="329" y="414"/>
                    <a:pt x="224" y="4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274320" numCol="1" anchor="b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sz="4000" dirty="0">
                <a:solidFill>
                  <a:srgbClr val="FFFFFF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</p:grpSp>
      <p:sp>
        <p:nvSpPr>
          <p:cNvPr id="12" name="TextBox 13">
            <a:extLst>
              <a:ext uri="{FF2B5EF4-FFF2-40B4-BE49-F238E27FC236}">
                <a16:creationId xmlns:a16="http://schemas.microsoft.com/office/drawing/2014/main" id="{02F7D8EC-D931-5EDD-78BD-B34994F35E0A}"/>
              </a:ext>
            </a:extLst>
          </p:cNvPr>
          <p:cNvSpPr txBox="1"/>
          <p:nvPr/>
        </p:nvSpPr>
        <p:spPr>
          <a:xfrm>
            <a:off x="6092340" y="1847754"/>
            <a:ext cx="4180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rPr>
              <a:t>1979</a:t>
            </a:r>
          </a:p>
        </p:txBody>
      </p:sp>
      <p:grpSp>
        <p:nvGrpSpPr>
          <p:cNvPr id="13" name="Group 1">
            <a:extLst>
              <a:ext uri="{FF2B5EF4-FFF2-40B4-BE49-F238E27FC236}">
                <a16:creationId xmlns:a16="http://schemas.microsoft.com/office/drawing/2014/main" id="{5E23A467-EFB9-8A24-8211-950DFB365CAF}"/>
              </a:ext>
            </a:extLst>
          </p:cNvPr>
          <p:cNvGrpSpPr/>
          <p:nvPr/>
        </p:nvGrpSpPr>
        <p:grpSpPr>
          <a:xfrm>
            <a:off x="8362479" y="1813170"/>
            <a:ext cx="639763" cy="1188664"/>
            <a:chOff x="1368576" y="1859503"/>
            <a:chExt cx="1422400" cy="2746375"/>
          </a:xfrm>
          <a:solidFill>
            <a:schemeClr val="accent1"/>
          </a:solidFill>
        </p:grpSpPr>
        <p:sp>
          <p:nvSpPr>
            <p:cNvPr id="54" name="Freeform 37">
              <a:extLst>
                <a:ext uri="{FF2B5EF4-FFF2-40B4-BE49-F238E27FC236}">
                  <a16:creationId xmlns:a16="http://schemas.microsoft.com/office/drawing/2014/main" id="{54DF43E4-B16C-2777-E6DC-D0321E819871}"/>
                </a:ext>
              </a:extLst>
            </p:cNvPr>
            <p:cNvSpPr/>
            <p:nvPr/>
          </p:nvSpPr>
          <p:spPr bwMode="auto">
            <a:xfrm>
              <a:off x="1965476" y="4231228"/>
              <a:ext cx="228600" cy="374650"/>
            </a:xfrm>
            <a:custGeom>
              <a:avLst/>
              <a:gdLst>
                <a:gd name="T0" fmla="*/ 52 w 72"/>
                <a:gd name="T1" fmla="*/ 0 h 118"/>
                <a:gd name="T2" fmla="*/ 52 w 72"/>
                <a:gd name="T3" fmla="*/ 71 h 118"/>
                <a:gd name="T4" fmla="*/ 69 w 72"/>
                <a:gd name="T5" fmla="*/ 71 h 118"/>
                <a:gd name="T6" fmla="*/ 72 w 72"/>
                <a:gd name="T7" fmla="*/ 73 h 118"/>
                <a:gd name="T8" fmla="*/ 71 w 72"/>
                <a:gd name="T9" fmla="*/ 77 h 118"/>
                <a:gd name="T10" fmla="*/ 36 w 72"/>
                <a:gd name="T11" fmla="*/ 118 h 118"/>
                <a:gd name="T12" fmla="*/ 1 w 72"/>
                <a:gd name="T13" fmla="*/ 77 h 118"/>
                <a:gd name="T14" fmla="*/ 0 w 72"/>
                <a:gd name="T15" fmla="*/ 73 h 118"/>
                <a:gd name="T16" fmla="*/ 3 w 72"/>
                <a:gd name="T17" fmla="*/ 71 h 118"/>
                <a:gd name="T18" fmla="*/ 20 w 72"/>
                <a:gd name="T19" fmla="*/ 71 h 118"/>
                <a:gd name="T20" fmla="*/ 20 w 72"/>
                <a:gd name="T21" fmla="*/ 0 h 118"/>
                <a:gd name="T22" fmla="*/ 52 w 72"/>
                <a:gd name="T2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18">
                  <a:moveTo>
                    <a:pt x="52" y="0"/>
                  </a:moveTo>
                  <a:cubicBezTo>
                    <a:pt x="52" y="71"/>
                    <a:pt x="52" y="71"/>
                    <a:pt x="52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70" y="71"/>
                    <a:pt x="71" y="72"/>
                    <a:pt x="72" y="73"/>
                  </a:cubicBezTo>
                  <a:cubicBezTo>
                    <a:pt x="72" y="75"/>
                    <a:pt x="72" y="76"/>
                    <a:pt x="71" y="77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5"/>
                    <a:pt x="0" y="73"/>
                  </a:cubicBezTo>
                  <a:cubicBezTo>
                    <a:pt x="1" y="72"/>
                    <a:pt x="2" y="71"/>
                    <a:pt x="3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pc="-30"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A7BDF32B-5912-C450-A831-4A50E6009166}"/>
                </a:ext>
              </a:extLst>
            </p:cNvPr>
            <p:cNvSpPr/>
            <p:nvPr/>
          </p:nvSpPr>
          <p:spPr bwMode="auto">
            <a:xfrm>
              <a:off x="2028976" y="4231228"/>
              <a:ext cx="101600" cy="79375"/>
            </a:xfrm>
            <a:custGeom>
              <a:avLst/>
              <a:gdLst>
                <a:gd name="T0" fmla="*/ 32 w 32"/>
                <a:gd name="T1" fmla="*/ 0 h 25"/>
                <a:gd name="T2" fmla="*/ 32 w 32"/>
                <a:gd name="T3" fmla="*/ 25 h 25"/>
                <a:gd name="T4" fmla="*/ 16 w 32"/>
                <a:gd name="T5" fmla="*/ 20 h 25"/>
                <a:gd name="T6" fmla="*/ 0 w 32"/>
                <a:gd name="T7" fmla="*/ 25 h 25"/>
                <a:gd name="T8" fmla="*/ 0 w 32"/>
                <a:gd name="T9" fmla="*/ 0 h 25"/>
                <a:gd name="T10" fmla="*/ 32 w 3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5">
                  <a:moveTo>
                    <a:pt x="32" y="0"/>
                  </a:moveTo>
                  <a:cubicBezTo>
                    <a:pt x="32" y="25"/>
                    <a:pt x="32" y="25"/>
                    <a:pt x="32" y="25"/>
                  </a:cubicBezTo>
                  <a:cubicBezTo>
                    <a:pt x="28" y="22"/>
                    <a:pt x="22" y="20"/>
                    <a:pt x="16" y="20"/>
                  </a:cubicBezTo>
                  <a:cubicBezTo>
                    <a:pt x="10" y="20"/>
                    <a:pt x="4" y="22"/>
                    <a:pt x="0" y="2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pc="-30"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56" name="Freeform 39">
              <a:extLst>
                <a:ext uri="{FF2B5EF4-FFF2-40B4-BE49-F238E27FC236}">
                  <a16:creationId xmlns:a16="http://schemas.microsoft.com/office/drawing/2014/main" id="{223A3151-6258-8BAC-C633-A1757BEF4A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68576" y="1859503"/>
              <a:ext cx="1422400" cy="2514600"/>
            </a:xfrm>
            <a:custGeom>
              <a:avLst/>
              <a:gdLst>
                <a:gd name="T0" fmla="*/ 224 w 448"/>
                <a:gd name="T1" fmla="*/ 0 h 792"/>
                <a:gd name="T2" fmla="*/ 0 w 448"/>
                <a:gd name="T3" fmla="*/ 224 h 792"/>
                <a:gd name="T4" fmla="*/ 0 w 448"/>
                <a:gd name="T5" fmla="*/ 570 h 792"/>
                <a:gd name="T6" fmla="*/ 196 w 448"/>
                <a:gd name="T7" fmla="*/ 792 h 792"/>
                <a:gd name="T8" fmla="*/ 196 w 448"/>
                <a:gd name="T9" fmla="*/ 777 h 792"/>
                <a:gd name="T10" fmla="*/ 224 w 448"/>
                <a:gd name="T11" fmla="*/ 749 h 792"/>
                <a:gd name="T12" fmla="*/ 252 w 448"/>
                <a:gd name="T13" fmla="*/ 777 h 792"/>
                <a:gd name="T14" fmla="*/ 252 w 448"/>
                <a:gd name="T15" fmla="*/ 792 h 792"/>
                <a:gd name="T16" fmla="*/ 448 w 448"/>
                <a:gd name="T17" fmla="*/ 570 h 792"/>
                <a:gd name="T18" fmla="*/ 448 w 448"/>
                <a:gd name="T19" fmla="*/ 224 h 792"/>
                <a:gd name="T20" fmla="*/ 224 w 448"/>
                <a:gd name="T21" fmla="*/ 0 h 792"/>
                <a:gd name="T22" fmla="*/ 224 w 448"/>
                <a:gd name="T23" fmla="*/ 414 h 792"/>
                <a:gd name="T24" fmla="*/ 34 w 448"/>
                <a:gd name="T25" fmla="*/ 224 h 792"/>
                <a:gd name="T26" fmla="*/ 224 w 448"/>
                <a:gd name="T27" fmla="*/ 34 h 792"/>
                <a:gd name="T28" fmla="*/ 414 w 448"/>
                <a:gd name="T29" fmla="*/ 224 h 792"/>
                <a:gd name="T30" fmla="*/ 224 w 448"/>
                <a:gd name="T31" fmla="*/ 41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8" h="792">
                  <a:moveTo>
                    <a:pt x="224" y="0"/>
                  </a:moveTo>
                  <a:cubicBezTo>
                    <a:pt x="100" y="0"/>
                    <a:pt x="0" y="100"/>
                    <a:pt x="0" y="224"/>
                  </a:cubicBezTo>
                  <a:cubicBezTo>
                    <a:pt x="0" y="570"/>
                    <a:pt x="0" y="570"/>
                    <a:pt x="0" y="570"/>
                  </a:cubicBezTo>
                  <a:cubicBezTo>
                    <a:pt x="0" y="684"/>
                    <a:pt x="86" y="778"/>
                    <a:pt x="196" y="792"/>
                  </a:cubicBezTo>
                  <a:cubicBezTo>
                    <a:pt x="196" y="777"/>
                    <a:pt x="196" y="777"/>
                    <a:pt x="196" y="777"/>
                  </a:cubicBezTo>
                  <a:cubicBezTo>
                    <a:pt x="196" y="761"/>
                    <a:pt x="209" y="749"/>
                    <a:pt x="224" y="749"/>
                  </a:cubicBezTo>
                  <a:cubicBezTo>
                    <a:pt x="239" y="749"/>
                    <a:pt x="252" y="761"/>
                    <a:pt x="252" y="777"/>
                  </a:cubicBezTo>
                  <a:cubicBezTo>
                    <a:pt x="252" y="792"/>
                    <a:pt x="252" y="792"/>
                    <a:pt x="252" y="792"/>
                  </a:cubicBezTo>
                  <a:cubicBezTo>
                    <a:pt x="362" y="778"/>
                    <a:pt x="448" y="684"/>
                    <a:pt x="448" y="570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48" y="100"/>
                    <a:pt x="348" y="0"/>
                    <a:pt x="224" y="0"/>
                  </a:cubicBezTo>
                  <a:close/>
                  <a:moveTo>
                    <a:pt x="224" y="414"/>
                  </a:moveTo>
                  <a:cubicBezTo>
                    <a:pt x="119" y="414"/>
                    <a:pt x="34" y="329"/>
                    <a:pt x="34" y="224"/>
                  </a:cubicBezTo>
                  <a:cubicBezTo>
                    <a:pt x="34" y="119"/>
                    <a:pt x="119" y="34"/>
                    <a:pt x="224" y="34"/>
                  </a:cubicBezTo>
                  <a:cubicBezTo>
                    <a:pt x="329" y="34"/>
                    <a:pt x="414" y="119"/>
                    <a:pt x="414" y="224"/>
                  </a:cubicBezTo>
                  <a:cubicBezTo>
                    <a:pt x="414" y="329"/>
                    <a:pt x="329" y="414"/>
                    <a:pt x="224" y="4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274320" numCol="1" anchor="b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sz="4000" dirty="0">
                <a:solidFill>
                  <a:srgbClr val="FFFFFF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AF850E36-92B6-4224-65F8-51FC4DC532FC}"/>
              </a:ext>
            </a:extLst>
          </p:cNvPr>
          <p:cNvSpPr txBox="1"/>
          <p:nvPr/>
        </p:nvSpPr>
        <p:spPr>
          <a:xfrm>
            <a:off x="8450496" y="1847754"/>
            <a:ext cx="4180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rPr>
              <a:t>1981</a:t>
            </a:r>
          </a:p>
        </p:txBody>
      </p:sp>
      <p:grpSp>
        <p:nvGrpSpPr>
          <p:cNvPr id="15" name="Group 1036">
            <a:extLst>
              <a:ext uri="{FF2B5EF4-FFF2-40B4-BE49-F238E27FC236}">
                <a16:creationId xmlns:a16="http://schemas.microsoft.com/office/drawing/2014/main" id="{4E10F1CD-21B2-A0F9-C277-C9F8DC74EA6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255884" y="3883521"/>
            <a:ext cx="246521" cy="245024"/>
            <a:chOff x="9876" y="-1946"/>
            <a:chExt cx="822" cy="817"/>
          </a:xfrm>
          <a:solidFill>
            <a:schemeClr val="bg1"/>
          </a:solidFill>
        </p:grpSpPr>
        <p:sp>
          <p:nvSpPr>
            <p:cNvPr id="48" name="Freeform 1038">
              <a:extLst>
                <a:ext uri="{FF2B5EF4-FFF2-40B4-BE49-F238E27FC236}">
                  <a16:creationId xmlns:a16="http://schemas.microsoft.com/office/drawing/2014/main" id="{AED14B0C-4CAB-B0BA-D200-B293DEA74009}"/>
                </a:ext>
              </a:extLst>
            </p:cNvPr>
            <p:cNvSpPr/>
            <p:nvPr/>
          </p:nvSpPr>
          <p:spPr bwMode="auto">
            <a:xfrm>
              <a:off x="10016" y="-1801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5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6 h 298"/>
                <a:gd name="T24" fmla="*/ 1396 w 1421"/>
                <a:gd name="T25" fmla="*/ 232 h 298"/>
                <a:gd name="T26" fmla="*/ 1378 w 1421"/>
                <a:gd name="T27" fmla="*/ 254 h 298"/>
                <a:gd name="T28" fmla="*/ 1356 w 1421"/>
                <a:gd name="T29" fmla="*/ 272 h 298"/>
                <a:gd name="T30" fmla="*/ 1330 w 1421"/>
                <a:gd name="T31" fmla="*/ 285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5 h 298"/>
                <a:gd name="T42" fmla="*/ 65 w 1421"/>
                <a:gd name="T43" fmla="*/ 272 h 298"/>
                <a:gd name="T44" fmla="*/ 44 w 1421"/>
                <a:gd name="T45" fmla="*/ 254 h 298"/>
                <a:gd name="T46" fmla="*/ 25 w 1421"/>
                <a:gd name="T47" fmla="*/ 232 h 298"/>
                <a:gd name="T48" fmla="*/ 11 w 1421"/>
                <a:gd name="T49" fmla="*/ 206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5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5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6"/>
                  </a:lnTo>
                  <a:lnTo>
                    <a:pt x="1396" y="232"/>
                  </a:lnTo>
                  <a:lnTo>
                    <a:pt x="1378" y="254"/>
                  </a:lnTo>
                  <a:lnTo>
                    <a:pt x="1356" y="272"/>
                  </a:lnTo>
                  <a:lnTo>
                    <a:pt x="1330" y="285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5"/>
                  </a:lnTo>
                  <a:lnTo>
                    <a:pt x="65" y="272"/>
                  </a:lnTo>
                  <a:lnTo>
                    <a:pt x="44" y="254"/>
                  </a:lnTo>
                  <a:lnTo>
                    <a:pt x="25" y="232"/>
                  </a:lnTo>
                  <a:lnTo>
                    <a:pt x="11" y="206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5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49" name="Freeform 1039">
              <a:extLst>
                <a:ext uri="{FF2B5EF4-FFF2-40B4-BE49-F238E27FC236}">
                  <a16:creationId xmlns:a16="http://schemas.microsoft.com/office/drawing/2014/main" id="{10807778-D001-7BA7-6D29-E51BD4BF507E}"/>
                </a:ext>
              </a:extLst>
            </p:cNvPr>
            <p:cNvSpPr/>
            <p:nvPr/>
          </p:nvSpPr>
          <p:spPr bwMode="auto">
            <a:xfrm>
              <a:off x="10016" y="-1662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6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7 h 298"/>
                <a:gd name="T24" fmla="*/ 1396 w 1421"/>
                <a:gd name="T25" fmla="*/ 232 h 298"/>
                <a:gd name="T26" fmla="*/ 1378 w 1421"/>
                <a:gd name="T27" fmla="*/ 255 h 298"/>
                <a:gd name="T28" fmla="*/ 1356 w 1421"/>
                <a:gd name="T29" fmla="*/ 272 h 298"/>
                <a:gd name="T30" fmla="*/ 1330 w 1421"/>
                <a:gd name="T31" fmla="*/ 287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7 h 298"/>
                <a:gd name="T42" fmla="*/ 65 w 1421"/>
                <a:gd name="T43" fmla="*/ 272 h 298"/>
                <a:gd name="T44" fmla="*/ 44 w 1421"/>
                <a:gd name="T45" fmla="*/ 255 h 298"/>
                <a:gd name="T46" fmla="*/ 25 w 1421"/>
                <a:gd name="T47" fmla="*/ 232 h 298"/>
                <a:gd name="T48" fmla="*/ 11 w 1421"/>
                <a:gd name="T49" fmla="*/ 207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6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6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7"/>
                  </a:lnTo>
                  <a:lnTo>
                    <a:pt x="1396" y="232"/>
                  </a:lnTo>
                  <a:lnTo>
                    <a:pt x="1378" y="255"/>
                  </a:lnTo>
                  <a:lnTo>
                    <a:pt x="1356" y="272"/>
                  </a:lnTo>
                  <a:lnTo>
                    <a:pt x="1330" y="287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7"/>
                  </a:lnTo>
                  <a:lnTo>
                    <a:pt x="65" y="272"/>
                  </a:lnTo>
                  <a:lnTo>
                    <a:pt x="44" y="255"/>
                  </a:lnTo>
                  <a:lnTo>
                    <a:pt x="25" y="232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6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50" name="Freeform 1040">
              <a:extLst>
                <a:ext uri="{FF2B5EF4-FFF2-40B4-BE49-F238E27FC236}">
                  <a16:creationId xmlns:a16="http://schemas.microsoft.com/office/drawing/2014/main" id="{E513631F-1E3B-77E9-6C9F-8F80EC96CBFC}"/>
                </a:ext>
              </a:extLst>
            </p:cNvPr>
            <p:cNvSpPr/>
            <p:nvPr/>
          </p:nvSpPr>
          <p:spPr bwMode="auto">
            <a:xfrm>
              <a:off x="10016" y="-1522"/>
              <a:ext cx="215" cy="74"/>
            </a:xfrm>
            <a:custGeom>
              <a:avLst/>
              <a:gdLst>
                <a:gd name="T0" fmla="*/ 149 w 860"/>
                <a:gd name="T1" fmla="*/ 0 h 297"/>
                <a:gd name="T2" fmla="*/ 711 w 860"/>
                <a:gd name="T3" fmla="*/ 0 h 297"/>
                <a:gd name="T4" fmla="*/ 741 w 860"/>
                <a:gd name="T5" fmla="*/ 3 h 297"/>
                <a:gd name="T6" fmla="*/ 769 w 860"/>
                <a:gd name="T7" fmla="*/ 11 h 297"/>
                <a:gd name="T8" fmla="*/ 795 w 860"/>
                <a:gd name="T9" fmla="*/ 26 h 297"/>
                <a:gd name="T10" fmla="*/ 817 w 860"/>
                <a:gd name="T11" fmla="*/ 43 h 297"/>
                <a:gd name="T12" fmla="*/ 835 w 860"/>
                <a:gd name="T13" fmla="*/ 66 h 297"/>
                <a:gd name="T14" fmla="*/ 849 w 860"/>
                <a:gd name="T15" fmla="*/ 90 h 297"/>
                <a:gd name="T16" fmla="*/ 857 w 860"/>
                <a:gd name="T17" fmla="*/ 118 h 297"/>
                <a:gd name="T18" fmla="*/ 860 w 860"/>
                <a:gd name="T19" fmla="*/ 149 h 297"/>
                <a:gd name="T20" fmla="*/ 857 w 860"/>
                <a:gd name="T21" fmla="*/ 179 h 297"/>
                <a:gd name="T22" fmla="*/ 849 w 860"/>
                <a:gd name="T23" fmla="*/ 207 h 297"/>
                <a:gd name="T24" fmla="*/ 835 w 860"/>
                <a:gd name="T25" fmla="*/ 231 h 297"/>
                <a:gd name="T26" fmla="*/ 817 w 860"/>
                <a:gd name="T27" fmla="*/ 254 h 297"/>
                <a:gd name="T28" fmla="*/ 795 w 860"/>
                <a:gd name="T29" fmla="*/ 271 h 297"/>
                <a:gd name="T30" fmla="*/ 769 w 860"/>
                <a:gd name="T31" fmla="*/ 286 h 297"/>
                <a:gd name="T32" fmla="*/ 741 w 860"/>
                <a:gd name="T33" fmla="*/ 294 h 297"/>
                <a:gd name="T34" fmla="*/ 711 w 860"/>
                <a:gd name="T35" fmla="*/ 297 h 297"/>
                <a:gd name="T36" fmla="*/ 149 w 860"/>
                <a:gd name="T37" fmla="*/ 297 h 297"/>
                <a:gd name="T38" fmla="*/ 119 w 860"/>
                <a:gd name="T39" fmla="*/ 294 h 297"/>
                <a:gd name="T40" fmla="*/ 91 w 860"/>
                <a:gd name="T41" fmla="*/ 286 h 297"/>
                <a:gd name="T42" fmla="*/ 65 w 860"/>
                <a:gd name="T43" fmla="*/ 271 h 297"/>
                <a:gd name="T44" fmla="*/ 44 w 860"/>
                <a:gd name="T45" fmla="*/ 254 h 297"/>
                <a:gd name="T46" fmla="*/ 25 w 860"/>
                <a:gd name="T47" fmla="*/ 231 h 297"/>
                <a:gd name="T48" fmla="*/ 11 w 860"/>
                <a:gd name="T49" fmla="*/ 207 h 297"/>
                <a:gd name="T50" fmla="*/ 3 w 860"/>
                <a:gd name="T51" fmla="*/ 179 h 297"/>
                <a:gd name="T52" fmla="*/ 0 w 860"/>
                <a:gd name="T53" fmla="*/ 149 h 297"/>
                <a:gd name="T54" fmla="*/ 3 w 860"/>
                <a:gd name="T55" fmla="*/ 118 h 297"/>
                <a:gd name="T56" fmla="*/ 11 w 860"/>
                <a:gd name="T57" fmla="*/ 90 h 297"/>
                <a:gd name="T58" fmla="*/ 25 w 860"/>
                <a:gd name="T59" fmla="*/ 66 h 297"/>
                <a:gd name="T60" fmla="*/ 44 w 860"/>
                <a:gd name="T61" fmla="*/ 43 h 297"/>
                <a:gd name="T62" fmla="*/ 65 w 860"/>
                <a:gd name="T63" fmla="*/ 26 h 297"/>
                <a:gd name="T64" fmla="*/ 91 w 860"/>
                <a:gd name="T65" fmla="*/ 11 h 297"/>
                <a:gd name="T66" fmla="*/ 119 w 860"/>
                <a:gd name="T67" fmla="*/ 3 h 297"/>
                <a:gd name="T68" fmla="*/ 149 w 860"/>
                <a:gd name="T6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0" h="297">
                  <a:moveTo>
                    <a:pt x="149" y="0"/>
                  </a:moveTo>
                  <a:lnTo>
                    <a:pt x="711" y="0"/>
                  </a:lnTo>
                  <a:lnTo>
                    <a:pt x="741" y="3"/>
                  </a:lnTo>
                  <a:lnTo>
                    <a:pt x="769" y="11"/>
                  </a:lnTo>
                  <a:lnTo>
                    <a:pt x="795" y="26"/>
                  </a:lnTo>
                  <a:lnTo>
                    <a:pt x="817" y="43"/>
                  </a:lnTo>
                  <a:lnTo>
                    <a:pt x="835" y="66"/>
                  </a:lnTo>
                  <a:lnTo>
                    <a:pt x="849" y="90"/>
                  </a:lnTo>
                  <a:lnTo>
                    <a:pt x="857" y="118"/>
                  </a:lnTo>
                  <a:lnTo>
                    <a:pt x="860" y="149"/>
                  </a:lnTo>
                  <a:lnTo>
                    <a:pt x="857" y="179"/>
                  </a:lnTo>
                  <a:lnTo>
                    <a:pt x="849" y="207"/>
                  </a:lnTo>
                  <a:lnTo>
                    <a:pt x="835" y="231"/>
                  </a:lnTo>
                  <a:lnTo>
                    <a:pt x="817" y="254"/>
                  </a:lnTo>
                  <a:lnTo>
                    <a:pt x="795" y="271"/>
                  </a:lnTo>
                  <a:lnTo>
                    <a:pt x="769" y="286"/>
                  </a:lnTo>
                  <a:lnTo>
                    <a:pt x="741" y="294"/>
                  </a:lnTo>
                  <a:lnTo>
                    <a:pt x="711" y="297"/>
                  </a:lnTo>
                  <a:lnTo>
                    <a:pt x="149" y="297"/>
                  </a:lnTo>
                  <a:lnTo>
                    <a:pt x="119" y="294"/>
                  </a:lnTo>
                  <a:lnTo>
                    <a:pt x="91" y="286"/>
                  </a:lnTo>
                  <a:lnTo>
                    <a:pt x="65" y="271"/>
                  </a:lnTo>
                  <a:lnTo>
                    <a:pt x="44" y="254"/>
                  </a:lnTo>
                  <a:lnTo>
                    <a:pt x="25" y="231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8"/>
                  </a:lnTo>
                  <a:lnTo>
                    <a:pt x="11" y="90"/>
                  </a:lnTo>
                  <a:lnTo>
                    <a:pt x="25" y="66"/>
                  </a:lnTo>
                  <a:lnTo>
                    <a:pt x="44" y="43"/>
                  </a:lnTo>
                  <a:lnTo>
                    <a:pt x="65" y="26"/>
                  </a:lnTo>
                  <a:lnTo>
                    <a:pt x="91" y="11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51" name="Freeform 1041">
              <a:extLst>
                <a:ext uri="{FF2B5EF4-FFF2-40B4-BE49-F238E27FC236}">
                  <a16:creationId xmlns:a16="http://schemas.microsoft.com/office/drawing/2014/main" id="{17A5AA6A-5E4E-42EF-05C4-20A9C8C3243A}"/>
                </a:ext>
              </a:extLst>
            </p:cNvPr>
            <p:cNvSpPr/>
            <p:nvPr/>
          </p:nvSpPr>
          <p:spPr bwMode="auto">
            <a:xfrm>
              <a:off x="9876" y="-1946"/>
              <a:ext cx="636" cy="817"/>
            </a:xfrm>
            <a:custGeom>
              <a:avLst/>
              <a:gdLst>
                <a:gd name="T0" fmla="*/ 150 w 2545"/>
                <a:gd name="T1" fmla="*/ 0 h 3271"/>
                <a:gd name="T2" fmla="*/ 2395 w 2545"/>
                <a:gd name="T3" fmla="*/ 0 h 3271"/>
                <a:gd name="T4" fmla="*/ 2425 w 2545"/>
                <a:gd name="T5" fmla="*/ 3 h 3271"/>
                <a:gd name="T6" fmla="*/ 2453 w 2545"/>
                <a:gd name="T7" fmla="*/ 11 h 3271"/>
                <a:gd name="T8" fmla="*/ 2479 w 2545"/>
                <a:gd name="T9" fmla="*/ 26 h 3271"/>
                <a:gd name="T10" fmla="*/ 2501 w 2545"/>
                <a:gd name="T11" fmla="*/ 43 h 3271"/>
                <a:gd name="T12" fmla="*/ 2520 w 2545"/>
                <a:gd name="T13" fmla="*/ 66 h 3271"/>
                <a:gd name="T14" fmla="*/ 2533 w 2545"/>
                <a:gd name="T15" fmla="*/ 90 h 3271"/>
                <a:gd name="T16" fmla="*/ 2542 w 2545"/>
                <a:gd name="T17" fmla="*/ 118 h 3271"/>
                <a:gd name="T18" fmla="*/ 2545 w 2545"/>
                <a:gd name="T19" fmla="*/ 148 h 3271"/>
                <a:gd name="T20" fmla="*/ 2545 w 2545"/>
                <a:gd name="T21" fmla="*/ 369 h 3271"/>
                <a:gd name="T22" fmla="*/ 2246 w 2545"/>
                <a:gd name="T23" fmla="*/ 885 h 3271"/>
                <a:gd name="T24" fmla="*/ 2246 w 2545"/>
                <a:gd name="T25" fmla="*/ 297 h 3271"/>
                <a:gd name="T26" fmla="*/ 300 w 2545"/>
                <a:gd name="T27" fmla="*/ 297 h 3271"/>
                <a:gd name="T28" fmla="*/ 300 w 2545"/>
                <a:gd name="T29" fmla="*/ 2973 h 3271"/>
                <a:gd name="T30" fmla="*/ 2246 w 2545"/>
                <a:gd name="T31" fmla="*/ 2973 h 3271"/>
                <a:gd name="T32" fmla="*/ 2246 w 2545"/>
                <a:gd name="T33" fmla="*/ 2603 h 3271"/>
                <a:gd name="T34" fmla="*/ 2403 w 2545"/>
                <a:gd name="T35" fmla="*/ 2500 h 3271"/>
                <a:gd name="T36" fmla="*/ 2430 w 2545"/>
                <a:gd name="T37" fmla="*/ 2478 h 3271"/>
                <a:gd name="T38" fmla="*/ 2454 w 2545"/>
                <a:gd name="T39" fmla="*/ 2453 h 3271"/>
                <a:gd name="T40" fmla="*/ 2474 w 2545"/>
                <a:gd name="T41" fmla="*/ 2425 h 3271"/>
                <a:gd name="T42" fmla="*/ 2545 w 2545"/>
                <a:gd name="T43" fmla="*/ 2302 h 3271"/>
                <a:gd name="T44" fmla="*/ 2545 w 2545"/>
                <a:gd name="T45" fmla="*/ 3122 h 3271"/>
                <a:gd name="T46" fmla="*/ 2542 w 2545"/>
                <a:gd name="T47" fmla="*/ 3151 h 3271"/>
                <a:gd name="T48" fmla="*/ 2533 w 2545"/>
                <a:gd name="T49" fmla="*/ 3179 h 3271"/>
                <a:gd name="T50" fmla="*/ 2520 w 2545"/>
                <a:gd name="T51" fmla="*/ 3205 h 3271"/>
                <a:gd name="T52" fmla="*/ 2501 w 2545"/>
                <a:gd name="T53" fmla="*/ 3226 h 3271"/>
                <a:gd name="T54" fmla="*/ 2479 w 2545"/>
                <a:gd name="T55" fmla="*/ 3245 h 3271"/>
                <a:gd name="T56" fmla="*/ 2453 w 2545"/>
                <a:gd name="T57" fmla="*/ 3258 h 3271"/>
                <a:gd name="T58" fmla="*/ 2425 w 2545"/>
                <a:gd name="T59" fmla="*/ 3268 h 3271"/>
                <a:gd name="T60" fmla="*/ 2395 w 2545"/>
                <a:gd name="T61" fmla="*/ 3271 h 3271"/>
                <a:gd name="T62" fmla="*/ 150 w 2545"/>
                <a:gd name="T63" fmla="*/ 3271 h 3271"/>
                <a:gd name="T64" fmla="*/ 120 w 2545"/>
                <a:gd name="T65" fmla="*/ 3268 h 3271"/>
                <a:gd name="T66" fmla="*/ 92 w 2545"/>
                <a:gd name="T67" fmla="*/ 3258 h 3271"/>
                <a:gd name="T68" fmla="*/ 66 w 2545"/>
                <a:gd name="T69" fmla="*/ 3245 h 3271"/>
                <a:gd name="T70" fmla="*/ 44 w 2545"/>
                <a:gd name="T71" fmla="*/ 3226 h 3271"/>
                <a:gd name="T72" fmla="*/ 26 w 2545"/>
                <a:gd name="T73" fmla="*/ 3205 h 3271"/>
                <a:gd name="T74" fmla="*/ 12 w 2545"/>
                <a:gd name="T75" fmla="*/ 3179 h 3271"/>
                <a:gd name="T76" fmla="*/ 3 w 2545"/>
                <a:gd name="T77" fmla="*/ 3151 h 3271"/>
                <a:gd name="T78" fmla="*/ 0 w 2545"/>
                <a:gd name="T79" fmla="*/ 3122 h 3271"/>
                <a:gd name="T80" fmla="*/ 0 w 2545"/>
                <a:gd name="T81" fmla="*/ 148 h 3271"/>
                <a:gd name="T82" fmla="*/ 3 w 2545"/>
                <a:gd name="T83" fmla="*/ 118 h 3271"/>
                <a:gd name="T84" fmla="*/ 12 w 2545"/>
                <a:gd name="T85" fmla="*/ 90 h 3271"/>
                <a:gd name="T86" fmla="*/ 26 w 2545"/>
                <a:gd name="T87" fmla="*/ 66 h 3271"/>
                <a:gd name="T88" fmla="*/ 44 w 2545"/>
                <a:gd name="T89" fmla="*/ 43 h 3271"/>
                <a:gd name="T90" fmla="*/ 66 w 2545"/>
                <a:gd name="T91" fmla="*/ 26 h 3271"/>
                <a:gd name="T92" fmla="*/ 92 w 2545"/>
                <a:gd name="T93" fmla="*/ 11 h 3271"/>
                <a:gd name="T94" fmla="*/ 120 w 2545"/>
                <a:gd name="T95" fmla="*/ 3 h 3271"/>
                <a:gd name="T96" fmla="*/ 150 w 2545"/>
                <a:gd name="T97" fmla="*/ 0 h 3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45" h="3271">
                  <a:moveTo>
                    <a:pt x="150" y="0"/>
                  </a:moveTo>
                  <a:lnTo>
                    <a:pt x="2395" y="0"/>
                  </a:lnTo>
                  <a:lnTo>
                    <a:pt x="2425" y="3"/>
                  </a:lnTo>
                  <a:lnTo>
                    <a:pt x="2453" y="11"/>
                  </a:lnTo>
                  <a:lnTo>
                    <a:pt x="2479" y="26"/>
                  </a:lnTo>
                  <a:lnTo>
                    <a:pt x="2501" y="43"/>
                  </a:lnTo>
                  <a:lnTo>
                    <a:pt x="2520" y="66"/>
                  </a:lnTo>
                  <a:lnTo>
                    <a:pt x="2533" y="90"/>
                  </a:lnTo>
                  <a:lnTo>
                    <a:pt x="2542" y="118"/>
                  </a:lnTo>
                  <a:lnTo>
                    <a:pt x="2545" y="148"/>
                  </a:lnTo>
                  <a:lnTo>
                    <a:pt x="2545" y="369"/>
                  </a:lnTo>
                  <a:lnTo>
                    <a:pt x="2246" y="885"/>
                  </a:lnTo>
                  <a:lnTo>
                    <a:pt x="2246" y="297"/>
                  </a:lnTo>
                  <a:lnTo>
                    <a:pt x="300" y="297"/>
                  </a:lnTo>
                  <a:lnTo>
                    <a:pt x="300" y="2973"/>
                  </a:lnTo>
                  <a:lnTo>
                    <a:pt x="2246" y="2973"/>
                  </a:lnTo>
                  <a:lnTo>
                    <a:pt x="2246" y="2603"/>
                  </a:lnTo>
                  <a:lnTo>
                    <a:pt x="2403" y="2500"/>
                  </a:lnTo>
                  <a:lnTo>
                    <a:pt x="2430" y="2478"/>
                  </a:lnTo>
                  <a:lnTo>
                    <a:pt x="2454" y="2453"/>
                  </a:lnTo>
                  <a:lnTo>
                    <a:pt x="2474" y="2425"/>
                  </a:lnTo>
                  <a:lnTo>
                    <a:pt x="2545" y="2302"/>
                  </a:lnTo>
                  <a:lnTo>
                    <a:pt x="2545" y="3122"/>
                  </a:lnTo>
                  <a:lnTo>
                    <a:pt x="2542" y="3151"/>
                  </a:lnTo>
                  <a:lnTo>
                    <a:pt x="2533" y="3179"/>
                  </a:lnTo>
                  <a:lnTo>
                    <a:pt x="2520" y="3205"/>
                  </a:lnTo>
                  <a:lnTo>
                    <a:pt x="2501" y="3226"/>
                  </a:lnTo>
                  <a:lnTo>
                    <a:pt x="2479" y="3245"/>
                  </a:lnTo>
                  <a:lnTo>
                    <a:pt x="2453" y="3258"/>
                  </a:lnTo>
                  <a:lnTo>
                    <a:pt x="2425" y="3268"/>
                  </a:lnTo>
                  <a:lnTo>
                    <a:pt x="2395" y="3271"/>
                  </a:lnTo>
                  <a:lnTo>
                    <a:pt x="150" y="3271"/>
                  </a:lnTo>
                  <a:lnTo>
                    <a:pt x="120" y="3268"/>
                  </a:lnTo>
                  <a:lnTo>
                    <a:pt x="92" y="3258"/>
                  </a:lnTo>
                  <a:lnTo>
                    <a:pt x="66" y="3245"/>
                  </a:lnTo>
                  <a:lnTo>
                    <a:pt x="44" y="3226"/>
                  </a:lnTo>
                  <a:lnTo>
                    <a:pt x="26" y="3205"/>
                  </a:lnTo>
                  <a:lnTo>
                    <a:pt x="12" y="3179"/>
                  </a:lnTo>
                  <a:lnTo>
                    <a:pt x="3" y="3151"/>
                  </a:lnTo>
                  <a:lnTo>
                    <a:pt x="0" y="3122"/>
                  </a:lnTo>
                  <a:lnTo>
                    <a:pt x="0" y="148"/>
                  </a:lnTo>
                  <a:lnTo>
                    <a:pt x="3" y="118"/>
                  </a:lnTo>
                  <a:lnTo>
                    <a:pt x="12" y="90"/>
                  </a:lnTo>
                  <a:lnTo>
                    <a:pt x="26" y="66"/>
                  </a:lnTo>
                  <a:lnTo>
                    <a:pt x="44" y="43"/>
                  </a:lnTo>
                  <a:lnTo>
                    <a:pt x="66" y="26"/>
                  </a:lnTo>
                  <a:lnTo>
                    <a:pt x="92" y="11"/>
                  </a:lnTo>
                  <a:lnTo>
                    <a:pt x="120" y="3"/>
                  </a:lnTo>
                  <a:lnTo>
                    <a:pt x="1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dirty="0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52" name="Freeform 1042">
              <a:extLst>
                <a:ext uri="{FF2B5EF4-FFF2-40B4-BE49-F238E27FC236}">
                  <a16:creationId xmlns:a16="http://schemas.microsoft.com/office/drawing/2014/main" id="{1164F546-5533-D3A6-E839-48BD8D7363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05" y="-1855"/>
              <a:ext cx="393" cy="586"/>
            </a:xfrm>
            <a:custGeom>
              <a:avLst/>
              <a:gdLst>
                <a:gd name="T0" fmla="*/ 130 w 1574"/>
                <a:gd name="T1" fmla="*/ 1973 h 2342"/>
                <a:gd name="T2" fmla="*/ 221 w 1574"/>
                <a:gd name="T3" fmla="*/ 2017 h 2342"/>
                <a:gd name="T4" fmla="*/ 305 w 1574"/>
                <a:gd name="T5" fmla="*/ 2073 h 2342"/>
                <a:gd name="T6" fmla="*/ 434 w 1574"/>
                <a:gd name="T7" fmla="*/ 1957 h 2342"/>
                <a:gd name="T8" fmla="*/ 385 w 1574"/>
                <a:gd name="T9" fmla="*/ 1912 h 2342"/>
                <a:gd name="T10" fmla="*/ 311 w 1574"/>
                <a:gd name="T11" fmla="*/ 1861 h 2342"/>
                <a:gd name="T12" fmla="*/ 242 w 1574"/>
                <a:gd name="T13" fmla="*/ 1827 h 2342"/>
                <a:gd name="T14" fmla="*/ 186 w 1574"/>
                <a:gd name="T15" fmla="*/ 1808 h 2342"/>
                <a:gd name="T16" fmla="*/ 140 w 1574"/>
                <a:gd name="T17" fmla="*/ 1799 h 2342"/>
                <a:gd name="T18" fmla="*/ 1106 w 1574"/>
                <a:gd name="T19" fmla="*/ 0 h 2342"/>
                <a:gd name="T20" fmla="*/ 1161 w 1574"/>
                <a:gd name="T21" fmla="*/ 7 h 2342"/>
                <a:gd name="T22" fmla="*/ 1227 w 1574"/>
                <a:gd name="T23" fmla="*/ 25 h 2342"/>
                <a:gd name="T24" fmla="*/ 1305 w 1574"/>
                <a:gd name="T25" fmla="*/ 56 h 2342"/>
                <a:gd name="T26" fmla="*/ 1391 w 1574"/>
                <a:gd name="T27" fmla="*/ 107 h 2342"/>
                <a:gd name="T28" fmla="*/ 1462 w 1574"/>
                <a:gd name="T29" fmla="*/ 161 h 2342"/>
                <a:gd name="T30" fmla="*/ 1512 w 1574"/>
                <a:gd name="T31" fmla="*/ 213 h 2342"/>
                <a:gd name="T32" fmla="*/ 1544 w 1574"/>
                <a:gd name="T33" fmla="*/ 258 h 2342"/>
                <a:gd name="T34" fmla="*/ 1562 w 1574"/>
                <a:gd name="T35" fmla="*/ 294 h 2342"/>
                <a:gd name="T36" fmla="*/ 1571 w 1574"/>
                <a:gd name="T37" fmla="*/ 316 h 2342"/>
                <a:gd name="T38" fmla="*/ 1574 w 1574"/>
                <a:gd name="T39" fmla="*/ 340 h 2342"/>
                <a:gd name="T40" fmla="*/ 1563 w 1574"/>
                <a:gd name="T41" fmla="*/ 375 h 2342"/>
                <a:gd name="T42" fmla="*/ 618 w 1574"/>
                <a:gd name="T43" fmla="*/ 1998 h 2342"/>
                <a:gd name="T44" fmla="*/ 115 w 1574"/>
                <a:gd name="T45" fmla="*/ 2330 h 2342"/>
                <a:gd name="T46" fmla="*/ 77 w 1574"/>
                <a:gd name="T47" fmla="*/ 2342 h 2342"/>
                <a:gd name="T48" fmla="*/ 36 w 1574"/>
                <a:gd name="T49" fmla="*/ 2332 h 2342"/>
                <a:gd name="T50" fmla="*/ 13 w 1574"/>
                <a:gd name="T51" fmla="*/ 2311 h 2342"/>
                <a:gd name="T52" fmla="*/ 0 w 1574"/>
                <a:gd name="T53" fmla="*/ 2280 h 2342"/>
                <a:gd name="T54" fmla="*/ 34 w 1574"/>
                <a:gd name="T55" fmla="*/ 1683 h 2342"/>
                <a:gd name="T56" fmla="*/ 45 w 1574"/>
                <a:gd name="T57" fmla="*/ 1651 h 2342"/>
                <a:gd name="T58" fmla="*/ 991 w 1574"/>
                <a:gd name="T59" fmla="*/ 27 h 2342"/>
                <a:gd name="T60" fmla="*/ 1023 w 1574"/>
                <a:gd name="T61" fmla="*/ 7 h 2342"/>
                <a:gd name="T62" fmla="*/ 1036 w 1574"/>
                <a:gd name="T63" fmla="*/ 4 h 2342"/>
                <a:gd name="T64" fmla="*/ 1064 w 1574"/>
                <a:gd name="T65" fmla="*/ 0 h 2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74" h="2342">
                  <a:moveTo>
                    <a:pt x="140" y="1799"/>
                  </a:moveTo>
                  <a:lnTo>
                    <a:pt x="130" y="1973"/>
                  </a:lnTo>
                  <a:lnTo>
                    <a:pt x="175" y="1993"/>
                  </a:lnTo>
                  <a:lnTo>
                    <a:pt x="221" y="2017"/>
                  </a:lnTo>
                  <a:lnTo>
                    <a:pt x="264" y="2043"/>
                  </a:lnTo>
                  <a:lnTo>
                    <a:pt x="305" y="2073"/>
                  </a:lnTo>
                  <a:lnTo>
                    <a:pt x="451" y="1976"/>
                  </a:lnTo>
                  <a:lnTo>
                    <a:pt x="434" y="1957"/>
                  </a:lnTo>
                  <a:lnTo>
                    <a:pt x="412" y="1935"/>
                  </a:lnTo>
                  <a:lnTo>
                    <a:pt x="385" y="1912"/>
                  </a:lnTo>
                  <a:lnTo>
                    <a:pt x="351" y="1887"/>
                  </a:lnTo>
                  <a:lnTo>
                    <a:pt x="311" y="1861"/>
                  </a:lnTo>
                  <a:lnTo>
                    <a:pt x="276" y="1843"/>
                  </a:lnTo>
                  <a:lnTo>
                    <a:pt x="242" y="1827"/>
                  </a:lnTo>
                  <a:lnTo>
                    <a:pt x="212" y="1816"/>
                  </a:lnTo>
                  <a:lnTo>
                    <a:pt x="186" y="1808"/>
                  </a:lnTo>
                  <a:lnTo>
                    <a:pt x="162" y="1803"/>
                  </a:lnTo>
                  <a:lnTo>
                    <a:pt x="140" y="1799"/>
                  </a:lnTo>
                  <a:close/>
                  <a:moveTo>
                    <a:pt x="1083" y="0"/>
                  </a:moveTo>
                  <a:lnTo>
                    <a:pt x="1106" y="0"/>
                  </a:lnTo>
                  <a:lnTo>
                    <a:pt x="1132" y="2"/>
                  </a:lnTo>
                  <a:lnTo>
                    <a:pt x="1161" y="7"/>
                  </a:lnTo>
                  <a:lnTo>
                    <a:pt x="1192" y="14"/>
                  </a:lnTo>
                  <a:lnTo>
                    <a:pt x="1227" y="25"/>
                  </a:lnTo>
                  <a:lnTo>
                    <a:pt x="1264" y="39"/>
                  </a:lnTo>
                  <a:lnTo>
                    <a:pt x="1305" y="56"/>
                  </a:lnTo>
                  <a:lnTo>
                    <a:pt x="1347" y="80"/>
                  </a:lnTo>
                  <a:lnTo>
                    <a:pt x="1391" y="107"/>
                  </a:lnTo>
                  <a:lnTo>
                    <a:pt x="1430" y="135"/>
                  </a:lnTo>
                  <a:lnTo>
                    <a:pt x="1462" y="161"/>
                  </a:lnTo>
                  <a:lnTo>
                    <a:pt x="1489" y="188"/>
                  </a:lnTo>
                  <a:lnTo>
                    <a:pt x="1512" y="213"/>
                  </a:lnTo>
                  <a:lnTo>
                    <a:pt x="1529" y="236"/>
                  </a:lnTo>
                  <a:lnTo>
                    <a:pt x="1544" y="258"/>
                  </a:lnTo>
                  <a:lnTo>
                    <a:pt x="1554" y="277"/>
                  </a:lnTo>
                  <a:lnTo>
                    <a:pt x="1562" y="294"/>
                  </a:lnTo>
                  <a:lnTo>
                    <a:pt x="1567" y="307"/>
                  </a:lnTo>
                  <a:lnTo>
                    <a:pt x="1571" y="316"/>
                  </a:lnTo>
                  <a:lnTo>
                    <a:pt x="1572" y="322"/>
                  </a:lnTo>
                  <a:lnTo>
                    <a:pt x="1574" y="340"/>
                  </a:lnTo>
                  <a:lnTo>
                    <a:pt x="1571" y="359"/>
                  </a:lnTo>
                  <a:lnTo>
                    <a:pt x="1563" y="375"/>
                  </a:lnTo>
                  <a:lnTo>
                    <a:pt x="628" y="1985"/>
                  </a:lnTo>
                  <a:lnTo>
                    <a:pt x="618" y="1998"/>
                  </a:lnTo>
                  <a:lnTo>
                    <a:pt x="605" y="2009"/>
                  </a:lnTo>
                  <a:lnTo>
                    <a:pt x="115" y="2330"/>
                  </a:lnTo>
                  <a:lnTo>
                    <a:pt x="97" y="2339"/>
                  </a:lnTo>
                  <a:lnTo>
                    <a:pt x="77" y="2342"/>
                  </a:lnTo>
                  <a:lnTo>
                    <a:pt x="56" y="2340"/>
                  </a:lnTo>
                  <a:lnTo>
                    <a:pt x="36" y="2332"/>
                  </a:lnTo>
                  <a:lnTo>
                    <a:pt x="23" y="2323"/>
                  </a:lnTo>
                  <a:lnTo>
                    <a:pt x="13" y="2311"/>
                  </a:lnTo>
                  <a:lnTo>
                    <a:pt x="5" y="2296"/>
                  </a:lnTo>
                  <a:lnTo>
                    <a:pt x="0" y="2280"/>
                  </a:lnTo>
                  <a:lnTo>
                    <a:pt x="0" y="2263"/>
                  </a:lnTo>
                  <a:lnTo>
                    <a:pt x="34" y="1683"/>
                  </a:lnTo>
                  <a:lnTo>
                    <a:pt x="38" y="1666"/>
                  </a:lnTo>
                  <a:lnTo>
                    <a:pt x="45" y="1651"/>
                  </a:lnTo>
                  <a:lnTo>
                    <a:pt x="981" y="41"/>
                  </a:lnTo>
                  <a:lnTo>
                    <a:pt x="991" y="27"/>
                  </a:lnTo>
                  <a:lnTo>
                    <a:pt x="1005" y="15"/>
                  </a:lnTo>
                  <a:lnTo>
                    <a:pt x="1023" y="7"/>
                  </a:lnTo>
                  <a:lnTo>
                    <a:pt x="1027" y="6"/>
                  </a:lnTo>
                  <a:lnTo>
                    <a:pt x="1036" y="4"/>
                  </a:lnTo>
                  <a:lnTo>
                    <a:pt x="1049" y="2"/>
                  </a:lnTo>
                  <a:lnTo>
                    <a:pt x="1064" y="0"/>
                  </a:lnTo>
                  <a:lnTo>
                    <a:pt x="10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53" name="Freeform 1043">
              <a:extLst>
                <a:ext uri="{FF2B5EF4-FFF2-40B4-BE49-F238E27FC236}">
                  <a16:creationId xmlns:a16="http://schemas.microsoft.com/office/drawing/2014/main" id="{B4F76306-DE33-B204-4F3A-6695F6323A98}"/>
                </a:ext>
              </a:extLst>
            </p:cNvPr>
            <p:cNvSpPr/>
            <p:nvPr/>
          </p:nvSpPr>
          <p:spPr bwMode="auto">
            <a:xfrm>
              <a:off x="9995" y="-1385"/>
              <a:ext cx="286" cy="146"/>
            </a:xfrm>
            <a:custGeom>
              <a:avLst/>
              <a:gdLst>
                <a:gd name="T0" fmla="*/ 551 w 1143"/>
                <a:gd name="T1" fmla="*/ 5 h 585"/>
                <a:gd name="T2" fmla="*/ 577 w 1143"/>
                <a:gd name="T3" fmla="*/ 28 h 585"/>
                <a:gd name="T4" fmla="*/ 585 w 1143"/>
                <a:gd name="T5" fmla="*/ 110 h 585"/>
                <a:gd name="T6" fmla="*/ 554 w 1143"/>
                <a:gd name="T7" fmla="*/ 197 h 585"/>
                <a:gd name="T8" fmla="*/ 563 w 1143"/>
                <a:gd name="T9" fmla="*/ 239 h 585"/>
                <a:gd name="T10" fmla="*/ 581 w 1143"/>
                <a:gd name="T11" fmla="*/ 267 h 585"/>
                <a:gd name="T12" fmla="*/ 631 w 1143"/>
                <a:gd name="T13" fmla="*/ 275 h 585"/>
                <a:gd name="T14" fmla="*/ 674 w 1143"/>
                <a:gd name="T15" fmla="*/ 319 h 585"/>
                <a:gd name="T16" fmla="*/ 685 w 1143"/>
                <a:gd name="T17" fmla="*/ 353 h 585"/>
                <a:gd name="T18" fmla="*/ 838 w 1143"/>
                <a:gd name="T19" fmla="*/ 347 h 585"/>
                <a:gd name="T20" fmla="*/ 986 w 1143"/>
                <a:gd name="T21" fmla="*/ 362 h 585"/>
                <a:gd name="T22" fmla="*/ 1106 w 1143"/>
                <a:gd name="T23" fmla="*/ 369 h 585"/>
                <a:gd name="T24" fmla="*/ 1137 w 1143"/>
                <a:gd name="T25" fmla="*/ 396 h 585"/>
                <a:gd name="T26" fmla="*/ 1142 w 1143"/>
                <a:gd name="T27" fmla="*/ 436 h 585"/>
                <a:gd name="T28" fmla="*/ 1119 w 1143"/>
                <a:gd name="T29" fmla="*/ 470 h 585"/>
                <a:gd name="T30" fmla="*/ 1055 w 1143"/>
                <a:gd name="T31" fmla="*/ 477 h 585"/>
                <a:gd name="T32" fmla="*/ 946 w 1143"/>
                <a:gd name="T33" fmla="*/ 461 h 585"/>
                <a:gd name="T34" fmla="*/ 834 w 1143"/>
                <a:gd name="T35" fmla="*/ 447 h 585"/>
                <a:gd name="T36" fmla="*/ 730 w 1143"/>
                <a:gd name="T37" fmla="*/ 456 h 585"/>
                <a:gd name="T38" fmla="*/ 672 w 1143"/>
                <a:gd name="T39" fmla="*/ 481 h 585"/>
                <a:gd name="T40" fmla="*/ 630 w 1143"/>
                <a:gd name="T41" fmla="*/ 486 h 585"/>
                <a:gd name="T42" fmla="*/ 596 w 1143"/>
                <a:gd name="T43" fmla="*/ 472 h 585"/>
                <a:gd name="T44" fmla="*/ 571 w 1143"/>
                <a:gd name="T45" fmla="*/ 449 h 585"/>
                <a:gd name="T46" fmla="*/ 565 w 1143"/>
                <a:gd name="T47" fmla="*/ 403 h 585"/>
                <a:gd name="T48" fmla="*/ 531 w 1143"/>
                <a:gd name="T49" fmla="*/ 452 h 585"/>
                <a:gd name="T50" fmla="*/ 490 w 1143"/>
                <a:gd name="T51" fmla="*/ 465 h 585"/>
                <a:gd name="T52" fmla="*/ 450 w 1143"/>
                <a:gd name="T53" fmla="*/ 451 h 585"/>
                <a:gd name="T54" fmla="*/ 435 w 1143"/>
                <a:gd name="T55" fmla="*/ 414 h 585"/>
                <a:gd name="T56" fmla="*/ 445 w 1143"/>
                <a:gd name="T57" fmla="*/ 385 h 585"/>
                <a:gd name="T58" fmla="*/ 454 w 1143"/>
                <a:gd name="T59" fmla="*/ 365 h 585"/>
                <a:gd name="T60" fmla="*/ 417 w 1143"/>
                <a:gd name="T61" fmla="*/ 400 h 585"/>
                <a:gd name="T62" fmla="*/ 375 w 1143"/>
                <a:gd name="T63" fmla="*/ 423 h 585"/>
                <a:gd name="T64" fmla="*/ 331 w 1143"/>
                <a:gd name="T65" fmla="*/ 412 h 585"/>
                <a:gd name="T66" fmla="*/ 311 w 1143"/>
                <a:gd name="T67" fmla="*/ 375 h 585"/>
                <a:gd name="T68" fmla="*/ 360 w 1143"/>
                <a:gd name="T69" fmla="*/ 285 h 585"/>
                <a:gd name="T70" fmla="*/ 250 w 1143"/>
                <a:gd name="T71" fmla="*/ 388 h 585"/>
                <a:gd name="T72" fmla="*/ 95 w 1143"/>
                <a:gd name="T73" fmla="*/ 574 h 585"/>
                <a:gd name="T74" fmla="*/ 49 w 1143"/>
                <a:gd name="T75" fmla="*/ 584 h 585"/>
                <a:gd name="T76" fmla="*/ 9 w 1143"/>
                <a:gd name="T77" fmla="*/ 562 h 585"/>
                <a:gd name="T78" fmla="*/ 2 w 1143"/>
                <a:gd name="T79" fmla="*/ 521 h 585"/>
                <a:gd name="T80" fmla="*/ 137 w 1143"/>
                <a:gd name="T81" fmla="*/ 347 h 585"/>
                <a:gd name="T82" fmla="*/ 341 w 1143"/>
                <a:gd name="T83" fmla="*/ 122 h 585"/>
                <a:gd name="T84" fmla="*/ 395 w 1143"/>
                <a:gd name="T85" fmla="*/ 70 h 585"/>
                <a:gd name="T86" fmla="*/ 458 w 1143"/>
                <a:gd name="T87" fmla="*/ 20 h 585"/>
                <a:gd name="T88" fmla="*/ 528 w 1143"/>
                <a:gd name="T89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43" h="585">
                  <a:moveTo>
                    <a:pt x="528" y="0"/>
                  </a:moveTo>
                  <a:lnTo>
                    <a:pt x="539" y="2"/>
                  </a:lnTo>
                  <a:lnTo>
                    <a:pt x="551" y="5"/>
                  </a:lnTo>
                  <a:lnTo>
                    <a:pt x="561" y="10"/>
                  </a:lnTo>
                  <a:lnTo>
                    <a:pt x="571" y="18"/>
                  </a:lnTo>
                  <a:lnTo>
                    <a:pt x="577" y="28"/>
                  </a:lnTo>
                  <a:lnTo>
                    <a:pt x="585" y="53"/>
                  </a:lnTo>
                  <a:lnTo>
                    <a:pt x="587" y="81"/>
                  </a:lnTo>
                  <a:lnTo>
                    <a:pt x="585" y="110"/>
                  </a:lnTo>
                  <a:lnTo>
                    <a:pt x="578" y="139"/>
                  </a:lnTo>
                  <a:lnTo>
                    <a:pt x="567" y="168"/>
                  </a:lnTo>
                  <a:lnTo>
                    <a:pt x="554" y="197"/>
                  </a:lnTo>
                  <a:lnTo>
                    <a:pt x="537" y="227"/>
                  </a:lnTo>
                  <a:lnTo>
                    <a:pt x="551" y="232"/>
                  </a:lnTo>
                  <a:lnTo>
                    <a:pt x="563" y="239"/>
                  </a:lnTo>
                  <a:lnTo>
                    <a:pt x="573" y="252"/>
                  </a:lnTo>
                  <a:lnTo>
                    <a:pt x="577" y="260"/>
                  </a:lnTo>
                  <a:lnTo>
                    <a:pt x="581" y="267"/>
                  </a:lnTo>
                  <a:lnTo>
                    <a:pt x="597" y="266"/>
                  </a:lnTo>
                  <a:lnTo>
                    <a:pt x="614" y="269"/>
                  </a:lnTo>
                  <a:lnTo>
                    <a:pt x="631" y="275"/>
                  </a:lnTo>
                  <a:lnTo>
                    <a:pt x="646" y="286"/>
                  </a:lnTo>
                  <a:lnTo>
                    <a:pt x="661" y="300"/>
                  </a:lnTo>
                  <a:lnTo>
                    <a:pt x="674" y="319"/>
                  </a:lnTo>
                  <a:lnTo>
                    <a:pt x="681" y="334"/>
                  </a:lnTo>
                  <a:lnTo>
                    <a:pt x="684" y="345"/>
                  </a:lnTo>
                  <a:lnTo>
                    <a:pt x="685" y="353"/>
                  </a:lnTo>
                  <a:lnTo>
                    <a:pt x="738" y="347"/>
                  </a:lnTo>
                  <a:lnTo>
                    <a:pt x="789" y="346"/>
                  </a:lnTo>
                  <a:lnTo>
                    <a:pt x="838" y="347"/>
                  </a:lnTo>
                  <a:lnTo>
                    <a:pt x="887" y="351"/>
                  </a:lnTo>
                  <a:lnTo>
                    <a:pt x="936" y="356"/>
                  </a:lnTo>
                  <a:lnTo>
                    <a:pt x="986" y="362"/>
                  </a:lnTo>
                  <a:lnTo>
                    <a:pt x="1036" y="365"/>
                  </a:lnTo>
                  <a:lnTo>
                    <a:pt x="1089" y="367"/>
                  </a:lnTo>
                  <a:lnTo>
                    <a:pt x="1106" y="369"/>
                  </a:lnTo>
                  <a:lnTo>
                    <a:pt x="1119" y="375"/>
                  </a:lnTo>
                  <a:lnTo>
                    <a:pt x="1130" y="384"/>
                  </a:lnTo>
                  <a:lnTo>
                    <a:pt x="1137" y="396"/>
                  </a:lnTo>
                  <a:lnTo>
                    <a:pt x="1142" y="408"/>
                  </a:lnTo>
                  <a:lnTo>
                    <a:pt x="1143" y="422"/>
                  </a:lnTo>
                  <a:lnTo>
                    <a:pt x="1142" y="436"/>
                  </a:lnTo>
                  <a:lnTo>
                    <a:pt x="1137" y="449"/>
                  </a:lnTo>
                  <a:lnTo>
                    <a:pt x="1130" y="460"/>
                  </a:lnTo>
                  <a:lnTo>
                    <a:pt x="1119" y="470"/>
                  </a:lnTo>
                  <a:lnTo>
                    <a:pt x="1106" y="476"/>
                  </a:lnTo>
                  <a:lnTo>
                    <a:pt x="1089" y="478"/>
                  </a:lnTo>
                  <a:lnTo>
                    <a:pt x="1055" y="477"/>
                  </a:lnTo>
                  <a:lnTo>
                    <a:pt x="1020" y="473"/>
                  </a:lnTo>
                  <a:lnTo>
                    <a:pt x="983" y="467"/>
                  </a:lnTo>
                  <a:lnTo>
                    <a:pt x="946" y="461"/>
                  </a:lnTo>
                  <a:lnTo>
                    <a:pt x="909" y="455"/>
                  </a:lnTo>
                  <a:lnTo>
                    <a:pt x="872" y="450"/>
                  </a:lnTo>
                  <a:lnTo>
                    <a:pt x="834" y="447"/>
                  </a:lnTo>
                  <a:lnTo>
                    <a:pt x="798" y="446"/>
                  </a:lnTo>
                  <a:lnTo>
                    <a:pt x="763" y="449"/>
                  </a:lnTo>
                  <a:lnTo>
                    <a:pt x="730" y="456"/>
                  </a:lnTo>
                  <a:lnTo>
                    <a:pt x="698" y="469"/>
                  </a:lnTo>
                  <a:lnTo>
                    <a:pt x="685" y="475"/>
                  </a:lnTo>
                  <a:lnTo>
                    <a:pt x="672" y="481"/>
                  </a:lnTo>
                  <a:lnTo>
                    <a:pt x="657" y="486"/>
                  </a:lnTo>
                  <a:lnTo>
                    <a:pt x="644" y="488"/>
                  </a:lnTo>
                  <a:lnTo>
                    <a:pt x="630" y="486"/>
                  </a:lnTo>
                  <a:lnTo>
                    <a:pt x="619" y="482"/>
                  </a:lnTo>
                  <a:lnTo>
                    <a:pt x="608" y="477"/>
                  </a:lnTo>
                  <a:lnTo>
                    <a:pt x="596" y="472"/>
                  </a:lnTo>
                  <a:lnTo>
                    <a:pt x="586" y="465"/>
                  </a:lnTo>
                  <a:lnTo>
                    <a:pt x="578" y="458"/>
                  </a:lnTo>
                  <a:lnTo>
                    <a:pt x="571" y="449"/>
                  </a:lnTo>
                  <a:lnTo>
                    <a:pt x="566" y="437"/>
                  </a:lnTo>
                  <a:lnTo>
                    <a:pt x="565" y="418"/>
                  </a:lnTo>
                  <a:lnTo>
                    <a:pt x="565" y="403"/>
                  </a:lnTo>
                  <a:lnTo>
                    <a:pt x="554" y="422"/>
                  </a:lnTo>
                  <a:lnTo>
                    <a:pt x="542" y="441"/>
                  </a:lnTo>
                  <a:lnTo>
                    <a:pt x="531" y="452"/>
                  </a:lnTo>
                  <a:lnTo>
                    <a:pt x="519" y="460"/>
                  </a:lnTo>
                  <a:lnTo>
                    <a:pt x="504" y="464"/>
                  </a:lnTo>
                  <a:lnTo>
                    <a:pt x="490" y="465"/>
                  </a:lnTo>
                  <a:lnTo>
                    <a:pt x="475" y="463"/>
                  </a:lnTo>
                  <a:lnTo>
                    <a:pt x="462" y="458"/>
                  </a:lnTo>
                  <a:lnTo>
                    <a:pt x="450" y="451"/>
                  </a:lnTo>
                  <a:lnTo>
                    <a:pt x="441" y="441"/>
                  </a:lnTo>
                  <a:lnTo>
                    <a:pt x="436" y="428"/>
                  </a:lnTo>
                  <a:lnTo>
                    <a:pt x="435" y="414"/>
                  </a:lnTo>
                  <a:lnTo>
                    <a:pt x="439" y="398"/>
                  </a:lnTo>
                  <a:lnTo>
                    <a:pt x="442" y="391"/>
                  </a:lnTo>
                  <a:lnTo>
                    <a:pt x="445" y="385"/>
                  </a:lnTo>
                  <a:lnTo>
                    <a:pt x="445" y="385"/>
                  </a:lnTo>
                  <a:lnTo>
                    <a:pt x="444" y="385"/>
                  </a:lnTo>
                  <a:lnTo>
                    <a:pt x="454" y="365"/>
                  </a:lnTo>
                  <a:lnTo>
                    <a:pt x="440" y="374"/>
                  </a:lnTo>
                  <a:lnTo>
                    <a:pt x="428" y="385"/>
                  </a:lnTo>
                  <a:lnTo>
                    <a:pt x="417" y="400"/>
                  </a:lnTo>
                  <a:lnTo>
                    <a:pt x="405" y="412"/>
                  </a:lnTo>
                  <a:lnTo>
                    <a:pt x="390" y="420"/>
                  </a:lnTo>
                  <a:lnTo>
                    <a:pt x="375" y="423"/>
                  </a:lnTo>
                  <a:lnTo>
                    <a:pt x="359" y="423"/>
                  </a:lnTo>
                  <a:lnTo>
                    <a:pt x="345" y="419"/>
                  </a:lnTo>
                  <a:lnTo>
                    <a:pt x="331" y="412"/>
                  </a:lnTo>
                  <a:lnTo>
                    <a:pt x="321" y="402"/>
                  </a:lnTo>
                  <a:lnTo>
                    <a:pt x="314" y="389"/>
                  </a:lnTo>
                  <a:lnTo>
                    <a:pt x="311" y="375"/>
                  </a:lnTo>
                  <a:lnTo>
                    <a:pt x="313" y="360"/>
                  </a:lnTo>
                  <a:lnTo>
                    <a:pt x="320" y="343"/>
                  </a:lnTo>
                  <a:lnTo>
                    <a:pt x="360" y="285"/>
                  </a:lnTo>
                  <a:lnTo>
                    <a:pt x="400" y="224"/>
                  </a:lnTo>
                  <a:lnTo>
                    <a:pt x="323" y="305"/>
                  </a:lnTo>
                  <a:lnTo>
                    <a:pt x="250" y="388"/>
                  </a:lnTo>
                  <a:lnTo>
                    <a:pt x="177" y="475"/>
                  </a:lnTo>
                  <a:lnTo>
                    <a:pt x="108" y="562"/>
                  </a:lnTo>
                  <a:lnTo>
                    <a:pt x="95" y="574"/>
                  </a:lnTo>
                  <a:lnTo>
                    <a:pt x="80" y="582"/>
                  </a:lnTo>
                  <a:lnTo>
                    <a:pt x="64" y="585"/>
                  </a:lnTo>
                  <a:lnTo>
                    <a:pt x="49" y="584"/>
                  </a:lnTo>
                  <a:lnTo>
                    <a:pt x="33" y="580"/>
                  </a:lnTo>
                  <a:lnTo>
                    <a:pt x="21" y="572"/>
                  </a:lnTo>
                  <a:lnTo>
                    <a:pt x="9" y="562"/>
                  </a:lnTo>
                  <a:lnTo>
                    <a:pt x="2" y="550"/>
                  </a:lnTo>
                  <a:lnTo>
                    <a:pt x="0" y="535"/>
                  </a:lnTo>
                  <a:lnTo>
                    <a:pt x="2" y="521"/>
                  </a:lnTo>
                  <a:lnTo>
                    <a:pt x="12" y="506"/>
                  </a:lnTo>
                  <a:lnTo>
                    <a:pt x="74" y="426"/>
                  </a:lnTo>
                  <a:lnTo>
                    <a:pt x="137" y="347"/>
                  </a:lnTo>
                  <a:lnTo>
                    <a:pt x="202" y="270"/>
                  </a:lnTo>
                  <a:lnTo>
                    <a:pt x="270" y="194"/>
                  </a:lnTo>
                  <a:lnTo>
                    <a:pt x="341" y="122"/>
                  </a:lnTo>
                  <a:lnTo>
                    <a:pt x="357" y="106"/>
                  </a:lnTo>
                  <a:lnTo>
                    <a:pt x="376" y="88"/>
                  </a:lnTo>
                  <a:lnTo>
                    <a:pt x="395" y="70"/>
                  </a:lnTo>
                  <a:lnTo>
                    <a:pt x="414" y="51"/>
                  </a:lnTo>
                  <a:lnTo>
                    <a:pt x="435" y="35"/>
                  </a:lnTo>
                  <a:lnTo>
                    <a:pt x="458" y="20"/>
                  </a:lnTo>
                  <a:lnTo>
                    <a:pt x="480" y="9"/>
                  </a:lnTo>
                  <a:lnTo>
                    <a:pt x="504" y="2"/>
                  </a:lnTo>
                  <a:lnTo>
                    <a:pt x="5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</p:grpSp>
      <p:sp>
        <p:nvSpPr>
          <p:cNvPr id="16" name="Rectangle 30">
            <a:extLst>
              <a:ext uri="{FF2B5EF4-FFF2-40B4-BE49-F238E27FC236}">
                <a16:creationId xmlns:a16="http://schemas.microsoft.com/office/drawing/2014/main" id="{41FDC5F6-98D6-44C0-76D9-C33CE8937C6B}"/>
              </a:ext>
            </a:extLst>
          </p:cNvPr>
          <p:cNvSpPr/>
          <p:nvPr/>
        </p:nvSpPr>
        <p:spPr>
          <a:xfrm>
            <a:off x="3119110" y="3266711"/>
            <a:ext cx="1807781" cy="286232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64kb</a:t>
            </a: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动态随机存储器诞生，不足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0.5</a:t>
            </a: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平方厘米的硅片上集成了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14</a:t>
            </a: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万个晶体管，标志着超大规模集成电路（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VLSI</a:t>
            </a: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）时代的来临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itchFamily="34" charset="0"/>
              <a:sym typeface="+mn-ea"/>
            </a:endParaRPr>
          </a:p>
        </p:txBody>
      </p:sp>
      <p:grpSp>
        <p:nvGrpSpPr>
          <p:cNvPr id="17" name="Group 1036">
            <a:extLst>
              <a:ext uri="{FF2B5EF4-FFF2-40B4-BE49-F238E27FC236}">
                <a16:creationId xmlns:a16="http://schemas.microsoft.com/office/drawing/2014/main" id="{94251678-2FE2-363A-EADA-275F08FA95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50712" y="3883521"/>
            <a:ext cx="246521" cy="245024"/>
            <a:chOff x="9876" y="-1946"/>
            <a:chExt cx="822" cy="817"/>
          </a:xfrm>
          <a:solidFill>
            <a:schemeClr val="bg1"/>
          </a:solidFill>
        </p:grpSpPr>
        <p:sp>
          <p:nvSpPr>
            <p:cNvPr id="42" name="Freeform 1038">
              <a:extLst>
                <a:ext uri="{FF2B5EF4-FFF2-40B4-BE49-F238E27FC236}">
                  <a16:creationId xmlns:a16="http://schemas.microsoft.com/office/drawing/2014/main" id="{C76E079A-E38F-6490-490C-F42986849060}"/>
                </a:ext>
              </a:extLst>
            </p:cNvPr>
            <p:cNvSpPr/>
            <p:nvPr/>
          </p:nvSpPr>
          <p:spPr bwMode="auto">
            <a:xfrm>
              <a:off x="10016" y="-1801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5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6 h 298"/>
                <a:gd name="T24" fmla="*/ 1396 w 1421"/>
                <a:gd name="T25" fmla="*/ 232 h 298"/>
                <a:gd name="T26" fmla="*/ 1378 w 1421"/>
                <a:gd name="T27" fmla="*/ 254 h 298"/>
                <a:gd name="T28" fmla="*/ 1356 w 1421"/>
                <a:gd name="T29" fmla="*/ 272 h 298"/>
                <a:gd name="T30" fmla="*/ 1330 w 1421"/>
                <a:gd name="T31" fmla="*/ 285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5 h 298"/>
                <a:gd name="T42" fmla="*/ 65 w 1421"/>
                <a:gd name="T43" fmla="*/ 272 h 298"/>
                <a:gd name="T44" fmla="*/ 44 w 1421"/>
                <a:gd name="T45" fmla="*/ 254 h 298"/>
                <a:gd name="T46" fmla="*/ 25 w 1421"/>
                <a:gd name="T47" fmla="*/ 232 h 298"/>
                <a:gd name="T48" fmla="*/ 11 w 1421"/>
                <a:gd name="T49" fmla="*/ 206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5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5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6"/>
                  </a:lnTo>
                  <a:lnTo>
                    <a:pt x="1396" y="232"/>
                  </a:lnTo>
                  <a:lnTo>
                    <a:pt x="1378" y="254"/>
                  </a:lnTo>
                  <a:lnTo>
                    <a:pt x="1356" y="272"/>
                  </a:lnTo>
                  <a:lnTo>
                    <a:pt x="1330" y="285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5"/>
                  </a:lnTo>
                  <a:lnTo>
                    <a:pt x="65" y="272"/>
                  </a:lnTo>
                  <a:lnTo>
                    <a:pt x="44" y="254"/>
                  </a:lnTo>
                  <a:lnTo>
                    <a:pt x="25" y="232"/>
                  </a:lnTo>
                  <a:lnTo>
                    <a:pt x="11" y="206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5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43" name="Freeform 1039">
              <a:extLst>
                <a:ext uri="{FF2B5EF4-FFF2-40B4-BE49-F238E27FC236}">
                  <a16:creationId xmlns:a16="http://schemas.microsoft.com/office/drawing/2014/main" id="{60074A66-E3D9-D063-7888-5050206E227C}"/>
                </a:ext>
              </a:extLst>
            </p:cNvPr>
            <p:cNvSpPr/>
            <p:nvPr/>
          </p:nvSpPr>
          <p:spPr bwMode="auto">
            <a:xfrm>
              <a:off x="10016" y="-1662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6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7 h 298"/>
                <a:gd name="T24" fmla="*/ 1396 w 1421"/>
                <a:gd name="T25" fmla="*/ 232 h 298"/>
                <a:gd name="T26" fmla="*/ 1378 w 1421"/>
                <a:gd name="T27" fmla="*/ 255 h 298"/>
                <a:gd name="T28" fmla="*/ 1356 w 1421"/>
                <a:gd name="T29" fmla="*/ 272 h 298"/>
                <a:gd name="T30" fmla="*/ 1330 w 1421"/>
                <a:gd name="T31" fmla="*/ 287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7 h 298"/>
                <a:gd name="T42" fmla="*/ 65 w 1421"/>
                <a:gd name="T43" fmla="*/ 272 h 298"/>
                <a:gd name="T44" fmla="*/ 44 w 1421"/>
                <a:gd name="T45" fmla="*/ 255 h 298"/>
                <a:gd name="T46" fmla="*/ 25 w 1421"/>
                <a:gd name="T47" fmla="*/ 232 h 298"/>
                <a:gd name="T48" fmla="*/ 11 w 1421"/>
                <a:gd name="T49" fmla="*/ 207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6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6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7"/>
                  </a:lnTo>
                  <a:lnTo>
                    <a:pt x="1396" y="232"/>
                  </a:lnTo>
                  <a:lnTo>
                    <a:pt x="1378" y="255"/>
                  </a:lnTo>
                  <a:lnTo>
                    <a:pt x="1356" y="272"/>
                  </a:lnTo>
                  <a:lnTo>
                    <a:pt x="1330" y="287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7"/>
                  </a:lnTo>
                  <a:lnTo>
                    <a:pt x="65" y="272"/>
                  </a:lnTo>
                  <a:lnTo>
                    <a:pt x="44" y="255"/>
                  </a:lnTo>
                  <a:lnTo>
                    <a:pt x="25" y="232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6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44" name="Freeform 1040">
              <a:extLst>
                <a:ext uri="{FF2B5EF4-FFF2-40B4-BE49-F238E27FC236}">
                  <a16:creationId xmlns:a16="http://schemas.microsoft.com/office/drawing/2014/main" id="{4C5EDC30-39FD-8150-863B-EB84B1453678}"/>
                </a:ext>
              </a:extLst>
            </p:cNvPr>
            <p:cNvSpPr/>
            <p:nvPr/>
          </p:nvSpPr>
          <p:spPr bwMode="auto">
            <a:xfrm>
              <a:off x="10016" y="-1522"/>
              <a:ext cx="215" cy="74"/>
            </a:xfrm>
            <a:custGeom>
              <a:avLst/>
              <a:gdLst>
                <a:gd name="T0" fmla="*/ 149 w 860"/>
                <a:gd name="T1" fmla="*/ 0 h 297"/>
                <a:gd name="T2" fmla="*/ 711 w 860"/>
                <a:gd name="T3" fmla="*/ 0 h 297"/>
                <a:gd name="T4" fmla="*/ 741 w 860"/>
                <a:gd name="T5" fmla="*/ 3 h 297"/>
                <a:gd name="T6" fmla="*/ 769 w 860"/>
                <a:gd name="T7" fmla="*/ 11 h 297"/>
                <a:gd name="T8" fmla="*/ 795 w 860"/>
                <a:gd name="T9" fmla="*/ 26 h 297"/>
                <a:gd name="T10" fmla="*/ 817 w 860"/>
                <a:gd name="T11" fmla="*/ 43 h 297"/>
                <a:gd name="T12" fmla="*/ 835 w 860"/>
                <a:gd name="T13" fmla="*/ 66 h 297"/>
                <a:gd name="T14" fmla="*/ 849 w 860"/>
                <a:gd name="T15" fmla="*/ 90 h 297"/>
                <a:gd name="T16" fmla="*/ 857 w 860"/>
                <a:gd name="T17" fmla="*/ 118 h 297"/>
                <a:gd name="T18" fmla="*/ 860 w 860"/>
                <a:gd name="T19" fmla="*/ 149 h 297"/>
                <a:gd name="T20" fmla="*/ 857 w 860"/>
                <a:gd name="T21" fmla="*/ 179 h 297"/>
                <a:gd name="T22" fmla="*/ 849 w 860"/>
                <a:gd name="T23" fmla="*/ 207 h 297"/>
                <a:gd name="T24" fmla="*/ 835 w 860"/>
                <a:gd name="T25" fmla="*/ 231 h 297"/>
                <a:gd name="T26" fmla="*/ 817 w 860"/>
                <a:gd name="T27" fmla="*/ 254 h 297"/>
                <a:gd name="T28" fmla="*/ 795 w 860"/>
                <a:gd name="T29" fmla="*/ 271 h 297"/>
                <a:gd name="T30" fmla="*/ 769 w 860"/>
                <a:gd name="T31" fmla="*/ 286 h 297"/>
                <a:gd name="T32" fmla="*/ 741 w 860"/>
                <a:gd name="T33" fmla="*/ 294 h 297"/>
                <a:gd name="T34" fmla="*/ 711 w 860"/>
                <a:gd name="T35" fmla="*/ 297 h 297"/>
                <a:gd name="T36" fmla="*/ 149 w 860"/>
                <a:gd name="T37" fmla="*/ 297 h 297"/>
                <a:gd name="T38" fmla="*/ 119 w 860"/>
                <a:gd name="T39" fmla="*/ 294 h 297"/>
                <a:gd name="T40" fmla="*/ 91 w 860"/>
                <a:gd name="T41" fmla="*/ 286 h 297"/>
                <a:gd name="T42" fmla="*/ 65 w 860"/>
                <a:gd name="T43" fmla="*/ 271 h 297"/>
                <a:gd name="T44" fmla="*/ 44 w 860"/>
                <a:gd name="T45" fmla="*/ 254 h 297"/>
                <a:gd name="T46" fmla="*/ 25 w 860"/>
                <a:gd name="T47" fmla="*/ 231 h 297"/>
                <a:gd name="T48" fmla="*/ 11 w 860"/>
                <a:gd name="T49" fmla="*/ 207 h 297"/>
                <a:gd name="T50" fmla="*/ 3 w 860"/>
                <a:gd name="T51" fmla="*/ 179 h 297"/>
                <a:gd name="T52" fmla="*/ 0 w 860"/>
                <a:gd name="T53" fmla="*/ 149 h 297"/>
                <a:gd name="T54" fmla="*/ 3 w 860"/>
                <a:gd name="T55" fmla="*/ 118 h 297"/>
                <a:gd name="T56" fmla="*/ 11 w 860"/>
                <a:gd name="T57" fmla="*/ 90 h 297"/>
                <a:gd name="T58" fmla="*/ 25 w 860"/>
                <a:gd name="T59" fmla="*/ 66 h 297"/>
                <a:gd name="T60" fmla="*/ 44 w 860"/>
                <a:gd name="T61" fmla="*/ 43 h 297"/>
                <a:gd name="T62" fmla="*/ 65 w 860"/>
                <a:gd name="T63" fmla="*/ 26 h 297"/>
                <a:gd name="T64" fmla="*/ 91 w 860"/>
                <a:gd name="T65" fmla="*/ 11 h 297"/>
                <a:gd name="T66" fmla="*/ 119 w 860"/>
                <a:gd name="T67" fmla="*/ 3 h 297"/>
                <a:gd name="T68" fmla="*/ 149 w 860"/>
                <a:gd name="T6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0" h="297">
                  <a:moveTo>
                    <a:pt x="149" y="0"/>
                  </a:moveTo>
                  <a:lnTo>
                    <a:pt x="711" y="0"/>
                  </a:lnTo>
                  <a:lnTo>
                    <a:pt x="741" y="3"/>
                  </a:lnTo>
                  <a:lnTo>
                    <a:pt x="769" y="11"/>
                  </a:lnTo>
                  <a:lnTo>
                    <a:pt x="795" y="26"/>
                  </a:lnTo>
                  <a:lnTo>
                    <a:pt x="817" y="43"/>
                  </a:lnTo>
                  <a:lnTo>
                    <a:pt x="835" y="66"/>
                  </a:lnTo>
                  <a:lnTo>
                    <a:pt x="849" y="90"/>
                  </a:lnTo>
                  <a:lnTo>
                    <a:pt x="857" y="118"/>
                  </a:lnTo>
                  <a:lnTo>
                    <a:pt x="860" y="149"/>
                  </a:lnTo>
                  <a:lnTo>
                    <a:pt x="857" y="179"/>
                  </a:lnTo>
                  <a:lnTo>
                    <a:pt x="849" y="207"/>
                  </a:lnTo>
                  <a:lnTo>
                    <a:pt x="835" y="231"/>
                  </a:lnTo>
                  <a:lnTo>
                    <a:pt x="817" y="254"/>
                  </a:lnTo>
                  <a:lnTo>
                    <a:pt x="795" y="271"/>
                  </a:lnTo>
                  <a:lnTo>
                    <a:pt x="769" y="286"/>
                  </a:lnTo>
                  <a:lnTo>
                    <a:pt x="741" y="294"/>
                  </a:lnTo>
                  <a:lnTo>
                    <a:pt x="711" y="297"/>
                  </a:lnTo>
                  <a:lnTo>
                    <a:pt x="149" y="297"/>
                  </a:lnTo>
                  <a:lnTo>
                    <a:pt x="119" y="294"/>
                  </a:lnTo>
                  <a:lnTo>
                    <a:pt x="91" y="286"/>
                  </a:lnTo>
                  <a:lnTo>
                    <a:pt x="65" y="271"/>
                  </a:lnTo>
                  <a:lnTo>
                    <a:pt x="44" y="254"/>
                  </a:lnTo>
                  <a:lnTo>
                    <a:pt x="25" y="231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8"/>
                  </a:lnTo>
                  <a:lnTo>
                    <a:pt x="11" y="90"/>
                  </a:lnTo>
                  <a:lnTo>
                    <a:pt x="25" y="66"/>
                  </a:lnTo>
                  <a:lnTo>
                    <a:pt x="44" y="43"/>
                  </a:lnTo>
                  <a:lnTo>
                    <a:pt x="65" y="26"/>
                  </a:lnTo>
                  <a:lnTo>
                    <a:pt x="91" y="11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45" name="Freeform 1041">
              <a:extLst>
                <a:ext uri="{FF2B5EF4-FFF2-40B4-BE49-F238E27FC236}">
                  <a16:creationId xmlns:a16="http://schemas.microsoft.com/office/drawing/2014/main" id="{AEA2F671-1F2B-EB6E-C368-E47A65E8ADAC}"/>
                </a:ext>
              </a:extLst>
            </p:cNvPr>
            <p:cNvSpPr/>
            <p:nvPr/>
          </p:nvSpPr>
          <p:spPr bwMode="auto">
            <a:xfrm>
              <a:off x="9876" y="-1946"/>
              <a:ext cx="636" cy="817"/>
            </a:xfrm>
            <a:custGeom>
              <a:avLst/>
              <a:gdLst>
                <a:gd name="T0" fmla="*/ 150 w 2545"/>
                <a:gd name="T1" fmla="*/ 0 h 3271"/>
                <a:gd name="T2" fmla="*/ 2395 w 2545"/>
                <a:gd name="T3" fmla="*/ 0 h 3271"/>
                <a:gd name="T4" fmla="*/ 2425 w 2545"/>
                <a:gd name="T5" fmla="*/ 3 h 3271"/>
                <a:gd name="T6" fmla="*/ 2453 w 2545"/>
                <a:gd name="T7" fmla="*/ 11 h 3271"/>
                <a:gd name="T8" fmla="*/ 2479 w 2545"/>
                <a:gd name="T9" fmla="*/ 26 h 3271"/>
                <a:gd name="T10" fmla="*/ 2501 w 2545"/>
                <a:gd name="T11" fmla="*/ 43 h 3271"/>
                <a:gd name="T12" fmla="*/ 2520 w 2545"/>
                <a:gd name="T13" fmla="*/ 66 h 3271"/>
                <a:gd name="T14" fmla="*/ 2533 w 2545"/>
                <a:gd name="T15" fmla="*/ 90 h 3271"/>
                <a:gd name="T16" fmla="*/ 2542 w 2545"/>
                <a:gd name="T17" fmla="*/ 118 h 3271"/>
                <a:gd name="T18" fmla="*/ 2545 w 2545"/>
                <a:gd name="T19" fmla="*/ 148 h 3271"/>
                <a:gd name="T20" fmla="*/ 2545 w 2545"/>
                <a:gd name="T21" fmla="*/ 369 h 3271"/>
                <a:gd name="T22" fmla="*/ 2246 w 2545"/>
                <a:gd name="T23" fmla="*/ 885 h 3271"/>
                <a:gd name="T24" fmla="*/ 2246 w 2545"/>
                <a:gd name="T25" fmla="*/ 297 h 3271"/>
                <a:gd name="T26" fmla="*/ 300 w 2545"/>
                <a:gd name="T27" fmla="*/ 297 h 3271"/>
                <a:gd name="T28" fmla="*/ 300 w 2545"/>
                <a:gd name="T29" fmla="*/ 2973 h 3271"/>
                <a:gd name="T30" fmla="*/ 2246 w 2545"/>
                <a:gd name="T31" fmla="*/ 2973 h 3271"/>
                <a:gd name="T32" fmla="*/ 2246 w 2545"/>
                <a:gd name="T33" fmla="*/ 2603 h 3271"/>
                <a:gd name="T34" fmla="*/ 2403 w 2545"/>
                <a:gd name="T35" fmla="*/ 2500 h 3271"/>
                <a:gd name="T36" fmla="*/ 2430 w 2545"/>
                <a:gd name="T37" fmla="*/ 2478 h 3271"/>
                <a:gd name="T38" fmla="*/ 2454 w 2545"/>
                <a:gd name="T39" fmla="*/ 2453 h 3271"/>
                <a:gd name="T40" fmla="*/ 2474 w 2545"/>
                <a:gd name="T41" fmla="*/ 2425 h 3271"/>
                <a:gd name="T42" fmla="*/ 2545 w 2545"/>
                <a:gd name="T43" fmla="*/ 2302 h 3271"/>
                <a:gd name="T44" fmla="*/ 2545 w 2545"/>
                <a:gd name="T45" fmla="*/ 3122 h 3271"/>
                <a:gd name="T46" fmla="*/ 2542 w 2545"/>
                <a:gd name="T47" fmla="*/ 3151 h 3271"/>
                <a:gd name="T48" fmla="*/ 2533 w 2545"/>
                <a:gd name="T49" fmla="*/ 3179 h 3271"/>
                <a:gd name="T50" fmla="*/ 2520 w 2545"/>
                <a:gd name="T51" fmla="*/ 3205 h 3271"/>
                <a:gd name="T52" fmla="*/ 2501 w 2545"/>
                <a:gd name="T53" fmla="*/ 3226 h 3271"/>
                <a:gd name="T54" fmla="*/ 2479 w 2545"/>
                <a:gd name="T55" fmla="*/ 3245 h 3271"/>
                <a:gd name="T56" fmla="*/ 2453 w 2545"/>
                <a:gd name="T57" fmla="*/ 3258 h 3271"/>
                <a:gd name="T58" fmla="*/ 2425 w 2545"/>
                <a:gd name="T59" fmla="*/ 3268 h 3271"/>
                <a:gd name="T60" fmla="*/ 2395 w 2545"/>
                <a:gd name="T61" fmla="*/ 3271 h 3271"/>
                <a:gd name="T62" fmla="*/ 150 w 2545"/>
                <a:gd name="T63" fmla="*/ 3271 h 3271"/>
                <a:gd name="T64" fmla="*/ 120 w 2545"/>
                <a:gd name="T65" fmla="*/ 3268 h 3271"/>
                <a:gd name="T66" fmla="*/ 92 w 2545"/>
                <a:gd name="T67" fmla="*/ 3258 h 3271"/>
                <a:gd name="T68" fmla="*/ 66 w 2545"/>
                <a:gd name="T69" fmla="*/ 3245 h 3271"/>
                <a:gd name="T70" fmla="*/ 44 w 2545"/>
                <a:gd name="T71" fmla="*/ 3226 h 3271"/>
                <a:gd name="T72" fmla="*/ 26 w 2545"/>
                <a:gd name="T73" fmla="*/ 3205 h 3271"/>
                <a:gd name="T74" fmla="*/ 12 w 2545"/>
                <a:gd name="T75" fmla="*/ 3179 h 3271"/>
                <a:gd name="T76" fmla="*/ 3 w 2545"/>
                <a:gd name="T77" fmla="*/ 3151 h 3271"/>
                <a:gd name="T78" fmla="*/ 0 w 2545"/>
                <a:gd name="T79" fmla="*/ 3122 h 3271"/>
                <a:gd name="T80" fmla="*/ 0 w 2545"/>
                <a:gd name="T81" fmla="*/ 148 h 3271"/>
                <a:gd name="T82" fmla="*/ 3 w 2545"/>
                <a:gd name="T83" fmla="*/ 118 h 3271"/>
                <a:gd name="T84" fmla="*/ 12 w 2545"/>
                <a:gd name="T85" fmla="*/ 90 h 3271"/>
                <a:gd name="T86" fmla="*/ 26 w 2545"/>
                <a:gd name="T87" fmla="*/ 66 h 3271"/>
                <a:gd name="T88" fmla="*/ 44 w 2545"/>
                <a:gd name="T89" fmla="*/ 43 h 3271"/>
                <a:gd name="T90" fmla="*/ 66 w 2545"/>
                <a:gd name="T91" fmla="*/ 26 h 3271"/>
                <a:gd name="T92" fmla="*/ 92 w 2545"/>
                <a:gd name="T93" fmla="*/ 11 h 3271"/>
                <a:gd name="T94" fmla="*/ 120 w 2545"/>
                <a:gd name="T95" fmla="*/ 3 h 3271"/>
                <a:gd name="T96" fmla="*/ 150 w 2545"/>
                <a:gd name="T97" fmla="*/ 0 h 3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45" h="3271">
                  <a:moveTo>
                    <a:pt x="150" y="0"/>
                  </a:moveTo>
                  <a:lnTo>
                    <a:pt x="2395" y="0"/>
                  </a:lnTo>
                  <a:lnTo>
                    <a:pt x="2425" y="3"/>
                  </a:lnTo>
                  <a:lnTo>
                    <a:pt x="2453" y="11"/>
                  </a:lnTo>
                  <a:lnTo>
                    <a:pt x="2479" y="26"/>
                  </a:lnTo>
                  <a:lnTo>
                    <a:pt x="2501" y="43"/>
                  </a:lnTo>
                  <a:lnTo>
                    <a:pt x="2520" y="66"/>
                  </a:lnTo>
                  <a:lnTo>
                    <a:pt x="2533" y="90"/>
                  </a:lnTo>
                  <a:lnTo>
                    <a:pt x="2542" y="118"/>
                  </a:lnTo>
                  <a:lnTo>
                    <a:pt x="2545" y="148"/>
                  </a:lnTo>
                  <a:lnTo>
                    <a:pt x="2545" y="369"/>
                  </a:lnTo>
                  <a:lnTo>
                    <a:pt x="2246" y="885"/>
                  </a:lnTo>
                  <a:lnTo>
                    <a:pt x="2246" y="297"/>
                  </a:lnTo>
                  <a:lnTo>
                    <a:pt x="300" y="297"/>
                  </a:lnTo>
                  <a:lnTo>
                    <a:pt x="300" y="2973"/>
                  </a:lnTo>
                  <a:lnTo>
                    <a:pt x="2246" y="2973"/>
                  </a:lnTo>
                  <a:lnTo>
                    <a:pt x="2246" y="2603"/>
                  </a:lnTo>
                  <a:lnTo>
                    <a:pt x="2403" y="2500"/>
                  </a:lnTo>
                  <a:lnTo>
                    <a:pt x="2430" y="2478"/>
                  </a:lnTo>
                  <a:lnTo>
                    <a:pt x="2454" y="2453"/>
                  </a:lnTo>
                  <a:lnTo>
                    <a:pt x="2474" y="2425"/>
                  </a:lnTo>
                  <a:lnTo>
                    <a:pt x="2545" y="2302"/>
                  </a:lnTo>
                  <a:lnTo>
                    <a:pt x="2545" y="3122"/>
                  </a:lnTo>
                  <a:lnTo>
                    <a:pt x="2542" y="3151"/>
                  </a:lnTo>
                  <a:lnTo>
                    <a:pt x="2533" y="3179"/>
                  </a:lnTo>
                  <a:lnTo>
                    <a:pt x="2520" y="3205"/>
                  </a:lnTo>
                  <a:lnTo>
                    <a:pt x="2501" y="3226"/>
                  </a:lnTo>
                  <a:lnTo>
                    <a:pt x="2479" y="3245"/>
                  </a:lnTo>
                  <a:lnTo>
                    <a:pt x="2453" y="3258"/>
                  </a:lnTo>
                  <a:lnTo>
                    <a:pt x="2425" y="3268"/>
                  </a:lnTo>
                  <a:lnTo>
                    <a:pt x="2395" y="3271"/>
                  </a:lnTo>
                  <a:lnTo>
                    <a:pt x="150" y="3271"/>
                  </a:lnTo>
                  <a:lnTo>
                    <a:pt x="120" y="3268"/>
                  </a:lnTo>
                  <a:lnTo>
                    <a:pt x="92" y="3258"/>
                  </a:lnTo>
                  <a:lnTo>
                    <a:pt x="66" y="3245"/>
                  </a:lnTo>
                  <a:lnTo>
                    <a:pt x="44" y="3226"/>
                  </a:lnTo>
                  <a:lnTo>
                    <a:pt x="26" y="3205"/>
                  </a:lnTo>
                  <a:lnTo>
                    <a:pt x="12" y="3179"/>
                  </a:lnTo>
                  <a:lnTo>
                    <a:pt x="3" y="3151"/>
                  </a:lnTo>
                  <a:lnTo>
                    <a:pt x="0" y="3122"/>
                  </a:lnTo>
                  <a:lnTo>
                    <a:pt x="0" y="148"/>
                  </a:lnTo>
                  <a:lnTo>
                    <a:pt x="3" y="118"/>
                  </a:lnTo>
                  <a:lnTo>
                    <a:pt x="12" y="90"/>
                  </a:lnTo>
                  <a:lnTo>
                    <a:pt x="26" y="66"/>
                  </a:lnTo>
                  <a:lnTo>
                    <a:pt x="44" y="43"/>
                  </a:lnTo>
                  <a:lnTo>
                    <a:pt x="66" y="26"/>
                  </a:lnTo>
                  <a:lnTo>
                    <a:pt x="92" y="11"/>
                  </a:lnTo>
                  <a:lnTo>
                    <a:pt x="120" y="3"/>
                  </a:lnTo>
                  <a:lnTo>
                    <a:pt x="1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dirty="0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46" name="Freeform 1042">
              <a:extLst>
                <a:ext uri="{FF2B5EF4-FFF2-40B4-BE49-F238E27FC236}">
                  <a16:creationId xmlns:a16="http://schemas.microsoft.com/office/drawing/2014/main" id="{FEBBD76B-9381-B626-CA21-2A3616959C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05" y="-1855"/>
              <a:ext cx="393" cy="586"/>
            </a:xfrm>
            <a:custGeom>
              <a:avLst/>
              <a:gdLst>
                <a:gd name="T0" fmla="*/ 130 w 1574"/>
                <a:gd name="T1" fmla="*/ 1973 h 2342"/>
                <a:gd name="T2" fmla="*/ 221 w 1574"/>
                <a:gd name="T3" fmla="*/ 2017 h 2342"/>
                <a:gd name="T4" fmla="*/ 305 w 1574"/>
                <a:gd name="T5" fmla="*/ 2073 h 2342"/>
                <a:gd name="T6" fmla="*/ 434 w 1574"/>
                <a:gd name="T7" fmla="*/ 1957 h 2342"/>
                <a:gd name="T8" fmla="*/ 385 w 1574"/>
                <a:gd name="T9" fmla="*/ 1912 h 2342"/>
                <a:gd name="T10" fmla="*/ 311 w 1574"/>
                <a:gd name="T11" fmla="*/ 1861 h 2342"/>
                <a:gd name="T12" fmla="*/ 242 w 1574"/>
                <a:gd name="T13" fmla="*/ 1827 h 2342"/>
                <a:gd name="T14" fmla="*/ 186 w 1574"/>
                <a:gd name="T15" fmla="*/ 1808 h 2342"/>
                <a:gd name="T16" fmla="*/ 140 w 1574"/>
                <a:gd name="T17" fmla="*/ 1799 h 2342"/>
                <a:gd name="T18" fmla="*/ 1106 w 1574"/>
                <a:gd name="T19" fmla="*/ 0 h 2342"/>
                <a:gd name="T20" fmla="*/ 1161 w 1574"/>
                <a:gd name="T21" fmla="*/ 7 h 2342"/>
                <a:gd name="T22" fmla="*/ 1227 w 1574"/>
                <a:gd name="T23" fmla="*/ 25 h 2342"/>
                <a:gd name="T24" fmla="*/ 1305 w 1574"/>
                <a:gd name="T25" fmla="*/ 56 h 2342"/>
                <a:gd name="T26" fmla="*/ 1391 w 1574"/>
                <a:gd name="T27" fmla="*/ 107 h 2342"/>
                <a:gd name="T28" fmla="*/ 1462 w 1574"/>
                <a:gd name="T29" fmla="*/ 161 h 2342"/>
                <a:gd name="T30" fmla="*/ 1512 w 1574"/>
                <a:gd name="T31" fmla="*/ 213 h 2342"/>
                <a:gd name="T32" fmla="*/ 1544 w 1574"/>
                <a:gd name="T33" fmla="*/ 258 h 2342"/>
                <a:gd name="T34" fmla="*/ 1562 w 1574"/>
                <a:gd name="T35" fmla="*/ 294 h 2342"/>
                <a:gd name="T36" fmla="*/ 1571 w 1574"/>
                <a:gd name="T37" fmla="*/ 316 h 2342"/>
                <a:gd name="T38" fmla="*/ 1574 w 1574"/>
                <a:gd name="T39" fmla="*/ 340 h 2342"/>
                <a:gd name="T40" fmla="*/ 1563 w 1574"/>
                <a:gd name="T41" fmla="*/ 375 h 2342"/>
                <a:gd name="T42" fmla="*/ 618 w 1574"/>
                <a:gd name="T43" fmla="*/ 1998 h 2342"/>
                <a:gd name="T44" fmla="*/ 115 w 1574"/>
                <a:gd name="T45" fmla="*/ 2330 h 2342"/>
                <a:gd name="T46" fmla="*/ 77 w 1574"/>
                <a:gd name="T47" fmla="*/ 2342 h 2342"/>
                <a:gd name="T48" fmla="*/ 36 w 1574"/>
                <a:gd name="T49" fmla="*/ 2332 h 2342"/>
                <a:gd name="T50" fmla="*/ 13 w 1574"/>
                <a:gd name="T51" fmla="*/ 2311 h 2342"/>
                <a:gd name="T52" fmla="*/ 0 w 1574"/>
                <a:gd name="T53" fmla="*/ 2280 h 2342"/>
                <a:gd name="T54" fmla="*/ 34 w 1574"/>
                <a:gd name="T55" fmla="*/ 1683 h 2342"/>
                <a:gd name="T56" fmla="*/ 45 w 1574"/>
                <a:gd name="T57" fmla="*/ 1651 h 2342"/>
                <a:gd name="T58" fmla="*/ 991 w 1574"/>
                <a:gd name="T59" fmla="*/ 27 h 2342"/>
                <a:gd name="T60" fmla="*/ 1023 w 1574"/>
                <a:gd name="T61" fmla="*/ 7 h 2342"/>
                <a:gd name="T62" fmla="*/ 1036 w 1574"/>
                <a:gd name="T63" fmla="*/ 4 h 2342"/>
                <a:gd name="T64" fmla="*/ 1064 w 1574"/>
                <a:gd name="T65" fmla="*/ 0 h 2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74" h="2342">
                  <a:moveTo>
                    <a:pt x="140" y="1799"/>
                  </a:moveTo>
                  <a:lnTo>
                    <a:pt x="130" y="1973"/>
                  </a:lnTo>
                  <a:lnTo>
                    <a:pt x="175" y="1993"/>
                  </a:lnTo>
                  <a:lnTo>
                    <a:pt x="221" y="2017"/>
                  </a:lnTo>
                  <a:lnTo>
                    <a:pt x="264" y="2043"/>
                  </a:lnTo>
                  <a:lnTo>
                    <a:pt x="305" y="2073"/>
                  </a:lnTo>
                  <a:lnTo>
                    <a:pt x="451" y="1976"/>
                  </a:lnTo>
                  <a:lnTo>
                    <a:pt x="434" y="1957"/>
                  </a:lnTo>
                  <a:lnTo>
                    <a:pt x="412" y="1935"/>
                  </a:lnTo>
                  <a:lnTo>
                    <a:pt x="385" y="1912"/>
                  </a:lnTo>
                  <a:lnTo>
                    <a:pt x="351" y="1887"/>
                  </a:lnTo>
                  <a:lnTo>
                    <a:pt x="311" y="1861"/>
                  </a:lnTo>
                  <a:lnTo>
                    <a:pt x="276" y="1843"/>
                  </a:lnTo>
                  <a:lnTo>
                    <a:pt x="242" y="1827"/>
                  </a:lnTo>
                  <a:lnTo>
                    <a:pt x="212" y="1816"/>
                  </a:lnTo>
                  <a:lnTo>
                    <a:pt x="186" y="1808"/>
                  </a:lnTo>
                  <a:lnTo>
                    <a:pt x="162" y="1803"/>
                  </a:lnTo>
                  <a:lnTo>
                    <a:pt x="140" y="1799"/>
                  </a:lnTo>
                  <a:close/>
                  <a:moveTo>
                    <a:pt x="1083" y="0"/>
                  </a:moveTo>
                  <a:lnTo>
                    <a:pt x="1106" y="0"/>
                  </a:lnTo>
                  <a:lnTo>
                    <a:pt x="1132" y="2"/>
                  </a:lnTo>
                  <a:lnTo>
                    <a:pt x="1161" y="7"/>
                  </a:lnTo>
                  <a:lnTo>
                    <a:pt x="1192" y="14"/>
                  </a:lnTo>
                  <a:lnTo>
                    <a:pt x="1227" y="25"/>
                  </a:lnTo>
                  <a:lnTo>
                    <a:pt x="1264" y="39"/>
                  </a:lnTo>
                  <a:lnTo>
                    <a:pt x="1305" y="56"/>
                  </a:lnTo>
                  <a:lnTo>
                    <a:pt x="1347" y="80"/>
                  </a:lnTo>
                  <a:lnTo>
                    <a:pt x="1391" y="107"/>
                  </a:lnTo>
                  <a:lnTo>
                    <a:pt x="1430" y="135"/>
                  </a:lnTo>
                  <a:lnTo>
                    <a:pt x="1462" y="161"/>
                  </a:lnTo>
                  <a:lnTo>
                    <a:pt x="1489" y="188"/>
                  </a:lnTo>
                  <a:lnTo>
                    <a:pt x="1512" y="213"/>
                  </a:lnTo>
                  <a:lnTo>
                    <a:pt x="1529" y="236"/>
                  </a:lnTo>
                  <a:lnTo>
                    <a:pt x="1544" y="258"/>
                  </a:lnTo>
                  <a:lnTo>
                    <a:pt x="1554" y="277"/>
                  </a:lnTo>
                  <a:lnTo>
                    <a:pt x="1562" y="294"/>
                  </a:lnTo>
                  <a:lnTo>
                    <a:pt x="1567" y="307"/>
                  </a:lnTo>
                  <a:lnTo>
                    <a:pt x="1571" y="316"/>
                  </a:lnTo>
                  <a:lnTo>
                    <a:pt x="1572" y="322"/>
                  </a:lnTo>
                  <a:lnTo>
                    <a:pt x="1574" y="340"/>
                  </a:lnTo>
                  <a:lnTo>
                    <a:pt x="1571" y="359"/>
                  </a:lnTo>
                  <a:lnTo>
                    <a:pt x="1563" y="375"/>
                  </a:lnTo>
                  <a:lnTo>
                    <a:pt x="628" y="1985"/>
                  </a:lnTo>
                  <a:lnTo>
                    <a:pt x="618" y="1998"/>
                  </a:lnTo>
                  <a:lnTo>
                    <a:pt x="605" y="2009"/>
                  </a:lnTo>
                  <a:lnTo>
                    <a:pt x="115" y="2330"/>
                  </a:lnTo>
                  <a:lnTo>
                    <a:pt x="97" y="2339"/>
                  </a:lnTo>
                  <a:lnTo>
                    <a:pt x="77" y="2342"/>
                  </a:lnTo>
                  <a:lnTo>
                    <a:pt x="56" y="2340"/>
                  </a:lnTo>
                  <a:lnTo>
                    <a:pt x="36" y="2332"/>
                  </a:lnTo>
                  <a:lnTo>
                    <a:pt x="23" y="2323"/>
                  </a:lnTo>
                  <a:lnTo>
                    <a:pt x="13" y="2311"/>
                  </a:lnTo>
                  <a:lnTo>
                    <a:pt x="5" y="2296"/>
                  </a:lnTo>
                  <a:lnTo>
                    <a:pt x="0" y="2280"/>
                  </a:lnTo>
                  <a:lnTo>
                    <a:pt x="0" y="2263"/>
                  </a:lnTo>
                  <a:lnTo>
                    <a:pt x="34" y="1683"/>
                  </a:lnTo>
                  <a:lnTo>
                    <a:pt x="38" y="1666"/>
                  </a:lnTo>
                  <a:lnTo>
                    <a:pt x="45" y="1651"/>
                  </a:lnTo>
                  <a:lnTo>
                    <a:pt x="981" y="41"/>
                  </a:lnTo>
                  <a:lnTo>
                    <a:pt x="991" y="27"/>
                  </a:lnTo>
                  <a:lnTo>
                    <a:pt x="1005" y="15"/>
                  </a:lnTo>
                  <a:lnTo>
                    <a:pt x="1023" y="7"/>
                  </a:lnTo>
                  <a:lnTo>
                    <a:pt x="1027" y="6"/>
                  </a:lnTo>
                  <a:lnTo>
                    <a:pt x="1036" y="4"/>
                  </a:lnTo>
                  <a:lnTo>
                    <a:pt x="1049" y="2"/>
                  </a:lnTo>
                  <a:lnTo>
                    <a:pt x="1064" y="0"/>
                  </a:lnTo>
                  <a:lnTo>
                    <a:pt x="10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47" name="Freeform 1043">
              <a:extLst>
                <a:ext uri="{FF2B5EF4-FFF2-40B4-BE49-F238E27FC236}">
                  <a16:creationId xmlns:a16="http://schemas.microsoft.com/office/drawing/2014/main" id="{4CD55E84-9C3D-0DE8-CAF1-3FC02F904B9C}"/>
                </a:ext>
              </a:extLst>
            </p:cNvPr>
            <p:cNvSpPr/>
            <p:nvPr/>
          </p:nvSpPr>
          <p:spPr bwMode="auto">
            <a:xfrm>
              <a:off x="9995" y="-1385"/>
              <a:ext cx="286" cy="146"/>
            </a:xfrm>
            <a:custGeom>
              <a:avLst/>
              <a:gdLst>
                <a:gd name="T0" fmla="*/ 551 w 1143"/>
                <a:gd name="T1" fmla="*/ 5 h 585"/>
                <a:gd name="T2" fmla="*/ 577 w 1143"/>
                <a:gd name="T3" fmla="*/ 28 h 585"/>
                <a:gd name="T4" fmla="*/ 585 w 1143"/>
                <a:gd name="T5" fmla="*/ 110 h 585"/>
                <a:gd name="T6" fmla="*/ 554 w 1143"/>
                <a:gd name="T7" fmla="*/ 197 h 585"/>
                <a:gd name="T8" fmla="*/ 563 w 1143"/>
                <a:gd name="T9" fmla="*/ 239 h 585"/>
                <a:gd name="T10" fmla="*/ 581 w 1143"/>
                <a:gd name="T11" fmla="*/ 267 h 585"/>
                <a:gd name="T12" fmla="*/ 631 w 1143"/>
                <a:gd name="T13" fmla="*/ 275 h 585"/>
                <a:gd name="T14" fmla="*/ 674 w 1143"/>
                <a:gd name="T15" fmla="*/ 319 h 585"/>
                <a:gd name="T16" fmla="*/ 685 w 1143"/>
                <a:gd name="T17" fmla="*/ 353 h 585"/>
                <a:gd name="T18" fmla="*/ 838 w 1143"/>
                <a:gd name="T19" fmla="*/ 347 h 585"/>
                <a:gd name="T20" fmla="*/ 986 w 1143"/>
                <a:gd name="T21" fmla="*/ 362 h 585"/>
                <a:gd name="T22" fmla="*/ 1106 w 1143"/>
                <a:gd name="T23" fmla="*/ 369 h 585"/>
                <a:gd name="T24" fmla="*/ 1137 w 1143"/>
                <a:gd name="T25" fmla="*/ 396 h 585"/>
                <a:gd name="T26" fmla="*/ 1142 w 1143"/>
                <a:gd name="T27" fmla="*/ 436 h 585"/>
                <a:gd name="T28" fmla="*/ 1119 w 1143"/>
                <a:gd name="T29" fmla="*/ 470 h 585"/>
                <a:gd name="T30" fmla="*/ 1055 w 1143"/>
                <a:gd name="T31" fmla="*/ 477 h 585"/>
                <a:gd name="T32" fmla="*/ 946 w 1143"/>
                <a:gd name="T33" fmla="*/ 461 h 585"/>
                <a:gd name="T34" fmla="*/ 834 w 1143"/>
                <a:gd name="T35" fmla="*/ 447 h 585"/>
                <a:gd name="T36" fmla="*/ 730 w 1143"/>
                <a:gd name="T37" fmla="*/ 456 h 585"/>
                <a:gd name="T38" fmla="*/ 672 w 1143"/>
                <a:gd name="T39" fmla="*/ 481 h 585"/>
                <a:gd name="T40" fmla="*/ 630 w 1143"/>
                <a:gd name="T41" fmla="*/ 486 h 585"/>
                <a:gd name="T42" fmla="*/ 596 w 1143"/>
                <a:gd name="T43" fmla="*/ 472 h 585"/>
                <a:gd name="T44" fmla="*/ 571 w 1143"/>
                <a:gd name="T45" fmla="*/ 449 h 585"/>
                <a:gd name="T46" fmla="*/ 565 w 1143"/>
                <a:gd name="T47" fmla="*/ 403 h 585"/>
                <a:gd name="T48" fmla="*/ 531 w 1143"/>
                <a:gd name="T49" fmla="*/ 452 h 585"/>
                <a:gd name="T50" fmla="*/ 490 w 1143"/>
                <a:gd name="T51" fmla="*/ 465 h 585"/>
                <a:gd name="T52" fmla="*/ 450 w 1143"/>
                <a:gd name="T53" fmla="*/ 451 h 585"/>
                <a:gd name="T54" fmla="*/ 435 w 1143"/>
                <a:gd name="T55" fmla="*/ 414 h 585"/>
                <a:gd name="T56" fmla="*/ 445 w 1143"/>
                <a:gd name="T57" fmla="*/ 385 h 585"/>
                <a:gd name="T58" fmla="*/ 454 w 1143"/>
                <a:gd name="T59" fmla="*/ 365 h 585"/>
                <a:gd name="T60" fmla="*/ 417 w 1143"/>
                <a:gd name="T61" fmla="*/ 400 h 585"/>
                <a:gd name="T62" fmla="*/ 375 w 1143"/>
                <a:gd name="T63" fmla="*/ 423 h 585"/>
                <a:gd name="T64" fmla="*/ 331 w 1143"/>
                <a:gd name="T65" fmla="*/ 412 h 585"/>
                <a:gd name="T66" fmla="*/ 311 w 1143"/>
                <a:gd name="T67" fmla="*/ 375 h 585"/>
                <a:gd name="T68" fmla="*/ 360 w 1143"/>
                <a:gd name="T69" fmla="*/ 285 h 585"/>
                <a:gd name="T70" fmla="*/ 250 w 1143"/>
                <a:gd name="T71" fmla="*/ 388 h 585"/>
                <a:gd name="T72" fmla="*/ 95 w 1143"/>
                <a:gd name="T73" fmla="*/ 574 h 585"/>
                <a:gd name="T74" fmla="*/ 49 w 1143"/>
                <a:gd name="T75" fmla="*/ 584 h 585"/>
                <a:gd name="T76" fmla="*/ 9 w 1143"/>
                <a:gd name="T77" fmla="*/ 562 h 585"/>
                <a:gd name="T78" fmla="*/ 2 w 1143"/>
                <a:gd name="T79" fmla="*/ 521 h 585"/>
                <a:gd name="T80" fmla="*/ 137 w 1143"/>
                <a:gd name="T81" fmla="*/ 347 h 585"/>
                <a:gd name="T82" fmla="*/ 341 w 1143"/>
                <a:gd name="T83" fmla="*/ 122 h 585"/>
                <a:gd name="T84" fmla="*/ 395 w 1143"/>
                <a:gd name="T85" fmla="*/ 70 h 585"/>
                <a:gd name="T86" fmla="*/ 458 w 1143"/>
                <a:gd name="T87" fmla="*/ 20 h 585"/>
                <a:gd name="T88" fmla="*/ 528 w 1143"/>
                <a:gd name="T89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43" h="585">
                  <a:moveTo>
                    <a:pt x="528" y="0"/>
                  </a:moveTo>
                  <a:lnTo>
                    <a:pt x="539" y="2"/>
                  </a:lnTo>
                  <a:lnTo>
                    <a:pt x="551" y="5"/>
                  </a:lnTo>
                  <a:lnTo>
                    <a:pt x="561" y="10"/>
                  </a:lnTo>
                  <a:lnTo>
                    <a:pt x="571" y="18"/>
                  </a:lnTo>
                  <a:lnTo>
                    <a:pt x="577" y="28"/>
                  </a:lnTo>
                  <a:lnTo>
                    <a:pt x="585" y="53"/>
                  </a:lnTo>
                  <a:lnTo>
                    <a:pt x="587" y="81"/>
                  </a:lnTo>
                  <a:lnTo>
                    <a:pt x="585" y="110"/>
                  </a:lnTo>
                  <a:lnTo>
                    <a:pt x="578" y="139"/>
                  </a:lnTo>
                  <a:lnTo>
                    <a:pt x="567" y="168"/>
                  </a:lnTo>
                  <a:lnTo>
                    <a:pt x="554" y="197"/>
                  </a:lnTo>
                  <a:lnTo>
                    <a:pt x="537" y="227"/>
                  </a:lnTo>
                  <a:lnTo>
                    <a:pt x="551" y="232"/>
                  </a:lnTo>
                  <a:lnTo>
                    <a:pt x="563" y="239"/>
                  </a:lnTo>
                  <a:lnTo>
                    <a:pt x="573" y="252"/>
                  </a:lnTo>
                  <a:lnTo>
                    <a:pt x="577" y="260"/>
                  </a:lnTo>
                  <a:lnTo>
                    <a:pt x="581" y="267"/>
                  </a:lnTo>
                  <a:lnTo>
                    <a:pt x="597" y="266"/>
                  </a:lnTo>
                  <a:lnTo>
                    <a:pt x="614" y="269"/>
                  </a:lnTo>
                  <a:lnTo>
                    <a:pt x="631" y="275"/>
                  </a:lnTo>
                  <a:lnTo>
                    <a:pt x="646" y="286"/>
                  </a:lnTo>
                  <a:lnTo>
                    <a:pt x="661" y="300"/>
                  </a:lnTo>
                  <a:lnTo>
                    <a:pt x="674" y="319"/>
                  </a:lnTo>
                  <a:lnTo>
                    <a:pt x="681" y="334"/>
                  </a:lnTo>
                  <a:lnTo>
                    <a:pt x="684" y="345"/>
                  </a:lnTo>
                  <a:lnTo>
                    <a:pt x="685" y="353"/>
                  </a:lnTo>
                  <a:lnTo>
                    <a:pt x="738" y="347"/>
                  </a:lnTo>
                  <a:lnTo>
                    <a:pt x="789" y="346"/>
                  </a:lnTo>
                  <a:lnTo>
                    <a:pt x="838" y="347"/>
                  </a:lnTo>
                  <a:lnTo>
                    <a:pt x="887" y="351"/>
                  </a:lnTo>
                  <a:lnTo>
                    <a:pt x="936" y="356"/>
                  </a:lnTo>
                  <a:lnTo>
                    <a:pt x="986" y="362"/>
                  </a:lnTo>
                  <a:lnTo>
                    <a:pt x="1036" y="365"/>
                  </a:lnTo>
                  <a:lnTo>
                    <a:pt x="1089" y="367"/>
                  </a:lnTo>
                  <a:lnTo>
                    <a:pt x="1106" y="369"/>
                  </a:lnTo>
                  <a:lnTo>
                    <a:pt x="1119" y="375"/>
                  </a:lnTo>
                  <a:lnTo>
                    <a:pt x="1130" y="384"/>
                  </a:lnTo>
                  <a:lnTo>
                    <a:pt x="1137" y="396"/>
                  </a:lnTo>
                  <a:lnTo>
                    <a:pt x="1142" y="408"/>
                  </a:lnTo>
                  <a:lnTo>
                    <a:pt x="1143" y="422"/>
                  </a:lnTo>
                  <a:lnTo>
                    <a:pt x="1142" y="436"/>
                  </a:lnTo>
                  <a:lnTo>
                    <a:pt x="1137" y="449"/>
                  </a:lnTo>
                  <a:lnTo>
                    <a:pt x="1130" y="460"/>
                  </a:lnTo>
                  <a:lnTo>
                    <a:pt x="1119" y="470"/>
                  </a:lnTo>
                  <a:lnTo>
                    <a:pt x="1106" y="476"/>
                  </a:lnTo>
                  <a:lnTo>
                    <a:pt x="1089" y="478"/>
                  </a:lnTo>
                  <a:lnTo>
                    <a:pt x="1055" y="477"/>
                  </a:lnTo>
                  <a:lnTo>
                    <a:pt x="1020" y="473"/>
                  </a:lnTo>
                  <a:lnTo>
                    <a:pt x="983" y="467"/>
                  </a:lnTo>
                  <a:lnTo>
                    <a:pt x="946" y="461"/>
                  </a:lnTo>
                  <a:lnTo>
                    <a:pt x="909" y="455"/>
                  </a:lnTo>
                  <a:lnTo>
                    <a:pt x="872" y="450"/>
                  </a:lnTo>
                  <a:lnTo>
                    <a:pt x="834" y="447"/>
                  </a:lnTo>
                  <a:lnTo>
                    <a:pt x="798" y="446"/>
                  </a:lnTo>
                  <a:lnTo>
                    <a:pt x="763" y="449"/>
                  </a:lnTo>
                  <a:lnTo>
                    <a:pt x="730" y="456"/>
                  </a:lnTo>
                  <a:lnTo>
                    <a:pt x="698" y="469"/>
                  </a:lnTo>
                  <a:lnTo>
                    <a:pt x="685" y="475"/>
                  </a:lnTo>
                  <a:lnTo>
                    <a:pt x="672" y="481"/>
                  </a:lnTo>
                  <a:lnTo>
                    <a:pt x="657" y="486"/>
                  </a:lnTo>
                  <a:lnTo>
                    <a:pt x="644" y="488"/>
                  </a:lnTo>
                  <a:lnTo>
                    <a:pt x="630" y="486"/>
                  </a:lnTo>
                  <a:lnTo>
                    <a:pt x="619" y="482"/>
                  </a:lnTo>
                  <a:lnTo>
                    <a:pt x="608" y="477"/>
                  </a:lnTo>
                  <a:lnTo>
                    <a:pt x="596" y="472"/>
                  </a:lnTo>
                  <a:lnTo>
                    <a:pt x="586" y="465"/>
                  </a:lnTo>
                  <a:lnTo>
                    <a:pt x="578" y="458"/>
                  </a:lnTo>
                  <a:lnTo>
                    <a:pt x="571" y="449"/>
                  </a:lnTo>
                  <a:lnTo>
                    <a:pt x="566" y="437"/>
                  </a:lnTo>
                  <a:lnTo>
                    <a:pt x="565" y="418"/>
                  </a:lnTo>
                  <a:lnTo>
                    <a:pt x="565" y="403"/>
                  </a:lnTo>
                  <a:lnTo>
                    <a:pt x="554" y="422"/>
                  </a:lnTo>
                  <a:lnTo>
                    <a:pt x="542" y="441"/>
                  </a:lnTo>
                  <a:lnTo>
                    <a:pt x="531" y="452"/>
                  </a:lnTo>
                  <a:lnTo>
                    <a:pt x="519" y="460"/>
                  </a:lnTo>
                  <a:lnTo>
                    <a:pt x="504" y="464"/>
                  </a:lnTo>
                  <a:lnTo>
                    <a:pt x="490" y="465"/>
                  </a:lnTo>
                  <a:lnTo>
                    <a:pt x="475" y="463"/>
                  </a:lnTo>
                  <a:lnTo>
                    <a:pt x="462" y="458"/>
                  </a:lnTo>
                  <a:lnTo>
                    <a:pt x="450" y="451"/>
                  </a:lnTo>
                  <a:lnTo>
                    <a:pt x="441" y="441"/>
                  </a:lnTo>
                  <a:lnTo>
                    <a:pt x="436" y="428"/>
                  </a:lnTo>
                  <a:lnTo>
                    <a:pt x="435" y="414"/>
                  </a:lnTo>
                  <a:lnTo>
                    <a:pt x="439" y="398"/>
                  </a:lnTo>
                  <a:lnTo>
                    <a:pt x="442" y="391"/>
                  </a:lnTo>
                  <a:lnTo>
                    <a:pt x="445" y="385"/>
                  </a:lnTo>
                  <a:lnTo>
                    <a:pt x="445" y="385"/>
                  </a:lnTo>
                  <a:lnTo>
                    <a:pt x="444" y="385"/>
                  </a:lnTo>
                  <a:lnTo>
                    <a:pt x="454" y="365"/>
                  </a:lnTo>
                  <a:lnTo>
                    <a:pt x="440" y="374"/>
                  </a:lnTo>
                  <a:lnTo>
                    <a:pt x="428" y="385"/>
                  </a:lnTo>
                  <a:lnTo>
                    <a:pt x="417" y="400"/>
                  </a:lnTo>
                  <a:lnTo>
                    <a:pt x="405" y="412"/>
                  </a:lnTo>
                  <a:lnTo>
                    <a:pt x="390" y="420"/>
                  </a:lnTo>
                  <a:lnTo>
                    <a:pt x="375" y="423"/>
                  </a:lnTo>
                  <a:lnTo>
                    <a:pt x="359" y="423"/>
                  </a:lnTo>
                  <a:lnTo>
                    <a:pt x="345" y="419"/>
                  </a:lnTo>
                  <a:lnTo>
                    <a:pt x="331" y="412"/>
                  </a:lnTo>
                  <a:lnTo>
                    <a:pt x="321" y="402"/>
                  </a:lnTo>
                  <a:lnTo>
                    <a:pt x="314" y="389"/>
                  </a:lnTo>
                  <a:lnTo>
                    <a:pt x="311" y="375"/>
                  </a:lnTo>
                  <a:lnTo>
                    <a:pt x="313" y="360"/>
                  </a:lnTo>
                  <a:lnTo>
                    <a:pt x="320" y="343"/>
                  </a:lnTo>
                  <a:lnTo>
                    <a:pt x="360" y="285"/>
                  </a:lnTo>
                  <a:lnTo>
                    <a:pt x="400" y="224"/>
                  </a:lnTo>
                  <a:lnTo>
                    <a:pt x="323" y="305"/>
                  </a:lnTo>
                  <a:lnTo>
                    <a:pt x="250" y="388"/>
                  </a:lnTo>
                  <a:lnTo>
                    <a:pt x="177" y="475"/>
                  </a:lnTo>
                  <a:lnTo>
                    <a:pt x="108" y="562"/>
                  </a:lnTo>
                  <a:lnTo>
                    <a:pt x="95" y="574"/>
                  </a:lnTo>
                  <a:lnTo>
                    <a:pt x="80" y="582"/>
                  </a:lnTo>
                  <a:lnTo>
                    <a:pt x="64" y="585"/>
                  </a:lnTo>
                  <a:lnTo>
                    <a:pt x="49" y="584"/>
                  </a:lnTo>
                  <a:lnTo>
                    <a:pt x="33" y="580"/>
                  </a:lnTo>
                  <a:lnTo>
                    <a:pt x="21" y="572"/>
                  </a:lnTo>
                  <a:lnTo>
                    <a:pt x="9" y="562"/>
                  </a:lnTo>
                  <a:lnTo>
                    <a:pt x="2" y="550"/>
                  </a:lnTo>
                  <a:lnTo>
                    <a:pt x="0" y="535"/>
                  </a:lnTo>
                  <a:lnTo>
                    <a:pt x="2" y="521"/>
                  </a:lnTo>
                  <a:lnTo>
                    <a:pt x="12" y="506"/>
                  </a:lnTo>
                  <a:lnTo>
                    <a:pt x="74" y="426"/>
                  </a:lnTo>
                  <a:lnTo>
                    <a:pt x="137" y="347"/>
                  </a:lnTo>
                  <a:lnTo>
                    <a:pt x="202" y="270"/>
                  </a:lnTo>
                  <a:lnTo>
                    <a:pt x="270" y="194"/>
                  </a:lnTo>
                  <a:lnTo>
                    <a:pt x="341" y="122"/>
                  </a:lnTo>
                  <a:lnTo>
                    <a:pt x="357" y="106"/>
                  </a:lnTo>
                  <a:lnTo>
                    <a:pt x="376" y="88"/>
                  </a:lnTo>
                  <a:lnTo>
                    <a:pt x="395" y="70"/>
                  </a:lnTo>
                  <a:lnTo>
                    <a:pt x="414" y="51"/>
                  </a:lnTo>
                  <a:lnTo>
                    <a:pt x="435" y="35"/>
                  </a:lnTo>
                  <a:lnTo>
                    <a:pt x="458" y="20"/>
                  </a:lnTo>
                  <a:lnTo>
                    <a:pt x="480" y="9"/>
                  </a:lnTo>
                  <a:lnTo>
                    <a:pt x="504" y="2"/>
                  </a:lnTo>
                  <a:lnTo>
                    <a:pt x="5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</p:grpSp>
      <p:sp>
        <p:nvSpPr>
          <p:cNvPr id="18" name="Rectangle 30">
            <a:extLst>
              <a:ext uri="{FF2B5EF4-FFF2-40B4-BE49-F238E27FC236}">
                <a16:creationId xmlns:a16="http://schemas.microsoft.com/office/drawing/2014/main" id="{5C3B3CB3-681F-CE2C-C874-A875F280B9A5}"/>
              </a:ext>
            </a:extLst>
          </p:cNvPr>
          <p:cNvSpPr/>
          <p:nvPr/>
        </p:nvSpPr>
        <p:spPr>
          <a:xfrm>
            <a:off x="5513938" y="3266711"/>
            <a:ext cx="1807781" cy="193899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Intel</a:t>
            </a: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推出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5MHz 8088</a:t>
            </a: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微处理器，之后，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IBM</a:t>
            </a: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基于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8088</a:t>
            </a: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推出全球第一台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PC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itchFamily="34" charset="0"/>
              <a:sym typeface="+mn-ea"/>
            </a:endParaRPr>
          </a:p>
        </p:txBody>
      </p:sp>
      <p:grpSp>
        <p:nvGrpSpPr>
          <p:cNvPr id="19" name="Group 1036">
            <a:extLst>
              <a:ext uri="{FF2B5EF4-FFF2-40B4-BE49-F238E27FC236}">
                <a16:creationId xmlns:a16="http://schemas.microsoft.com/office/drawing/2014/main" id="{B7945C78-5184-8506-4A72-3881F96004C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44686" y="3883521"/>
            <a:ext cx="246521" cy="245024"/>
            <a:chOff x="9876" y="-1946"/>
            <a:chExt cx="822" cy="817"/>
          </a:xfrm>
          <a:solidFill>
            <a:schemeClr val="bg1"/>
          </a:solidFill>
        </p:grpSpPr>
        <p:sp>
          <p:nvSpPr>
            <p:cNvPr id="36" name="Freeform 1038">
              <a:extLst>
                <a:ext uri="{FF2B5EF4-FFF2-40B4-BE49-F238E27FC236}">
                  <a16:creationId xmlns:a16="http://schemas.microsoft.com/office/drawing/2014/main" id="{533E7442-3A40-98D2-8954-6305F52B66DE}"/>
                </a:ext>
              </a:extLst>
            </p:cNvPr>
            <p:cNvSpPr/>
            <p:nvPr/>
          </p:nvSpPr>
          <p:spPr bwMode="auto">
            <a:xfrm>
              <a:off x="10016" y="-1801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5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6 h 298"/>
                <a:gd name="T24" fmla="*/ 1396 w 1421"/>
                <a:gd name="T25" fmla="*/ 232 h 298"/>
                <a:gd name="T26" fmla="*/ 1378 w 1421"/>
                <a:gd name="T27" fmla="*/ 254 h 298"/>
                <a:gd name="T28" fmla="*/ 1356 w 1421"/>
                <a:gd name="T29" fmla="*/ 272 h 298"/>
                <a:gd name="T30" fmla="*/ 1330 w 1421"/>
                <a:gd name="T31" fmla="*/ 285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5 h 298"/>
                <a:gd name="T42" fmla="*/ 65 w 1421"/>
                <a:gd name="T43" fmla="*/ 272 h 298"/>
                <a:gd name="T44" fmla="*/ 44 w 1421"/>
                <a:gd name="T45" fmla="*/ 254 h 298"/>
                <a:gd name="T46" fmla="*/ 25 w 1421"/>
                <a:gd name="T47" fmla="*/ 232 h 298"/>
                <a:gd name="T48" fmla="*/ 11 w 1421"/>
                <a:gd name="T49" fmla="*/ 206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5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5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6"/>
                  </a:lnTo>
                  <a:lnTo>
                    <a:pt x="1396" y="232"/>
                  </a:lnTo>
                  <a:lnTo>
                    <a:pt x="1378" y="254"/>
                  </a:lnTo>
                  <a:lnTo>
                    <a:pt x="1356" y="272"/>
                  </a:lnTo>
                  <a:lnTo>
                    <a:pt x="1330" y="285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5"/>
                  </a:lnTo>
                  <a:lnTo>
                    <a:pt x="65" y="272"/>
                  </a:lnTo>
                  <a:lnTo>
                    <a:pt x="44" y="254"/>
                  </a:lnTo>
                  <a:lnTo>
                    <a:pt x="25" y="232"/>
                  </a:lnTo>
                  <a:lnTo>
                    <a:pt x="11" y="206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5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37" name="Freeform 1039">
              <a:extLst>
                <a:ext uri="{FF2B5EF4-FFF2-40B4-BE49-F238E27FC236}">
                  <a16:creationId xmlns:a16="http://schemas.microsoft.com/office/drawing/2014/main" id="{0B253F05-BACD-D362-5E57-6839A0B19983}"/>
                </a:ext>
              </a:extLst>
            </p:cNvPr>
            <p:cNvSpPr/>
            <p:nvPr/>
          </p:nvSpPr>
          <p:spPr bwMode="auto">
            <a:xfrm>
              <a:off x="10016" y="-1662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6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7 h 298"/>
                <a:gd name="T24" fmla="*/ 1396 w 1421"/>
                <a:gd name="T25" fmla="*/ 232 h 298"/>
                <a:gd name="T26" fmla="*/ 1378 w 1421"/>
                <a:gd name="T27" fmla="*/ 255 h 298"/>
                <a:gd name="T28" fmla="*/ 1356 w 1421"/>
                <a:gd name="T29" fmla="*/ 272 h 298"/>
                <a:gd name="T30" fmla="*/ 1330 w 1421"/>
                <a:gd name="T31" fmla="*/ 287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7 h 298"/>
                <a:gd name="T42" fmla="*/ 65 w 1421"/>
                <a:gd name="T43" fmla="*/ 272 h 298"/>
                <a:gd name="T44" fmla="*/ 44 w 1421"/>
                <a:gd name="T45" fmla="*/ 255 h 298"/>
                <a:gd name="T46" fmla="*/ 25 w 1421"/>
                <a:gd name="T47" fmla="*/ 232 h 298"/>
                <a:gd name="T48" fmla="*/ 11 w 1421"/>
                <a:gd name="T49" fmla="*/ 207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6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6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7"/>
                  </a:lnTo>
                  <a:lnTo>
                    <a:pt x="1396" y="232"/>
                  </a:lnTo>
                  <a:lnTo>
                    <a:pt x="1378" y="255"/>
                  </a:lnTo>
                  <a:lnTo>
                    <a:pt x="1356" y="272"/>
                  </a:lnTo>
                  <a:lnTo>
                    <a:pt x="1330" y="287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7"/>
                  </a:lnTo>
                  <a:lnTo>
                    <a:pt x="65" y="272"/>
                  </a:lnTo>
                  <a:lnTo>
                    <a:pt x="44" y="255"/>
                  </a:lnTo>
                  <a:lnTo>
                    <a:pt x="25" y="232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6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38" name="Freeform 1040">
              <a:extLst>
                <a:ext uri="{FF2B5EF4-FFF2-40B4-BE49-F238E27FC236}">
                  <a16:creationId xmlns:a16="http://schemas.microsoft.com/office/drawing/2014/main" id="{1AB08508-86C3-757B-4AD5-782B3652C29C}"/>
                </a:ext>
              </a:extLst>
            </p:cNvPr>
            <p:cNvSpPr/>
            <p:nvPr/>
          </p:nvSpPr>
          <p:spPr bwMode="auto">
            <a:xfrm>
              <a:off x="10016" y="-1522"/>
              <a:ext cx="215" cy="74"/>
            </a:xfrm>
            <a:custGeom>
              <a:avLst/>
              <a:gdLst>
                <a:gd name="T0" fmla="*/ 149 w 860"/>
                <a:gd name="T1" fmla="*/ 0 h 297"/>
                <a:gd name="T2" fmla="*/ 711 w 860"/>
                <a:gd name="T3" fmla="*/ 0 h 297"/>
                <a:gd name="T4" fmla="*/ 741 w 860"/>
                <a:gd name="T5" fmla="*/ 3 h 297"/>
                <a:gd name="T6" fmla="*/ 769 w 860"/>
                <a:gd name="T7" fmla="*/ 11 h 297"/>
                <a:gd name="T8" fmla="*/ 795 w 860"/>
                <a:gd name="T9" fmla="*/ 26 h 297"/>
                <a:gd name="T10" fmla="*/ 817 w 860"/>
                <a:gd name="T11" fmla="*/ 43 h 297"/>
                <a:gd name="T12" fmla="*/ 835 w 860"/>
                <a:gd name="T13" fmla="*/ 66 h 297"/>
                <a:gd name="T14" fmla="*/ 849 w 860"/>
                <a:gd name="T15" fmla="*/ 90 h 297"/>
                <a:gd name="T16" fmla="*/ 857 w 860"/>
                <a:gd name="T17" fmla="*/ 118 h 297"/>
                <a:gd name="T18" fmla="*/ 860 w 860"/>
                <a:gd name="T19" fmla="*/ 149 h 297"/>
                <a:gd name="T20" fmla="*/ 857 w 860"/>
                <a:gd name="T21" fmla="*/ 179 h 297"/>
                <a:gd name="T22" fmla="*/ 849 w 860"/>
                <a:gd name="T23" fmla="*/ 207 h 297"/>
                <a:gd name="T24" fmla="*/ 835 w 860"/>
                <a:gd name="T25" fmla="*/ 231 h 297"/>
                <a:gd name="T26" fmla="*/ 817 w 860"/>
                <a:gd name="T27" fmla="*/ 254 h 297"/>
                <a:gd name="T28" fmla="*/ 795 w 860"/>
                <a:gd name="T29" fmla="*/ 271 h 297"/>
                <a:gd name="T30" fmla="*/ 769 w 860"/>
                <a:gd name="T31" fmla="*/ 286 h 297"/>
                <a:gd name="T32" fmla="*/ 741 w 860"/>
                <a:gd name="T33" fmla="*/ 294 h 297"/>
                <a:gd name="T34" fmla="*/ 711 w 860"/>
                <a:gd name="T35" fmla="*/ 297 h 297"/>
                <a:gd name="T36" fmla="*/ 149 w 860"/>
                <a:gd name="T37" fmla="*/ 297 h 297"/>
                <a:gd name="T38" fmla="*/ 119 w 860"/>
                <a:gd name="T39" fmla="*/ 294 h 297"/>
                <a:gd name="T40" fmla="*/ 91 w 860"/>
                <a:gd name="T41" fmla="*/ 286 h 297"/>
                <a:gd name="T42" fmla="*/ 65 w 860"/>
                <a:gd name="T43" fmla="*/ 271 h 297"/>
                <a:gd name="T44" fmla="*/ 44 w 860"/>
                <a:gd name="T45" fmla="*/ 254 h 297"/>
                <a:gd name="T46" fmla="*/ 25 w 860"/>
                <a:gd name="T47" fmla="*/ 231 h 297"/>
                <a:gd name="T48" fmla="*/ 11 w 860"/>
                <a:gd name="T49" fmla="*/ 207 h 297"/>
                <a:gd name="T50" fmla="*/ 3 w 860"/>
                <a:gd name="T51" fmla="*/ 179 h 297"/>
                <a:gd name="T52" fmla="*/ 0 w 860"/>
                <a:gd name="T53" fmla="*/ 149 h 297"/>
                <a:gd name="T54" fmla="*/ 3 w 860"/>
                <a:gd name="T55" fmla="*/ 118 h 297"/>
                <a:gd name="T56" fmla="*/ 11 w 860"/>
                <a:gd name="T57" fmla="*/ 90 h 297"/>
                <a:gd name="T58" fmla="*/ 25 w 860"/>
                <a:gd name="T59" fmla="*/ 66 h 297"/>
                <a:gd name="T60" fmla="*/ 44 w 860"/>
                <a:gd name="T61" fmla="*/ 43 h 297"/>
                <a:gd name="T62" fmla="*/ 65 w 860"/>
                <a:gd name="T63" fmla="*/ 26 h 297"/>
                <a:gd name="T64" fmla="*/ 91 w 860"/>
                <a:gd name="T65" fmla="*/ 11 h 297"/>
                <a:gd name="T66" fmla="*/ 119 w 860"/>
                <a:gd name="T67" fmla="*/ 3 h 297"/>
                <a:gd name="T68" fmla="*/ 149 w 860"/>
                <a:gd name="T6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0" h="297">
                  <a:moveTo>
                    <a:pt x="149" y="0"/>
                  </a:moveTo>
                  <a:lnTo>
                    <a:pt x="711" y="0"/>
                  </a:lnTo>
                  <a:lnTo>
                    <a:pt x="741" y="3"/>
                  </a:lnTo>
                  <a:lnTo>
                    <a:pt x="769" y="11"/>
                  </a:lnTo>
                  <a:lnTo>
                    <a:pt x="795" y="26"/>
                  </a:lnTo>
                  <a:lnTo>
                    <a:pt x="817" y="43"/>
                  </a:lnTo>
                  <a:lnTo>
                    <a:pt x="835" y="66"/>
                  </a:lnTo>
                  <a:lnTo>
                    <a:pt x="849" y="90"/>
                  </a:lnTo>
                  <a:lnTo>
                    <a:pt x="857" y="118"/>
                  </a:lnTo>
                  <a:lnTo>
                    <a:pt x="860" y="149"/>
                  </a:lnTo>
                  <a:lnTo>
                    <a:pt x="857" y="179"/>
                  </a:lnTo>
                  <a:lnTo>
                    <a:pt x="849" y="207"/>
                  </a:lnTo>
                  <a:lnTo>
                    <a:pt x="835" y="231"/>
                  </a:lnTo>
                  <a:lnTo>
                    <a:pt x="817" y="254"/>
                  </a:lnTo>
                  <a:lnTo>
                    <a:pt x="795" y="271"/>
                  </a:lnTo>
                  <a:lnTo>
                    <a:pt x="769" y="286"/>
                  </a:lnTo>
                  <a:lnTo>
                    <a:pt x="741" y="294"/>
                  </a:lnTo>
                  <a:lnTo>
                    <a:pt x="711" y="297"/>
                  </a:lnTo>
                  <a:lnTo>
                    <a:pt x="149" y="297"/>
                  </a:lnTo>
                  <a:lnTo>
                    <a:pt x="119" y="294"/>
                  </a:lnTo>
                  <a:lnTo>
                    <a:pt x="91" y="286"/>
                  </a:lnTo>
                  <a:lnTo>
                    <a:pt x="65" y="271"/>
                  </a:lnTo>
                  <a:lnTo>
                    <a:pt x="44" y="254"/>
                  </a:lnTo>
                  <a:lnTo>
                    <a:pt x="25" y="231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8"/>
                  </a:lnTo>
                  <a:lnTo>
                    <a:pt x="11" y="90"/>
                  </a:lnTo>
                  <a:lnTo>
                    <a:pt x="25" y="66"/>
                  </a:lnTo>
                  <a:lnTo>
                    <a:pt x="44" y="43"/>
                  </a:lnTo>
                  <a:lnTo>
                    <a:pt x="65" y="26"/>
                  </a:lnTo>
                  <a:lnTo>
                    <a:pt x="91" y="11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39" name="Freeform 1041">
              <a:extLst>
                <a:ext uri="{FF2B5EF4-FFF2-40B4-BE49-F238E27FC236}">
                  <a16:creationId xmlns:a16="http://schemas.microsoft.com/office/drawing/2014/main" id="{8643D5E0-433D-D8F1-1C72-77FC2A6A23D2}"/>
                </a:ext>
              </a:extLst>
            </p:cNvPr>
            <p:cNvSpPr/>
            <p:nvPr/>
          </p:nvSpPr>
          <p:spPr bwMode="auto">
            <a:xfrm>
              <a:off x="9876" y="-1946"/>
              <a:ext cx="636" cy="817"/>
            </a:xfrm>
            <a:custGeom>
              <a:avLst/>
              <a:gdLst>
                <a:gd name="T0" fmla="*/ 150 w 2545"/>
                <a:gd name="T1" fmla="*/ 0 h 3271"/>
                <a:gd name="T2" fmla="*/ 2395 w 2545"/>
                <a:gd name="T3" fmla="*/ 0 h 3271"/>
                <a:gd name="T4" fmla="*/ 2425 w 2545"/>
                <a:gd name="T5" fmla="*/ 3 h 3271"/>
                <a:gd name="T6" fmla="*/ 2453 w 2545"/>
                <a:gd name="T7" fmla="*/ 11 h 3271"/>
                <a:gd name="T8" fmla="*/ 2479 w 2545"/>
                <a:gd name="T9" fmla="*/ 26 h 3271"/>
                <a:gd name="T10" fmla="*/ 2501 w 2545"/>
                <a:gd name="T11" fmla="*/ 43 h 3271"/>
                <a:gd name="T12" fmla="*/ 2520 w 2545"/>
                <a:gd name="T13" fmla="*/ 66 h 3271"/>
                <a:gd name="T14" fmla="*/ 2533 w 2545"/>
                <a:gd name="T15" fmla="*/ 90 h 3271"/>
                <a:gd name="T16" fmla="*/ 2542 w 2545"/>
                <a:gd name="T17" fmla="*/ 118 h 3271"/>
                <a:gd name="T18" fmla="*/ 2545 w 2545"/>
                <a:gd name="T19" fmla="*/ 148 h 3271"/>
                <a:gd name="T20" fmla="*/ 2545 w 2545"/>
                <a:gd name="T21" fmla="*/ 369 h 3271"/>
                <a:gd name="T22" fmla="*/ 2246 w 2545"/>
                <a:gd name="T23" fmla="*/ 885 h 3271"/>
                <a:gd name="T24" fmla="*/ 2246 w 2545"/>
                <a:gd name="T25" fmla="*/ 297 h 3271"/>
                <a:gd name="T26" fmla="*/ 300 w 2545"/>
                <a:gd name="T27" fmla="*/ 297 h 3271"/>
                <a:gd name="T28" fmla="*/ 300 w 2545"/>
                <a:gd name="T29" fmla="*/ 2973 h 3271"/>
                <a:gd name="T30" fmla="*/ 2246 w 2545"/>
                <a:gd name="T31" fmla="*/ 2973 h 3271"/>
                <a:gd name="T32" fmla="*/ 2246 w 2545"/>
                <a:gd name="T33" fmla="*/ 2603 h 3271"/>
                <a:gd name="T34" fmla="*/ 2403 w 2545"/>
                <a:gd name="T35" fmla="*/ 2500 h 3271"/>
                <a:gd name="T36" fmla="*/ 2430 w 2545"/>
                <a:gd name="T37" fmla="*/ 2478 h 3271"/>
                <a:gd name="T38" fmla="*/ 2454 w 2545"/>
                <a:gd name="T39" fmla="*/ 2453 h 3271"/>
                <a:gd name="T40" fmla="*/ 2474 w 2545"/>
                <a:gd name="T41" fmla="*/ 2425 h 3271"/>
                <a:gd name="T42" fmla="*/ 2545 w 2545"/>
                <a:gd name="T43" fmla="*/ 2302 h 3271"/>
                <a:gd name="T44" fmla="*/ 2545 w 2545"/>
                <a:gd name="T45" fmla="*/ 3122 h 3271"/>
                <a:gd name="T46" fmla="*/ 2542 w 2545"/>
                <a:gd name="T47" fmla="*/ 3151 h 3271"/>
                <a:gd name="T48" fmla="*/ 2533 w 2545"/>
                <a:gd name="T49" fmla="*/ 3179 h 3271"/>
                <a:gd name="T50" fmla="*/ 2520 w 2545"/>
                <a:gd name="T51" fmla="*/ 3205 h 3271"/>
                <a:gd name="T52" fmla="*/ 2501 w 2545"/>
                <a:gd name="T53" fmla="*/ 3226 h 3271"/>
                <a:gd name="T54" fmla="*/ 2479 w 2545"/>
                <a:gd name="T55" fmla="*/ 3245 h 3271"/>
                <a:gd name="T56" fmla="*/ 2453 w 2545"/>
                <a:gd name="T57" fmla="*/ 3258 h 3271"/>
                <a:gd name="T58" fmla="*/ 2425 w 2545"/>
                <a:gd name="T59" fmla="*/ 3268 h 3271"/>
                <a:gd name="T60" fmla="*/ 2395 w 2545"/>
                <a:gd name="T61" fmla="*/ 3271 h 3271"/>
                <a:gd name="T62" fmla="*/ 150 w 2545"/>
                <a:gd name="T63" fmla="*/ 3271 h 3271"/>
                <a:gd name="T64" fmla="*/ 120 w 2545"/>
                <a:gd name="T65" fmla="*/ 3268 h 3271"/>
                <a:gd name="T66" fmla="*/ 92 w 2545"/>
                <a:gd name="T67" fmla="*/ 3258 h 3271"/>
                <a:gd name="T68" fmla="*/ 66 w 2545"/>
                <a:gd name="T69" fmla="*/ 3245 h 3271"/>
                <a:gd name="T70" fmla="*/ 44 w 2545"/>
                <a:gd name="T71" fmla="*/ 3226 h 3271"/>
                <a:gd name="T72" fmla="*/ 26 w 2545"/>
                <a:gd name="T73" fmla="*/ 3205 h 3271"/>
                <a:gd name="T74" fmla="*/ 12 w 2545"/>
                <a:gd name="T75" fmla="*/ 3179 h 3271"/>
                <a:gd name="T76" fmla="*/ 3 w 2545"/>
                <a:gd name="T77" fmla="*/ 3151 h 3271"/>
                <a:gd name="T78" fmla="*/ 0 w 2545"/>
                <a:gd name="T79" fmla="*/ 3122 h 3271"/>
                <a:gd name="T80" fmla="*/ 0 w 2545"/>
                <a:gd name="T81" fmla="*/ 148 h 3271"/>
                <a:gd name="T82" fmla="*/ 3 w 2545"/>
                <a:gd name="T83" fmla="*/ 118 h 3271"/>
                <a:gd name="T84" fmla="*/ 12 w 2545"/>
                <a:gd name="T85" fmla="*/ 90 h 3271"/>
                <a:gd name="T86" fmla="*/ 26 w 2545"/>
                <a:gd name="T87" fmla="*/ 66 h 3271"/>
                <a:gd name="T88" fmla="*/ 44 w 2545"/>
                <a:gd name="T89" fmla="*/ 43 h 3271"/>
                <a:gd name="T90" fmla="*/ 66 w 2545"/>
                <a:gd name="T91" fmla="*/ 26 h 3271"/>
                <a:gd name="T92" fmla="*/ 92 w 2545"/>
                <a:gd name="T93" fmla="*/ 11 h 3271"/>
                <a:gd name="T94" fmla="*/ 120 w 2545"/>
                <a:gd name="T95" fmla="*/ 3 h 3271"/>
                <a:gd name="T96" fmla="*/ 150 w 2545"/>
                <a:gd name="T97" fmla="*/ 0 h 3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45" h="3271">
                  <a:moveTo>
                    <a:pt x="150" y="0"/>
                  </a:moveTo>
                  <a:lnTo>
                    <a:pt x="2395" y="0"/>
                  </a:lnTo>
                  <a:lnTo>
                    <a:pt x="2425" y="3"/>
                  </a:lnTo>
                  <a:lnTo>
                    <a:pt x="2453" y="11"/>
                  </a:lnTo>
                  <a:lnTo>
                    <a:pt x="2479" y="26"/>
                  </a:lnTo>
                  <a:lnTo>
                    <a:pt x="2501" y="43"/>
                  </a:lnTo>
                  <a:lnTo>
                    <a:pt x="2520" y="66"/>
                  </a:lnTo>
                  <a:lnTo>
                    <a:pt x="2533" y="90"/>
                  </a:lnTo>
                  <a:lnTo>
                    <a:pt x="2542" y="118"/>
                  </a:lnTo>
                  <a:lnTo>
                    <a:pt x="2545" y="148"/>
                  </a:lnTo>
                  <a:lnTo>
                    <a:pt x="2545" y="369"/>
                  </a:lnTo>
                  <a:lnTo>
                    <a:pt x="2246" y="885"/>
                  </a:lnTo>
                  <a:lnTo>
                    <a:pt x="2246" y="297"/>
                  </a:lnTo>
                  <a:lnTo>
                    <a:pt x="300" y="297"/>
                  </a:lnTo>
                  <a:lnTo>
                    <a:pt x="300" y="2973"/>
                  </a:lnTo>
                  <a:lnTo>
                    <a:pt x="2246" y="2973"/>
                  </a:lnTo>
                  <a:lnTo>
                    <a:pt x="2246" y="2603"/>
                  </a:lnTo>
                  <a:lnTo>
                    <a:pt x="2403" y="2500"/>
                  </a:lnTo>
                  <a:lnTo>
                    <a:pt x="2430" y="2478"/>
                  </a:lnTo>
                  <a:lnTo>
                    <a:pt x="2454" y="2453"/>
                  </a:lnTo>
                  <a:lnTo>
                    <a:pt x="2474" y="2425"/>
                  </a:lnTo>
                  <a:lnTo>
                    <a:pt x="2545" y="2302"/>
                  </a:lnTo>
                  <a:lnTo>
                    <a:pt x="2545" y="3122"/>
                  </a:lnTo>
                  <a:lnTo>
                    <a:pt x="2542" y="3151"/>
                  </a:lnTo>
                  <a:lnTo>
                    <a:pt x="2533" y="3179"/>
                  </a:lnTo>
                  <a:lnTo>
                    <a:pt x="2520" y="3205"/>
                  </a:lnTo>
                  <a:lnTo>
                    <a:pt x="2501" y="3226"/>
                  </a:lnTo>
                  <a:lnTo>
                    <a:pt x="2479" y="3245"/>
                  </a:lnTo>
                  <a:lnTo>
                    <a:pt x="2453" y="3258"/>
                  </a:lnTo>
                  <a:lnTo>
                    <a:pt x="2425" y="3268"/>
                  </a:lnTo>
                  <a:lnTo>
                    <a:pt x="2395" y="3271"/>
                  </a:lnTo>
                  <a:lnTo>
                    <a:pt x="150" y="3271"/>
                  </a:lnTo>
                  <a:lnTo>
                    <a:pt x="120" y="3268"/>
                  </a:lnTo>
                  <a:lnTo>
                    <a:pt x="92" y="3258"/>
                  </a:lnTo>
                  <a:lnTo>
                    <a:pt x="66" y="3245"/>
                  </a:lnTo>
                  <a:lnTo>
                    <a:pt x="44" y="3226"/>
                  </a:lnTo>
                  <a:lnTo>
                    <a:pt x="26" y="3205"/>
                  </a:lnTo>
                  <a:lnTo>
                    <a:pt x="12" y="3179"/>
                  </a:lnTo>
                  <a:lnTo>
                    <a:pt x="3" y="3151"/>
                  </a:lnTo>
                  <a:lnTo>
                    <a:pt x="0" y="3122"/>
                  </a:lnTo>
                  <a:lnTo>
                    <a:pt x="0" y="148"/>
                  </a:lnTo>
                  <a:lnTo>
                    <a:pt x="3" y="118"/>
                  </a:lnTo>
                  <a:lnTo>
                    <a:pt x="12" y="90"/>
                  </a:lnTo>
                  <a:lnTo>
                    <a:pt x="26" y="66"/>
                  </a:lnTo>
                  <a:lnTo>
                    <a:pt x="44" y="43"/>
                  </a:lnTo>
                  <a:lnTo>
                    <a:pt x="66" y="26"/>
                  </a:lnTo>
                  <a:lnTo>
                    <a:pt x="92" y="11"/>
                  </a:lnTo>
                  <a:lnTo>
                    <a:pt x="120" y="3"/>
                  </a:lnTo>
                  <a:lnTo>
                    <a:pt x="1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dirty="0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40" name="Freeform 1042">
              <a:extLst>
                <a:ext uri="{FF2B5EF4-FFF2-40B4-BE49-F238E27FC236}">
                  <a16:creationId xmlns:a16="http://schemas.microsoft.com/office/drawing/2014/main" id="{0586C2E0-1F24-7037-3A2A-07E2C6E160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05" y="-1855"/>
              <a:ext cx="393" cy="586"/>
            </a:xfrm>
            <a:custGeom>
              <a:avLst/>
              <a:gdLst>
                <a:gd name="T0" fmla="*/ 130 w 1574"/>
                <a:gd name="T1" fmla="*/ 1973 h 2342"/>
                <a:gd name="T2" fmla="*/ 221 w 1574"/>
                <a:gd name="T3" fmla="*/ 2017 h 2342"/>
                <a:gd name="T4" fmla="*/ 305 w 1574"/>
                <a:gd name="T5" fmla="*/ 2073 h 2342"/>
                <a:gd name="T6" fmla="*/ 434 w 1574"/>
                <a:gd name="T7" fmla="*/ 1957 h 2342"/>
                <a:gd name="T8" fmla="*/ 385 w 1574"/>
                <a:gd name="T9" fmla="*/ 1912 h 2342"/>
                <a:gd name="T10" fmla="*/ 311 w 1574"/>
                <a:gd name="T11" fmla="*/ 1861 h 2342"/>
                <a:gd name="T12" fmla="*/ 242 w 1574"/>
                <a:gd name="T13" fmla="*/ 1827 h 2342"/>
                <a:gd name="T14" fmla="*/ 186 w 1574"/>
                <a:gd name="T15" fmla="*/ 1808 h 2342"/>
                <a:gd name="T16" fmla="*/ 140 w 1574"/>
                <a:gd name="T17" fmla="*/ 1799 h 2342"/>
                <a:gd name="T18" fmla="*/ 1106 w 1574"/>
                <a:gd name="T19" fmla="*/ 0 h 2342"/>
                <a:gd name="T20" fmla="*/ 1161 w 1574"/>
                <a:gd name="T21" fmla="*/ 7 h 2342"/>
                <a:gd name="T22" fmla="*/ 1227 w 1574"/>
                <a:gd name="T23" fmla="*/ 25 h 2342"/>
                <a:gd name="T24" fmla="*/ 1305 w 1574"/>
                <a:gd name="T25" fmla="*/ 56 h 2342"/>
                <a:gd name="T26" fmla="*/ 1391 w 1574"/>
                <a:gd name="T27" fmla="*/ 107 h 2342"/>
                <a:gd name="T28" fmla="*/ 1462 w 1574"/>
                <a:gd name="T29" fmla="*/ 161 h 2342"/>
                <a:gd name="T30" fmla="*/ 1512 w 1574"/>
                <a:gd name="T31" fmla="*/ 213 h 2342"/>
                <a:gd name="T32" fmla="*/ 1544 w 1574"/>
                <a:gd name="T33" fmla="*/ 258 h 2342"/>
                <a:gd name="T34" fmla="*/ 1562 w 1574"/>
                <a:gd name="T35" fmla="*/ 294 h 2342"/>
                <a:gd name="T36" fmla="*/ 1571 w 1574"/>
                <a:gd name="T37" fmla="*/ 316 h 2342"/>
                <a:gd name="T38" fmla="*/ 1574 w 1574"/>
                <a:gd name="T39" fmla="*/ 340 h 2342"/>
                <a:gd name="T40" fmla="*/ 1563 w 1574"/>
                <a:gd name="T41" fmla="*/ 375 h 2342"/>
                <a:gd name="T42" fmla="*/ 618 w 1574"/>
                <a:gd name="T43" fmla="*/ 1998 h 2342"/>
                <a:gd name="T44" fmla="*/ 115 w 1574"/>
                <a:gd name="T45" fmla="*/ 2330 h 2342"/>
                <a:gd name="T46" fmla="*/ 77 w 1574"/>
                <a:gd name="T47" fmla="*/ 2342 h 2342"/>
                <a:gd name="T48" fmla="*/ 36 w 1574"/>
                <a:gd name="T49" fmla="*/ 2332 h 2342"/>
                <a:gd name="T50" fmla="*/ 13 w 1574"/>
                <a:gd name="T51" fmla="*/ 2311 h 2342"/>
                <a:gd name="T52" fmla="*/ 0 w 1574"/>
                <a:gd name="T53" fmla="*/ 2280 h 2342"/>
                <a:gd name="T54" fmla="*/ 34 w 1574"/>
                <a:gd name="T55" fmla="*/ 1683 h 2342"/>
                <a:gd name="T56" fmla="*/ 45 w 1574"/>
                <a:gd name="T57" fmla="*/ 1651 h 2342"/>
                <a:gd name="T58" fmla="*/ 991 w 1574"/>
                <a:gd name="T59" fmla="*/ 27 h 2342"/>
                <a:gd name="T60" fmla="*/ 1023 w 1574"/>
                <a:gd name="T61" fmla="*/ 7 h 2342"/>
                <a:gd name="T62" fmla="*/ 1036 w 1574"/>
                <a:gd name="T63" fmla="*/ 4 h 2342"/>
                <a:gd name="T64" fmla="*/ 1064 w 1574"/>
                <a:gd name="T65" fmla="*/ 0 h 2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74" h="2342">
                  <a:moveTo>
                    <a:pt x="140" y="1799"/>
                  </a:moveTo>
                  <a:lnTo>
                    <a:pt x="130" y="1973"/>
                  </a:lnTo>
                  <a:lnTo>
                    <a:pt x="175" y="1993"/>
                  </a:lnTo>
                  <a:lnTo>
                    <a:pt x="221" y="2017"/>
                  </a:lnTo>
                  <a:lnTo>
                    <a:pt x="264" y="2043"/>
                  </a:lnTo>
                  <a:lnTo>
                    <a:pt x="305" y="2073"/>
                  </a:lnTo>
                  <a:lnTo>
                    <a:pt x="451" y="1976"/>
                  </a:lnTo>
                  <a:lnTo>
                    <a:pt x="434" y="1957"/>
                  </a:lnTo>
                  <a:lnTo>
                    <a:pt x="412" y="1935"/>
                  </a:lnTo>
                  <a:lnTo>
                    <a:pt x="385" y="1912"/>
                  </a:lnTo>
                  <a:lnTo>
                    <a:pt x="351" y="1887"/>
                  </a:lnTo>
                  <a:lnTo>
                    <a:pt x="311" y="1861"/>
                  </a:lnTo>
                  <a:lnTo>
                    <a:pt x="276" y="1843"/>
                  </a:lnTo>
                  <a:lnTo>
                    <a:pt x="242" y="1827"/>
                  </a:lnTo>
                  <a:lnTo>
                    <a:pt x="212" y="1816"/>
                  </a:lnTo>
                  <a:lnTo>
                    <a:pt x="186" y="1808"/>
                  </a:lnTo>
                  <a:lnTo>
                    <a:pt x="162" y="1803"/>
                  </a:lnTo>
                  <a:lnTo>
                    <a:pt x="140" y="1799"/>
                  </a:lnTo>
                  <a:close/>
                  <a:moveTo>
                    <a:pt x="1083" y="0"/>
                  </a:moveTo>
                  <a:lnTo>
                    <a:pt x="1106" y="0"/>
                  </a:lnTo>
                  <a:lnTo>
                    <a:pt x="1132" y="2"/>
                  </a:lnTo>
                  <a:lnTo>
                    <a:pt x="1161" y="7"/>
                  </a:lnTo>
                  <a:lnTo>
                    <a:pt x="1192" y="14"/>
                  </a:lnTo>
                  <a:lnTo>
                    <a:pt x="1227" y="25"/>
                  </a:lnTo>
                  <a:lnTo>
                    <a:pt x="1264" y="39"/>
                  </a:lnTo>
                  <a:lnTo>
                    <a:pt x="1305" y="56"/>
                  </a:lnTo>
                  <a:lnTo>
                    <a:pt x="1347" y="80"/>
                  </a:lnTo>
                  <a:lnTo>
                    <a:pt x="1391" y="107"/>
                  </a:lnTo>
                  <a:lnTo>
                    <a:pt x="1430" y="135"/>
                  </a:lnTo>
                  <a:lnTo>
                    <a:pt x="1462" y="161"/>
                  </a:lnTo>
                  <a:lnTo>
                    <a:pt x="1489" y="188"/>
                  </a:lnTo>
                  <a:lnTo>
                    <a:pt x="1512" y="213"/>
                  </a:lnTo>
                  <a:lnTo>
                    <a:pt x="1529" y="236"/>
                  </a:lnTo>
                  <a:lnTo>
                    <a:pt x="1544" y="258"/>
                  </a:lnTo>
                  <a:lnTo>
                    <a:pt x="1554" y="277"/>
                  </a:lnTo>
                  <a:lnTo>
                    <a:pt x="1562" y="294"/>
                  </a:lnTo>
                  <a:lnTo>
                    <a:pt x="1567" y="307"/>
                  </a:lnTo>
                  <a:lnTo>
                    <a:pt x="1571" y="316"/>
                  </a:lnTo>
                  <a:lnTo>
                    <a:pt x="1572" y="322"/>
                  </a:lnTo>
                  <a:lnTo>
                    <a:pt x="1574" y="340"/>
                  </a:lnTo>
                  <a:lnTo>
                    <a:pt x="1571" y="359"/>
                  </a:lnTo>
                  <a:lnTo>
                    <a:pt x="1563" y="375"/>
                  </a:lnTo>
                  <a:lnTo>
                    <a:pt x="628" y="1985"/>
                  </a:lnTo>
                  <a:lnTo>
                    <a:pt x="618" y="1998"/>
                  </a:lnTo>
                  <a:lnTo>
                    <a:pt x="605" y="2009"/>
                  </a:lnTo>
                  <a:lnTo>
                    <a:pt x="115" y="2330"/>
                  </a:lnTo>
                  <a:lnTo>
                    <a:pt x="97" y="2339"/>
                  </a:lnTo>
                  <a:lnTo>
                    <a:pt x="77" y="2342"/>
                  </a:lnTo>
                  <a:lnTo>
                    <a:pt x="56" y="2340"/>
                  </a:lnTo>
                  <a:lnTo>
                    <a:pt x="36" y="2332"/>
                  </a:lnTo>
                  <a:lnTo>
                    <a:pt x="23" y="2323"/>
                  </a:lnTo>
                  <a:lnTo>
                    <a:pt x="13" y="2311"/>
                  </a:lnTo>
                  <a:lnTo>
                    <a:pt x="5" y="2296"/>
                  </a:lnTo>
                  <a:lnTo>
                    <a:pt x="0" y="2280"/>
                  </a:lnTo>
                  <a:lnTo>
                    <a:pt x="0" y="2263"/>
                  </a:lnTo>
                  <a:lnTo>
                    <a:pt x="34" y="1683"/>
                  </a:lnTo>
                  <a:lnTo>
                    <a:pt x="38" y="1666"/>
                  </a:lnTo>
                  <a:lnTo>
                    <a:pt x="45" y="1651"/>
                  </a:lnTo>
                  <a:lnTo>
                    <a:pt x="981" y="41"/>
                  </a:lnTo>
                  <a:lnTo>
                    <a:pt x="991" y="27"/>
                  </a:lnTo>
                  <a:lnTo>
                    <a:pt x="1005" y="15"/>
                  </a:lnTo>
                  <a:lnTo>
                    <a:pt x="1023" y="7"/>
                  </a:lnTo>
                  <a:lnTo>
                    <a:pt x="1027" y="6"/>
                  </a:lnTo>
                  <a:lnTo>
                    <a:pt x="1036" y="4"/>
                  </a:lnTo>
                  <a:lnTo>
                    <a:pt x="1049" y="2"/>
                  </a:lnTo>
                  <a:lnTo>
                    <a:pt x="1064" y="0"/>
                  </a:lnTo>
                  <a:lnTo>
                    <a:pt x="10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41" name="Freeform 1043">
              <a:extLst>
                <a:ext uri="{FF2B5EF4-FFF2-40B4-BE49-F238E27FC236}">
                  <a16:creationId xmlns:a16="http://schemas.microsoft.com/office/drawing/2014/main" id="{D016DC66-63ED-7F70-BBD9-E6ECC7ECD371}"/>
                </a:ext>
              </a:extLst>
            </p:cNvPr>
            <p:cNvSpPr/>
            <p:nvPr/>
          </p:nvSpPr>
          <p:spPr bwMode="auto">
            <a:xfrm>
              <a:off x="9995" y="-1385"/>
              <a:ext cx="286" cy="146"/>
            </a:xfrm>
            <a:custGeom>
              <a:avLst/>
              <a:gdLst>
                <a:gd name="T0" fmla="*/ 551 w 1143"/>
                <a:gd name="T1" fmla="*/ 5 h 585"/>
                <a:gd name="T2" fmla="*/ 577 w 1143"/>
                <a:gd name="T3" fmla="*/ 28 h 585"/>
                <a:gd name="T4" fmla="*/ 585 w 1143"/>
                <a:gd name="T5" fmla="*/ 110 h 585"/>
                <a:gd name="T6" fmla="*/ 554 w 1143"/>
                <a:gd name="T7" fmla="*/ 197 h 585"/>
                <a:gd name="T8" fmla="*/ 563 w 1143"/>
                <a:gd name="T9" fmla="*/ 239 h 585"/>
                <a:gd name="T10" fmla="*/ 581 w 1143"/>
                <a:gd name="T11" fmla="*/ 267 h 585"/>
                <a:gd name="T12" fmla="*/ 631 w 1143"/>
                <a:gd name="T13" fmla="*/ 275 h 585"/>
                <a:gd name="T14" fmla="*/ 674 w 1143"/>
                <a:gd name="T15" fmla="*/ 319 h 585"/>
                <a:gd name="T16" fmla="*/ 685 w 1143"/>
                <a:gd name="T17" fmla="*/ 353 h 585"/>
                <a:gd name="T18" fmla="*/ 838 w 1143"/>
                <a:gd name="T19" fmla="*/ 347 h 585"/>
                <a:gd name="T20" fmla="*/ 986 w 1143"/>
                <a:gd name="T21" fmla="*/ 362 h 585"/>
                <a:gd name="T22" fmla="*/ 1106 w 1143"/>
                <a:gd name="T23" fmla="*/ 369 h 585"/>
                <a:gd name="T24" fmla="*/ 1137 w 1143"/>
                <a:gd name="T25" fmla="*/ 396 h 585"/>
                <a:gd name="T26" fmla="*/ 1142 w 1143"/>
                <a:gd name="T27" fmla="*/ 436 h 585"/>
                <a:gd name="T28" fmla="*/ 1119 w 1143"/>
                <a:gd name="T29" fmla="*/ 470 h 585"/>
                <a:gd name="T30" fmla="*/ 1055 w 1143"/>
                <a:gd name="T31" fmla="*/ 477 h 585"/>
                <a:gd name="T32" fmla="*/ 946 w 1143"/>
                <a:gd name="T33" fmla="*/ 461 h 585"/>
                <a:gd name="T34" fmla="*/ 834 w 1143"/>
                <a:gd name="T35" fmla="*/ 447 h 585"/>
                <a:gd name="T36" fmla="*/ 730 w 1143"/>
                <a:gd name="T37" fmla="*/ 456 h 585"/>
                <a:gd name="T38" fmla="*/ 672 w 1143"/>
                <a:gd name="T39" fmla="*/ 481 h 585"/>
                <a:gd name="T40" fmla="*/ 630 w 1143"/>
                <a:gd name="T41" fmla="*/ 486 h 585"/>
                <a:gd name="T42" fmla="*/ 596 w 1143"/>
                <a:gd name="T43" fmla="*/ 472 h 585"/>
                <a:gd name="T44" fmla="*/ 571 w 1143"/>
                <a:gd name="T45" fmla="*/ 449 h 585"/>
                <a:gd name="T46" fmla="*/ 565 w 1143"/>
                <a:gd name="T47" fmla="*/ 403 h 585"/>
                <a:gd name="T48" fmla="*/ 531 w 1143"/>
                <a:gd name="T49" fmla="*/ 452 h 585"/>
                <a:gd name="T50" fmla="*/ 490 w 1143"/>
                <a:gd name="T51" fmla="*/ 465 h 585"/>
                <a:gd name="T52" fmla="*/ 450 w 1143"/>
                <a:gd name="T53" fmla="*/ 451 h 585"/>
                <a:gd name="T54" fmla="*/ 435 w 1143"/>
                <a:gd name="T55" fmla="*/ 414 h 585"/>
                <a:gd name="T56" fmla="*/ 445 w 1143"/>
                <a:gd name="T57" fmla="*/ 385 h 585"/>
                <a:gd name="T58" fmla="*/ 454 w 1143"/>
                <a:gd name="T59" fmla="*/ 365 h 585"/>
                <a:gd name="T60" fmla="*/ 417 w 1143"/>
                <a:gd name="T61" fmla="*/ 400 h 585"/>
                <a:gd name="T62" fmla="*/ 375 w 1143"/>
                <a:gd name="T63" fmla="*/ 423 h 585"/>
                <a:gd name="T64" fmla="*/ 331 w 1143"/>
                <a:gd name="T65" fmla="*/ 412 h 585"/>
                <a:gd name="T66" fmla="*/ 311 w 1143"/>
                <a:gd name="T67" fmla="*/ 375 h 585"/>
                <a:gd name="T68" fmla="*/ 360 w 1143"/>
                <a:gd name="T69" fmla="*/ 285 h 585"/>
                <a:gd name="T70" fmla="*/ 250 w 1143"/>
                <a:gd name="T71" fmla="*/ 388 h 585"/>
                <a:gd name="T72" fmla="*/ 95 w 1143"/>
                <a:gd name="T73" fmla="*/ 574 h 585"/>
                <a:gd name="T74" fmla="*/ 49 w 1143"/>
                <a:gd name="T75" fmla="*/ 584 h 585"/>
                <a:gd name="T76" fmla="*/ 9 w 1143"/>
                <a:gd name="T77" fmla="*/ 562 h 585"/>
                <a:gd name="T78" fmla="*/ 2 w 1143"/>
                <a:gd name="T79" fmla="*/ 521 h 585"/>
                <a:gd name="T80" fmla="*/ 137 w 1143"/>
                <a:gd name="T81" fmla="*/ 347 h 585"/>
                <a:gd name="T82" fmla="*/ 341 w 1143"/>
                <a:gd name="T83" fmla="*/ 122 h 585"/>
                <a:gd name="T84" fmla="*/ 395 w 1143"/>
                <a:gd name="T85" fmla="*/ 70 h 585"/>
                <a:gd name="T86" fmla="*/ 458 w 1143"/>
                <a:gd name="T87" fmla="*/ 20 h 585"/>
                <a:gd name="T88" fmla="*/ 528 w 1143"/>
                <a:gd name="T89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43" h="585">
                  <a:moveTo>
                    <a:pt x="528" y="0"/>
                  </a:moveTo>
                  <a:lnTo>
                    <a:pt x="539" y="2"/>
                  </a:lnTo>
                  <a:lnTo>
                    <a:pt x="551" y="5"/>
                  </a:lnTo>
                  <a:lnTo>
                    <a:pt x="561" y="10"/>
                  </a:lnTo>
                  <a:lnTo>
                    <a:pt x="571" y="18"/>
                  </a:lnTo>
                  <a:lnTo>
                    <a:pt x="577" y="28"/>
                  </a:lnTo>
                  <a:lnTo>
                    <a:pt x="585" y="53"/>
                  </a:lnTo>
                  <a:lnTo>
                    <a:pt x="587" y="81"/>
                  </a:lnTo>
                  <a:lnTo>
                    <a:pt x="585" y="110"/>
                  </a:lnTo>
                  <a:lnTo>
                    <a:pt x="578" y="139"/>
                  </a:lnTo>
                  <a:lnTo>
                    <a:pt x="567" y="168"/>
                  </a:lnTo>
                  <a:lnTo>
                    <a:pt x="554" y="197"/>
                  </a:lnTo>
                  <a:lnTo>
                    <a:pt x="537" y="227"/>
                  </a:lnTo>
                  <a:lnTo>
                    <a:pt x="551" y="232"/>
                  </a:lnTo>
                  <a:lnTo>
                    <a:pt x="563" y="239"/>
                  </a:lnTo>
                  <a:lnTo>
                    <a:pt x="573" y="252"/>
                  </a:lnTo>
                  <a:lnTo>
                    <a:pt x="577" y="260"/>
                  </a:lnTo>
                  <a:lnTo>
                    <a:pt x="581" y="267"/>
                  </a:lnTo>
                  <a:lnTo>
                    <a:pt x="597" y="266"/>
                  </a:lnTo>
                  <a:lnTo>
                    <a:pt x="614" y="269"/>
                  </a:lnTo>
                  <a:lnTo>
                    <a:pt x="631" y="275"/>
                  </a:lnTo>
                  <a:lnTo>
                    <a:pt x="646" y="286"/>
                  </a:lnTo>
                  <a:lnTo>
                    <a:pt x="661" y="300"/>
                  </a:lnTo>
                  <a:lnTo>
                    <a:pt x="674" y="319"/>
                  </a:lnTo>
                  <a:lnTo>
                    <a:pt x="681" y="334"/>
                  </a:lnTo>
                  <a:lnTo>
                    <a:pt x="684" y="345"/>
                  </a:lnTo>
                  <a:lnTo>
                    <a:pt x="685" y="353"/>
                  </a:lnTo>
                  <a:lnTo>
                    <a:pt x="738" y="347"/>
                  </a:lnTo>
                  <a:lnTo>
                    <a:pt x="789" y="346"/>
                  </a:lnTo>
                  <a:lnTo>
                    <a:pt x="838" y="347"/>
                  </a:lnTo>
                  <a:lnTo>
                    <a:pt x="887" y="351"/>
                  </a:lnTo>
                  <a:lnTo>
                    <a:pt x="936" y="356"/>
                  </a:lnTo>
                  <a:lnTo>
                    <a:pt x="986" y="362"/>
                  </a:lnTo>
                  <a:lnTo>
                    <a:pt x="1036" y="365"/>
                  </a:lnTo>
                  <a:lnTo>
                    <a:pt x="1089" y="367"/>
                  </a:lnTo>
                  <a:lnTo>
                    <a:pt x="1106" y="369"/>
                  </a:lnTo>
                  <a:lnTo>
                    <a:pt x="1119" y="375"/>
                  </a:lnTo>
                  <a:lnTo>
                    <a:pt x="1130" y="384"/>
                  </a:lnTo>
                  <a:lnTo>
                    <a:pt x="1137" y="396"/>
                  </a:lnTo>
                  <a:lnTo>
                    <a:pt x="1142" y="408"/>
                  </a:lnTo>
                  <a:lnTo>
                    <a:pt x="1143" y="422"/>
                  </a:lnTo>
                  <a:lnTo>
                    <a:pt x="1142" y="436"/>
                  </a:lnTo>
                  <a:lnTo>
                    <a:pt x="1137" y="449"/>
                  </a:lnTo>
                  <a:lnTo>
                    <a:pt x="1130" y="460"/>
                  </a:lnTo>
                  <a:lnTo>
                    <a:pt x="1119" y="470"/>
                  </a:lnTo>
                  <a:lnTo>
                    <a:pt x="1106" y="476"/>
                  </a:lnTo>
                  <a:lnTo>
                    <a:pt x="1089" y="478"/>
                  </a:lnTo>
                  <a:lnTo>
                    <a:pt x="1055" y="477"/>
                  </a:lnTo>
                  <a:lnTo>
                    <a:pt x="1020" y="473"/>
                  </a:lnTo>
                  <a:lnTo>
                    <a:pt x="983" y="467"/>
                  </a:lnTo>
                  <a:lnTo>
                    <a:pt x="946" y="461"/>
                  </a:lnTo>
                  <a:lnTo>
                    <a:pt x="909" y="455"/>
                  </a:lnTo>
                  <a:lnTo>
                    <a:pt x="872" y="450"/>
                  </a:lnTo>
                  <a:lnTo>
                    <a:pt x="834" y="447"/>
                  </a:lnTo>
                  <a:lnTo>
                    <a:pt x="798" y="446"/>
                  </a:lnTo>
                  <a:lnTo>
                    <a:pt x="763" y="449"/>
                  </a:lnTo>
                  <a:lnTo>
                    <a:pt x="730" y="456"/>
                  </a:lnTo>
                  <a:lnTo>
                    <a:pt x="698" y="469"/>
                  </a:lnTo>
                  <a:lnTo>
                    <a:pt x="685" y="475"/>
                  </a:lnTo>
                  <a:lnTo>
                    <a:pt x="672" y="481"/>
                  </a:lnTo>
                  <a:lnTo>
                    <a:pt x="657" y="486"/>
                  </a:lnTo>
                  <a:lnTo>
                    <a:pt x="644" y="488"/>
                  </a:lnTo>
                  <a:lnTo>
                    <a:pt x="630" y="486"/>
                  </a:lnTo>
                  <a:lnTo>
                    <a:pt x="619" y="482"/>
                  </a:lnTo>
                  <a:lnTo>
                    <a:pt x="608" y="477"/>
                  </a:lnTo>
                  <a:lnTo>
                    <a:pt x="596" y="472"/>
                  </a:lnTo>
                  <a:lnTo>
                    <a:pt x="586" y="465"/>
                  </a:lnTo>
                  <a:lnTo>
                    <a:pt x="578" y="458"/>
                  </a:lnTo>
                  <a:lnTo>
                    <a:pt x="571" y="449"/>
                  </a:lnTo>
                  <a:lnTo>
                    <a:pt x="566" y="437"/>
                  </a:lnTo>
                  <a:lnTo>
                    <a:pt x="565" y="418"/>
                  </a:lnTo>
                  <a:lnTo>
                    <a:pt x="565" y="403"/>
                  </a:lnTo>
                  <a:lnTo>
                    <a:pt x="554" y="422"/>
                  </a:lnTo>
                  <a:lnTo>
                    <a:pt x="542" y="441"/>
                  </a:lnTo>
                  <a:lnTo>
                    <a:pt x="531" y="452"/>
                  </a:lnTo>
                  <a:lnTo>
                    <a:pt x="519" y="460"/>
                  </a:lnTo>
                  <a:lnTo>
                    <a:pt x="504" y="464"/>
                  </a:lnTo>
                  <a:lnTo>
                    <a:pt x="490" y="465"/>
                  </a:lnTo>
                  <a:lnTo>
                    <a:pt x="475" y="463"/>
                  </a:lnTo>
                  <a:lnTo>
                    <a:pt x="462" y="458"/>
                  </a:lnTo>
                  <a:lnTo>
                    <a:pt x="450" y="451"/>
                  </a:lnTo>
                  <a:lnTo>
                    <a:pt x="441" y="441"/>
                  </a:lnTo>
                  <a:lnTo>
                    <a:pt x="436" y="428"/>
                  </a:lnTo>
                  <a:lnTo>
                    <a:pt x="435" y="414"/>
                  </a:lnTo>
                  <a:lnTo>
                    <a:pt x="439" y="398"/>
                  </a:lnTo>
                  <a:lnTo>
                    <a:pt x="442" y="391"/>
                  </a:lnTo>
                  <a:lnTo>
                    <a:pt x="445" y="385"/>
                  </a:lnTo>
                  <a:lnTo>
                    <a:pt x="445" y="385"/>
                  </a:lnTo>
                  <a:lnTo>
                    <a:pt x="444" y="385"/>
                  </a:lnTo>
                  <a:lnTo>
                    <a:pt x="454" y="365"/>
                  </a:lnTo>
                  <a:lnTo>
                    <a:pt x="440" y="374"/>
                  </a:lnTo>
                  <a:lnTo>
                    <a:pt x="428" y="385"/>
                  </a:lnTo>
                  <a:lnTo>
                    <a:pt x="417" y="400"/>
                  </a:lnTo>
                  <a:lnTo>
                    <a:pt x="405" y="412"/>
                  </a:lnTo>
                  <a:lnTo>
                    <a:pt x="390" y="420"/>
                  </a:lnTo>
                  <a:lnTo>
                    <a:pt x="375" y="423"/>
                  </a:lnTo>
                  <a:lnTo>
                    <a:pt x="359" y="423"/>
                  </a:lnTo>
                  <a:lnTo>
                    <a:pt x="345" y="419"/>
                  </a:lnTo>
                  <a:lnTo>
                    <a:pt x="331" y="412"/>
                  </a:lnTo>
                  <a:lnTo>
                    <a:pt x="321" y="402"/>
                  </a:lnTo>
                  <a:lnTo>
                    <a:pt x="314" y="389"/>
                  </a:lnTo>
                  <a:lnTo>
                    <a:pt x="311" y="375"/>
                  </a:lnTo>
                  <a:lnTo>
                    <a:pt x="313" y="360"/>
                  </a:lnTo>
                  <a:lnTo>
                    <a:pt x="320" y="343"/>
                  </a:lnTo>
                  <a:lnTo>
                    <a:pt x="360" y="285"/>
                  </a:lnTo>
                  <a:lnTo>
                    <a:pt x="400" y="224"/>
                  </a:lnTo>
                  <a:lnTo>
                    <a:pt x="323" y="305"/>
                  </a:lnTo>
                  <a:lnTo>
                    <a:pt x="250" y="388"/>
                  </a:lnTo>
                  <a:lnTo>
                    <a:pt x="177" y="475"/>
                  </a:lnTo>
                  <a:lnTo>
                    <a:pt x="108" y="562"/>
                  </a:lnTo>
                  <a:lnTo>
                    <a:pt x="95" y="574"/>
                  </a:lnTo>
                  <a:lnTo>
                    <a:pt x="80" y="582"/>
                  </a:lnTo>
                  <a:lnTo>
                    <a:pt x="64" y="585"/>
                  </a:lnTo>
                  <a:lnTo>
                    <a:pt x="49" y="584"/>
                  </a:lnTo>
                  <a:lnTo>
                    <a:pt x="33" y="580"/>
                  </a:lnTo>
                  <a:lnTo>
                    <a:pt x="21" y="572"/>
                  </a:lnTo>
                  <a:lnTo>
                    <a:pt x="9" y="562"/>
                  </a:lnTo>
                  <a:lnTo>
                    <a:pt x="2" y="550"/>
                  </a:lnTo>
                  <a:lnTo>
                    <a:pt x="0" y="535"/>
                  </a:lnTo>
                  <a:lnTo>
                    <a:pt x="2" y="521"/>
                  </a:lnTo>
                  <a:lnTo>
                    <a:pt x="12" y="506"/>
                  </a:lnTo>
                  <a:lnTo>
                    <a:pt x="74" y="426"/>
                  </a:lnTo>
                  <a:lnTo>
                    <a:pt x="137" y="347"/>
                  </a:lnTo>
                  <a:lnTo>
                    <a:pt x="202" y="270"/>
                  </a:lnTo>
                  <a:lnTo>
                    <a:pt x="270" y="194"/>
                  </a:lnTo>
                  <a:lnTo>
                    <a:pt x="341" y="122"/>
                  </a:lnTo>
                  <a:lnTo>
                    <a:pt x="357" y="106"/>
                  </a:lnTo>
                  <a:lnTo>
                    <a:pt x="376" y="88"/>
                  </a:lnTo>
                  <a:lnTo>
                    <a:pt x="395" y="70"/>
                  </a:lnTo>
                  <a:lnTo>
                    <a:pt x="414" y="51"/>
                  </a:lnTo>
                  <a:lnTo>
                    <a:pt x="435" y="35"/>
                  </a:lnTo>
                  <a:lnTo>
                    <a:pt x="458" y="20"/>
                  </a:lnTo>
                  <a:lnTo>
                    <a:pt x="480" y="9"/>
                  </a:lnTo>
                  <a:lnTo>
                    <a:pt x="504" y="2"/>
                  </a:lnTo>
                  <a:lnTo>
                    <a:pt x="5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</p:grpSp>
      <p:sp>
        <p:nvSpPr>
          <p:cNvPr id="20" name="Rectangle 30">
            <a:extLst>
              <a:ext uri="{FF2B5EF4-FFF2-40B4-BE49-F238E27FC236}">
                <a16:creationId xmlns:a16="http://schemas.microsoft.com/office/drawing/2014/main" id="{000B6EBC-4C36-A124-0F95-4C790CAC84FC}"/>
              </a:ext>
            </a:extLst>
          </p:cNvPr>
          <p:cNvSpPr/>
          <p:nvPr/>
        </p:nvSpPr>
        <p:spPr>
          <a:xfrm>
            <a:off x="7907912" y="3266711"/>
            <a:ext cx="180778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256kb DRAM</a:t>
            </a: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和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64kb CMOS SRAM</a:t>
            </a: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itchFamily="34" charset="0"/>
                <a:sym typeface="+mn-ea"/>
              </a:rPr>
              <a:t>问世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itchFamily="34" charset="0"/>
              <a:sym typeface="+mn-ea"/>
            </a:endParaRPr>
          </a:p>
        </p:txBody>
      </p:sp>
      <p:sp>
        <p:nvSpPr>
          <p:cNvPr id="21" name="Freeform 63">
            <a:extLst>
              <a:ext uri="{FF2B5EF4-FFF2-40B4-BE49-F238E27FC236}">
                <a16:creationId xmlns:a16="http://schemas.microsoft.com/office/drawing/2014/main" id="{CA9ED3F7-5282-64D6-0F2B-78E2FCA5D643}"/>
              </a:ext>
            </a:extLst>
          </p:cNvPr>
          <p:cNvSpPr/>
          <p:nvPr/>
        </p:nvSpPr>
        <p:spPr bwMode="auto">
          <a:xfrm>
            <a:off x="9660049" y="2294151"/>
            <a:ext cx="317113" cy="237823"/>
          </a:xfrm>
          <a:custGeom>
            <a:avLst/>
            <a:gdLst>
              <a:gd name="connsiteX0" fmla="*/ 202025 w 339741"/>
              <a:gd name="connsiteY0" fmla="*/ 0 h 254794"/>
              <a:gd name="connsiteX1" fmla="*/ 219091 w 339741"/>
              <a:gd name="connsiteY1" fmla="*/ 7144 h 254794"/>
              <a:gd name="connsiteX2" fmla="*/ 339741 w 339741"/>
              <a:gd name="connsiteY2" fmla="*/ 127794 h 254794"/>
              <a:gd name="connsiteX3" fmla="*/ 219091 w 339741"/>
              <a:gd name="connsiteY3" fmla="*/ 245269 h 254794"/>
              <a:gd name="connsiteX4" fmla="*/ 203216 w 339741"/>
              <a:gd name="connsiteY4" fmla="*/ 254794 h 254794"/>
              <a:gd name="connsiteX5" fmla="*/ 187341 w 339741"/>
              <a:gd name="connsiteY5" fmla="*/ 245269 h 254794"/>
              <a:gd name="connsiteX6" fmla="*/ 187341 w 339741"/>
              <a:gd name="connsiteY6" fmla="*/ 213519 h 254794"/>
              <a:gd name="connsiteX7" fmla="*/ 273066 w 339741"/>
              <a:gd name="connsiteY7" fmla="*/ 127794 h 254794"/>
              <a:gd name="connsiteX8" fmla="*/ 187341 w 339741"/>
              <a:gd name="connsiteY8" fmla="*/ 42069 h 254794"/>
              <a:gd name="connsiteX9" fmla="*/ 187341 w 339741"/>
              <a:gd name="connsiteY9" fmla="*/ 7144 h 254794"/>
              <a:gd name="connsiteX10" fmla="*/ 202025 w 339741"/>
              <a:gd name="connsiteY10" fmla="*/ 0 h 254794"/>
              <a:gd name="connsiteX11" fmla="*/ 22007 w 339741"/>
              <a:gd name="connsiteY11" fmla="*/ 0 h 254794"/>
              <a:gd name="connsiteX12" fmla="*/ 39299 w 339741"/>
              <a:gd name="connsiteY12" fmla="*/ 7144 h 254794"/>
              <a:gd name="connsiteX13" fmla="*/ 158766 w 339741"/>
              <a:gd name="connsiteY13" fmla="*/ 127794 h 254794"/>
              <a:gd name="connsiteX14" fmla="*/ 39299 w 339741"/>
              <a:gd name="connsiteY14" fmla="*/ 245269 h 254794"/>
              <a:gd name="connsiteX15" fmla="*/ 23579 w 339741"/>
              <a:gd name="connsiteY15" fmla="*/ 254794 h 254794"/>
              <a:gd name="connsiteX16" fmla="*/ 4716 w 339741"/>
              <a:gd name="connsiteY16" fmla="*/ 245269 h 254794"/>
              <a:gd name="connsiteX17" fmla="*/ 4716 w 339741"/>
              <a:gd name="connsiteY17" fmla="*/ 213519 h 254794"/>
              <a:gd name="connsiteX18" fmla="*/ 92745 w 339741"/>
              <a:gd name="connsiteY18" fmla="*/ 127794 h 254794"/>
              <a:gd name="connsiteX19" fmla="*/ 4716 w 339741"/>
              <a:gd name="connsiteY19" fmla="*/ 42069 h 254794"/>
              <a:gd name="connsiteX20" fmla="*/ 4716 w 339741"/>
              <a:gd name="connsiteY20" fmla="*/ 7144 h 254794"/>
              <a:gd name="connsiteX21" fmla="*/ 22007 w 339741"/>
              <a:gd name="connsiteY21" fmla="*/ 0 h 25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39741" h="254794">
                <a:moveTo>
                  <a:pt x="202025" y="0"/>
                </a:moveTo>
                <a:cubicBezTo>
                  <a:pt x="207979" y="0"/>
                  <a:pt x="214329" y="2382"/>
                  <a:pt x="219091" y="7144"/>
                </a:cubicBezTo>
                <a:cubicBezTo>
                  <a:pt x="339741" y="127794"/>
                  <a:pt x="339741" y="127794"/>
                  <a:pt x="339741" y="127794"/>
                </a:cubicBezTo>
                <a:cubicBezTo>
                  <a:pt x="219091" y="245269"/>
                  <a:pt x="219091" y="245269"/>
                  <a:pt x="219091" y="245269"/>
                </a:cubicBezTo>
                <a:cubicBezTo>
                  <a:pt x="215916" y="251619"/>
                  <a:pt x="209566" y="254794"/>
                  <a:pt x="203216" y="254794"/>
                </a:cubicBezTo>
                <a:cubicBezTo>
                  <a:pt x="196866" y="254794"/>
                  <a:pt x="190516" y="251619"/>
                  <a:pt x="187341" y="245269"/>
                </a:cubicBezTo>
                <a:cubicBezTo>
                  <a:pt x="177816" y="238919"/>
                  <a:pt x="177816" y="223044"/>
                  <a:pt x="187341" y="213519"/>
                </a:cubicBezTo>
                <a:cubicBezTo>
                  <a:pt x="273066" y="127794"/>
                  <a:pt x="273066" y="127794"/>
                  <a:pt x="273066" y="127794"/>
                </a:cubicBezTo>
                <a:cubicBezTo>
                  <a:pt x="187341" y="42069"/>
                  <a:pt x="187341" y="42069"/>
                  <a:pt x="187341" y="42069"/>
                </a:cubicBezTo>
                <a:cubicBezTo>
                  <a:pt x="177816" y="32544"/>
                  <a:pt x="177816" y="16669"/>
                  <a:pt x="187341" y="7144"/>
                </a:cubicBezTo>
                <a:cubicBezTo>
                  <a:pt x="190516" y="2382"/>
                  <a:pt x="196072" y="0"/>
                  <a:pt x="202025" y="0"/>
                </a:cubicBezTo>
                <a:close/>
                <a:moveTo>
                  <a:pt x="22007" y="0"/>
                </a:moveTo>
                <a:cubicBezTo>
                  <a:pt x="28295" y="0"/>
                  <a:pt x="34583" y="2382"/>
                  <a:pt x="39299" y="7144"/>
                </a:cubicBezTo>
                <a:cubicBezTo>
                  <a:pt x="158766" y="127794"/>
                  <a:pt x="158766" y="127794"/>
                  <a:pt x="158766" y="127794"/>
                </a:cubicBezTo>
                <a:cubicBezTo>
                  <a:pt x="39299" y="245269"/>
                  <a:pt x="39299" y="245269"/>
                  <a:pt x="39299" y="245269"/>
                </a:cubicBezTo>
                <a:cubicBezTo>
                  <a:pt x="36155" y="251619"/>
                  <a:pt x="29867" y="254794"/>
                  <a:pt x="23579" y="254794"/>
                </a:cubicBezTo>
                <a:cubicBezTo>
                  <a:pt x="17291" y="254794"/>
                  <a:pt x="11004" y="251619"/>
                  <a:pt x="4716" y="245269"/>
                </a:cubicBezTo>
                <a:cubicBezTo>
                  <a:pt x="-1572" y="238919"/>
                  <a:pt x="-1572" y="223044"/>
                  <a:pt x="4716" y="213519"/>
                </a:cubicBezTo>
                <a:cubicBezTo>
                  <a:pt x="92745" y="127794"/>
                  <a:pt x="92745" y="127794"/>
                  <a:pt x="92745" y="127794"/>
                </a:cubicBezTo>
                <a:cubicBezTo>
                  <a:pt x="4716" y="42069"/>
                  <a:pt x="4716" y="42069"/>
                  <a:pt x="4716" y="42069"/>
                </a:cubicBezTo>
                <a:cubicBezTo>
                  <a:pt x="-1572" y="32544"/>
                  <a:pt x="-1572" y="16669"/>
                  <a:pt x="4716" y="7144"/>
                </a:cubicBezTo>
                <a:cubicBezTo>
                  <a:pt x="9432" y="2382"/>
                  <a:pt x="15720" y="0"/>
                  <a:pt x="2200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pc="-30">
              <a:latin typeface="Source Han Sans CN" panose="020B0400000000000000" pitchFamily="34" charset="-128"/>
              <a:ea typeface="Source Han Sans CN" panose="020B0400000000000000" pitchFamily="34" charset="-128"/>
            </a:endParaRPr>
          </a:p>
        </p:txBody>
      </p:sp>
      <p:grpSp>
        <p:nvGrpSpPr>
          <p:cNvPr id="22" name="Group 1">
            <a:extLst>
              <a:ext uri="{FF2B5EF4-FFF2-40B4-BE49-F238E27FC236}">
                <a16:creationId xmlns:a16="http://schemas.microsoft.com/office/drawing/2014/main" id="{F46B5CA1-79E8-4B51-708B-43971B49FA48}"/>
              </a:ext>
            </a:extLst>
          </p:cNvPr>
          <p:cNvGrpSpPr/>
          <p:nvPr/>
        </p:nvGrpSpPr>
        <p:grpSpPr>
          <a:xfrm>
            <a:off x="10762126" y="1847755"/>
            <a:ext cx="639763" cy="1188664"/>
            <a:chOff x="1368576" y="1859503"/>
            <a:chExt cx="1422400" cy="2746375"/>
          </a:xfrm>
          <a:solidFill>
            <a:schemeClr val="accent1"/>
          </a:solidFill>
        </p:grpSpPr>
        <p:sp>
          <p:nvSpPr>
            <p:cNvPr id="33" name="Freeform 37">
              <a:extLst>
                <a:ext uri="{FF2B5EF4-FFF2-40B4-BE49-F238E27FC236}">
                  <a16:creationId xmlns:a16="http://schemas.microsoft.com/office/drawing/2014/main" id="{5B20847C-7BDD-A2AB-8D98-048284A5DE22}"/>
                </a:ext>
              </a:extLst>
            </p:cNvPr>
            <p:cNvSpPr/>
            <p:nvPr/>
          </p:nvSpPr>
          <p:spPr bwMode="auto">
            <a:xfrm>
              <a:off x="1965476" y="4231228"/>
              <a:ext cx="228600" cy="374650"/>
            </a:xfrm>
            <a:custGeom>
              <a:avLst/>
              <a:gdLst>
                <a:gd name="T0" fmla="*/ 52 w 72"/>
                <a:gd name="T1" fmla="*/ 0 h 118"/>
                <a:gd name="T2" fmla="*/ 52 w 72"/>
                <a:gd name="T3" fmla="*/ 71 h 118"/>
                <a:gd name="T4" fmla="*/ 69 w 72"/>
                <a:gd name="T5" fmla="*/ 71 h 118"/>
                <a:gd name="T6" fmla="*/ 72 w 72"/>
                <a:gd name="T7" fmla="*/ 73 h 118"/>
                <a:gd name="T8" fmla="*/ 71 w 72"/>
                <a:gd name="T9" fmla="*/ 77 h 118"/>
                <a:gd name="T10" fmla="*/ 36 w 72"/>
                <a:gd name="T11" fmla="*/ 118 h 118"/>
                <a:gd name="T12" fmla="*/ 1 w 72"/>
                <a:gd name="T13" fmla="*/ 77 h 118"/>
                <a:gd name="T14" fmla="*/ 0 w 72"/>
                <a:gd name="T15" fmla="*/ 73 h 118"/>
                <a:gd name="T16" fmla="*/ 3 w 72"/>
                <a:gd name="T17" fmla="*/ 71 h 118"/>
                <a:gd name="T18" fmla="*/ 20 w 72"/>
                <a:gd name="T19" fmla="*/ 71 h 118"/>
                <a:gd name="T20" fmla="*/ 20 w 72"/>
                <a:gd name="T21" fmla="*/ 0 h 118"/>
                <a:gd name="T22" fmla="*/ 52 w 72"/>
                <a:gd name="T2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18">
                  <a:moveTo>
                    <a:pt x="52" y="0"/>
                  </a:moveTo>
                  <a:cubicBezTo>
                    <a:pt x="52" y="71"/>
                    <a:pt x="52" y="71"/>
                    <a:pt x="52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70" y="71"/>
                    <a:pt x="71" y="72"/>
                    <a:pt x="72" y="73"/>
                  </a:cubicBezTo>
                  <a:cubicBezTo>
                    <a:pt x="72" y="75"/>
                    <a:pt x="72" y="76"/>
                    <a:pt x="71" y="77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5"/>
                    <a:pt x="0" y="73"/>
                  </a:cubicBezTo>
                  <a:cubicBezTo>
                    <a:pt x="1" y="72"/>
                    <a:pt x="2" y="71"/>
                    <a:pt x="3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pc="-30"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34" name="Freeform 38">
              <a:extLst>
                <a:ext uri="{FF2B5EF4-FFF2-40B4-BE49-F238E27FC236}">
                  <a16:creationId xmlns:a16="http://schemas.microsoft.com/office/drawing/2014/main" id="{BF9E0F7D-5B4D-3C00-092F-89D4A65ACE21}"/>
                </a:ext>
              </a:extLst>
            </p:cNvPr>
            <p:cNvSpPr/>
            <p:nvPr/>
          </p:nvSpPr>
          <p:spPr bwMode="auto">
            <a:xfrm>
              <a:off x="2028976" y="4231228"/>
              <a:ext cx="101600" cy="79375"/>
            </a:xfrm>
            <a:custGeom>
              <a:avLst/>
              <a:gdLst>
                <a:gd name="T0" fmla="*/ 32 w 32"/>
                <a:gd name="T1" fmla="*/ 0 h 25"/>
                <a:gd name="T2" fmla="*/ 32 w 32"/>
                <a:gd name="T3" fmla="*/ 25 h 25"/>
                <a:gd name="T4" fmla="*/ 16 w 32"/>
                <a:gd name="T5" fmla="*/ 20 h 25"/>
                <a:gd name="T6" fmla="*/ 0 w 32"/>
                <a:gd name="T7" fmla="*/ 25 h 25"/>
                <a:gd name="T8" fmla="*/ 0 w 32"/>
                <a:gd name="T9" fmla="*/ 0 h 25"/>
                <a:gd name="T10" fmla="*/ 32 w 3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5">
                  <a:moveTo>
                    <a:pt x="32" y="0"/>
                  </a:moveTo>
                  <a:cubicBezTo>
                    <a:pt x="32" y="25"/>
                    <a:pt x="32" y="25"/>
                    <a:pt x="32" y="25"/>
                  </a:cubicBezTo>
                  <a:cubicBezTo>
                    <a:pt x="28" y="22"/>
                    <a:pt x="22" y="20"/>
                    <a:pt x="16" y="20"/>
                  </a:cubicBezTo>
                  <a:cubicBezTo>
                    <a:pt x="10" y="20"/>
                    <a:pt x="4" y="22"/>
                    <a:pt x="0" y="2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pc="-30"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35" name="Freeform 39">
              <a:extLst>
                <a:ext uri="{FF2B5EF4-FFF2-40B4-BE49-F238E27FC236}">
                  <a16:creationId xmlns:a16="http://schemas.microsoft.com/office/drawing/2014/main" id="{CDB4A70D-0BF0-B8EB-EC82-C10117AF30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68576" y="1859503"/>
              <a:ext cx="1422400" cy="2514600"/>
            </a:xfrm>
            <a:custGeom>
              <a:avLst/>
              <a:gdLst>
                <a:gd name="T0" fmla="*/ 224 w 448"/>
                <a:gd name="T1" fmla="*/ 0 h 792"/>
                <a:gd name="T2" fmla="*/ 0 w 448"/>
                <a:gd name="T3" fmla="*/ 224 h 792"/>
                <a:gd name="T4" fmla="*/ 0 w 448"/>
                <a:gd name="T5" fmla="*/ 570 h 792"/>
                <a:gd name="T6" fmla="*/ 196 w 448"/>
                <a:gd name="T7" fmla="*/ 792 h 792"/>
                <a:gd name="T8" fmla="*/ 196 w 448"/>
                <a:gd name="T9" fmla="*/ 777 h 792"/>
                <a:gd name="T10" fmla="*/ 224 w 448"/>
                <a:gd name="T11" fmla="*/ 749 h 792"/>
                <a:gd name="T12" fmla="*/ 252 w 448"/>
                <a:gd name="T13" fmla="*/ 777 h 792"/>
                <a:gd name="T14" fmla="*/ 252 w 448"/>
                <a:gd name="T15" fmla="*/ 792 h 792"/>
                <a:gd name="T16" fmla="*/ 448 w 448"/>
                <a:gd name="T17" fmla="*/ 570 h 792"/>
                <a:gd name="T18" fmla="*/ 448 w 448"/>
                <a:gd name="T19" fmla="*/ 224 h 792"/>
                <a:gd name="T20" fmla="*/ 224 w 448"/>
                <a:gd name="T21" fmla="*/ 0 h 792"/>
                <a:gd name="T22" fmla="*/ 224 w 448"/>
                <a:gd name="T23" fmla="*/ 414 h 792"/>
                <a:gd name="T24" fmla="*/ 34 w 448"/>
                <a:gd name="T25" fmla="*/ 224 h 792"/>
                <a:gd name="T26" fmla="*/ 224 w 448"/>
                <a:gd name="T27" fmla="*/ 34 h 792"/>
                <a:gd name="T28" fmla="*/ 414 w 448"/>
                <a:gd name="T29" fmla="*/ 224 h 792"/>
                <a:gd name="T30" fmla="*/ 224 w 448"/>
                <a:gd name="T31" fmla="*/ 41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8" h="792">
                  <a:moveTo>
                    <a:pt x="224" y="0"/>
                  </a:moveTo>
                  <a:cubicBezTo>
                    <a:pt x="100" y="0"/>
                    <a:pt x="0" y="100"/>
                    <a:pt x="0" y="224"/>
                  </a:cubicBezTo>
                  <a:cubicBezTo>
                    <a:pt x="0" y="570"/>
                    <a:pt x="0" y="570"/>
                    <a:pt x="0" y="570"/>
                  </a:cubicBezTo>
                  <a:cubicBezTo>
                    <a:pt x="0" y="684"/>
                    <a:pt x="86" y="778"/>
                    <a:pt x="196" y="792"/>
                  </a:cubicBezTo>
                  <a:cubicBezTo>
                    <a:pt x="196" y="777"/>
                    <a:pt x="196" y="777"/>
                    <a:pt x="196" y="777"/>
                  </a:cubicBezTo>
                  <a:cubicBezTo>
                    <a:pt x="196" y="761"/>
                    <a:pt x="209" y="749"/>
                    <a:pt x="224" y="749"/>
                  </a:cubicBezTo>
                  <a:cubicBezTo>
                    <a:pt x="239" y="749"/>
                    <a:pt x="252" y="761"/>
                    <a:pt x="252" y="777"/>
                  </a:cubicBezTo>
                  <a:cubicBezTo>
                    <a:pt x="252" y="792"/>
                    <a:pt x="252" y="792"/>
                    <a:pt x="252" y="792"/>
                  </a:cubicBezTo>
                  <a:cubicBezTo>
                    <a:pt x="362" y="778"/>
                    <a:pt x="448" y="684"/>
                    <a:pt x="448" y="570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48" y="100"/>
                    <a:pt x="348" y="0"/>
                    <a:pt x="224" y="0"/>
                  </a:cubicBezTo>
                  <a:close/>
                  <a:moveTo>
                    <a:pt x="224" y="414"/>
                  </a:moveTo>
                  <a:cubicBezTo>
                    <a:pt x="119" y="414"/>
                    <a:pt x="34" y="329"/>
                    <a:pt x="34" y="224"/>
                  </a:cubicBezTo>
                  <a:cubicBezTo>
                    <a:pt x="34" y="119"/>
                    <a:pt x="119" y="34"/>
                    <a:pt x="224" y="34"/>
                  </a:cubicBezTo>
                  <a:cubicBezTo>
                    <a:pt x="329" y="34"/>
                    <a:pt x="414" y="119"/>
                    <a:pt x="414" y="224"/>
                  </a:cubicBezTo>
                  <a:cubicBezTo>
                    <a:pt x="414" y="329"/>
                    <a:pt x="329" y="414"/>
                    <a:pt x="224" y="4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274320" numCol="1" anchor="b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sz="4000" dirty="0">
                <a:solidFill>
                  <a:srgbClr val="FFFFFF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</p:grpSp>
      <p:sp>
        <p:nvSpPr>
          <p:cNvPr id="23" name="TextBox 13">
            <a:extLst>
              <a:ext uri="{FF2B5EF4-FFF2-40B4-BE49-F238E27FC236}">
                <a16:creationId xmlns:a16="http://schemas.microsoft.com/office/drawing/2014/main" id="{77446880-C9ED-7D3E-598C-463843DFE77B}"/>
              </a:ext>
            </a:extLst>
          </p:cNvPr>
          <p:cNvSpPr txBox="1"/>
          <p:nvPr/>
        </p:nvSpPr>
        <p:spPr>
          <a:xfrm>
            <a:off x="10850143" y="1882339"/>
            <a:ext cx="4180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rPr>
              <a:t>1984</a:t>
            </a:r>
          </a:p>
        </p:txBody>
      </p:sp>
      <p:grpSp>
        <p:nvGrpSpPr>
          <p:cNvPr id="24" name="Group 1036">
            <a:extLst>
              <a:ext uri="{FF2B5EF4-FFF2-40B4-BE49-F238E27FC236}">
                <a16:creationId xmlns:a16="http://schemas.microsoft.com/office/drawing/2014/main" id="{746FA975-5B73-668A-A3F2-8E4FE358931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444333" y="3918106"/>
            <a:ext cx="246521" cy="245024"/>
            <a:chOff x="9876" y="-1946"/>
            <a:chExt cx="822" cy="817"/>
          </a:xfrm>
          <a:solidFill>
            <a:schemeClr val="bg1"/>
          </a:solidFill>
        </p:grpSpPr>
        <p:sp>
          <p:nvSpPr>
            <p:cNvPr id="27" name="Freeform 1038">
              <a:extLst>
                <a:ext uri="{FF2B5EF4-FFF2-40B4-BE49-F238E27FC236}">
                  <a16:creationId xmlns:a16="http://schemas.microsoft.com/office/drawing/2014/main" id="{1B3B6006-031E-6A7C-6344-55E1F68B1A9D}"/>
                </a:ext>
              </a:extLst>
            </p:cNvPr>
            <p:cNvSpPr/>
            <p:nvPr/>
          </p:nvSpPr>
          <p:spPr bwMode="auto">
            <a:xfrm>
              <a:off x="10016" y="-1801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5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6 h 298"/>
                <a:gd name="T24" fmla="*/ 1396 w 1421"/>
                <a:gd name="T25" fmla="*/ 232 h 298"/>
                <a:gd name="T26" fmla="*/ 1378 w 1421"/>
                <a:gd name="T27" fmla="*/ 254 h 298"/>
                <a:gd name="T28" fmla="*/ 1356 w 1421"/>
                <a:gd name="T29" fmla="*/ 272 h 298"/>
                <a:gd name="T30" fmla="*/ 1330 w 1421"/>
                <a:gd name="T31" fmla="*/ 285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5 h 298"/>
                <a:gd name="T42" fmla="*/ 65 w 1421"/>
                <a:gd name="T43" fmla="*/ 272 h 298"/>
                <a:gd name="T44" fmla="*/ 44 w 1421"/>
                <a:gd name="T45" fmla="*/ 254 h 298"/>
                <a:gd name="T46" fmla="*/ 25 w 1421"/>
                <a:gd name="T47" fmla="*/ 232 h 298"/>
                <a:gd name="T48" fmla="*/ 11 w 1421"/>
                <a:gd name="T49" fmla="*/ 206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5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5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6"/>
                  </a:lnTo>
                  <a:lnTo>
                    <a:pt x="1396" y="232"/>
                  </a:lnTo>
                  <a:lnTo>
                    <a:pt x="1378" y="254"/>
                  </a:lnTo>
                  <a:lnTo>
                    <a:pt x="1356" y="272"/>
                  </a:lnTo>
                  <a:lnTo>
                    <a:pt x="1330" y="285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5"/>
                  </a:lnTo>
                  <a:lnTo>
                    <a:pt x="65" y="272"/>
                  </a:lnTo>
                  <a:lnTo>
                    <a:pt x="44" y="254"/>
                  </a:lnTo>
                  <a:lnTo>
                    <a:pt x="25" y="232"/>
                  </a:lnTo>
                  <a:lnTo>
                    <a:pt x="11" y="206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5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28" name="Freeform 1039">
              <a:extLst>
                <a:ext uri="{FF2B5EF4-FFF2-40B4-BE49-F238E27FC236}">
                  <a16:creationId xmlns:a16="http://schemas.microsoft.com/office/drawing/2014/main" id="{81E0E994-513C-9601-F437-D8452AF425B5}"/>
                </a:ext>
              </a:extLst>
            </p:cNvPr>
            <p:cNvSpPr/>
            <p:nvPr/>
          </p:nvSpPr>
          <p:spPr bwMode="auto">
            <a:xfrm>
              <a:off x="10016" y="-1662"/>
              <a:ext cx="356" cy="75"/>
            </a:xfrm>
            <a:custGeom>
              <a:avLst/>
              <a:gdLst>
                <a:gd name="T0" fmla="*/ 149 w 1421"/>
                <a:gd name="T1" fmla="*/ 0 h 298"/>
                <a:gd name="T2" fmla="*/ 1272 w 1421"/>
                <a:gd name="T3" fmla="*/ 0 h 298"/>
                <a:gd name="T4" fmla="*/ 1302 w 1421"/>
                <a:gd name="T5" fmla="*/ 3 h 298"/>
                <a:gd name="T6" fmla="*/ 1330 w 1421"/>
                <a:gd name="T7" fmla="*/ 12 h 298"/>
                <a:gd name="T8" fmla="*/ 1356 w 1421"/>
                <a:gd name="T9" fmla="*/ 26 h 298"/>
                <a:gd name="T10" fmla="*/ 1378 w 1421"/>
                <a:gd name="T11" fmla="*/ 44 h 298"/>
                <a:gd name="T12" fmla="*/ 1396 w 1421"/>
                <a:gd name="T13" fmla="*/ 66 h 298"/>
                <a:gd name="T14" fmla="*/ 1410 w 1421"/>
                <a:gd name="T15" fmla="*/ 91 h 298"/>
                <a:gd name="T16" fmla="*/ 1418 w 1421"/>
                <a:gd name="T17" fmla="*/ 119 h 298"/>
                <a:gd name="T18" fmla="*/ 1421 w 1421"/>
                <a:gd name="T19" fmla="*/ 149 h 298"/>
                <a:gd name="T20" fmla="*/ 1418 w 1421"/>
                <a:gd name="T21" fmla="*/ 179 h 298"/>
                <a:gd name="T22" fmla="*/ 1410 w 1421"/>
                <a:gd name="T23" fmla="*/ 207 h 298"/>
                <a:gd name="T24" fmla="*/ 1396 w 1421"/>
                <a:gd name="T25" fmla="*/ 232 h 298"/>
                <a:gd name="T26" fmla="*/ 1378 w 1421"/>
                <a:gd name="T27" fmla="*/ 255 h 298"/>
                <a:gd name="T28" fmla="*/ 1356 w 1421"/>
                <a:gd name="T29" fmla="*/ 272 h 298"/>
                <a:gd name="T30" fmla="*/ 1330 w 1421"/>
                <a:gd name="T31" fmla="*/ 287 h 298"/>
                <a:gd name="T32" fmla="*/ 1302 w 1421"/>
                <a:gd name="T33" fmla="*/ 295 h 298"/>
                <a:gd name="T34" fmla="*/ 1272 w 1421"/>
                <a:gd name="T35" fmla="*/ 298 h 298"/>
                <a:gd name="T36" fmla="*/ 149 w 1421"/>
                <a:gd name="T37" fmla="*/ 298 h 298"/>
                <a:gd name="T38" fmla="*/ 119 w 1421"/>
                <a:gd name="T39" fmla="*/ 295 h 298"/>
                <a:gd name="T40" fmla="*/ 91 w 1421"/>
                <a:gd name="T41" fmla="*/ 287 h 298"/>
                <a:gd name="T42" fmla="*/ 65 w 1421"/>
                <a:gd name="T43" fmla="*/ 272 h 298"/>
                <a:gd name="T44" fmla="*/ 44 w 1421"/>
                <a:gd name="T45" fmla="*/ 255 h 298"/>
                <a:gd name="T46" fmla="*/ 25 w 1421"/>
                <a:gd name="T47" fmla="*/ 232 h 298"/>
                <a:gd name="T48" fmla="*/ 11 w 1421"/>
                <a:gd name="T49" fmla="*/ 207 h 298"/>
                <a:gd name="T50" fmla="*/ 3 w 1421"/>
                <a:gd name="T51" fmla="*/ 179 h 298"/>
                <a:gd name="T52" fmla="*/ 0 w 1421"/>
                <a:gd name="T53" fmla="*/ 149 h 298"/>
                <a:gd name="T54" fmla="*/ 3 w 1421"/>
                <a:gd name="T55" fmla="*/ 119 h 298"/>
                <a:gd name="T56" fmla="*/ 11 w 1421"/>
                <a:gd name="T57" fmla="*/ 91 h 298"/>
                <a:gd name="T58" fmla="*/ 25 w 1421"/>
                <a:gd name="T59" fmla="*/ 66 h 298"/>
                <a:gd name="T60" fmla="*/ 44 w 1421"/>
                <a:gd name="T61" fmla="*/ 44 h 298"/>
                <a:gd name="T62" fmla="*/ 65 w 1421"/>
                <a:gd name="T63" fmla="*/ 26 h 298"/>
                <a:gd name="T64" fmla="*/ 91 w 1421"/>
                <a:gd name="T65" fmla="*/ 12 h 298"/>
                <a:gd name="T66" fmla="*/ 119 w 1421"/>
                <a:gd name="T67" fmla="*/ 3 h 298"/>
                <a:gd name="T68" fmla="*/ 149 w 1421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1" h="298">
                  <a:moveTo>
                    <a:pt x="149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0" y="12"/>
                  </a:lnTo>
                  <a:lnTo>
                    <a:pt x="1356" y="26"/>
                  </a:lnTo>
                  <a:lnTo>
                    <a:pt x="1378" y="44"/>
                  </a:lnTo>
                  <a:lnTo>
                    <a:pt x="1396" y="66"/>
                  </a:lnTo>
                  <a:lnTo>
                    <a:pt x="1410" y="91"/>
                  </a:lnTo>
                  <a:lnTo>
                    <a:pt x="1418" y="119"/>
                  </a:lnTo>
                  <a:lnTo>
                    <a:pt x="1421" y="149"/>
                  </a:lnTo>
                  <a:lnTo>
                    <a:pt x="1418" y="179"/>
                  </a:lnTo>
                  <a:lnTo>
                    <a:pt x="1410" y="207"/>
                  </a:lnTo>
                  <a:lnTo>
                    <a:pt x="1396" y="232"/>
                  </a:lnTo>
                  <a:lnTo>
                    <a:pt x="1378" y="255"/>
                  </a:lnTo>
                  <a:lnTo>
                    <a:pt x="1356" y="272"/>
                  </a:lnTo>
                  <a:lnTo>
                    <a:pt x="1330" y="287"/>
                  </a:lnTo>
                  <a:lnTo>
                    <a:pt x="1302" y="295"/>
                  </a:lnTo>
                  <a:lnTo>
                    <a:pt x="1272" y="298"/>
                  </a:lnTo>
                  <a:lnTo>
                    <a:pt x="149" y="298"/>
                  </a:lnTo>
                  <a:lnTo>
                    <a:pt x="119" y="295"/>
                  </a:lnTo>
                  <a:lnTo>
                    <a:pt x="91" y="287"/>
                  </a:lnTo>
                  <a:lnTo>
                    <a:pt x="65" y="272"/>
                  </a:lnTo>
                  <a:lnTo>
                    <a:pt x="44" y="255"/>
                  </a:lnTo>
                  <a:lnTo>
                    <a:pt x="25" y="232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4"/>
                  </a:lnTo>
                  <a:lnTo>
                    <a:pt x="65" y="26"/>
                  </a:lnTo>
                  <a:lnTo>
                    <a:pt x="91" y="12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29" name="Freeform 1040">
              <a:extLst>
                <a:ext uri="{FF2B5EF4-FFF2-40B4-BE49-F238E27FC236}">
                  <a16:creationId xmlns:a16="http://schemas.microsoft.com/office/drawing/2014/main" id="{B6D43AD0-7298-17AA-8F52-1F0787B61463}"/>
                </a:ext>
              </a:extLst>
            </p:cNvPr>
            <p:cNvSpPr/>
            <p:nvPr/>
          </p:nvSpPr>
          <p:spPr bwMode="auto">
            <a:xfrm>
              <a:off x="10016" y="-1522"/>
              <a:ext cx="215" cy="74"/>
            </a:xfrm>
            <a:custGeom>
              <a:avLst/>
              <a:gdLst>
                <a:gd name="T0" fmla="*/ 149 w 860"/>
                <a:gd name="T1" fmla="*/ 0 h 297"/>
                <a:gd name="T2" fmla="*/ 711 w 860"/>
                <a:gd name="T3" fmla="*/ 0 h 297"/>
                <a:gd name="T4" fmla="*/ 741 w 860"/>
                <a:gd name="T5" fmla="*/ 3 h 297"/>
                <a:gd name="T6" fmla="*/ 769 w 860"/>
                <a:gd name="T7" fmla="*/ 11 h 297"/>
                <a:gd name="T8" fmla="*/ 795 w 860"/>
                <a:gd name="T9" fmla="*/ 26 h 297"/>
                <a:gd name="T10" fmla="*/ 817 w 860"/>
                <a:gd name="T11" fmla="*/ 43 h 297"/>
                <a:gd name="T12" fmla="*/ 835 w 860"/>
                <a:gd name="T13" fmla="*/ 66 h 297"/>
                <a:gd name="T14" fmla="*/ 849 w 860"/>
                <a:gd name="T15" fmla="*/ 90 h 297"/>
                <a:gd name="T16" fmla="*/ 857 w 860"/>
                <a:gd name="T17" fmla="*/ 118 h 297"/>
                <a:gd name="T18" fmla="*/ 860 w 860"/>
                <a:gd name="T19" fmla="*/ 149 h 297"/>
                <a:gd name="T20" fmla="*/ 857 w 860"/>
                <a:gd name="T21" fmla="*/ 179 h 297"/>
                <a:gd name="T22" fmla="*/ 849 w 860"/>
                <a:gd name="T23" fmla="*/ 207 h 297"/>
                <a:gd name="T24" fmla="*/ 835 w 860"/>
                <a:gd name="T25" fmla="*/ 231 h 297"/>
                <a:gd name="T26" fmla="*/ 817 w 860"/>
                <a:gd name="T27" fmla="*/ 254 h 297"/>
                <a:gd name="T28" fmla="*/ 795 w 860"/>
                <a:gd name="T29" fmla="*/ 271 h 297"/>
                <a:gd name="T30" fmla="*/ 769 w 860"/>
                <a:gd name="T31" fmla="*/ 286 h 297"/>
                <a:gd name="T32" fmla="*/ 741 w 860"/>
                <a:gd name="T33" fmla="*/ 294 h 297"/>
                <a:gd name="T34" fmla="*/ 711 w 860"/>
                <a:gd name="T35" fmla="*/ 297 h 297"/>
                <a:gd name="T36" fmla="*/ 149 w 860"/>
                <a:gd name="T37" fmla="*/ 297 h 297"/>
                <a:gd name="T38" fmla="*/ 119 w 860"/>
                <a:gd name="T39" fmla="*/ 294 h 297"/>
                <a:gd name="T40" fmla="*/ 91 w 860"/>
                <a:gd name="T41" fmla="*/ 286 h 297"/>
                <a:gd name="T42" fmla="*/ 65 w 860"/>
                <a:gd name="T43" fmla="*/ 271 h 297"/>
                <a:gd name="T44" fmla="*/ 44 w 860"/>
                <a:gd name="T45" fmla="*/ 254 h 297"/>
                <a:gd name="T46" fmla="*/ 25 w 860"/>
                <a:gd name="T47" fmla="*/ 231 h 297"/>
                <a:gd name="T48" fmla="*/ 11 w 860"/>
                <a:gd name="T49" fmla="*/ 207 h 297"/>
                <a:gd name="T50" fmla="*/ 3 w 860"/>
                <a:gd name="T51" fmla="*/ 179 h 297"/>
                <a:gd name="T52" fmla="*/ 0 w 860"/>
                <a:gd name="T53" fmla="*/ 149 h 297"/>
                <a:gd name="T54" fmla="*/ 3 w 860"/>
                <a:gd name="T55" fmla="*/ 118 h 297"/>
                <a:gd name="T56" fmla="*/ 11 w 860"/>
                <a:gd name="T57" fmla="*/ 90 h 297"/>
                <a:gd name="T58" fmla="*/ 25 w 860"/>
                <a:gd name="T59" fmla="*/ 66 h 297"/>
                <a:gd name="T60" fmla="*/ 44 w 860"/>
                <a:gd name="T61" fmla="*/ 43 h 297"/>
                <a:gd name="T62" fmla="*/ 65 w 860"/>
                <a:gd name="T63" fmla="*/ 26 h 297"/>
                <a:gd name="T64" fmla="*/ 91 w 860"/>
                <a:gd name="T65" fmla="*/ 11 h 297"/>
                <a:gd name="T66" fmla="*/ 119 w 860"/>
                <a:gd name="T67" fmla="*/ 3 h 297"/>
                <a:gd name="T68" fmla="*/ 149 w 860"/>
                <a:gd name="T6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0" h="297">
                  <a:moveTo>
                    <a:pt x="149" y="0"/>
                  </a:moveTo>
                  <a:lnTo>
                    <a:pt x="711" y="0"/>
                  </a:lnTo>
                  <a:lnTo>
                    <a:pt x="741" y="3"/>
                  </a:lnTo>
                  <a:lnTo>
                    <a:pt x="769" y="11"/>
                  </a:lnTo>
                  <a:lnTo>
                    <a:pt x="795" y="26"/>
                  </a:lnTo>
                  <a:lnTo>
                    <a:pt x="817" y="43"/>
                  </a:lnTo>
                  <a:lnTo>
                    <a:pt x="835" y="66"/>
                  </a:lnTo>
                  <a:lnTo>
                    <a:pt x="849" y="90"/>
                  </a:lnTo>
                  <a:lnTo>
                    <a:pt x="857" y="118"/>
                  </a:lnTo>
                  <a:lnTo>
                    <a:pt x="860" y="149"/>
                  </a:lnTo>
                  <a:lnTo>
                    <a:pt x="857" y="179"/>
                  </a:lnTo>
                  <a:lnTo>
                    <a:pt x="849" y="207"/>
                  </a:lnTo>
                  <a:lnTo>
                    <a:pt x="835" y="231"/>
                  </a:lnTo>
                  <a:lnTo>
                    <a:pt x="817" y="254"/>
                  </a:lnTo>
                  <a:lnTo>
                    <a:pt x="795" y="271"/>
                  </a:lnTo>
                  <a:lnTo>
                    <a:pt x="769" y="286"/>
                  </a:lnTo>
                  <a:lnTo>
                    <a:pt x="741" y="294"/>
                  </a:lnTo>
                  <a:lnTo>
                    <a:pt x="711" y="297"/>
                  </a:lnTo>
                  <a:lnTo>
                    <a:pt x="149" y="297"/>
                  </a:lnTo>
                  <a:lnTo>
                    <a:pt x="119" y="294"/>
                  </a:lnTo>
                  <a:lnTo>
                    <a:pt x="91" y="286"/>
                  </a:lnTo>
                  <a:lnTo>
                    <a:pt x="65" y="271"/>
                  </a:lnTo>
                  <a:lnTo>
                    <a:pt x="44" y="254"/>
                  </a:lnTo>
                  <a:lnTo>
                    <a:pt x="25" y="231"/>
                  </a:lnTo>
                  <a:lnTo>
                    <a:pt x="11" y="207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8"/>
                  </a:lnTo>
                  <a:lnTo>
                    <a:pt x="11" y="90"/>
                  </a:lnTo>
                  <a:lnTo>
                    <a:pt x="25" y="66"/>
                  </a:lnTo>
                  <a:lnTo>
                    <a:pt x="44" y="43"/>
                  </a:lnTo>
                  <a:lnTo>
                    <a:pt x="65" y="26"/>
                  </a:lnTo>
                  <a:lnTo>
                    <a:pt x="91" y="11"/>
                  </a:lnTo>
                  <a:lnTo>
                    <a:pt x="119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30" name="Freeform 1041">
              <a:extLst>
                <a:ext uri="{FF2B5EF4-FFF2-40B4-BE49-F238E27FC236}">
                  <a16:creationId xmlns:a16="http://schemas.microsoft.com/office/drawing/2014/main" id="{46D483E5-3865-DC30-3AAE-18FEF4C11990}"/>
                </a:ext>
              </a:extLst>
            </p:cNvPr>
            <p:cNvSpPr/>
            <p:nvPr/>
          </p:nvSpPr>
          <p:spPr bwMode="auto">
            <a:xfrm>
              <a:off x="9876" y="-1946"/>
              <a:ext cx="636" cy="817"/>
            </a:xfrm>
            <a:custGeom>
              <a:avLst/>
              <a:gdLst>
                <a:gd name="T0" fmla="*/ 150 w 2545"/>
                <a:gd name="T1" fmla="*/ 0 h 3271"/>
                <a:gd name="T2" fmla="*/ 2395 w 2545"/>
                <a:gd name="T3" fmla="*/ 0 h 3271"/>
                <a:gd name="T4" fmla="*/ 2425 w 2545"/>
                <a:gd name="T5" fmla="*/ 3 h 3271"/>
                <a:gd name="T6" fmla="*/ 2453 w 2545"/>
                <a:gd name="T7" fmla="*/ 11 h 3271"/>
                <a:gd name="T8" fmla="*/ 2479 w 2545"/>
                <a:gd name="T9" fmla="*/ 26 h 3271"/>
                <a:gd name="T10" fmla="*/ 2501 w 2545"/>
                <a:gd name="T11" fmla="*/ 43 h 3271"/>
                <a:gd name="T12" fmla="*/ 2520 w 2545"/>
                <a:gd name="T13" fmla="*/ 66 h 3271"/>
                <a:gd name="T14" fmla="*/ 2533 w 2545"/>
                <a:gd name="T15" fmla="*/ 90 h 3271"/>
                <a:gd name="T16" fmla="*/ 2542 w 2545"/>
                <a:gd name="T17" fmla="*/ 118 h 3271"/>
                <a:gd name="T18" fmla="*/ 2545 w 2545"/>
                <a:gd name="T19" fmla="*/ 148 h 3271"/>
                <a:gd name="T20" fmla="*/ 2545 w 2545"/>
                <a:gd name="T21" fmla="*/ 369 h 3271"/>
                <a:gd name="T22" fmla="*/ 2246 w 2545"/>
                <a:gd name="T23" fmla="*/ 885 h 3271"/>
                <a:gd name="T24" fmla="*/ 2246 w 2545"/>
                <a:gd name="T25" fmla="*/ 297 h 3271"/>
                <a:gd name="T26" fmla="*/ 300 w 2545"/>
                <a:gd name="T27" fmla="*/ 297 h 3271"/>
                <a:gd name="T28" fmla="*/ 300 w 2545"/>
                <a:gd name="T29" fmla="*/ 2973 h 3271"/>
                <a:gd name="T30" fmla="*/ 2246 w 2545"/>
                <a:gd name="T31" fmla="*/ 2973 h 3271"/>
                <a:gd name="T32" fmla="*/ 2246 w 2545"/>
                <a:gd name="T33" fmla="*/ 2603 h 3271"/>
                <a:gd name="T34" fmla="*/ 2403 w 2545"/>
                <a:gd name="T35" fmla="*/ 2500 h 3271"/>
                <a:gd name="T36" fmla="*/ 2430 w 2545"/>
                <a:gd name="T37" fmla="*/ 2478 h 3271"/>
                <a:gd name="T38" fmla="*/ 2454 w 2545"/>
                <a:gd name="T39" fmla="*/ 2453 h 3271"/>
                <a:gd name="T40" fmla="*/ 2474 w 2545"/>
                <a:gd name="T41" fmla="*/ 2425 h 3271"/>
                <a:gd name="T42" fmla="*/ 2545 w 2545"/>
                <a:gd name="T43" fmla="*/ 2302 h 3271"/>
                <a:gd name="T44" fmla="*/ 2545 w 2545"/>
                <a:gd name="T45" fmla="*/ 3122 h 3271"/>
                <a:gd name="T46" fmla="*/ 2542 w 2545"/>
                <a:gd name="T47" fmla="*/ 3151 h 3271"/>
                <a:gd name="T48" fmla="*/ 2533 w 2545"/>
                <a:gd name="T49" fmla="*/ 3179 h 3271"/>
                <a:gd name="T50" fmla="*/ 2520 w 2545"/>
                <a:gd name="T51" fmla="*/ 3205 h 3271"/>
                <a:gd name="T52" fmla="*/ 2501 w 2545"/>
                <a:gd name="T53" fmla="*/ 3226 h 3271"/>
                <a:gd name="T54" fmla="*/ 2479 w 2545"/>
                <a:gd name="T55" fmla="*/ 3245 h 3271"/>
                <a:gd name="T56" fmla="*/ 2453 w 2545"/>
                <a:gd name="T57" fmla="*/ 3258 h 3271"/>
                <a:gd name="T58" fmla="*/ 2425 w 2545"/>
                <a:gd name="T59" fmla="*/ 3268 h 3271"/>
                <a:gd name="T60" fmla="*/ 2395 w 2545"/>
                <a:gd name="T61" fmla="*/ 3271 h 3271"/>
                <a:gd name="T62" fmla="*/ 150 w 2545"/>
                <a:gd name="T63" fmla="*/ 3271 h 3271"/>
                <a:gd name="T64" fmla="*/ 120 w 2545"/>
                <a:gd name="T65" fmla="*/ 3268 h 3271"/>
                <a:gd name="T66" fmla="*/ 92 w 2545"/>
                <a:gd name="T67" fmla="*/ 3258 h 3271"/>
                <a:gd name="T68" fmla="*/ 66 w 2545"/>
                <a:gd name="T69" fmla="*/ 3245 h 3271"/>
                <a:gd name="T70" fmla="*/ 44 w 2545"/>
                <a:gd name="T71" fmla="*/ 3226 h 3271"/>
                <a:gd name="T72" fmla="*/ 26 w 2545"/>
                <a:gd name="T73" fmla="*/ 3205 h 3271"/>
                <a:gd name="T74" fmla="*/ 12 w 2545"/>
                <a:gd name="T75" fmla="*/ 3179 h 3271"/>
                <a:gd name="T76" fmla="*/ 3 w 2545"/>
                <a:gd name="T77" fmla="*/ 3151 h 3271"/>
                <a:gd name="T78" fmla="*/ 0 w 2545"/>
                <a:gd name="T79" fmla="*/ 3122 h 3271"/>
                <a:gd name="T80" fmla="*/ 0 w 2545"/>
                <a:gd name="T81" fmla="*/ 148 h 3271"/>
                <a:gd name="T82" fmla="*/ 3 w 2545"/>
                <a:gd name="T83" fmla="*/ 118 h 3271"/>
                <a:gd name="T84" fmla="*/ 12 w 2545"/>
                <a:gd name="T85" fmla="*/ 90 h 3271"/>
                <a:gd name="T86" fmla="*/ 26 w 2545"/>
                <a:gd name="T87" fmla="*/ 66 h 3271"/>
                <a:gd name="T88" fmla="*/ 44 w 2545"/>
                <a:gd name="T89" fmla="*/ 43 h 3271"/>
                <a:gd name="T90" fmla="*/ 66 w 2545"/>
                <a:gd name="T91" fmla="*/ 26 h 3271"/>
                <a:gd name="T92" fmla="*/ 92 w 2545"/>
                <a:gd name="T93" fmla="*/ 11 h 3271"/>
                <a:gd name="T94" fmla="*/ 120 w 2545"/>
                <a:gd name="T95" fmla="*/ 3 h 3271"/>
                <a:gd name="T96" fmla="*/ 150 w 2545"/>
                <a:gd name="T97" fmla="*/ 0 h 3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45" h="3271">
                  <a:moveTo>
                    <a:pt x="150" y="0"/>
                  </a:moveTo>
                  <a:lnTo>
                    <a:pt x="2395" y="0"/>
                  </a:lnTo>
                  <a:lnTo>
                    <a:pt x="2425" y="3"/>
                  </a:lnTo>
                  <a:lnTo>
                    <a:pt x="2453" y="11"/>
                  </a:lnTo>
                  <a:lnTo>
                    <a:pt x="2479" y="26"/>
                  </a:lnTo>
                  <a:lnTo>
                    <a:pt x="2501" y="43"/>
                  </a:lnTo>
                  <a:lnTo>
                    <a:pt x="2520" y="66"/>
                  </a:lnTo>
                  <a:lnTo>
                    <a:pt x="2533" y="90"/>
                  </a:lnTo>
                  <a:lnTo>
                    <a:pt x="2542" y="118"/>
                  </a:lnTo>
                  <a:lnTo>
                    <a:pt x="2545" y="148"/>
                  </a:lnTo>
                  <a:lnTo>
                    <a:pt x="2545" y="369"/>
                  </a:lnTo>
                  <a:lnTo>
                    <a:pt x="2246" y="885"/>
                  </a:lnTo>
                  <a:lnTo>
                    <a:pt x="2246" y="297"/>
                  </a:lnTo>
                  <a:lnTo>
                    <a:pt x="300" y="297"/>
                  </a:lnTo>
                  <a:lnTo>
                    <a:pt x="300" y="2973"/>
                  </a:lnTo>
                  <a:lnTo>
                    <a:pt x="2246" y="2973"/>
                  </a:lnTo>
                  <a:lnTo>
                    <a:pt x="2246" y="2603"/>
                  </a:lnTo>
                  <a:lnTo>
                    <a:pt x="2403" y="2500"/>
                  </a:lnTo>
                  <a:lnTo>
                    <a:pt x="2430" y="2478"/>
                  </a:lnTo>
                  <a:lnTo>
                    <a:pt x="2454" y="2453"/>
                  </a:lnTo>
                  <a:lnTo>
                    <a:pt x="2474" y="2425"/>
                  </a:lnTo>
                  <a:lnTo>
                    <a:pt x="2545" y="2302"/>
                  </a:lnTo>
                  <a:lnTo>
                    <a:pt x="2545" y="3122"/>
                  </a:lnTo>
                  <a:lnTo>
                    <a:pt x="2542" y="3151"/>
                  </a:lnTo>
                  <a:lnTo>
                    <a:pt x="2533" y="3179"/>
                  </a:lnTo>
                  <a:lnTo>
                    <a:pt x="2520" y="3205"/>
                  </a:lnTo>
                  <a:lnTo>
                    <a:pt x="2501" y="3226"/>
                  </a:lnTo>
                  <a:lnTo>
                    <a:pt x="2479" y="3245"/>
                  </a:lnTo>
                  <a:lnTo>
                    <a:pt x="2453" y="3258"/>
                  </a:lnTo>
                  <a:lnTo>
                    <a:pt x="2425" y="3268"/>
                  </a:lnTo>
                  <a:lnTo>
                    <a:pt x="2395" y="3271"/>
                  </a:lnTo>
                  <a:lnTo>
                    <a:pt x="150" y="3271"/>
                  </a:lnTo>
                  <a:lnTo>
                    <a:pt x="120" y="3268"/>
                  </a:lnTo>
                  <a:lnTo>
                    <a:pt x="92" y="3258"/>
                  </a:lnTo>
                  <a:lnTo>
                    <a:pt x="66" y="3245"/>
                  </a:lnTo>
                  <a:lnTo>
                    <a:pt x="44" y="3226"/>
                  </a:lnTo>
                  <a:lnTo>
                    <a:pt x="26" y="3205"/>
                  </a:lnTo>
                  <a:lnTo>
                    <a:pt x="12" y="3179"/>
                  </a:lnTo>
                  <a:lnTo>
                    <a:pt x="3" y="3151"/>
                  </a:lnTo>
                  <a:lnTo>
                    <a:pt x="0" y="3122"/>
                  </a:lnTo>
                  <a:lnTo>
                    <a:pt x="0" y="148"/>
                  </a:lnTo>
                  <a:lnTo>
                    <a:pt x="3" y="118"/>
                  </a:lnTo>
                  <a:lnTo>
                    <a:pt x="12" y="90"/>
                  </a:lnTo>
                  <a:lnTo>
                    <a:pt x="26" y="66"/>
                  </a:lnTo>
                  <a:lnTo>
                    <a:pt x="44" y="43"/>
                  </a:lnTo>
                  <a:lnTo>
                    <a:pt x="66" y="26"/>
                  </a:lnTo>
                  <a:lnTo>
                    <a:pt x="92" y="11"/>
                  </a:lnTo>
                  <a:lnTo>
                    <a:pt x="120" y="3"/>
                  </a:lnTo>
                  <a:lnTo>
                    <a:pt x="1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dirty="0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31" name="Freeform 1042">
              <a:extLst>
                <a:ext uri="{FF2B5EF4-FFF2-40B4-BE49-F238E27FC236}">
                  <a16:creationId xmlns:a16="http://schemas.microsoft.com/office/drawing/2014/main" id="{8C109710-3341-EDB9-F12C-4148184AA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05" y="-1855"/>
              <a:ext cx="393" cy="586"/>
            </a:xfrm>
            <a:custGeom>
              <a:avLst/>
              <a:gdLst>
                <a:gd name="T0" fmla="*/ 130 w 1574"/>
                <a:gd name="T1" fmla="*/ 1973 h 2342"/>
                <a:gd name="T2" fmla="*/ 221 w 1574"/>
                <a:gd name="T3" fmla="*/ 2017 h 2342"/>
                <a:gd name="T4" fmla="*/ 305 w 1574"/>
                <a:gd name="T5" fmla="*/ 2073 h 2342"/>
                <a:gd name="T6" fmla="*/ 434 w 1574"/>
                <a:gd name="T7" fmla="*/ 1957 h 2342"/>
                <a:gd name="T8" fmla="*/ 385 w 1574"/>
                <a:gd name="T9" fmla="*/ 1912 h 2342"/>
                <a:gd name="T10" fmla="*/ 311 w 1574"/>
                <a:gd name="T11" fmla="*/ 1861 h 2342"/>
                <a:gd name="T12" fmla="*/ 242 w 1574"/>
                <a:gd name="T13" fmla="*/ 1827 h 2342"/>
                <a:gd name="T14" fmla="*/ 186 w 1574"/>
                <a:gd name="T15" fmla="*/ 1808 h 2342"/>
                <a:gd name="T16" fmla="*/ 140 w 1574"/>
                <a:gd name="T17" fmla="*/ 1799 h 2342"/>
                <a:gd name="T18" fmla="*/ 1106 w 1574"/>
                <a:gd name="T19" fmla="*/ 0 h 2342"/>
                <a:gd name="T20" fmla="*/ 1161 w 1574"/>
                <a:gd name="T21" fmla="*/ 7 h 2342"/>
                <a:gd name="T22" fmla="*/ 1227 w 1574"/>
                <a:gd name="T23" fmla="*/ 25 h 2342"/>
                <a:gd name="T24" fmla="*/ 1305 w 1574"/>
                <a:gd name="T25" fmla="*/ 56 h 2342"/>
                <a:gd name="T26" fmla="*/ 1391 w 1574"/>
                <a:gd name="T27" fmla="*/ 107 h 2342"/>
                <a:gd name="T28" fmla="*/ 1462 w 1574"/>
                <a:gd name="T29" fmla="*/ 161 h 2342"/>
                <a:gd name="T30" fmla="*/ 1512 w 1574"/>
                <a:gd name="T31" fmla="*/ 213 h 2342"/>
                <a:gd name="T32" fmla="*/ 1544 w 1574"/>
                <a:gd name="T33" fmla="*/ 258 h 2342"/>
                <a:gd name="T34" fmla="*/ 1562 w 1574"/>
                <a:gd name="T35" fmla="*/ 294 h 2342"/>
                <a:gd name="T36" fmla="*/ 1571 w 1574"/>
                <a:gd name="T37" fmla="*/ 316 h 2342"/>
                <a:gd name="T38" fmla="*/ 1574 w 1574"/>
                <a:gd name="T39" fmla="*/ 340 h 2342"/>
                <a:gd name="T40" fmla="*/ 1563 w 1574"/>
                <a:gd name="T41" fmla="*/ 375 h 2342"/>
                <a:gd name="T42" fmla="*/ 618 w 1574"/>
                <a:gd name="T43" fmla="*/ 1998 h 2342"/>
                <a:gd name="T44" fmla="*/ 115 w 1574"/>
                <a:gd name="T45" fmla="*/ 2330 h 2342"/>
                <a:gd name="T46" fmla="*/ 77 w 1574"/>
                <a:gd name="T47" fmla="*/ 2342 h 2342"/>
                <a:gd name="T48" fmla="*/ 36 w 1574"/>
                <a:gd name="T49" fmla="*/ 2332 h 2342"/>
                <a:gd name="T50" fmla="*/ 13 w 1574"/>
                <a:gd name="T51" fmla="*/ 2311 h 2342"/>
                <a:gd name="T52" fmla="*/ 0 w 1574"/>
                <a:gd name="T53" fmla="*/ 2280 h 2342"/>
                <a:gd name="T54" fmla="*/ 34 w 1574"/>
                <a:gd name="T55" fmla="*/ 1683 h 2342"/>
                <a:gd name="T56" fmla="*/ 45 w 1574"/>
                <a:gd name="T57" fmla="*/ 1651 h 2342"/>
                <a:gd name="T58" fmla="*/ 991 w 1574"/>
                <a:gd name="T59" fmla="*/ 27 h 2342"/>
                <a:gd name="T60" fmla="*/ 1023 w 1574"/>
                <a:gd name="T61" fmla="*/ 7 h 2342"/>
                <a:gd name="T62" fmla="*/ 1036 w 1574"/>
                <a:gd name="T63" fmla="*/ 4 h 2342"/>
                <a:gd name="T64" fmla="*/ 1064 w 1574"/>
                <a:gd name="T65" fmla="*/ 0 h 2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74" h="2342">
                  <a:moveTo>
                    <a:pt x="140" y="1799"/>
                  </a:moveTo>
                  <a:lnTo>
                    <a:pt x="130" y="1973"/>
                  </a:lnTo>
                  <a:lnTo>
                    <a:pt x="175" y="1993"/>
                  </a:lnTo>
                  <a:lnTo>
                    <a:pt x="221" y="2017"/>
                  </a:lnTo>
                  <a:lnTo>
                    <a:pt x="264" y="2043"/>
                  </a:lnTo>
                  <a:lnTo>
                    <a:pt x="305" y="2073"/>
                  </a:lnTo>
                  <a:lnTo>
                    <a:pt x="451" y="1976"/>
                  </a:lnTo>
                  <a:lnTo>
                    <a:pt x="434" y="1957"/>
                  </a:lnTo>
                  <a:lnTo>
                    <a:pt x="412" y="1935"/>
                  </a:lnTo>
                  <a:lnTo>
                    <a:pt x="385" y="1912"/>
                  </a:lnTo>
                  <a:lnTo>
                    <a:pt x="351" y="1887"/>
                  </a:lnTo>
                  <a:lnTo>
                    <a:pt x="311" y="1861"/>
                  </a:lnTo>
                  <a:lnTo>
                    <a:pt x="276" y="1843"/>
                  </a:lnTo>
                  <a:lnTo>
                    <a:pt x="242" y="1827"/>
                  </a:lnTo>
                  <a:lnTo>
                    <a:pt x="212" y="1816"/>
                  </a:lnTo>
                  <a:lnTo>
                    <a:pt x="186" y="1808"/>
                  </a:lnTo>
                  <a:lnTo>
                    <a:pt x="162" y="1803"/>
                  </a:lnTo>
                  <a:lnTo>
                    <a:pt x="140" y="1799"/>
                  </a:lnTo>
                  <a:close/>
                  <a:moveTo>
                    <a:pt x="1083" y="0"/>
                  </a:moveTo>
                  <a:lnTo>
                    <a:pt x="1106" y="0"/>
                  </a:lnTo>
                  <a:lnTo>
                    <a:pt x="1132" y="2"/>
                  </a:lnTo>
                  <a:lnTo>
                    <a:pt x="1161" y="7"/>
                  </a:lnTo>
                  <a:lnTo>
                    <a:pt x="1192" y="14"/>
                  </a:lnTo>
                  <a:lnTo>
                    <a:pt x="1227" y="25"/>
                  </a:lnTo>
                  <a:lnTo>
                    <a:pt x="1264" y="39"/>
                  </a:lnTo>
                  <a:lnTo>
                    <a:pt x="1305" y="56"/>
                  </a:lnTo>
                  <a:lnTo>
                    <a:pt x="1347" y="80"/>
                  </a:lnTo>
                  <a:lnTo>
                    <a:pt x="1391" y="107"/>
                  </a:lnTo>
                  <a:lnTo>
                    <a:pt x="1430" y="135"/>
                  </a:lnTo>
                  <a:lnTo>
                    <a:pt x="1462" y="161"/>
                  </a:lnTo>
                  <a:lnTo>
                    <a:pt x="1489" y="188"/>
                  </a:lnTo>
                  <a:lnTo>
                    <a:pt x="1512" y="213"/>
                  </a:lnTo>
                  <a:lnTo>
                    <a:pt x="1529" y="236"/>
                  </a:lnTo>
                  <a:lnTo>
                    <a:pt x="1544" y="258"/>
                  </a:lnTo>
                  <a:lnTo>
                    <a:pt x="1554" y="277"/>
                  </a:lnTo>
                  <a:lnTo>
                    <a:pt x="1562" y="294"/>
                  </a:lnTo>
                  <a:lnTo>
                    <a:pt x="1567" y="307"/>
                  </a:lnTo>
                  <a:lnTo>
                    <a:pt x="1571" y="316"/>
                  </a:lnTo>
                  <a:lnTo>
                    <a:pt x="1572" y="322"/>
                  </a:lnTo>
                  <a:lnTo>
                    <a:pt x="1574" y="340"/>
                  </a:lnTo>
                  <a:lnTo>
                    <a:pt x="1571" y="359"/>
                  </a:lnTo>
                  <a:lnTo>
                    <a:pt x="1563" y="375"/>
                  </a:lnTo>
                  <a:lnTo>
                    <a:pt x="628" y="1985"/>
                  </a:lnTo>
                  <a:lnTo>
                    <a:pt x="618" y="1998"/>
                  </a:lnTo>
                  <a:lnTo>
                    <a:pt x="605" y="2009"/>
                  </a:lnTo>
                  <a:lnTo>
                    <a:pt x="115" y="2330"/>
                  </a:lnTo>
                  <a:lnTo>
                    <a:pt x="97" y="2339"/>
                  </a:lnTo>
                  <a:lnTo>
                    <a:pt x="77" y="2342"/>
                  </a:lnTo>
                  <a:lnTo>
                    <a:pt x="56" y="2340"/>
                  </a:lnTo>
                  <a:lnTo>
                    <a:pt x="36" y="2332"/>
                  </a:lnTo>
                  <a:lnTo>
                    <a:pt x="23" y="2323"/>
                  </a:lnTo>
                  <a:lnTo>
                    <a:pt x="13" y="2311"/>
                  </a:lnTo>
                  <a:lnTo>
                    <a:pt x="5" y="2296"/>
                  </a:lnTo>
                  <a:lnTo>
                    <a:pt x="0" y="2280"/>
                  </a:lnTo>
                  <a:lnTo>
                    <a:pt x="0" y="2263"/>
                  </a:lnTo>
                  <a:lnTo>
                    <a:pt x="34" y="1683"/>
                  </a:lnTo>
                  <a:lnTo>
                    <a:pt x="38" y="1666"/>
                  </a:lnTo>
                  <a:lnTo>
                    <a:pt x="45" y="1651"/>
                  </a:lnTo>
                  <a:lnTo>
                    <a:pt x="981" y="41"/>
                  </a:lnTo>
                  <a:lnTo>
                    <a:pt x="991" y="27"/>
                  </a:lnTo>
                  <a:lnTo>
                    <a:pt x="1005" y="15"/>
                  </a:lnTo>
                  <a:lnTo>
                    <a:pt x="1023" y="7"/>
                  </a:lnTo>
                  <a:lnTo>
                    <a:pt x="1027" y="6"/>
                  </a:lnTo>
                  <a:lnTo>
                    <a:pt x="1036" y="4"/>
                  </a:lnTo>
                  <a:lnTo>
                    <a:pt x="1049" y="2"/>
                  </a:lnTo>
                  <a:lnTo>
                    <a:pt x="1064" y="0"/>
                  </a:lnTo>
                  <a:lnTo>
                    <a:pt x="10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  <p:sp>
          <p:nvSpPr>
            <p:cNvPr id="32" name="Freeform 1043">
              <a:extLst>
                <a:ext uri="{FF2B5EF4-FFF2-40B4-BE49-F238E27FC236}">
                  <a16:creationId xmlns:a16="http://schemas.microsoft.com/office/drawing/2014/main" id="{D6331B69-ABD4-9D3E-7C1E-A2E0FB02A11C}"/>
                </a:ext>
              </a:extLst>
            </p:cNvPr>
            <p:cNvSpPr/>
            <p:nvPr/>
          </p:nvSpPr>
          <p:spPr bwMode="auto">
            <a:xfrm>
              <a:off x="9995" y="-1385"/>
              <a:ext cx="286" cy="146"/>
            </a:xfrm>
            <a:custGeom>
              <a:avLst/>
              <a:gdLst>
                <a:gd name="T0" fmla="*/ 551 w 1143"/>
                <a:gd name="T1" fmla="*/ 5 h 585"/>
                <a:gd name="T2" fmla="*/ 577 w 1143"/>
                <a:gd name="T3" fmla="*/ 28 h 585"/>
                <a:gd name="T4" fmla="*/ 585 w 1143"/>
                <a:gd name="T5" fmla="*/ 110 h 585"/>
                <a:gd name="T6" fmla="*/ 554 w 1143"/>
                <a:gd name="T7" fmla="*/ 197 h 585"/>
                <a:gd name="T8" fmla="*/ 563 w 1143"/>
                <a:gd name="T9" fmla="*/ 239 h 585"/>
                <a:gd name="T10" fmla="*/ 581 w 1143"/>
                <a:gd name="T11" fmla="*/ 267 h 585"/>
                <a:gd name="T12" fmla="*/ 631 w 1143"/>
                <a:gd name="T13" fmla="*/ 275 h 585"/>
                <a:gd name="T14" fmla="*/ 674 w 1143"/>
                <a:gd name="T15" fmla="*/ 319 h 585"/>
                <a:gd name="T16" fmla="*/ 685 w 1143"/>
                <a:gd name="T17" fmla="*/ 353 h 585"/>
                <a:gd name="T18" fmla="*/ 838 w 1143"/>
                <a:gd name="T19" fmla="*/ 347 h 585"/>
                <a:gd name="T20" fmla="*/ 986 w 1143"/>
                <a:gd name="T21" fmla="*/ 362 h 585"/>
                <a:gd name="T22" fmla="*/ 1106 w 1143"/>
                <a:gd name="T23" fmla="*/ 369 h 585"/>
                <a:gd name="T24" fmla="*/ 1137 w 1143"/>
                <a:gd name="T25" fmla="*/ 396 h 585"/>
                <a:gd name="T26" fmla="*/ 1142 w 1143"/>
                <a:gd name="T27" fmla="*/ 436 h 585"/>
                <a:gd name="T28" fmla="*/ 1119 w 1143"/>
                <a:gd name="T29" fmla="*/ 470 h 585"/>
                <a:gd name="T30" fmla="*/ 1055 w 1143"/>
                <a:gd name="T31" fmla="*/ 477 h 585"/>
                <a:gd name="T32" fmla="*/ 946 w 1143"/>
                <a:gd name="T33" fmla="*/ 461 h 585"/>
                <a:gd name="T34" fmla="*/ 834 w 1143"/>
                <a:gd name="T35" fmla="*/ 447 h 585"/>
                <a:gd name="T36" fmla="*/ 730 w 1143"/>
                <a:gd name="T37" fmla="*/ 456 h 585"/>
                <a:gd name="T38" fmla="*/ 672 w 1143"/>
                <a:gd name="T39" fmla="*/ 481 h 585"/>
                <a:gd name="T40" fmla="*/ 630 w 1143"/>
                <a:gd name="T41" fmla="*/ 486 h 585"/>
                <a:gd name="T42" fmla="*/ 596 w 1143"/>
                <a:gd name="T43" fmla="*/ 472 h 585"/>
                <a:gd name="T44" fmla="*/ 571 w 1143"/>
                <a:gd name="T45" fmla="*/ 449 h 585"/>
                <a:gd name="T46" fmla="*/ 565 w 1143"/>
                <a:gd name="T47" fmla="*/ 403 h 585"/>
                <a:gd name="T48" fmla="*/ 531 w 1143"/>
                <a:gd name="T49" fmla="*/ 452 h 585"/>
                <a:gd name="T50" fmla="*/ 490 w 1143"/>
                <a:gd name="T51" fmla="*/ 465 h 585"/>
                <a:gd name="T52" fmla="*/ 450 w 1143"/>
                <a:gd name="T53" fmla="*/ 451 h 585"/>
                <a:gd name="T54" fmla="*/ 435 w 1143"/>
                <a:gd name="T55" fmla="*/ 414 h 585"/>
                <a:gd name="T56" fmla="*/ 445 w 1143"/>
                <a:gd name="T57" fmla="*/ 385 h 585"/>
                <a:gd name="T58" fmla="*/ 454 w 1143"/>
                <a:gd name="T59" fmla="*/ 365 h 585"/>
                <a:gd name="T60" fmla="*/ 417 w 1143"/>
                <a:gd name="T61" fmla="*/ 400 h 585"/>
                <a:gd name="T62" fmla="*/ 375 w 1143"/>
                <a:gd name="T63" fmla="*/ 423 h 585"/>
                <a:gd name="T64" fmla="*/ 331 w 1143"/>
                <a:gd name="T65" fmla="*/ 412 h 585"/>
                <a:gd name="T66" fmla="*/ 311 w 1143"/>
                <a:gd name="T67" fmla="*/ 375 h 585"/>
                <a:gd name="T68" fmla="*/ 360 w 1143"/>
                <a:gd name="T69" fmla="*/ 285 h 585"/>
                <a:gd name="T70" fmla="*/ 250 w 1143"/>
                <a:gd name="T71" fmla="*/ 388 h 585"/>
                <a:gd name="T72" fmla="*/ 95 w 1143"/>
                <a:gd name="T73" fmla="*/ 574 h 585"/>
                <a:gd name="T74" fmla="*/ 49 w 1143"/>
                <a:gd name="T75" fmla="*/ 584 h 585"/>
                <a:gd name="T76" fmla="*/ 9 w 1143"/>
                <a:gd name="T77" fmla="*/ 562 h 585"/>
                <a:gd name="T78" fmla="*/ 2 w 1143"/>
                <a:gd name="T79" fmla="*/ 521 h 585"/>
                <a:gd name="T80" fmla="*/ 137 w 1143"/>
                <a:gd name="T81" fmla="*/ 347 h 585"/>
                <a:gd name="T82" fmla="*/ 341 w 1143"/>
                <a:gd name="T83" fmla="*/ 122 h 585"/>
                <a:gd name="T84" fmla="*/ 395 w 1143"/>
                <a:gd name="T85" fmla="*/ 70 h 585"/>
                <a:gd name="T86" fmla="*/ 458 w 1143"/>
                <a:gd name="T87" fmla="*/ 20 h 585"/>
                <a:gd name="T88" fmla="*/ 528 w 1143"/>
                <a:gd name="T89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43" h="585">
                  <a:moveTo>
                    <a:pt x="528" y="0"/>
                  </a:moveTo>
                  <a:lnTo>
                    <a:pt x="539" y="2"/>
                  </a:lnTo>
                  <a:lnTo>
                    <a:pt x="551" y="5"/>
                  </a:lnTo>
                  <a:lnTo>
                    <a:pt x="561" y="10"/>
                  </a:lnTo>
                  <a:lnTo>
                    <a:pt x="571" y="18"/>
                  </a:lnTo>
                  <a:lnTo>
                    <a:pt x="577" y="28"/>
                  </a:lnTo>
                  <a:lnTo>
                    <a:pt x="585" y="53"/>
                  </a:lnTo>
                  <a:lnTo>
                    <a:pt x="587" y="81"/>
                  </a:lnTo>
                  <a:lnTo>
                    <a:pt x="585" y="110"/>
                  </a:lnTo>
                  <a:lnTo>
                    <a:pt x="578" y="139"/>
                  </a:lnTo>
                  <a:lnTo>
                    <a:pt x="567" y="168"/>
                  </a:lnTo>
                  <a:lnTo>
                    <a:pt x="554" y="197"/>
                  </a:lnTo>
                  <a:lnTo>
                    <a:pt x="537" y="227"/>
                  </a:lnTo>
                  <a:lnTo>
                    <a:pt x="551" y="232"/>
                  </a:lnTo>
                  <a:lnTo>
                    <a:pt x="563" y="239"/>
                  </a:lnTo>
                  <a:lnTo>
                    <a:pt x="573" y="252"/>
                  </a:lnTo>
                  <a:lnTo>
                    <a:pt x="577" y="260"/>
                  </a:lnTo>
                  <a:lnTo>
                    <a:pt x="581" y="267"/>
                  </a:lnTo>
                  <a:lnTo>
                    <a:pt x="597" y="266"/>
                  </a:lnTo>
                  <a:lnTo>
                    <a:pt x="614" y="269"/>
                  </a:lnTo>
                  <a:lnTo>
                    <a:pt x="631" y="275"/>
                  </a:lnTo>
                  <a:lnTo>
                    <a:pt x="646" y="286"/>
                  </a:lnTo>
                  <a:lnTo>
                    <a:pt x="661" y="300"/>
                  </a:lnTo>
                  <a:lnTo>
                    <a:pt x="674" y="319"/>
                  </a:lnTo>
                  <a:lnTo>
                    <a:pt x="681" y="334"/>
                  </a:lnTo>
                  <a:lnTo>
                    <a:pt x="684" y="345"/>
                  </a:lnTo>
                  <a:lnTo>
                    <a:pt x="685" y="353"/>
                  </a:lnTo>
                  <a:lnTo>
                    <a:pt x="738" y="347"/>
                  </a:lnTo>
                  <a:lnTo>
                    <a:pt x="789" y="346"/>
                  </a:lnTo>
                  <a:lnTo>
                    <a:pt x="838" y="347"/>
                  </a:lnTo>
                  <a:lnTo>
                    <a:pt x="887" y="351"/>
                  </a:lnTo>
                  <a:lnTo>
                    <a:pt x="936" y="356"/>
                  </a:lnTo>
                  <a:lnTo>
                    <a:pt x="986" y="362"/>
                  </a:lnTo>
                  <a:lnTo>
                    <a:pt x="1036" y="365"/>
                  </a:lnTo>
                  <a:lnTo>
                    <a:pt x="1089" y="367"/>
                  </a:lnTo>
                  <a:lnTo>
                    <a:pt x="1106" y="369"/>
                  </a:lnTo>
                  <a:lnTo>
                    <a:pt x="1119" y="375"/>
                  </a:lnTo>
                  <a:lnTo>
                    <a:pt x="1130" y="384"/>
                  </a:lnTo>
                  <a:lnTo>
                    <a:pt x="1137" y="396"/>
                  </a:lnTo>
                  <a:lnTo>
                    <a:pt x="1142" y="408"/>
                  </a:lnTo>
                  <a:lnTo>
                    <a:pt x="1143" y="422"/>
                  </a:lnTo>
                  <a:lnTo>
                    <a:pt x="1142" y="436"/>
                  </a:lnTo>
                  <a:lnTo>
                    <a:pt x="1137" y="449"/>
                  </a:lnTo>
                  <a:lnTo>
                    <a:pt x="1130" y="460"/>
                  </a:lnTo>
                  <a:lnTo>
                    <a:pt x="1119" y="470"/>
                  </a:lnTo>
                  <a:lnTo>
                    <a:pt x="1106" y="476"/>
                  </a:lnTo>
                  <a:lnTo>
                    <a:pt x="1089" y="478"/>
                  </a:lnTo>
                  <a:lnTo>
                    <a:pt x="1055" y="477"/>
                  </a:lnTo>
                  <a:lnTo>
                    <a:pt x="1020" y="473"/>
                  </a:lnTo>
                  <a:lnTo>
                    <a:pt x="983" y="467"/>
                  </a:lnTo>
                  <a:lnTo>
                    <a:pt x="946" y="461"/>
                  </a:lnTo>
                  <a:lnTo>
                    <a:pt x="909" y="455"/>
                  </a:lnTo>
                  <a:lnTo>
                    <a:pt x="872" y="450"/>
                  </a:lnTo>
                  <a:lnTo>
                    <a:pt x="834" y="447"/>
                  </a:lnTo>
                  <a:lnTo>
                    <a:pt x="798" y="446"/>
                  </a:lnTo>
                  <a:lnTo>
                    <a:pt x="763" y="449"/>
                  </a:lnTo>
                  <a:lnTo>
                    <a:pt x="730" y="456"/>
                  </a:lnTo>
                  <a:lnTo>
                    <a:pt x="698" y="469"/>
                  </a:lnTo>
                  <a:lnTo>
                    <a:pt x="685" y="475"/>
                  </a:lnTo>
                  <a:lnTo>
                    <a:pt x="672" y="481"/>
                  </a:lnTo>
                  <a:lnTo>
                    <a:pt x="657" y="486"/>
                  </a:lnTo>
                  <a:lnTo>
                    <a:pt x="644" y="488"/>
                  </a:lnTo>
                  <a:lnTo>
                    <a:pt x="630" y="486"/>
                  </a:lnTo>
                  <a:lnTo>
                    <a:pt x="619" y="482"/>
                  </a:lnTo>
                  <a:lnTo>
                    <a:pt x="608" y="477"/>
                  </a:lnTo>
                  <a:lnTo>
                    <a:pt x="596" y="472"/>
                  </a:lnTo>
                  <a:lnTo>
                    <a:pt x="586" y="465"/>
                  </a:lnTo>
                  <a:lnTo>
                    <a:pt x="578" y="458"/>
                  </a:lnTo>
                  <a:lnTo>
                    <a:pt x="571" y="449"/>
                  </a:lnTo>
                  <a:lnTo>
                    <a:pt x="566" y="437"/>
                  </a:lnTo>
                  <a:lnTo>
                    <a:pt x="565" y="418"/>
                  </a:lnTo>
                  <a:lnTo>
                    <a:pt x="565" y="403"/>
                  </a:lnTo>
                  <a:lnTo>
                    <a:pt x="554" y="422"/>
                  </a:lnTo>
                  <a:lnTo>
                    <a:pt x="542" y="441"/>
                  </a:lnTo>
                  <a:lnTo>
                    <a:pt x="531" y="452"/>
                  </a:lnTo>
                  <a:lnTo>
                    <a:pt x="519" y="460"/>
                  </a:lnTo>
                  <a:lnTo>
                    <a:pt x="504" y="464"/>
                  </a:lnTo>
                  <a:lnTo>
                    <a:pt x="490" y="465"/>
                  </a:lnTo>
                  <a:lnTo>
                    <a:pt x="475" y="463"/>
                  </a:lnTo>
                  <a:lnTo>
                    <a:pt x="462" y="458"/>
                  </a:lnTo>
                  <a:lnTo>
                    <a:pt x="450" y="451"/>
                  </a:lnTo>
                  <a:lnTo>
                    <a:pt x="441" y="441"/>
                  </a:lnTo>
                  <a:lnTo>
                    <a:pt x="436" y="428"/>
                  </a:lnTo>
                  <a:lnTo>
                    <a:pt x="435" y="414"/>
                  </a:lnTo>
                  <a:lnTo>
                    <a:pt x="439" y="398"/>
                  </a:lnTo>
                  <a:lnTo>
                    <a:pt x="442" y="391"/>
                  </a:lnTo>
                  <a:lnTo>
                    <a:pt x="445" y="385"/>
                  </a:lnTo>
                  <a:lnTo>
                    <a:pt x="445" y="385"/>
                  </a:lnTo>
                  <a:lnTo>
                    <a:pt x="444" y="385"/>
                  </a:lnTo>
                  <a:lnTo>
                    <a:pt x="454" y="365"/>
                  </a:lnTo>
                  <a:lnTo>
                    <a:pt x="440" y="374"/>
                  </a:lnTo>
                  <a:lnTo>
                    <a:pt x="428" y="385"/>
                  </a:lnTo>
                  <a:lnTo>
                    <a:pt x="417" y="400"/>
                  </a:lnTo>
                  <a:lnTo>
                    <a:pt x="405" y="412"/>
                  </a:lnTo>
                  <a:lnTo>
                    <a:pt x="390" y="420"/>
                  </a:lnTo>
                  <a:lnTo>
                    <a:pt x="375" y="423"/>
                  </a:lnTo>
                  <a:lnTo>
                    <a:pt x="359" y="423"/>
                  </a:lnTo>
                  <a:lnTo>
                    <a:pt x="345" y="419"/>
                  </a:lnTo>
                  <a:lnTo>
                    <a:pt x="331" y="412"/>
                  </a:lnTo>
                  <a:lnTo>
                    <a:pt x="321" y="402"/>
                  </a:lnTo>
                  <a:lnTo>
                    <a:pt x="314" y="389"/>
                  </a:lnTo>
                  <a:lnTo>
                    <a:pt x="311" y="375"/>
                  </a:lnTo>
                  <a:lnTo>
                    <a:pt x="313" y="360"/>
                  </a:lnTo>
                  <a:lnTo>
                    <a:pt x="320" y="343"/>
                  </a:lnTo>
                  <a:lnTo>
                    <a:pt x="360" y="285"/>
                  </a:lnTo>
                  <a:lnTo>
                    <a:pt x="400" y="224"/>
                  </a:lnTo>
                  <a:lnTo>
                    <a:pt x="323" y="305"/>
                  </a:lnTo>
                  <a:lnTo>
                    <a:pt x="250" y="388"/>
                  </a:lnTo>
                  <a:lnTo>
                    <a:pt x="177" y="475"/>
                  </a:lnTo>
                  <a:lnTo>
                    <a:pt x="108" y="562"/>
                  </a:lnTo>
                  <a:lnTo>
                    <a:pt x="95" y="574"/>
                  </a:lnTo>
                  <a:lnTo>
                    <a:pt x="80" y="582"/>
                  </a:lnTo>
                  <a:lnTo>
                    <a:pt x="64" y="585"/>
                  </a:lnTo>
                  <a:lnTo>
                    <a:pt x="49" y="584"/>
                  </a:lnTo>
                  <a:lnTo>
                    <a:pt x="33" y="580"/>
                  </a:lnTo>
                  <a:lnTo>
                    <a:pt x="21" y="572"/>
                  </a:lnTo>
                  <a:lnTo>
                    <a:pt x="9" y="562"/>
                  </a:lnTo>
                  <a:lnTo>
                    <a:pt x="2" y="550"/>
                  </a:lnTo>
                  <a:lnTo>
                    <a:pt x="0" y="535"/>
                  </a:lnTo>
                  <a:lnTo>
                    <a:pt x="2" y="521"/>
                  </a:lnTo>
                  <a:lnTo>
                    <a:pt x="12" y="506"/>
                  </a:lnTo>
                  <a:lnTo>
                    <a:pt x="74" y="426"/>
                  </a:lnTo>
                  <a:lnTo>
                    <a:pt x="137" y="347"/>
                  </a:lnTo>
                  <a:lnTo>
                    <a:pt x="202" y="270"/>
                  </a:lnTo>
                  <a:lnTo>
                    <a:pt x="270" y="194"/>
                  </a:lnTo>
                  <a:lnTo>
                    <a:pt x="341" y="122"/>
                  </a:lnTo>
                  <a:lnTo>
                    <a:pt x="357" y="106"/>
                  </a:lnTo>
                  <a:lnTo>
                    <a:pt x="376" y="88"/>
                  </a:lnTo>
                  <a:lnTo>
                    <a:pt x="395" y="70"/>
                  </a:lnTo>
                  <a:lnTo>
                    <a:pt x="414" y="51"/>
                  </a:lnTo>
                  <a:lnTo>
                    <a:pt x="435" y="35"/>
                  </a:lnTo>
                  <a:lnTo>
                    <a:pt x="458" y="20"/>
                  </a:lnTo>
                  <a:lnTo>
                    <a:pt x="480" y="9"/>
                  </a:lnTo>
                  <a:lnTo>
                    <a:pt x="504" y="2"/>
                  </a:lnTo>
                  <a:lnTo>
                    <a:pt x="5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>
                <a:solidFill>
                  <a:schemeClr val="bg1"/>
                </a:solidFill>
                <a:latin typeface="Source Han Sans CN" panose="020B0400000000000000" pitchFamily="34" charset="-128"/>
                <a:ea typeface="Source Han Sans CN" panose="020B0400000000000000" pitchFamily="34" charset="-128"/>
              </a:endParaRPr>
            </a:p>
          </p:txBody>
        </p:sp>
      </p:grpSp>
      <p:sp>
        <p:nvSpPr>
          <p:cNvPr id="25" name="Rectangle: Rounded Corners 71">
            <a:extLst>
              <a:ext uri="{FF2B5EF4-FFF2-40B4-BE49-F238E27FC236}">
                <a16:creationId xmlns:a16="http://schemas.microsoft.com/office/drawing/2014/main" id="{FF565289-D7CA-392F-8EB6-940DE624D5D5}"/>
              </a:ext>
            </a:extLst>
          </p:cNvPr>
          <p:cNvSpPr/>
          <p:nvPr/>
        </p:nvSpPr>
        <p:spPr>
          <a:xfrm>
            <a:off x="1340393" y="728967"/>
            <a:ext cx="2873744" cy="54707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  <a:effectLst>
            <a:outerShdw blurRad="1270000" sx="90000" sy="90000" algn="ctr" rotWithShape="0">
              <a:schemeClr val="bg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26" name="文本框 49">
            <a:extLst>
              <a:ext uri="{FF2B5EF4-FFF2-40B4-BE49-F238E27FC236}">
                <a16:creationId xmlns:a16="http://schemas.microsoft.com/office/drawing/2014/main" id="{67C65EC3-74D0-68C9-51CE-2F4D21D8D3E9}"/>
              </a:ext>
            </a:extLst>
          </p:cNvPr>
          <p:cNvSpPr txBox="1"/>
          <p:nvPr/>
        </p:nvSpPr>
        <p:spPr>
          <a:xfrm>
            <a:off x="1480228" y="815314"/>
            <a:ext cx="2733908" cy="343597"/>
          </a:xfrm>
          <a:prstGeom prst="rect">
            <a:avLst/>
          </a:prstGeom>
          <a:noFill/>
        </p:spPr>
        <p:txBody>
          <a:bodyPr wrap="none" lIns="96434" tIns="48217" rIns="96434" bIns="48217" rtlCol="0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640080" indent="-18288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1282700" indent="-3683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925955" indent="-55435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2568575" indent="-7397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defTabSz="963930"/>
            <a:r>
              <a:rPr lang="zh-CN" altLang="en-US" sz="1600" spc="600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cs typeface="+mn-ea"/>
                <a:sym typeface="+mn-lt"/>
              </a:rPr>
              <a:t>集成电路工业发展期</a:t>
            </a:r>
          </a:p>
        </p:txBody>
      </p:sp>
    </p:spTree>
    <p:extLst>
      <p:ext uri="{BB962C8B-B14F-4D97-AF65-F5344CB8AC3E}">
        <p14:creationId xmlns:p14="http://schemas.microsoft.com/office/powerpoint/2010/main" val="35584258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54496" y="-863178"/>
            <a:ext cx="3800864" cy="3718568"/>
          </a:xfrm>
          <a:prstGeom prst="rect">
            <a:avLst/>
          </a:prstGeom>
        </p:spPr>
      </p:pic>
      <p:pic>
        <p:nvPicPr>
          <p:cNvPr id="60" name="图片 5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9833" y="5408615"/>
            <a:ext cx="2131585" cy="2085432"/>
          </a:xfrm>
          <a:prstGeom prst="rect">
            <a:avLst/>
          </a:prstGeom>
        </p:spPr>
      </p:pic>
      <p:sp>
        <p:nvSpPr>
          <p:cNvPr id="7" name="矩形 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SpPr/>
          <p:nvPr/>
        </p:nvSpPr>
        <p:spPr>
          <a:xfrm>
            <a:off x="1649739" y="-1142747"/>
            <a:ext cx="8946086" cy="8946086"/>
          </a:xfrm>
          <a:prstGeom prst="rect">
            <a:avLst/>
          </a:prstGeom>
          <a:blipFill dpi="0" rotWithShape="1">
            <a:blip r:embed="rId5">
              <a:alphaModFix amt="1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Slide Number Placeholder 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F30FC14C-133B-49F7-861E-FB936A1D20D6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  <a:solidFill>
            <a:schemeClr val="accent1"/>
          </a:solidFill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070EDD3-BB7C-45FF-B951-8D07C9BC3D5C}" type="slidenum">
              <a:rPr lang="en-US" sz="1050" smtClean="0"/>
              <a:pPr algn="ctr"/>
              <a:t>5</a:t>
            </a:fld>
            <a:endParaRPr lang="en-US" sz="1050" dirty="0"/>
          </a:p>
        </p:txBody>
      </p:sp>
      <p:sp>
        <p:nvSpPr>
          <p:cNvPr id="42" name="Rounded Rectangle 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B4F19E8F-E80F-44CD-88BF-269210BA3BE4}"/>
              </a:ext>
            </a:extLst>
          </p:cNvPr>
          <p:cNvSpPr/>
          <p:nvPr/>
        </p:nvSpPr>
        <p:spPr>
          <a:xfrm>
            <a:off x="1300954" y="2273342"/>
            <a:ext cx="1726905" cy="27432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ea typeface="Roboto" panose="02000000000000000000" pitchFamily="2" charset="0"/>
                <a:cs typeface="Lato" panose="020F0502020204030203" pitchFamily="34" charset="0"/>
              </a:rPr>
              <a:t>DESIGNER</a:t>
            </a:r>
          </a:p>
        </p:txBody>
      </p:sp>
      <p:sp>
        <p:nvSpPr>
          <p:cNvPr id="43" name="Rectangle 4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29F449ED-9725-4E10-B120-8A3A7042C254}"/>
              </a:ext>
            </a:extLst>
          </p:cNvPr>
          <p:cNvSpPr/>
          <p:nvPr/>
        </p:nvSpPr>
        <p:spPr>
          <a:xfrm>
            <a:off x="1235492" y="4477198"/>
            <a:ext cx="1792368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ea typeface="Roboto" panose="02000000000000000000" pitchFamily="2" charset="0"/>
                <a:cs typeface="Lato" panose="020F0502020204030203" pitchFamily="34" charset="0"/>
              </a:rPr>
              <a:t>Kyler England</a:t>
            </a:r>
          </a:p>
          <a:p>
            <a:endParaRPr lang="en-US" sz="1050" dirty="0">
              <a:ea typeface="Roboto" panose="02000000000000000000" pitchFamily="2" charset="0"/>
              <a:cs typeface="Lato" panose="020F0502020204030203" pitchFamily="34" charset="0"/>
            </a:endParaRPr>
          </a:p>
          <a:p>
            <a:r>
              <a:rPr lang="en-US" sz="1050" dirty="0">
                <a:ea typeface="Roboto" panose="02000000000000000000" pitchFamily="2" charset="0"/>
                <a:cs typeface="Lato" panose="020F0502020204030203" pitchFamily="34" charset="0"/>
              </a:rPr>
              <a:t>Conveniently iterate top-line alignments for wireless metrics. </a:t>
            </a:r>
          </a:p>
        </p:txBody>
      </p:sp>
      <p:sp>
        <p:nvSpPr>
          <p:cNvPr id="44" name="Rounded Rectangle 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1F94CE3F-03F8-4400-893F-3532E57AC58C}"/>
              </a:ext>
            </a:extLst>
          </p:cNvPr>
          <p:cNvSpPr/>
          <p:nvPr/>
        </p:nvSpPr>
        <p:spPr>
          <a:xfrm>
            <a:off x="3384936" y="3330301"/>
            <a:ext cx="1726905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>
                <a:solidFill>
                  <a:schemeClr val="tx1"/>
                </a:solidFill>
                <a:ea typeface="Roboto" panose="02000000000000000000" pitchFamily="2" charset="0"/>
                <a:cs typeface="Lato" panose="020F0502020204030203" pitchFamily="34" charset="0"/>
              </a:rPr>
              <a:t>MARKETING</a:t>
            </a:r>
          </a:p>
        </p:txBody>
      </p:sp>
      <p:sp>
        <p:nvSpPr>
          <p:cNvPr id="45" name="Rectangle 4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7D73EF0F-021E-4ACE-9B0A-FFBB52DACE4F}"/>
              </a:ext>
            </a:extLst>
          </p:cNvPr>
          <p:cNvSpPr/>
          <p:nvPr/>
        </p:nvSpPr>
        <p:spPr>
          <a:xfrm>
            <a:off x="3319474" y="5551090"/>
            <a:ext cx="1792368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>
                <a:ea typeface="Roboto" panose="02000000000000000000" pitchFamily="2" charset="0"/>
                <a:cs typeface="Lato" panose="020F0502020204030203" pitchFamily="34" charset="0"/>
              </a:rPr>
              <a:t>Tiff Lacey</a:t>
            </a:r>
          </a:p>
          <a:p>
            <a:endParaRPr lang="en-US" sz="1050">
              <a:ea typeface="Roboto" panose="02000000000000000000" pitchFamily="2" charset="0"/>
              <a:cs typeface="Lato" panose="020F0502020204030203" pitchFamily="34" charset="0"/>
            </a:endParaRPr>
          </a:p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Conveniently iterate top-line alignments for wireless metrics. </a:t>
            </a:r>
          </a:p>
        </p:txBody>
      </p:sp>
      <p:sp>
        <p:nvSpPr>
          <p:cNvPr id="46" name="Rounded Rectangle 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A0D52229-D781-4E85-9100-1CFD60F81132}"/>
              </a:ext>
            </a:extLst>
          </p:cNvPr>
          <p:cNvSpPr/>
          <p:nvPr/>
        </p:nvSpPr>
        <p:spPr>
          <a:xfrm>
            <a:off x="5471783" y="2273342"/>
            <a:ext cx="1726905" cy="27432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>
                <a:solidFill>
                  <a:schemeClr val="tx1"/>
                </a:solidFill>
                <a:ea typeface="Roboto" panose="02000000000000000000" pitchFamily="2" charset="0"/>
                <a:cs typeface="Lato" panose="020F0502020204030203" pitchFamily="34" charset="0"/>
              </a:rPr>
              <a:t>DEVELOPER</a:t>
            </a:r>
          </a:p>
        </p:txBody>
      </p:sp>
      <p:sp>
        <p:nvSpPr>
          <p:cNvPr id="48" name="Rectangle 4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B8AF9888-9CA5-4B77-B3FE-448C1A6B5FE3}"/>
              </a:ext>
            </a:extLst>
          </p:cNvPr>
          <p:cNvSpPr/>
          <p:nvPr/>
        </p:nvSpPr>
        <p:spPr>
          <a:xfrm>
            <a:off x="5406321" y="4477198"/>
            <a:ext cx="1792368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>
                <a:ea typeface="Roboto" panose="02000000000000000000" pitchFamily="2" charset="0"/>
                <a:cs typeface="Lato" panose="020F0502020204030203" pitchFamily="34" charset="0"/>
              </a:rPr>
              <a:t>John Martin</a:t>
            </a:r>
          </a:p>
          <a:p>
            <a:endParaRPr lang="en-US" sz="1050">
              <a:ea typeface="Roboto" panose="02000000000000000000" pitchFamily="2" charset="0"/>
              <a:cs typeface="Lato" panose="020F0502020204030203" pitchFamily="34" charset="0"/>
            </a:endParaRPr>
          </a:p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Conveniently iterate top-line alignments for wireless metrics. </a:t>
            </a:r>
          </a:p>
        </p:txBody>
      </p:sp>
      <p:sp>
        <p:nvSpPr>
          <p:cNvPr id="49" name="Rounded Rectangle 1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BBA2CA22-8749-4F80-A349-9DB449816653}"/>
              </a:ext>
            </a:extLst>
          </p:cNvPr>
          <p:cNvSpPr/>
          <p:nvPr/>
        </p:nvSpPr>
        <p:spPr>
          <a:xfrm>
            <a:off x="7603696" y="3330296"/>
            <a:ext cx="1726905" cy="27432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>
                <a:solidFill>
                  <a:schemeClr val="tx1"/>
                </a:solidFill>
                <a:ea typeface="Roboto" panose="02000000000000000000" pitchFamily="2" charset="0"/>
                <a:cs typeface="Lato" panose="020F0502020204030203" pitchFamily="34" charset="0"/>
              </a:rPr>
              <a:t>CONSULTING</a:t>
            </a:r>
          </a:p>
        </p:txBody>
      </p:sp>
      <p:sp>
        <p:nvSpPr>
          <p:cNvPr id="50" name="Rectangle 4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5171034E-2919-4F9E-914A-88EA7A2A574D}"/>
              </a:ext>
            </a:extLst>
          </p:cNvPr>
          <p:cNvSpPr/>
          <p:nvPr/>
        </p:nvSpPr>
        <p:spPr>
          <a:xfrm>
            <a:off x="7487435" y="5551085"/>
            <a:ext cx="1792368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>
                <a:ea typeface="Roboto" panose="02000000000000000000" pitchFamily="2" charset="0"/>
                <a:cs typeface="Lato" panose="020F0502020204030203" pitchFamily="34" charset="0"/>
              </a:rPr>
              <a:t>Lynda May</a:t>
            </a:r>
          </a:p>
          <a:p>
            <a:endParaRPr lang="en-US" sz="1050">
              <a:ea typeface="Roboto" panose="02000000000000000000" pitchFamily="2" charset="0"/>
              <a:cs typeface="Lato" panose="020F0502020204030203" pitchFamily="34" charset="0"/>
            </a:endParaRPr>
          </a:p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Conveniently iterate top-line alignments for wireless metrics. </a:t>
            </a:r>
          </a:p>
        </p:txBody>
      </p:sp>
      <p:sp>
        <p:nvSpPr>
          <p:cNvPr id="51" name="Rounded Rectangle 1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1E641B58-903C-4C3E-9447-D132B777E34A}"/>
              </a:ext>
            </a:extLst>
          </p:cNvPr>
          <p:cNvSpPr/>
          <p:nvPr/>
        </p:nvSpPr>
        <p:spPr>
          <a:xfrm>
            <a:off x="9634008" y="2273342"/>
            <a:ext cx="1726905" cy="27432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>
                <a:solidFill>
                  <a:schemeClr val="tx1"/>
                </a:solidFill>
                <a:ea typeface="Roboto" panose="02000000000000000000" pitchFamily="2" charset="0"/>
                <a:cs typeface="Lato" panose="020F0502020204030203" pitchFamily="34" charset="0"/>
              </a:rPr>
              <a:t>MANAGER</a:t>
            </a:r>
          </a:p>
        </p:txBody>
      </p:sp>
      <p:sp>
        <p:nvSpPr>
          <p:cNvPr id="52" name="Rectangle 5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8560B83-5B44-47D6-9225-C6C59557CCCA}"/>
              </a:ext>
            </a:extLst>
          </p:cNvPr>
          <p:cNvSpPr/>
          <p:nvPr/>
        </p:nvSpPr>
        <p:spPr>
          <a:xfrm>
            <a:off x="9568546" y="4477198"/>
            <a:ext cx="1792368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>
                <a:ea typeface="Roboto" panose="02000000000000000000" pitchFamily="2" charset="0"/>
                <a:cs typeface="Lato" panose="020F0502020204030203" pitchFamily="34" charset="0"/>
              </a:rPr>
              <a:t>Tom Dave</a:t>
            </a:r>
          </a:p>
          <a:p>
            <a:endParaRPr lang="en-US" sz="1050">
              <a:ea typeface="Roboto" panose="02000000000000000000" pitchFamily="2" charset="0"/>
              <a:cs typeface="Lato" panose="020F0502020204030203" pitchFamily="34" charset="0"/>
            </a:endParaRPr>
          </a:p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Conveniently iterate top-line alignments for wireless metrics. </a:t>
            </a:r>
          </a:p>
        </p:txBody>
      </p:sp>
      <p:sp>
        <p:nvSpPr>
          <p:cNvPr id="54" name="Rounded Rectangle 1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7C306668-CF5A-45AA-9339-BAF2846F81E2}"/>
              </a:ext>
            </a:extLst>
          </p:cNvPr>
          <p:cNvSpPr/>
          <p:nvPr/>
        </p:nvSpPr>
        <p:spPr>
          <a:xfrm>
            <a:off x="1300954" y="5481935"/>
            <a:ext cx="274320" cy="18288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9" name="TextBox 5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71320DE7-8E32-4C73-A88A-2EBECFD944B6}"/>
              </a:ext>
            </a:extLst>
          </p:cNvPr>
          <p:cNvSpPr txBox="1"/>
          <p:nvPr/>
        </p:nvSpPr>
        <p:spPr>
          <a:xfrm>
            <a:off x="1620314" y="5455903"/>
            <a:ext cx="12747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158,850 Follower</a:t>
            </a:r>
          </a:p>
        </p:txBody>
      </p:sp>
      <p:sp>
        <p:nvSpPr>
          <p:cNvPr id="68" name="Rounded Rectangle 1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FA3CE661-468F-4A14-8378-BE2CD1EA148C}"/>
              </a:ext>
            </a:extLst>
          </p:cNvPr>
          <p:cNvSpPr/>
          <p:nvPr/>
        </p:nvSpPr>
        <p:spPr>
          <a:xfrm>
            <a:off x="3382068" y="2753712"/>
            <a:ext cx="274320" cy="18288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tx1"/>
              </a:solidFill>
              <a:cs typeface="Lato" panose="020F0502020204030203" pitchFamily="34" charset="0"/>
            </a:endParaRPr>
          </a:p>
        </p:txBody>
      </p:sp>
      <p:sp>
        <p:nvSpPr>
          <p:cNvPr id="69" name="TextBox 6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24680141-F757-4986-BF3A-B8EA3E73BB99}"/>
              </a:ext>
            </a:extLst>
          </p:cNvPr>
          <p:cNvSpPr txBox="1"/>
          <p:nvPr/>
        </p:nvSpPr>
        <p:spPr>
          <a:xfrm>
            <a:off x="3701428" y="2727680"/>
            <a:ext cx="12747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580,850 Follower</a:t>
            </a:r>
          </a:p>
        </p:txBody>
      </p:sp>
      <p:sp>
        <p:nvSpPr>
          <p:cNvPr id="70" name="Rounded Rectangle 2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6540BB39-EBAC-4B40-811C-48678554911B}"/>
              </a:ext>
            </a:extLst>
          </p:cNvPr>
          <p:cNvSpPr/>
          <p:nvPr/>
        </p:nvSpPr>
        <p:spPr>
          <a:xfrm>
            <a:off x="5467201" y="5481935"/>
            <a:ext cx="274320" cy="1828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71" name="TextBox 7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5675D53-1DDF-4976-B8A4-56EB0FBB9401}"/>
              </a:ext>
            </a:extLst>
          </p:cNvPr>
          <p:cNvSpPr txBox="1"/>
          <p:nvPr/>
        </p:nvSpPr>
        <p:spPr>
          <a:xfrm>
            <a:off x="5786561" y="5455903"/>
            <a:ext cx="12747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800,850 Follower</a:t>
            </a:r>
          </a:p>
        </p:txBody>
      </p:sp>
      <p:sp>
        <p:nvSpPr>
          <p:cNvPr id="81" name="Rounded Rectangle 22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BECA8D64-6984-4468-9571-903A0F7AD599}"/>
              </a:ext>
            </a:extLst>
          </p:cNvPr>
          <p:cNvSpPr/>
          <p:nvPr/>
        </p:nvSpPr>
        <p:spPr>
          <a:xfrm>
            <a:off x="7603696" y="2753712"/>
            <a:ext cx="274320" cy="18288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tx1"/>
              </a:solidFill>
              <a:cs typeface="Lato" panose="020F0502020204030203" pitchFamily="34" charset="0"/>
            </a:endParaRPr>
          </a:p>
        </p:txBody>
      </p:sp>
      <p:sp>
        <p:nvSpPr>
          <p:cNvPr id="82" name="TextBox 8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58B5CF68-7B3D-448D-AA2E-0081A51EC590}"/>
              </a:ext>
            </a:extLst>
          </p:cNvPr>
          <p:cNvSpPr txBox="1"/>
          <p:nvPr/>
        </p:nvSpPr>
        <p:spPr>
          <a:xfrm>
            <a:off x="7923056" y="2727680"/>
            <a:ext cx="12747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520,015 Follower</a:t>
            </a:r>
          </a:p>
        </p:txBody>
      </p:sp>
      <p:sp>
        <p:nvSpPr>
          <p:cNvPr id="83" name="Rounded Rectangle 2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FAA68224-FE79-4DF7-AF6C-BB0647BB39EC}"/>
              </a:ext>
            </a:extLst>
          </p:cNvPr>
          <p:cNvSpPr/>
          <p:nvPr/>
        </p:nvSpPr>
        <p:spPr>
          <a:xfrm>
            <a:off x="9633448" y="5481935"/>
            <a:ext cx="274320" cy="18288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84" name="TextBox 83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D0EB33A0-89EB-44D1-81B7-63452D084C44}"/>
              </a:ext>
            </a:extLst>
          </p:cNvPr>
          <p:cNvSpPr txBox="1"/>
          <p:nvPr/>
        </p:nvSpPr>
        <p:spPr>
          <a:xfrm>
            <a:off x="9952808" y="5455903"/>
            <a:ext cx="12747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ea typeface="Roboto" panose="02000000000000000000" pitchFamily="2" charset="0"/>
                <a:cs typeface="Lato" panose="020F0502020204030203" pitchFamily="34" charset="0"/>
              </a:rPr>
              <a:t>580,850 Follower</a:t>
            </a:r>
          </a:p>
        </p:txBody>
      </p:sp>
      <p:sp>
        <p:nvSpPr>
          <p:cNvPr id="85" name="Shape 48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751759D0-3583-4487-8962-A099D3E47B58}"/>
              </a:ext>
            </a:extLst>
          </p:cNvPr>
          <p:cNvSpPr/>
          <p:nvPr/>
        </p:nvSpPr>
        <p:spPr>
          <a:xfrm>
            <a:off x="1378551" y="5509648"/>
            <a:ext cx="126400" cy="1264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5422" y="47044"/>
                </a:moveTo>
                <a:cubicBezTo>
                  <a:pt x="65422" y="44838"/>
                  <a:pt x="65650" y="43655"/>
                  <a:pt x="69044" y="43655"/>
                </a:cubicBezTo>
                <a:lnTo>
                  <a:pt x="73577" y="43655"/>
                </a:lnTo>
                <a:lnTo>
                  <a:pt x="73577" y="35450"/>
                </a:lnTo>
                <a:lnTo>
                  <a:pt x="66322" y="35450"/>
                </a:lnTo>
                <a:cubicBezTo>
                  <a:pt x="57605" y="35450"/>
                  <a:pt x="54533" y="39555"/>
                  <a:pt x="54533" y="46461"/>
                </a:cubicBezTo>
                <a:lnTo>
                  <a:pt x="54533" y="51788"/>
                </a:lnTo>
                <a:lnTo>
                  <a:pt x="49094" y="51788"/>
                </a:lnTo>
                <a:lnTo>
                  <a:pt x="49094" y="60000"/>
                </a:lnTo>
                <a:lnTo>
                  <a:pt x="54533" y="60000"/>
                </a:lnTo>
                <a:lnTo>
                  <a:pt x="54533" y="84550"/>
                </a:lnTo>
                <a:lnTo>
                  <a:pt x="65411" y="84550"/>
                </a:lnTo>
                <a:lnTo>
                  <a:pt x="65411" y="60000"/>
                </a:lnTo>
                <a:lnTo>
                  <a:pt x="72672" y="60000"/>
                </a:lnTo>
                <a:lnTo>
                  <a:pt x="73633" y="51788"/>
                </a:lnTo>
                <a:lnTo>
                  <a:pt x="65411" y="51788"/>
                </a:lnTo>
                <a:cubicBezTo>
                  <a:pt x="65411" y="51788"/>
                  <a:pt x="65422" y="47044"/>
                  <a:pt x="65422" y="47044"/>
                </a:cubicBezTo>
                <a:close/>
                <a:moveTo>
                  <a:pt x="60000" y="114544"/>
                </a:moveTo>
                <a:cubicBezTo>
                  <a:pt x="29872" y="114544"/>
                  <a:pt x="5455" y="90127"/>
                  <a:pt x="5455" y="60000"/>
                </a:cubicBezTo>
                <a:cubicBezTo>
                  <a:pt x="5455" y="29877"/>
                  <a:pt x="29872" y="5455"/>
                  <a:pt x="60000" y="5455"/>
                </a:cubicBezTo>
                <a:cubicBezTo>
                  <a:pt x="90127" y="5455"/>
                  <a:pt x="114544" y="29877"/>
                  <a:pt x="114544" y="60000"/>
                </a:cubicBezTo>
                <a:cubicBezTo>
                  <a:pt x="114544" y="90127"/>
                  <a:pt x="90127" y="114544"/>
                  <a:pt x="60000" y="114544"/>
                </a:cubicBezTo>
                <a:moveTo>
                  <a:pt x="60000" y="0"/>
                </a:moveTo>
                <a:cubicBezTo>
                  <a:pt x="26861" y="0"/>
                  <a:pt x="0" y="26861"/>
                  <a:pt x="0" y="60000"/>
                </a:cubicBezTo>
                <a:cubicBezTo>
                  <a:pt x="0" y="93138"/>
                  <a:pt x="26861" y="120000"/>
                  <a:pt x="60000" y="120000"/>
                </a:cubicBezTo>
                <a:cubicBezTo>
                  <a:pt x="93138" y="120000"/>
                  <a:pt x="120000" y="93138"/>
                  <a:pt x="120000" y="60000"/>
                </a:cubicBezTo>
                <a:cubicBezTo>
                  <a:pt x="120000" y="26861"/>
                  <a:pt x="93138" y="0"/>
                  <a:pt x="60000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9038" tIns="19038" rIns="19038" bIns="19038" anchor="ctr" anchorCtr="0">
            <a:noAutofit/>
          </a:bodyPr>
          <a:lstStyle/>
          <a:p>
            <a:endParaRPr>
              <a:ea typeface="Lato"/>
              <a:cs typeface="Lato"/>
              <a:sym typeface="Lato"/>
            </a:endParaRPr>
          </a:p>
        </p:txBody>
      </p:sp>
      <p:sp>
        <p:nvSpPr>
          <p:cNvPr id="86" name="Shape 48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66B6680A-5D9F-4BE6-B52F-D2F11A9D77B3}"/>
              </a:ext>
            </a:extLst>
          </p:cNvPr>
          <p:cNvSpPr/>
          <p:nvPr/>
        </p:nvSpPr>
        <p:spPr>
          <a:xfrm>
            <a:off x="3460380" y="2778031"/>
            <a:ext cx="126400" cy="1264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5422" y="47044"/>
                </a:moveTo>
                <a:cubicBezTo>
                  <a:pt x="65422" y="44838"/>
                  <a:pt x="65650" y="43655"/>
                  <a:pt x="69044" y="43655"/>
                </a:cubicBezTo>
                <a:lnTo>
                  <a:pt x="73577" y="43655"/>
                </a:lnTo>
                <a:lnTo>
                  <a:pt x="73577" y="35450"/>
                </a:lnTo>
                <a:lnTo>
                  <a:pt x="66322" y="35450"/>
                </a:lnTo>
                <a:cubicBezTo>
                  <a:pt x="57605" y="35450"/>
                  <a:pt x="54533" y="39555"/>
                  <a:pt x="54533" y="46461"/>
                </a:cubicBezTo>
                <a:lnTo>
                  <a:pt x="54533" y="51788"/>
                </a:lnTo>
                <a:lnTo>
                  <a:pt x="49094" y="51788"/>
                </a:lnTo>
                <a:lnTo>
                  <a:pt x="49094" y="60000"/>
                </a:lnTo>
                <a:lnTo>
                  <a:pt x="54533" y="60000"/>
                </a:lnTo>
                <a:lnTo>
                  <a:pt x="54533" y="84550"/>
                </a:lnTo>
                <a:lnTo>
                  <a:pt x="65411" y="84550"/>
                </a:lnTo>
                <a:lnTo>
                  <a:pt x="65411" y="60000"/>
                </a:lnTo>
                <a:lnTo>
                  <a:pt x="72672" y="60000"/>
                </a:lnTo>
                <a:lnTo>
                  <a:pt x="73633" y="51788"/>
                </a:lnTo>
                <a:lnTo>
                  <a:pt x="65411" y="51788"/>
                </a:lnTo>
                <a:cubicBezTo>
                  <a:pt x="65411" y="51788"/>
                  <a:pt x="65422" y="47044"/>
                  <a:pt x="65422" y="47044"/>
                </a:cubicBezTo>
                <a:close/>
                <a:moveTo>
                  <a:pt x="60000" y="114544"/>
                </a:moveTo>
                <a:cubicBezTo>
                  <a:pt x="29872" y="114544"/>
                  <a:pt x="5455" y="90127"/>
                  <a:pt x="5455" y="60000"/>
                </a:cubicBezTo>
                <a:cubicBezTo>
                  <a:pt x="5455" y="29877"/>
                  <a:pt x="29872" y="5455"/>
                  <a:pt x="60000" y="5455"/>
                </a:cubicBezTo>
                <a:cubicBezTo>
                  <a:pt x="90127" y="5455"/>
                  <a:pt x="114544" y="29877"/>
                  <a:pt x="114544" y="60000"/>
                </a:cubicBezTo>
                <a:cubicBezTo>
                  <a:pt x="114544" y="90127"/>
                  <a:pt x="90127" y="114544"/>
                  <a:pt x="60000" y="114544"/>
                </a:cubicBezTo>
                <a:moveTo>
                  <a:pt x="60000" y="0"/>
                </a:moveTo>
                <a:cubicBezTo>
                  <a:pt x="26861" y="0"/>
                  <a:pt x="0" y="26861"/>
                  <a:pt x="0" y="60000"/>
                </a:cubicBezTo>
                <a:cubicBezTo>
                  <a:pt x="0" y="93138"/>
                  <a:pt x="26861" y="120000"/>
                  <a:pt x="60000" y="120000"/>
                </a:cubicBezTo>
                <a:cubicBezTo>
                  <a:pt x="93138" y="120000"/>
                  <a:pt x="120000" y="93138"/>
                  <a:pt x="120000" y="60000"/>
                </a:cubicBezTo>
                <a:cubicBezTo>
                  <a:pt x="120000" y="26861"/>
                  <a:pt x="93138" y="0"/>
                  <a:pt x="60000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9038" tIns="19038" rIns="19038" bIns="19038" anchor="ctr" anchorCtr="0">
            <a:noAutofit/>
          </a:bodyPr>
          <a:lstStyle/>
          <a:p>
            <a:endParaRPr>
              <a:ea typeface="Lato"/>
              <a:cs typeface="Lato"/>
              <a:sym typeface="Lato"/>
            </a:endParaRPr>
          </a:p>
        </p:txBody>
      </p:sp>
      <p:sp>
        <p:nvSpPr>
          <p:cNvPr id="87" name="Shape 48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B30385F0-D03A-44AA-8106-A9AFB6E6DAF6}"/>
              </a:ext>
            </a:extLst>
          </p:cNvPr>
          <p:cNvSpPr/>
          <p:nvPr/>
        </p:nvSpPr>
        <p:spPr>
          <a:xfrm>
            <a:off x="5541161" y="5509648"/>
            <a:ext cx="126400" cy="1264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5422" y="47044"/>
                </a:moveTo>
                <a:cubicBezTo>
                  <a:pt x="65422" y="44838"/>
                  <a:pt x="65650" y="43655"/>
                  <a:pt x="69044" y="43655"/>
                </a:cubicBezTo>
                <a:lnTo>
                  <a:pt x="73577" y="43655"/>
                </a:lnTo>
                <a:lnTo>
                  <a:pt x="73577" y="35450"/>
                </a:lnTo>
                <a:lnTo>
                  <a:pt x="66322" y="35450"/>
                </a:lnTo>
                <a:cubicBezTo>
                  <a:pt x="57605" y="35450"/>
                  <a:pt x="54533" y="39555"/>
                  <a:pt x="54533" y="46461"/>
                </a:cubicBezTo>
                <a:lnTo>
                  <a:pt x="54533" y="51788"/>
                </a:lnTo>
                <a:lnTo>
                  <a:pt x="49094" y="51788"/>
                </a:lnTo>
                <a:lnTo>
                  <a:pt x="49094" y="60000"/>
                </a:lnTo>
                <a:lnTo>
                  <a:pt x="54533" y="60000"/>
                </a:lnTo>
                <a:lnTo>
                  <a:pt x="54533" y="84550"/>
                </a:lnTo>
                <a:lnTo>
                  <a:pt x="65411" y="84550"/>
                </a:lnTo>
                <a:lnTo>
                  <a:pt x="65411" y="60000"/>
                </a:lnTo>
                <a:lnTo>
                  <a:pt x="72672" y="60000"/>
                </a:lnTo>
                <a:lnTo>
                  <a:pt x="73633" y="51788"/>
                </a:lnTo>
                <a:lnTo>
                  <a:pt x="65411" y="51788"/>
                </a:lnTo>
                <a:cubicBezTo>
                  <a:pt x="65411" y="51788"/>
                  <a:pt x="65422" y="47044"/>
                  <a:pt x="65422" y="47044"/>
                </a:cubicBezTo>
                <a:close/>
                <a:moveTo>
                  <a:pt x="60000" y="114544"/>
                </a:moveTo>
                <a:cubicBezTo>
                  <a:pt x="29872" y="114544"/>
                  <a:pt x="5455" y="90127"/>
                  <a:pt x="5455" y="60000"/>
                </a:cubicBezTo>
                <a:cubicBezTo>
                  <a:pt x="5455" y="29877"/>
                  <a:pt x="29872" y="5455"/>
                  <a:pt x="60000" y="5455"/>
                </a:cubicBezTo>
                <a:cubicBezTo>
                  <a:pt x="90127" y="5455"/>
                  <a:pt x="114544" y="29877"/>
                  <a:pt x="114544" y="60000"/>
                </a:cubicBezTo>
                <a:cubicBezTo>
                  <a:pt x="114544" y="90127"/>
                  <a:pt x="90127" y="114544"/>
                  <a:pt x="60000" y="114544"/>
                </a:cubicBezTo>
                <a:moveTo>
                  <a:pt x="60000" y="0"/>
                </a:moveTo>
                <a:cubicBezTo>
                  <a:pt x="26861" y="0"/>
                  <a:pt x="0" y="26861"/>
                  <a:pt x="0" y="60000"/>
                </a:cubicBezTo>
                <a:cubicBezTo>
                  <a:pt x="0" y="93138"/>
                  <a:pt x="26861" y="120000"/>
                  <a:pt x="60000" y="120000"/>
                </a:cubicBezTo>
                <a:cubicBezTo>
                  <a:pt x="93138" y="120000"/>
                  <a:pt x="120000" y="93138"/>
                  <a:pt x="120000" y="60000"/>
                </a:cubicBezTo>
                <a:cubicBezTo>
                  <a:pt x="120000" y="26861"/>
                  <a:pt x="93138" y="0"/>
                  <a:pt x="60000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9038" tIns="19038" rIns="19038" bIns="19038" anchor="ctr" anchorCtr="0">
            <a:noAutofit/>
          </a:bodyPr>
          <a:lstStyle/>
          <a:p>
            <a:endParaRPr>
              <a:ea typeface="Lato"/>
              <a:cs typeface="Lato"/>
              <a:sym typeface="Lato"/>
            </a:endParaRPr>
          </a:p>
        </p:txBody>
      </p:sp>
      <p:sp>
        <p:nvSpPr>
          <p:cNvPr id="88" name="Shape 48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E4707EE6-785D-4EBD-B09C-F920826C248C}"/>
              </a:ext>
            </a:extLst>
          </p:cNvPr>
          <p:cNvSpPr/>
          <p:nvPr/>
        </p:nvSpPr>
        <p:spPr>
          <a:xfrm>
            <a:off x="7677656" y="2787341"/>
            <a:ext cx="126400" cy="1264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5422" y="47044"/>
                </a:moveTo>
                <a:cubicBezTo>
                  <a:pt x="65422" y="44838"/>
                  <a:pt x="65650" y="43655"/>
                  <a:pt x="69044" y="43655"/>
                </a:cubicBezTo>
                <a:lnTo>
                  <a:pt x="73577" y="43655"/>
                </a:lnTo>
                <a:lnTo>
                  <a:pt x="73577" y="35450"/>
                </a:lnTo>
                <a:lnTo>
                  <a:pt x="66322" y="35450"/>
                </a:lnTo>
                <a:cubicBezTo>
                  <a:pt x="57605" y="35450"/>
                  <a:pt x="54533" y="39555"/>
                  <a:pt x="54533" y="46461"/>
                </a:cubicBezTo>
                <a:lnTo>
                  <a:pt x="54533" y="51788"/>
                </a:lnTo>
                <a:lnTo>
                  <a:pt x="49094" y="51788"/>
                </a:lnTo>
                <a:lnTo>
                  <a:pt x="49094" y="60000"/>
                </a:lnTo>
                <a:lnTo>
                  <a:pt x="54533" y="60000"/>
                </a:lnTo>
                <a:lnTo>
                  <a:pt x="54533" y="84550"/>
                </a:lnTo>
                <a:lnTo>
                  <a:pt x="65411" y="84550"/>
                </a:lnTo>
                <a:lnTo>
                  <a:pt x="65411" y="60000"/>
                </a:lnTo>
                <a:lnTo>
                  <a:pt x="72672" y="60000"/>
                </a:lnTo>
                <a:lnTo>
                  <a:pt x="73633" y="51788"/>
                </a:lnTo>
                <a:lnTo>
                  <a:pt x="65411" y="51788"/>
                </a:lnTo>
                <a:cubicBezTo>
                  <a:pt x="65411" y="51788"/>
                  <a:pt x="65422" y="47044"/>
                  <a:pt x="65422" y="47044"/>
                </a:cubicBezTo>
                <a:close/>
                <a:moveTo>
                  <a:pt x="60000" y="114544"/>
                </a:moveTo>
                <a:cubicBezTo>
                  <a:pt x="29872" y="114544"/>
                  <a:pt x="5455" y="90127"/>
                  <a:pt x="5455" y="60000"/>
                </a:cubicBezTo>
                <a:cubicBezTo>
                  <a:pt x="5455" y="29877"/>
                  <a:pt x="29872" y="5455"/>
                  <a:pt x="60000" y="5455"/>
                </a:cubicBezTo>
                <a:cubicBezTo>
                  <a:pt x="90127" y="5455"/>
                  <a:pt x="114544" y="29877"/>
                  <a:pt x="114544" y="60000"/>
                </a:cubicBezTo>
                <a:cubicBezTo>
                  <a:pt x="114544" y="90127"/>
                  <a:pt x="90127" y="114544"/>
                  <a:pt x="60000" y="114544"/>
                </a:cubicBezTo>
                <a:moveTo>
                  <a:pt x="60000" y="0"/>
                </a:moveTo>
                <a:cubicBezTo>
                  <a:pt x="26861" y="0"/>
                  <a:pt x="0" y="26861"/>
                  <a:pt x="0" y="60000"/>
                </a:cubicBezTo>
                <a:cubicBezTo>
                  <a:pt x="0" y="93138"/>
                  <a:pt x="26861" y="120000"/>
                  <a:pt x="60000" y="120000"/>
                </a:cubicBezTo>
                <a:cubicBezTo>
                  <a:pt x="93138" y="120000"/>
                  <a:pt x="120000" y="93138"/>
                  <a:pt x="120000" y="60000"/>
                </a:cubicBezTo>
                <a:cubicBezTo>
                  <a:pt x="120000" y="26861"/>
                  <a:pt x="93138" y="0"/>
                  <a:pt x="60000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9038" tIns="19038" rIns="19038" bIns="19038" anchor="ctr" anchorCtr="0">
            <a:noAutofit/>
          </a:bodyPr>
          <a:lstStyle/>
          <a:p>
            <a:endParaRPr>
              <a:ea typeface="Lato"/>
              <a:cs typeface="Lato"/>
              <a:sym typeface="Lato"/>
            </a:endParaRPr>
          </a:p>
        </p:txBody>
      </p:sp>
      <p:sp>
        <p:nvSpPr>
          <p:cNvPr id="89" name="Shape 482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9DBD4B31-349B-4A9F-81D6-644C2619549A}"/>
              </a:ext>
            </a:extLst>
          </p:cNvPr>
          <p:cNvSpPr/>
          <p:nvPr/>
        </p:nvSpPr>
        <p:spPr>
          <a:xfrm>
            <a:off x="9740688" y="5505573"/>
            <a:ext cx="126400" cy="1264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5422" y="47044"/>
                </a:moveTo>
                <a:cubicBezTo>
                  <a:pt x="65422" y="44838"/>
                  <a:pt x="65650" y="43655"/>
                  <a:pt x="69044" y="43655"/>
                </a:cubicBezTo>
                <a:lnTo>
                  <a:pt x="73577" y="43655"/>
                </a:lnTo>
                <a:lnTo>
                  <a:pt x="73577" y="35450"/>
                </a:lnTo>
                <a:lnTo>
                  <a:pt x="66322" y="35450"/>
                </a:lnTo>
                <a:cubicBezTo>
                  <a:pt x="57605" y="35450"/>
                  <a:pt x="54533" y="39555"/>
                  <a:pt x="54533" y="46461"/>
                </a:cubicBezTo>
                <a:lnTo>
                  <a:pt x="54533" y="51788"/>
                </a:lnTo>
                <a:lnTo>
                  <a:pt x="49094" y="51788"/>
                </a:lnTo>
                <a:lnTo>
                  <a:pt x="49094" y="60000"/>
                </a:lnTo>
                <a:lnTo>
                  <a:pt x="54533" y="60000"/>
                </a:lnTo>
                <a:lnTo>
                  <a:pt x="54533" y="84550"/>
                </a:lnTo>
                <a:lnTo>
                  <a:pt x="65411" y="84550"/>
                </a:lnTo>
                <a:lnTo>
                  <a:pt x="65411" y="60000"/>
                </a:lnTo>
                <a:lnTo>
                  <a:pt x="72672" y="60000"/>
                </a:lnTo>
                <a:lnTo>
                  <a:pt x="73633" y="51788"/>
                </a:lnTo>
                <a:lnTo>
                  <a:pt x="65411" y="51788"/>
                </a:lnTo>
                <a:cubicBezTo>
                  <a:pt x="65411" y="51788"/>
                  <a:pt x="65422" y="47044"/>
                  <a:pt x="65422" y="47044"/>
                </a:cubicBezTo>
                <a:close/>
                <a:moveTo>
                  <a:pt x="60000" y="114544"/>
                </a:moveTo>
                <a:cubicBezTo>
                  <a:pt x="29872" y="114544"/>
                  <a:pt x="5455" y="90127"/>
                  <a:pt x="5455" y="60000"/>
                </a:cubicBezTo>
                <a:cubicBezTo>
                  <a:pt x="5455" y="29877"/>
                  <a:pt x="29872" y="5455"/>
                  <a:pt x="60000" y="5455"/>
                </a:cubicBezTo>
                <a:cubicBezTo>
                  <a:pt x="90127" y="5455"/>
                  <a:pt x="114544" y="29877"/>
                  <a:pt x="114544" y="60000"/>
                </a:cubicBezTo>
                <a:cubicBezTo>
                  <a:pt x="114544" y="90127"/>
                  <a:pt x="90127" y="114544"/>
                  <a:pt x="60000" y="114544"/>
                </a:cubicBezTo>
                <a:moveTo>
                  <a:pt x="60000" y="0"/>
                </a:moveTo>
                <a:cubicBezTo>
                  <a:pt x="26861" y="0"/>
                  <a:pt x="0" y="26861"/>
                  <a:pt x="0" y="60000"/>
                </a:cubicBezTo>
                <a:cubicBezTo>
                  <a:pt x="0" y="93138"/>
                  <a:pt x="26861" y="120000"/>
                  <a:pt x="60000" y="120000"/>
                </a:cubicBezTo>
                <a:cubicBezTo>
                  <a:pt x="93138" y="120000"/>
                  <a:pt x="120000" y="93138"/>
                  <a:pt x="120000" y="60000"/>
                </a:cubicBezTo>
                <a:cubicBezTo>
                  <a:pt x="120000" y="26861"/>
                  <a:pt x="93138" y="0"/>
                  <a:pt x="60000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9038" tIns="19038" rIns="19038" bIns="19038" anchor="ctr" anchorCtr="0">
            <a:noAutofit/>
          </a:bodyPr>
          <a:lstStyle/>
          <a:p>
            <a:endParaRPr>
              <a:ea typeface="Lato"/>
              <a:cs typeface="Lato"/>
              <a:sym typeface="Lato"/>
            </a:endParaRPr>
          </a:p>
        </p:txBody>
      </p:sp>
      <p:pic>
        <p:nvPicPr>
          <p:cNvPr id="10" name="图片占位符 9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18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1" name="图片占位符 1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21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8" name="图片占位符 7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9" name="图片占位符 8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2" name="图片占位符 1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PicPr>
            <a:picLocks noGrp="1" noChangeAspect="1"/>
          </p:cNvPicPr>
          <p:nvPr>
            <p:ph type="pic" sz="quarter" idx="20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9" name="TextBox 54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04DAC2E2-F41D-42BB-BEF4-311E5ACF201A}"/>
              </a:ext>
            </a:extLst>
          </p:cNvPr>
          <p:cNvSpPr txBox="1"/>
          <p:nvPr/>
        </p:nvSpPr>
        <p:spPr>
          <a:xfrm>
            <a:off x="4170951" y="642163"/>
            <a:ext cx="38501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000" b="1" dirty="0">
                <a:latin typeface="+mj-lt"/>
                <a:cs typeface="Lato Heavy" panose="020F0902020204030203" pitchFamily="34" charset="0"/>
              </a:rPr>
              <a:t>OUR TEAM</a:t>
            </a:r>
            <a:endParaRPr lang="id-ID" sz="4000" b="1" dirty="0">
              <a:latin typeface="+mj-lt"/>
              <a:cs typeface="Lato Heavy" panose="020F0902020204030203" pitchFamily="34" charset="0"/>
            </a:endParaRPr>
          </a:p>
        </p:txBody>
      </p:sp>
      <p:cxnSp>
        <p:nvCxnSpPr>
          <p:cNvPr id="41" name="Straight Connector 5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5F631CA8-A403-4968-BFD9-4D01B9593E6E}"/>
              </a:ext>
            </a:extLst>
          </p:cNvPr>
          <p:cNvCxnSpPr>
            <a:cxnSpLocks/>
          </p:cNvCxnSpPr>
          <p:nvPr/>
        </p:nvCxnSpPr>
        <p:spPr>
          <a:xfrm>
            <a:off x="5791200" y="654563"/>
            <a:ext cx="609600" cy="0"/>
          </a:xfrm>
          <a:prstGeom prst="line">
            <a:avLst/>
          </a:prstGeom>
          <a:ln w="444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组合 46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/>
          <p:cNvGrpSpPr/>
          <p:nvPr/>
        </p:nvGrpSpPr>
        <p:grpSpPr>
          <a:xfrm>
            <a:off x="5343081" y="293340"/>
            <a:ext cx="1553021" cy="257189"/>
            <a:chOff x="698021" y="1374188"/>
            <a:chExt cx="1553021" cy="257189"/>
          </a:xfrm>
        </p:grpSpPr>
        <p:sp>
          <p:nvSpPr>
            <p:cNvPr id="53" name="TextBox 26">
              <a:extLst>
                <a:ext uri="{FF2B5EF4-FFF2-40B4-BE49-F238E27FC236}">
                  <a16:creationId xmlns:a16="http://schemas.microsoft.com/office/drawing/2014/main" id="{098457CE-85C6-4570-8CFA-D98ADA36B6C3}"/>
                </a:ext>
              </a:extLst>
            </p:cNvPr>
            <p:cNvSpPr txBox="1"/>
            <p:nvPr/>
          </p:nvSpPr>
          <p:spPr>
            <a:xfrm>
              <a:off x="698021" y="1374188"/>
              <a:ext cx="77136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000" i="1" dirty="0">
                  <a:ea typeface="Roboto Medium" charset="0"/>
                  <a:cs typeface="Roboto Medium" charset="0"/>
                </a:rPr>
                <a:t>Company</a:t>
              </a:r>
              <a:endParaRPr lang="en-US" sz="1000" i="1" dirty="0">
                <a:ea typeface="Roboto Medium" charset="0"/>
                <a:cs typeface="Roboto Medium" charset="0"/>
              </a:endParaRPr>
            </a:p>
          </p:txBody>
        </p:sp>
        <p:cxnSp>
          <p:nvCxnSpPr>
            <p:cNvPr id="55" name="Straight Connector 27">
              <a:extLst>
                <a:ext uri="{FF2B5EF4-FFF2-40B4-BE49-F238E27FC236}">
                  <a16:creationId xmlns:a16="http://schemas.microsoft.com/office/drawing/2014/main" id="{8C13FF99-F030-4D42-80A7-05C63E49AB9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04402" y="1625027"/>
              <a:ext cx="1546640" cy="4619"/>
            </a:xfrm>
            <a:prstGeom prst="line">
              <a:avLst/>
            </a:prstGeom>
            <a:ln>
              <a:solidFill>
                <a:schemeClr val="bg2">
                  <a:lumMod val="25000"/>
                  <a:lumOff val="75000"/>
                  <a:alpha val="2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28">
              <a:extLst>
                <a:ext uri="{FF2B5EF4-FFF2-40B4-BE49-F238E27FC236}">
                  <a16:creationId xmlns:a16="http://schemas.microsoft.com/office/drawing/2014/main" id="{A0C95351-4DD3-4D0C-9529-B072A66C46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4402" y="1631377"/>
              <a:ext cx="265907" cy="0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Cross 29">
              <a:extLst>
                <a:ext uri="{FF2B5EF4-FFF2-40B4-BE49-F238E27FC236}">
                  <a16:creationId xmlns:a16="http://schemas.microsoft.com/office/drawing/2014/main" id="{610F54E0-9FA4-4339-8AF7-00CC7C22B4D4}"/>
                </a:ext>
              </a:extLst>
            </p:cNvPr>
            <p:cNvSpPr/>
            <p:nvPr/>
          </p:nvSpPr>
          <p:spPr>
            <a:xfrm flipH="1">
              <a:off x="2145024" y="1446712"/>
              <a:ext cx="106018" cy="106018"/>
            </a:xfrm>
            <a:prstGeom prst="plus">
              <a:avLst>
                <a:gd name="adj" fmla="val 375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8" name="TextBox 11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>
            <a:extLst>
              <a:ext uri="{FF2B5EF4-FFF2-40B4-BE49-F238E27FC236}">
                <a16:creationId xmlns:a16="http://schemas.microsoft.com/office/drawing/2014/main" id="{C311CE91-0287-4141-9227-A254657467EE}"/>
              </a:ext>
            </a:extLst>
          </p:cNvPr>
          <p:cNvSpPr txBox="1"/>
          <p:nvPr/>
        </p:nvSpPr>
        <p:spPr>
          <a:xfrm>
            <a:off x="4331859" y="1281040"/>
            <a:ext cx="35418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+mj-ea"/>
                <a:ea typeface="+mj-ea"/>
              </a:rPr>
              <a:t>welcome to our </a:t>
            </a:r>
            <a:r>
              <a:rPr lang="en-US" altLang="zh-CN" sz="1400" dirty="0">
                <a:solidFill>
                  <a:schemeClr val="accent1"/>
                </a:solidFill>
                <a:latin typeface="+mj-ea"/>
                <a:ea typeface="+mj-ea"/>
              </a:rPr>
              <a:t>Company </a:t>
            </a:r>
            <a:r>
              <a:rPr lang="en-US" altLang="zh-CN" sz="1400" dirty="0">
                <a:solidFill>
                  <a:schemeClr val="accent1"/>
                </a:solidFill>
                <a:latin typeface="+mj-ea"/>
              </a:rPr>
              <a:t>presentation</a:t>
            </a:r>
          </a:p>
          <a:p>
            <a:pPr algn="ctr"/>
            <a:r>
              <a:rPr lang="en-US" altLang="zh-CN" sz="1400" dirty="0">
                <a:solidFill>
                  <a:schemeClr val="accent1"/>
                </a:solidFill>
                <a:latin typeface="+mj-ea"/>
                <a:ea typeface="+mj-ea"/>
              </a:rPr>
              <a:t> </a:t>
            </a:r>
            <a:endParaRPr lang="en-US" sz="1400" dirty="0">
              <a:solidFill>
                <a:schemeClr val="accent1"/>
              </a:solidFill>
              <a:latin typeface="+mj-ea"/>
              <a:ea typeface="+mj-ea"/>
            </a:endParaRPr>
          </a:p>
        </p:txBody>
      </p:sp>
      <p:sp>
        <p:nvSpPr>
          <p:cNvPr id="14" name="e7d195523061f1c0" descr="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" hidden="1"/>
          <p:cNvSpPr txBox="1"/>
          <p:nvPr/>
        </p:nvSpPr>
        <p:spPr>
          <a:xfrm>
            <a:off x="-355600" y="1803400"/>
            <a:ext cx="322909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98CFB52848DC86EB32E158CEB95F07F27379598D2F8459C6A7D7D5B39ED66CEC40B042001F35362FEF3F060011F37A3925A685D433086FB0CB5B00235881DA78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30851463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753101 h 6858000"/>
              <a:gd name="connsiteX3" fmla="*/ 11087101 w 12192000"/>
              <a:gd name="connsiteY3" fmla="*/ 6858000 h 6858000"/>
              <a:gd name="connsiteX4" fmla="*/ 1104899 w 12192000"/>
              <a:gd name="connsiteY4" fmla="*/ 6858000 h 6858000"/>
              <a:gd name="connsiteX5" fmla="*/ 0 w 12192000"/>
              <a:gd name="connsiteY5" fmla="*/ 57531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753101"/>
                </a:lnTo>
                <a:lnTo>
                  <a:pt x="11087101" y="6858000"/>
                </a:lnTo>
                <a:lnTo>
                  <a:pt x="1104899" y="6858000"/>
                </a:lnTo>
                <a:lnTo>
                  <a:pt x="0" y="5753101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70000"/>
                </a:schemeClr>
              </a:gs>
              <a:gs pos="100000">
                <a:schemeClr val="accent4">
                  <a:alpha val="48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 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2133601 h 6858000"/>
              <a:gd name="connsiteX3" fmla="*/ 7467601 w 12192000"/>
              <a:gd name="connsiteY3" fmla="*/ 6858000 h 6858000"/>
              <a:gd name="connsiteX4" fmla="*/ 4724399 w 12192000"/>
              <a:gd name="connsiteY4" fmla="*/ 6858000 h 6858000"/>
              <a:gd name="connsiteX5" fmla="*/ 0 w 12192000"/>
              <a:gd name="connsiteY5" fmla="*/ 21336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2133601"/>
                </a:lnTo>
                <a:lnTo>
                  <a:pt x="7467601" y="6858000"/>
                </a:lnTo>
                <a:lnTo>
                  <a:pt x="4724399" y="6858000"/>
                </a:lnTo>
                <a:lnTo>
                  <a:pt x="0" y="2133601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53000"/>
                </a:schemeClr>
              </a:gs>
              <a:gs pos="100000">
                <a:schemeClr val="accent4">
                  <a:alpha val="58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1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838201" y="0"/>
            <a:ext cx="10515598" cy="6858000"/>
          </a:xfrm>
          <a:custGeom>
            <a:avLst/>
            <a:gdLst>
              <a:gd name="connsiteX0" fmla="*/ 1600201 w 10515598"/>
              <a:gd name="connsiteY0" fmla="*/ 0 h 6858000"/>
              <a:gd name="connsiteX1" fmla="*/ 8915397 w 10515598"/>
              <a:gd name="connsiteY1" fmla="*/ 0 h 6858000"/>
              <a:gd name="connsiteX2" fmla="*/ 10515598 w 10515598"/>
              <a:gd name="connsiteY2" fmla="*/ 1600201 h 6858000"/>
              <a:gd name="connsiteX3" fmla="*/ 5257799 w 10515598"/>
              <a:gd name="connsiteY3" fmla="*/ 6858000 h 6858000"/>
              <a:gd name="connsiteX4" fmla="*/ 0 w 10515598"/>
              <a:gd name="connsiteY4" fmla="*/ 16002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15598" h="6858000">
                <a:moveTo>
                  <a:pt x="1600201" y="0"/>
                </a:moveTo>
                <a:lnTo>
                  <a:pt x="8915397" y="0"/>
                </a:lnTo>
                <a:lnTo>
                  <a:pt x="10515598" y="1600201"/>
                </a:lnTo>
                <a:lnTo>
                  <a:pt x="5257799" y="6858000"/>
                </a:lnTo>
                <a:lnTo>
                  <a:pt x="0" y="1600201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59000"/>
                </a:schemeClr>
              </a:gs>
              <a:gs pos="100000">
                <a:schemeClr val="accent4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" name="TextBox 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811556" y="4622868"/>
            <a:ext cx="347615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rPr>
              <a:t>Right Has Everything That You Need</a:t>
            </a:r>
          </a:p>
        </p:txBody>
      </p:sp>
      <p:pic>
        <p:nvPicPr>
          <p:cNvPr id="2" name="图片占位符 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44" b="25644"/>
          <a:stretch>
            <a:fillRect/>
          </a:stretch>
        </p:blipFill>
        <p:spPr/>
      </p:pic>
      <p:grpSp>
        <p:nvGrpSpPr>
          <p:cNvPr id="14" name="Group 1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C3044390-94B4-4AE8-A754-6940030BE602}"/>
              </a:ext>
            </a:extLst>
          </p:cNvPr>
          <p:cNvGrpSpPr/>
          <p:nvPr/>
        </p:nvGrpSpPr>
        <p:grpSpPr>
          <a:xfrm>
            <a:off x="642974" y="3014471"/>
            <a:ext cx="3132589" cy="1369158"/>
            <a:chOff x="6652634" y="529594"/>
            <a:chExt cx="3132589" cy="1369158"/>
          </a:xfrm>
        </p:grpSpPr>
        <p:sp>
          <p:nvSpPr>
            <p:cNvPr id="15" name="TextBox 15">
              <a:extLst>
                <a:ext uri="{FF2B5EF4-FFF2-40B4-BE49-F238E27FC236}">
                  <a16:creationId xmlns:a16="http://schemas.microsoft.com/office/drawing/2014/main" id="{1830A9E6-95EE-4A92-A508-4D8A17F37353}"/>
                </a:ext>
              </a:extLst>
            </p:cNvPr>
            <p:cNvSpPr txBox="1"/>
            <p:nvPr/>
          </p:nvSpPr>
          <p:spPr>
            <a:xfrm>
              <a:off x="6652634" y="529594"/>
              <a:ext cx="3132589" cy="1323439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r>
                <a:rPr lang="en-US" sz="4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Why</a:t>
              </a:r>
              <a:br>
                <a:rPr lang="en-US" sz="4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</a:br>
              <a:r>
                <a:rPr lang="en-US" sz="4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Choose Us?</a:t>
              </a:r>
              <a:endParaRPr lang="id-ID" sz="4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16" name="Rectangle 16">
              <a:extLst>
                <a:ext uri="{FF2B5EF4-FFF2-40B4-BE49-F238E27FC236}">
                  <a16:creationId xmlns:a16="http://schemas.microsoft.com/office/drawing/2014/main" id="{D9582386-35F6-4A6F-91B7-BFC5D264E787}"/>
                </a:ext>
              </a:extLst>
            </p:cNvPr>
            <p:cNvSpPr/>
            <p:nvPr/>
          </p:nvSpPr>
          <p:spPr>
            <a:xfrm>
              <a:off x="6743122" y="1853033"/>
              <a:ext cx="286328" cy="4571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17" name="TextBox 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9700590F-1A80-4078-80F5-7C610910232E}"/>
              </a:ext>
            </a:extLst>
          </p:cNvPr>
          <p:cNvSpPr txBox="1"/>
          <p:nvPr/>
        </p:nvSpPr>
        <p:spPr>
          <a:xfrm>
            <a:off x="8149064" y="4255168"/>
            <a:ext cx="3724442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</a:rPr>
              <a:t>Hey, hey, hey! It's Fat </a:t>
            </a:r>
            <a:r>
              <a:rPr lang="en-US" altLang="zh-CN" sz="1200" dirty="0">
                <a:solidFill>
                  <a:schemeClr val="bg1"/>
                </a:solidFill>
              </a:rPr>
              <a:t>Company</a:t>
            </a:r>
            <a:r>
              <a:rPr lang="zh-CN" altLang="en-US" sz="1200" dirty="0">
                <a:solidFill>
                  <a:schemeClr val="bg1"/>
                </a:solidFill>
              </a:rPr>
              <a:t>! Now I'm gonna sing a song for you, and this is gonna show you a thing or two. You'll have some fun now With me and the gang, learning from each other While we do our thing.</a:t>
            </a:r>
            <a:endParaRPr lang="en-US" altLang="zh-CN" sz="1200" dirty="0">
              <a:solidFill>
                <a:schemeClr val="bg1"/>
              </a:solidFill>
            </a:endParaRPr>
          </a:p>
          <a:p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3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40415886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900" y="2114550"/>
            <a:ext cx="6591300" cy="6591300"/>
          </a:xfrm>
          <a:prstGeom prst="rect">
            <a:avLst/>
          </a:prstGeom>
        </p:spPr>
      </p:pic>
      <p:sp>
        <p:nvSpPr>
          <p:cNvPr id="9" name="TextBox 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F1F695CE-13FB-9647-B4A8-4FCE9C965C99}"/>
              </a:ext>
            </a:extLst>
          </p:cNvPr>
          <p:cNvSpPr txBox="1"/>
          <p:nvPr/>
        </p:nvSpPr>
        <p:spPr>
          <a:xfrm>
            <a:off x="997649" y="2064326"/>
            <a:ext cx="10196702" cy="212365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13800" spc="300" dirty="0">
                <a:solidFill>
                  <a:schemeClr val="bg1">
                    <a:lumMod val="95000"/>
                  </a:schemeClr>
                </a:solidFill>
                <a:ea typeface="Open Sans SemiBold" panose="020B0706030804020204" pitchFamily="34" charset="0"/>
                <a:cs typeface="Open Sans SemiBold" panose="020B0706030804020204" pitchFamily="34" charset="0"/>
              </a:rPr>
              <a:t>Services Kit</a:t>
            </a:r>
          </a:p>
        </p:txBody>
      </p:sp>
      <p:sp>
        <p:nvSpPr>
          <p:cNvPr id="10" name="Rounded Rectangle 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2C581BD-EBBE-E341-B533-D02404BD3BFB}"/>
              </a:ext>
            </a:extLst>
          </p:cNvPr>
          <p:cNvSpPr/>
          <p:nvPr/>
        </p:nvSpPr>
        <p:spPr>
          <a:xfrm>
            <a:off x="977661" y="4136225"/>
            <a:ext cx="1392905" cy="1392905"/>
          </a:xfrm>
          <a:prstGeom prst="roundRect">
            <a:avLst>
              <a:gd name="adj" fmla="val 959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06400" dist="2413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11" name="Rounded Rectangle 1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50CBD11-D16D-C940-8E51-F65C28858F4F}"/>
              </a:ext>
            </a:extLst>
          </p:cNvPr>
          <p:cNvSpPr/>
          <p:nvPr/>
        </p:nvSpPr>
        <p:spPr>
          <a:xfrm>
            <a:off x="2454043" y="4136225"/>
            <a:ext cx="1392905" cy="1392905"/>
          </a:xfrm>
          <a:prstGeom prst="roundRect">
            <a:avLst>
              <a:gd name="adj" fmla="val 959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06400" dist="2413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12" name="Rounded Rectangle 1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875D2A6E-87F7-694D-A545-36CE13A910E8}"/>
              </a:ext>
            </a:extLst>
          </p:cNvPr>
          <p:cNvSpPr/>
          <p:nvPr/>
        </p:nvSpPr>
        <p:spPr>
          <a:xfrm>
            <a:off x="3930425" y="4136225"/>
            <a:ext cx="1392905" cy="1392905"/>
          </a:xfrm>
          <a:prstGeom prst="roundRect">
            <a:avLst>
              <a:gd name="adj" fmla="val 959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06400" dist="2413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13" name="Rounded Rectangle 1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2CCB174A-CE50-DE4B-B585-B05E0ADED0C6}"/>
              </a:ext>
            </a:extLst>
          </p:cNvPr>
          <p:cNvSpPr/>
          <p:nvPr/>
        </p:nvSpPr>
        <p:spPr>
          <a:xfrm>
            <a:off x="5406807" y="4020722"/>
            <a:ext cx="1392905" cy="1392905"/>
          </a:xfrm>
          <a:prstGeom prst="roundRect">
            <a:avLst>
              <a:gd name="adj" fmla="val 9595"/>
            </a:avLst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>
            <a:outerShdw blurRad="622300" dist="177800" dir="2700000" algn="tl" rotWithShape="0">
              <a:schemeClr val="accent3">
                <a:alpha val="6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14" name="Rounded Rectangle 1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0D313508-1745-5B45-99A4-6B00A150396F}"/>
              </a:ext>
            </a:extLst>
          </p:cNvPr>
          <p:cNvSpPr/>
          <p:nvPr/>
        </p:nvSpPr>
        <p:spPr>
          <a:xfrm>
            <a:off x="6883189" y="4136225"/>
            <a:ext cx="1392905" cy="1392905"/>
          </a:xfrm>
          <a:prstGeom prst="roundRect">
            <a:avLst>
              <a:gd name="adj" fmla="val 959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06400" dist="2413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15" name="Rounded Rectangle 1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F3306D1-2F46-3B4A-8387-A63FDAB14EB1}"/>
              </a:ext>
            </a:extLst>
          </p:cNvPr>
          <p:cNvSpPr/>
          <p:nvPr/>
        </p:nvSpPr>
        <p:spPr>
          <a:xfrm>
            <a:off x="8359571" y="4136225"/>
            <a:ext cx="1392905" cy="1392905"/>
          </a:xfrm>
          <a:prstGeom prst="roundRect">
            <a:avLst>
              <a:gd name="adj" fmla="val 959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06400" dist="2413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16" name="Rounded Rectangle 1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C03B6DC2-FF98-154D-ADE2-26C366363FF0}"/>
              </a:ext>
            </a:extLst>
          </p:cNvPr>
          <p:cNvSpPr/>
          <p:nvPr/>
        </p:nvSpPr>
        <p:spPr>
          <a:xfrm>
            <a:off x="9835952" y="4136225"/>
            <a:ext cx="1392905" cy="1392905"/>
          </a:xfrm>
          <a:prstGeom prst="roundRect">
            <a:avLst>
              <a:gd name="adj" fmla="val 959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06400" dist="2413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grpSp>
        <p:nvGrpSpPr>
          <p:cNvPr id="17" name="Группа 16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1508B12F-B178-5E4A-9C23-AA81A4E0EEE5}"/>
              </a:ext>
            </a:extLst>
          </p:cNvPr>
          <p:cNvGrpSpPr/>
          <p:nvPr/>
        </p:nvGrpSpPr>
        <p:grpSpPr>
          <a:xfrm>
            <a:off x="10320910" y="4477637"/>
            <a:ext cx="387131" cy="383415"/>
            <a:chOff x="5929313" y="3290888"/>
            <a:chExt cx="2149475" cy="2128837"/>
          </a:xfrm>
          <a:solidFill>
            <a:schemeClr val="bg2">
              <a:lumMod val="25000"/>
            </a:schemeClr>
          </a:solidFill>
        </p:grpSpPr>
        <p:sp>
          <p:nvSpPr>
            <p:cNvPr id="18" name="Freeform 143">
              <a:extLst>
                <a:ext uri="{FF2B5EF4-FFF2-40B4-BE49-F238E27FC236}">
                  <a16:creationId xmlns:a16="http://schemas.microsoft.com/office/drawing/2014/main" id="{A1CD82DE-72A4-5445-8583-A44274DA99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9313" y="4089400"/>
              <a:ext cx="2149475" cy="1330325"/>
            </a:xfrm>
            <a:custGeom>
              <a:avLst/>
              <a:gdLst>
                <a:gd name="T0" fmla="*/ 254 w 4062"/>
                <a:gd name="T1" fmla="*/ 1446 h 2514"/>
                <a:gd name="T2" fmla="*/ 805 w 4062"/>
                <a:gd name="T3" fmla="*/ 2260 h 2514"/>
                <a:gd name="T4" fmla="*/ 3298 w 4062"/>
                <a:gd name="T5" fmla="*/ 2220 h 2514"/>
                <a:gd name="T6" fmla="*/ 3782 w 4062"/>
                <a:gd name="T7" fmla="*/ 1395 h 2514"/>
                <a:gd name="T8" fmla="*/ 3276 w 4062"/>
                <a:gd name="T9" fmla="*/ 1131 h 2514"/>
                <a:gd name="T10" fmla="*/ 1854 w 4062"/>
                <a:gd name="T11" fmla="*/ 911 h 2514"/>
                <a:gd name="T12" fmla="*/ 1594 w 4062"/>
                <a:gd name="T13" fmla="*/ 1131 h 2514"/>
                <a:gd name="T14" fmla="*/ 1976 w 4062"/>
                <a:gd name="T15" fmla="*/ 1010 h 2514"/>
                <a:gd name="T16" fmla="*/ 2276 w 4062"/>
                <a:gd name="T17" fmla="*/ 1095 h 2514"/>
                <a:gd name="T18" fmla="*/ 2311 w 4062"/>
                <a:gd name="T19" fmla="*/ 965 h 2514"/>
                <a:gd name="T20" fmla="*/ 2032 w 4062"/>
                <a:gd name="T21" fmla="*/ 628 h 2514"/>
                <a:gd name="T22" fmla="*/ 1618 w 4062"/>
                <a:gd name="T23" fmla="*/ 751 h 2514"/>
                <a:gd name="T24" fmla="*/ 1341 w 4062"/>
                <a:gd name="T25" fmla="*/ 1065 h 2514"/>
                <a:gd name="T26" fmla="*/ 1603 w 4062"/>
                <a:gd name="T27" fmla="*/ 920 h 2514"/>
                <a:gd name="T28" fmla="*/ 1962 w 4062"/>
                <a:gd name="T29" fmla="*/ 758 h 2514"/>
                <a:gd name="T30" fmla="*/ 2355 w 4062"/>
                <a:gd name="T31" fmla="*/ 842 h 2514"/>
                <a:gd name="T32" fmla="*/ 2612 w 4062"/>
                <a:gd name="T33" fmla="*/ 1131 h 2514"/>
                <a:gd name="T34" fmla="*/ 2567 w 4062"/>
                <a:gd name="T35" fmla="*/ 847 h 2514"/>
                <a:gd name="T36" fmla="*/ 2184 w 4062"/>
                <a:gd name="T37" fmla="*/ 644 h 2514"/>
                <a:gd name="T38" fmla="*/ 1775 w 4062"/>
                <a:gd name="T39" fmla="*/ 410 h 2514"/>
                <a:gd name="T40" fmla="*/ 1342 w 4062"/>
                <a:gd name="T41" fmla="*/ 645 h 2514"/>
                <a:gd name="T42" fmla="*/ 1073 w 4062"/>
                <a:gd name="T43" fmla="*/ 1051 h 2514"/>
                <a:gd name="T44" fmla="*/ 1327 w 4062"/>
                <a:gd name="T45" fmla="*/ 848 h 2514"/>
                <a:gd name="T46" fmla="*/ 1706 w 4062"/>
                <a:gd name="T47" fmla="*/ 564 h 2514"/>
                <a:gd name="T48" fmla="*/ 2194 w 4062"/>
                <a:gd name="T49" fmla="*/ 518 h 2514"/>
                <a:gd name="T50" fmla="*/ 2615 w 4062"/>
                <a:gd name="T51" fmla="*/ 720 h 2514"/>
                <a:gd name="T52" fmla="*/ 2957 w 4062"/>
                <a:gd name="T53" fmla="*/ 973 h 2514"/>
                <a:gd name="T54" fmla="*/ 2656 w 4062"/>
                <a:gd name="T55" fmla="*/ 591 h 2514"/>
                <a:gd name="T56" fmla="*/ 2204 w 4062"/>
                <a:gd name="T57" fmla="*/ 392 h 2514"/>
                <a:gd name="T58" fmla="*/ 1734 w 4062"/>
                <a:gd name="T59" fmla="*/ 161 h 2514"/>
                <a:gd name="T60" fmla="*/ 1224 w 4062"/>
                <a:gd name="T61" fmla="*/ 414 h 2514"/>
                <a:gd name="T62" fmla="*/ 877 w 4062"/>
                <a:gd name="T63" fmla="*/ 859 h 2514"/>
                <a:gd name="T64" fmla="*/ 972 w 4062"/>
                <a:gd name="T65" fmla="*/ 959 h 2514"/>
                <a:gd name="T66" fmla="*/ 1280 w 4062"/>
                <a:gd name="T67" fmla="*/ 531 h 2514"/>
                <a:gd name="T68" fmla="*/ 1753 w 4062"/>
                <a:gd name="T69" fmla="*/ 285 h 2514"/>
                <a:gd name="T70" fmla="*/ 2299 w 4062"/>
                <a:gd name="T71" fmla="*/ 283 h 2514"/>
                <a:gd name="T72" fmla="*/ 2760 w 4062"/>
                <a:gd name="T73" fmla="*/ 513 h 2514"/>
                <a:gd name="T74" fmla="*/ 3070 w 4062"/>
                <a:gd name="T75" fmla="*/ 916 h 2514"/>
                <a:gd name="T76" fmla="*/ 2909 w 4062"/>
                <a:gd name="T77" fmla="*/ 477 h 2514"/>
                <a:gd name="T78" fmla="*/ 2423 w 4062"/>
                <a:gd name="T79" fmla="*/ 186 h 2514"/>
                <a:gd name="T80" fmla="*/ 2136 w 4062"/>
                <a:gd name="T81" fmla="*/ 4 h 2514"/>
                <a:gd name="T82" fmla="*/ 2708 w 4062"/>
                <a:gd name="T83" fmla="*/ 175 h 2514"/>
                <a:gd name="T84" fmla="*/ 3147 w 4062"/>
                <a:gd name="T85" fmla="*/ 554 h 2514"/>
                <a:gd name="T86" fmla="*/ 3934 w 4062"/>
                <a:gd name="T87" fmla="*/ 502 h 2514"/>
                <a:gd name="T88" fmla="*/ 4058 w 4062"/>
                <a:gd name="T89" fmla="*/ 600 h 2514"/>
                <a:gd name="T90" fmla="*/ 3992 w 4062"/>
                <a:gd name="T91" fmla="*/ 742 h 2514"/>
                <a:gd name="T92" fmla="*/ 3836 w 4062"/>
                <a:gd name="T93" fmla="*/ 1145 h 2514"/>
                <a:gd name="T94" fmla="*/ 4033 w 4062"/>
                <a:gd name="T95" fmla="*/ 1314 h 2514"/>
                <a:gd name="T96" fmla="*/ 4039 w 4062"/>
                <a:gd name="T97" fmla="*/ 1551 h 2514"/>
                <a:gd name="T98" fmla="*/ 3540 w 4062"/>
                <a:gd name="T99" fmla="*/ 2291 h 2514"/>
                <a:gd name="T100" fmla="*/ 3370 w 4062"/>
                <a:gd name="T101" fmla="*/ 2485 h 2514"/>
                <a:gd name="T102" fmla="*/ 733 w 4062"/>
                <a:gd name="T103" fmla="*/ 2501 h 2514"/>
                <a:gd name="T104" fmla="*/ 537 w 4062"/>
                <a:gd name="T105" fmla="*/ 2332 h 2514"/>
                <a:gd name="T106" fmla="*/ 41 w 4062"/>
                <a:gd name="T107" fmla="*/ 1584 h 2514"/>
                <a:gd name="T108" fmla="*/ 13 w 4062"/>
                <a:gd name="T109" fmla="*/ 1355 h 2514"/>
                <a:gd name="T110" fmla="*/ 184 w 4062"/>
                <a:gd name="T111" fmla="*/ 1161 h 2514"/>
                <a:gd name="T112" fmla="*/ 711 w 4062"/>
                <a:gd name="T113" fmla="*/ 934 h 2514"/>
                <a:gd name="T114" fmla="*/ 1024 w 4062"/>
                <a:gd name="T115" fmla="*/ 427 h 2514"/>
                <a:gd name="T116" fmla="*/ 1521 w 4062"/>
                <a:gd name="T117" fmla="*/ 96 h 2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62" h="2514">
                  <a:moveTo>
                    <a:pt x="318" y="1383"/>
                  </a:moveTo>
                  <a:lnTo>
                    <a:pt x="297" y="1386"/>
                  </a:lnTo>
                  <a:lnTo>
                    <a:pt x="280" y="1395"/>
                  </a:lnTo>
                  <a:lnTo>
                    <a:pt x="266" y="1409"/>
                  </a:lnTo>
                  <a:lnTo>
                    <a:pt x="257" y="1425"/>
                  </a:lnTo>
                  <a:lnTo>
                    <a:pt x="254" y="1446"/>
                  </a:lnTo>
                  <a:lnTo>
                    <a:pt x="762" y="2010"/>
                  </a:lnTo>
                  <a:lnTo>
                    <a:pt x="762" y="2201"/>
                  </a:lnTo>
                  <a:lnTo>
                    <a:pt x="764" y="2220"/>
                  </a:lnTo>
                  <a:lnTo>
                    <a:pt x="774" y="2237"/>
                  </a:lnTo>
                  <a:lnTo>
                    <a:pt x="788" y="2251"/>
                  </a:lnTo>
                  <a:lnTo>
                    <a:pt x="805" y="2260"/>
                  </a:lnTo>
                  <a:lnTo>
                    <a:pt x="825" y="2262"/>
                  </a:lnTo>
                  <a:lnTo>
                    <a:pt x="3237" y="2262"/>
                  </a:lnTo>
                  <a:lnTo>
                    <a:pt x="3257" y="2260"/>
                  </a:lnTo>
                  <a:lnTo>
                    <a:pt x="3274" y="2251"/>
                  </a:lnTo>
                  <a:lnTo>
                    <a:pt x="3289" y="2237"/>
                  </a:lnTo>
                  <a:lnTo>
                    <a:pt x="3298" y="2220"/>
                  </a:lnTo>
                  <a:lnTo>
                    <a:pt x="3300" y="2201"/>
                  </a:lnTo>
                  <a:lnTo>
                    <a:pt x="3300" y="2010"/>
                  </a:lnTo>
                  <a:lnTo>
                    <a:pt x="3808" y="1446"/>
                  </a:lnTo>
                  <a:lnTo>
                    <a:pt x="3805" y="1425"/>
                  </a:lnTo>
                  <a:lnTo>
                    <a:pt x="3796" y="1409"/>
                  </a:lnTo>
                  <a:lnTo>
                    <a:pt x="3782" y="1395"/>
                  </a:lnTo>
                  <a:lnTo>
                    <a:pt x="3765" y="1386"/>
                  </a:lnTo>
                  <a:lnTo>
                    <a:pt x="3746" y="1383"/>
                  </a:lnTo>
                  <a:lnTo>
                    <a:pt x="318" y="1383"/>
                  </a:lnTo>
                  <a:close/>
                  <a:moveTo>
                    <a:pt x="3268" y="1100"/>
                  </a:moveTo>
                  <a:lnTo>
                    <a:pt x="3204" y="1131"/>
                  </a:lnTo>
                  <a:lnTo>
                    <a:pt x="3276" y="1131"/>
                  </a:lnTo>
                  <a:lnTo>
                    <a:pt x="3272" y="1116"/>
                  </a:lnTo>
                  <a:lnTo>
                    <a:pt x="3268" y="1100"/>
                  </a:lnTo>
                  <a:close/>
                  <a:moveTo>
                    <a:pt x="2032" y="880"/>
                  </a:moveTo>
                  <a:lnTo>
                    <a:pt x="1969" y="883"/>
                  </a:lnTo>
                  <a:lnTo>
                    <a:pt x="1911" y="895"/>
                  </a:lnTo>
                  <a:lnTo>
                    <a:pt x="1854" y="911"/>
                  </a:lnTo>
                  <a:lnTo>
                    <a:pt x="1801" y="936"/>
                  </a:lnTo>
                  <a:lnTo>
                    <a:pt x="1751" y="965"/>
                  </a:lnTo>
                  <a:lnTo>
                    <a:pt x="1704" y="1000"/>
                  </a:lnTo>
                  <a:lnTo>
                    <a:pt x="1663" y="1040"/>
                  </a:lnTo>
                  <a:lnTo>
                    <a:pt x="1625" y="1083"/>
                  </a:lnTo>
                  <a:lnTo>
                    <a:pt x="1594" y="1131"/>
                  </a:lnTo>
                  <a:lnTo>
                    <a:pt x="1749" y="1131"/>
                  </a:lnTo>
                  <a:lnTo>
                    <a:pt x="1786" y="1095"/>
                  </a:lnTo>
                  <a:lnTo>
                    <a:pt x="1829" y="1064"/>
                  </a:lnTo>
                  <a:lnTo>
                    <a:pt x="1875" y="1040"/>
                  </a:lnTo>
                  <a:lnTo>
                    <a:pt x="1924" y="1022"/>
                  </a:lnTo>
                  <a:lnTo>
                    <a:pt x="1976" y="1010"/>
                  </a:lnTo>
                  <a:lnTo>
                    <a:pt x="2032" y="1005"/>
                  </a:lnTo>
                  <a:lnTo>
                    <a:pt x="2086" y="1010"/>
                  </a:lnTo>
                  <a:lnTo>
                    <a:pt x="2138" y="1022"/>
                  </a:lnTo>
                  <a:lnTo>
                    <a:pt x="2187" y="1040"/>
                  </a:lnTo>
                  <a:lnTo>
                    <a:pt x="2234" y="1064"/>
                  </a:lnTo>
                  <a:lnTo>
                    <a:pt x="2276" y="1095"/>
                  </a:lnTo>
                  <a:lnTo>
                    <a:pt x="2312" y="1131"/>
                  </a:lnTo>
                  <a:lnTo>
                    <a:pt x="2468" y="1131"/>
                  </a:lnTo>
                  <a:lnTo>
                    <a:pt x="2437" y="1083"/>
                  </a:lnTo>
                  <a:lnTo>
                    <a:pt x="2399" y="1040"/>
                  </a:lnTo>
                  <a:lnTo>
                    <a:pt x="2358" y="1000"/>
                  </a:lnTo>
                  <a:lnTo>
                    <a:pt x="2311" y="965"/>
                  </a:lnTo>
                  <a:lnTo>
                    <a:pt x="2262" y="936"/>
                  </a:lnTo>
                  <a:lnTo>
                    <a:pt x="2208" y="911"/>
                  </a:lnTo>
                  <a:lnTo>
                    <a:pt x="2151" y="895"/>
                  </a:lnTo>
                  <a:lnTo>
                    <a:pt x="2093" y="883"/>
                  </a:lnTo>
                  <a:lnTo>
                    <a:pt x="2032" y="880"/>
                  </a:lnTo>
                  <a:close/>
                  <a:moveTo>
                    <a:pt x="2032" y="628"/>
                  </a:moveTo>
                  <a:lnTo>
                    <a:pt x="1956" y="632"/>
                  </a:lnTo>
                  <a:lnTo>
                    <a:pt x="1882" y="644"/>
                  </a:lnTo>
                  <a:lnTo>
                    <a:pt x="1811" y="661"/>
                  </a:lnTo>
                  <a:lnTo>
                    <a:pt x="1743" y="685"/>
                  </a:lnTo>
                  <a:lnTo>
                    <a:pt x="1679" y="715"/>
                  </a:lnTo>
                  <a:lnTo>
                    <a:pt x="1618" y="751"/>
                  </a:lnTo>
                  <a:lnTo>
                    <a:pt x="1559" y="792"/>
                  </a:lnTo>
                  <a:lnTo>
                    <a:pt x="1506" y="838"/>
                  </a:lnTo>
                  <a:lnTo>
                    <a:pt x="1458" y="888"/>
                  </a:lnTo>
                  <a:lnTo>
                    <a:pt x="1414" y="943"/>
                  </a:lnTo>
                  <a:lnTo>
                    <a:pt x="1375" y="1002"/>
                  </a:lnTo>
                  <a:lnTo>
                    <a:pt x="1341" y="1065"/>
                  </a:lnTo>
                  <a:lnTo>
                    <a:pt x="1314" y="1131"/>
                  </a:lnTo>
                  <a:lnTo>
                    <a:pt x="1450" y="1131"/>
                  </a:lnTo>
                  <a:lnTo>
                    <a:pt x="1480" y="1073"/>
                  </a:lnTo>
                  <a:lnTo>
                    <a:pt x="1516" y="1018"/>
                  </a:lnTo>
                  <a:lnTo>
                    <a:pt x="1556" y="966"/>
                  </a:lnTo>
                  <a:lnTo>
                    <a:pt x="1603" y="920"/>
                  </a:lnTo>
                  <a:lnTo>
                    <a:pt x="1654" y="879"/>
                  </a:lnTo>
                  <a:lnTo>
                    <a:pt x="1708" y="842"/>
                  </a:lnTo>
                  <a:lnTo>
                    <a:pt x="1767" y="811"/>
                  </a:lnTo>
                  <a:lnTo>
                    <a:pt x="1829" y="787"/>
                  </a:lnTo>
                  <a:lnTo>
                    <a:pt x="1894" y="769"/>
                  </a:lnTo>
                  <a:lnTo>
                    <a:pt x="1962" y="758"/>
                  </a:lnTo>
                  <a:lnTo>
                    <a:pt x="2032" y="754"/>
                  </a:lnTo>
                  <a:lnTo>
                    <a:pt x="2101" y="758"/>
                  </a:lnTo>
                  <a:lnTo>
                    <a:pt x="2169" y="769"/>
                  </a:lnTo>
                  <a:lnTo>
                    <a:pt x="2234" y="787"/>
                  </a:lnTo>
                  <a:lnTo>
                    <a:pt x="2295" y="811"/>
                  </a:lnTo>
                  <a:lnTo>
                    <a:pt x="2355" y="842"/>
                  </a:lnTo>
                  <a:lnTo>
                    <a:pt x="2410" y="879"/>
                  </a:lnTo>
                  <a:lnTo>
                    <a:pt x="2460" y="920"/>
                  </a:lnTo>
                  <a:lnTo>
                    <a:pt x="2506" y="966"/>
                  </a:lnTo>
                  <a:lnTo>
                    <a:pt x="2547" y="1018"/>
                  </a:lnTo>
                  <a:lnTo>
                    <a:pt x="2582" y="1073"/>
                  </a:lnTo>
                  <a:lnTo>
                    <a:pt x="2612" y="1131"/>
                  </a:lnTo>
                  <a:lnTo>
                    <a:pt x="2635" y="1131"/>
                  </a:lnTo>
                  <a:lnTo>
                    <a:pt x="2730" y="1085"/>
                  </a:lnTo>
                  <a:lnTo>
                    <a:pt x="2698" y="1019"/>
                  </a:lnTo>
                  <a:lnTo>
                    <a:pt x="2660" y="957"/>
                  </a:lnTo>
                  <a:lnTo>
                    <a:pt x="2616" y="900"/>
                  </a:lnTo>
                  <a:lnTo>
                    <a:pt x="2567" y="847"/>
                  </a:lnTo>
                  <a:lnTo>
                    <a:pt x="2512" y="799"/>
                  </a:lnTo>
                  <a:lnTo>
                    <a:pt x="2454" y="756"/>
                  </a:lnTo>
                  <a:lnTo>
                    <a:pt x="2391" y="718"/>
                  </a:lnTo>
                  <a:lnTo>
                    <a:pt x="2325" y="688"/>
                  </a:lnTo>
                  <a:lnTo>
                    <a:pt x="2256" y="662"/>
                  </a:lnTo>
                  <a:lnTo>
                    <a:pt x="2184" y="644"/>
                  </a:lnTo>
                  <a:lnTo>
                    <a:pt x="2108" y="632"/>
                  </a:lnTo>
                  <a:lnTo>
                    <a:pt x="2032" y="628"/>
                  </a:lnTo>
                  <a:close/>
                  <a:moveTo>
                    <a:pt x="2032" y="378"/>
                  </a:moveTo>
                  <a:lnTo>
                    <a:pt x="1943" y="380"/>
                  </a:lnTo>
                  <a:lnTo>
                    <a:pt x="1858" y="392"/>
                  </a:lnTo>
                  <a:lnTo>
                    <a:pt x="1775" y="410"/>
                  </a:lnTo>
                  <a:lnTo>
                    <a:pt x="1694" y="434"/>
                  </a:lnTo>
                  <a:lnTo>
                    <a:pt x="1618" y="465"/>
                  </a:lnTo>
                  <a:lnTo>
                    <a:pt x="1542" y="501"/>
                  </a:lnTo>
                  <a:lnTo>
                    <a:pt x="1472" y="544"/>
                  </a:lnTo>
                  <a:lnTo>
                    <a:pt x="1406" y="592"/>
                  </a:lnTo>
                  <a:lnTo>
                    <a:pt x="1342" y="645"/>
                  </a:lnTo>
                  <a:lnTo>
                    <a:pt x="1285" y="703"/>
                  </a:lnTo>
                  <a:lnTo>
                    <a:pt x="1232" y="765"/>
                  </a:lnTo>
                  <a:lnTo>
                    <a:pt x="1184" y="830"/>
                  </a:lnTo>
                  <a:lnTo>
                    <a:pt x="1141" y="901"/>
                  </a:lnTo>
                  <a:lnTo>
                    <a:pt x="1105" y="974"/>
                  </a:lnTo>
                  <a:lnTo>
                    <a:pt x="1073" y="1051"/>
                  </a:lnTo>
                  <a:lnTo>
                    <a:pt x="1049" y="1131"/>
                  </a:lnTo>
                  <a:lnTo>
                    <a:pt x="1180" y="1131"/>
                  </a:lnTo>
                  <a:lnTo>
                    <a:pt x="1207" y="1055"/>
                  </a:lnTo>
                  <a:lnTo>
                    <a:pt x="1241" y="982"/>
                  </a:lnTo>
                  <a:lnTo>
                    <a:pt x="1280" y="912"/>
                  </a:lnTo>
                  <a:lnTo>
                    <a:pt x="1327" y="848"/>
                  </a:lnTo>
                  <a:lnTo>
                    <a:pt x="1377" y="788"/>
                  </a:lnTo>
                  <a:lnTo>
                    <a:pt x="1434" y="731"/>
                  </a:lnTo>
                  <a:lnTo>
                    <a:pt x="1495" y="681"/>
                  </a:lnTo>
                  <a:lnTo>
                    <a:pt x="1562" y="636"/>
                  </a:lnTo>
                  <a:lnTo>
                    <a:pt x="1632" y="596"/>
                  </a:lnTo>
                  <a:lnTo>
                    <a:pt x="1706" y="564"/>
                  </a:lnTo>
                  <a:lnTo>
                    <a:pt x="1784" y="538"/>
                  </a:lnTo>
                  <a:lnTo>
                    <a:pt x="1863" y="519"/>
                  </a:lnTo>
                  <a:lnTo>
                    <a:pt x="1946" y="508"/>
                  </a:lnTo>
                  <a:lnTo>
                    <a:pt x="2032" y="502"/>
                  </a:lnTo>
                  <a:lnTo>
                    <a:pt x="2113" y="506"/>
                  </a:lnTo>
                  <a:lnTo>
                    <a:pt x="2194" y="518"/>
                  </a:lnTo>
                  <a:lnTo>
                    <a:pt x="2273" y="536"/>
                  </a:lnTo>
                  <a:lnTo>
                    <a:pt x="2348" y="562"/>
                  </a:lnTo>
                  <a:lnTo>
                    <a:pt x="2420" y="592"/>
                  </a:lnTo>
                  <a:lnTo>
                    <a:pt x="2489" y="630"/>
                  </a:lnTo>
                  <a:lnTo>
                    <a:pt x="2554" y="672"/>
                  </a:lnTo>
                  <a:lnTo>
                    <a:pt x="2615" y="720"/>
                  </a:lnTo>
                  <a:lnTo>
                    <a:pt x="2670" y="774"/>
                  </a:lnTo>
                  <a:lnTo>
                    <a:pt x="2722" y="832"/>
                  </a:lnTo>
                  <a:lnTo>
                    <a:pt x="2768" y="893"/>
                  </a:lnTo>
                  <a:lnTo>
                    <a:pt x="2809" y="959"/>
                  </a:lnTo>
                  <a:lnTo>
                    <a:pt x="2844" y="1028"/>
                  </a:lnTo>
                  <a:lnTo>
                    <a:pt x="2957" y="973"/>
                  </a:lnTo>
                  <a:lnTo>
                    <a:pt x="2920" y="900"/>
                  </a:lnTo>
                  <a:lnTo>
                    <a:pt x="2877" y="829"/>
                  </a:lnTo>
                  <a:lnTo>
                    <a:pt x="2829" y="763"/>
                  </a:lnTo>
                  <a:lnTo>
                    <a:pt x="2776" y="702"/>
                  </a:lnTo>
                  <a:lnTo>
                    <a:pt x="2719" y="644"/>
                  </a:lnTo>
                  <a:lnTo>
                    <a:pt x="2656" y="591"/>
                  </a:lnTo>
                  <a:lnTo>
                    <a:pt x="2589" y="544"/>
                  </a:lnTo>
                  <a:lnTo>
                    <a:pt x="2519" y="501"/>
                  </a:lnTo>
                  <a:lnTo>
                    <a:pt x="2445" y="465"/>
                  </a:lnTo>
                  <a:lnTo>
                    <a:pt x="2367" y="434"/>
                  </a:lnTo>
                  <a:lnTo>
                    <a:pt x="2287" y="410"/>
                  </a:lnTo>
                  <a:lnTo>
                    <a:pt x="2204" y="392"/>
                  </a:lnTo>
                  <a:lnTo>
                    <a:pt x="2119" y="380"/>
                  </a:lnTo>
                  <a:lnTo>
                    <a:pt x="2032" y="378"/>
                  </a:lnTo>
                  <a:close/>
                  <a:moveTo>
                    <a:pt x="2032" y="126"/>
                  </a:moveTo>
                  <a:lnTo>
                    <a:pt x="1930" y="130"/>
                  </a:lnTo>
                  <a:lnTo>
                    <a:pt x="1830" y="141"/>
                  </a:lnTo>
                  <a:lnTo>
                    <a:pt x="1734" y="161"/>
                  </a:lnTo>
                  <a:lnTo>
                    <a:pt x="1641" y="186"/>
                  </a:lnTo>
                  <a:lnTo>
                    <a:pt x="1550" y="220"/>
                  </a:lnTo>
                  <a:lnTo>
                    <a:pt x="1463" y="259"/>
                  </a:lnTo>
                  <a:lnTo>
                    <a:pt x="1379" y="304"/>
                  </a:lnTo>
                  <a:lnTo>
                    <a:pt x="1299" y="356"/>
                  </a:lnTo>
                  <a:lnTo>
                    <a:pt x="1224" y="414"/>
                  </a:lnTo>
                  <a:lnTo>
                    <a:pt x="1153" y="475"/>
                  </a:lnTo>
                  <a:lnTo>
                    <a:pt x="1086" y="544"/>
                  </a:lnTo>
                  <a:lnTo>
                    <a:pt x="1025" y="616"/>
                  </a:lnTo>
                  <a:lnTo>
                    <a:pt x="971" y="693"/>
                  </a:lnTo>
                  <a:lnTo>
                    <a:pt x="922" y="774"/>
                  </a:lnTo>
                  <a:lnTo>
                    <a:pt x="877" y="859"/>
                  </a:lnTo>
                  <a:lnTo>
                    <a:pt x="841" y="946"/>
                  </a:lnTo>
                  <a:lnTo>
                    <a:pt x="810" y="1037"/>
                  </a:lnTo>
                  <a:lnTo>
                    <a:pt x="787" y="1131"/>
                  </a:lnTo>
                  <a:lnTo>
                    <a:pt x="918" y="1131"/>
                  </a:lnTo>
                  <a:lnTo>
                    <a:pt x="942" y="1044"/>
                  </a:lnTo>
                  <a:lnTo>
                    <a:pt x="972" y="959"/>
                  </a:lnTo>
                  <a:lnTo>
                    <a:pt x="1010" y="878"/>
                  </a:lnTo>
                  <a:lnTo>
                    <a:pt x="1053" y="801"/>
                  </a:lnTo>
                  <a:lnTo>
                    <a:pt x="1101" y="726"/>
                  </a:lnTo>
                  <a:lnTo>
                    <a:pt x="1155" y="657"/>
                  </a:lnTo>
                  <a:lnTo>
                    <a:pt x="1215" y="591"/>
                  </a:lnTo>
                  <a:lnTo>
                    <a:pt x="1280" y="531"/>
                  </a:lnTo>
                  <a:lnTo>
                    <a:pt x="1349" y="475"/>
                  </a:lnTo>
                  <a:lnTo>
                    <a:pt x="1423" y="425"/>
                  </a:lnTo>
                  <a:lnTo>
                    <a:pt x="1499" y="382"/>
                  </a:lnTo>
                  <a:lnTo>
                    <a:pt x="1581" y="343"/>
                  </a:lnTo>
                  <a:lnTo>
                    <a:pt x="1666" y="311"/>
                  </a:lnTo>
                  <a:lnTo>
                    <a:pt x="1753" y="285"/>
                  </a:lnTo>
                  <a:lnTo>
                    <a:pt x="1843" y="266"/>
                  </a:lnTo>
                  <a:lnTo>
                    <a:pt x="1937" y="256"/>
                  </a:lnTo>
                  <a:lnTo>
                    <a:pt x="2032" y="252"/>
                  </a:lnTo>
                  <a:lnTo>
                    <a:pt x="2123" y="254"/>
                  </a:lnTo>
                  <a:lnTo>
                    <a:pt x="2212" y="266"/>
                  </a:lnTo>
                  <a:lnTo>
                    <a:pt x="2299" y="283"/>
                  </a:lnTo>
                  <a:lnTo>
                    <a:pt x="2385" y="307"/>
                  </a:lnTo>
                  <a:lnTo>
                    <a:pt x="2467" y="337"/>
                  </a:lnTo>
                  <a:lnTo>
                    <a:pt x="2545" y="373"/>
                  </a:lnTo>
                  <a:lnTo>
                    <a:pt x="2621" y="414"/>
                  </a:lnTo>
                  <a:lnTo>
                    <a:pt x="2693" y="461"/>
                  </a:lnTo>
                  <a:lnTo>
                    <a:pt x="2760" y="513"/>
                  </a:lnTo>
                  <a:lnTo>
                    <a:pt x="2824" y="569"/>
                  </a:lnTo>
                  <a:lnTo>
                    <a:pt x="2883" y="631"/>
                  </a:lnTo>
                  <a:lnTo>
                    <a:pt x="2938" y="697"/>
                  </a:lnTo>
                  <a:lnTo>
                    <a:pt x="2987" y="766"/>
                  </a:lnTo>
                  <a:lnTo>
                    <a:pt x="3031" y="839"/>
                  </a:lnTo>
                  <a:lnTo>
                    <a:pt x="3070" y="916"/>
                  </a:lnTo>
                  <a:lnTo>
                    <a:pt x="3185" y="860"/>
                  </a:lnTo>
                  <a:lnTo>
                    <a:pt x="3141" y="775"/>
                  </a:lnTo>
                  <a:lnTo>
                    <a:pt x="3091" y="694"/>
                  </a:lnTo>
                  <a:lnTo>
                    <a:pt x="3037" y="618"/>
                  </a:lnTo>
                  <a:lnTo>
                    <a:pt x="2976" y="545"/>
                  </a:lnTo>
                  <a:lnTo>
                    <a:pt x="2909" y="477"/>
                  </a:lnTo>
                  <a:lnTo>
                    <a:pt x="2839" y="415"/>
                  </a:lnTo>
                  <a:lnTo>
                    <a:pt x="2764" y="357"/>
                  </a:lnTo>
                  <a:lnTo>
                    <a:pt x="2683" y="306"/>
                  </a:lnTo>
                  <a:lnTo>
                    <a:pt x="2600" y="259"/>
                  </a:lnTo>
                  <a:lnTo>
                    <a:pt x="2513" y="220"/>
                  </a:lnTo>
                  <a:lnTo>
                    <a:pt x="2423" y="186"/>
                  </a:lnTo>
                  <a:lnTo>
                    <a:pt x="2328" y="161"/>
                  </a:lnTo>
                  <a:lnTo>
                    <a:pt x="2232" y="141"/>
                  </a:lnTo>
                  <a:lnTo>
                    <a:pt x="2133" y="130"/>
                  </a:lnTo>
                  <a:lnTo>
                    <a:pt x="2032" y="126"/>
                  </a:lnTo>
                  <a:close/>
                  <a:moveTo>
                    <a:pt x="2032" y="0"/>
                  </a:moveTo>
                  <a:lnTo>
                    <a:pt x="2136" y="4"/>
                  </a:lnTo>
                  <a:lnTo>
                    <a:pt x="2238" y="15"/>
                  </a:lnTo>
                  <a:lnTo>
                    <a:pt x="2337" y="35"/>
                  </a:lnTo>
                  <a:lnTo>
                    <a:pt x="2434" y="59"/>
                  </a:lnTo>
                  <a:lnTo>
                    <a:pt x="2529" y="91"/>
                  </a:lnTo>
                  <a:lnTo>
                    <a:pt x="2620" y="130"/>
                  </a:lnTo>
                  <a:lnTo>
                    <a:pt x="2708" y="175"/>
                  </a:lnTo>
                  <a:lnTo>
                    <a:pt x="2791" y="225"/>
                  </a:lnTo>
                  <a:lnTo>
                    <a:pt x="2872" y="280"/>
                  </a:lnTo>
                  <a:lnTo>
                    <a:pt x="2947" y="342"/>
                  </a:lnTo>
                  <a:lnTo>
                    <a:pt x="3018" y="407"/>
                  </a:lnTo>
                  <a:lnTo>
                    <a:pt x="3085" y="478"/>
                  </a:lnTo>
                  <a:lnTo>
                    <a:pt x="3147" y="554"/>
                  </a:lnTo>
                  <a:lnTo>
                    <a:pt x="3203" y="634"/>
                  </a:lnTo>
                  <a:lnTo>
                    <a:pt x="3253" y="717"/>
                  </a:lnTo>
                  <a:lnTo>
                    <a:pt x="3298" y="803"/>
                  </a:lnTo>
                  <a:lnTo>
                    <a:pt x="3878" y="517"/>
                  </a:lnTo>
                  <a:lnTo>
                    <a:pt x="3907" y="506"/>
                  </a:lnTo>
                  <a:lnTo>
                    <a:pt x="3934" y="502"/>
                  </a:lnTo>
                  <a:lnTo>
                    <a:pt x="3962" y="506"/>
                  </a:lnTo>
                  <a:lnTo>
                    <a:pt x="3988" y="514"/>
                  </a:lnTo>
                  <a:lnTo>
                    <a:pt x="4013" y="528"/>
                  </a:lnTo>
                  <a:lnTo>
                    <a:pt x="4033" y="549"/>
                  </a:lnTo>
                  <a:lnTo>
                    <a:pt x="4049" y="572"/>
                  </a:lnTo>
                  <a:lnTo>
                    <a:pt x="4058" y="600"/>
                  </a:lnTo>
                  <a:lnTo>
                    <a:pt x="4062" y="627"/>
                  </a:lnTo>
                  <a:lnTo>
                    <a:pt x="4060" y="655"/>
                  </a:lnTo>
                  <a:lnTo>
                    <a:pt x="4051" y="681"/>
                  </a:lnTo>
                  <a:lnTo>
                    <a:pt x="4036" y="704"/>
                  </a:lnTo>
                  <a:lnTo>
                    <a:pt x="4017" y="725"/>
                  </a:lnTo>
                  <a:lnTo>
                    <a:pt x="3992" y="742"/>
                  </a:lnTo>
                  <a:lnTo>
                    <a:pt x="3383" y="1042"/>
                  </a:lnTo>
                  <a:lnTo>
                    <a:pt x="3394" y="1087"/>
                  </a:lnTo>
                  <a:lnTo>
                    <a:pt x="3403" y="1131"/>
                  </a:lnTo>
                  <a:lnTo>
                    <a:pt x="3746" y="1131"/>
                  </a:lnTo>
                  <a:lnTo>
                    <a:pt x="3792" y="1135"/>
                  </a:lnTo>
                  <a:lnTo>
                    <a:pt x="3836" y="1145"/>
                  </a:lnTo>
                  <a:lnTo>
                    <a:pt x="3879" y="1161"/>
                  </a:lnTo>
                  <a:lnTo>
                    <a:pt x="3918" y="1182"/>
                  </a:lnTo>
                  <a:lnTo>
                    <a:pt x="3953" y="1208"/>
                  </a:lnTo>
                  <a:lnTo>
                    <a:pt x="3984" y="1239"/>
                  </a:lnTo>
                  <a:lnTo>
                    <a:pt x="4012" y="1275"/>
                  </a:lnTo>
                  <a:lnTo>
                    <a:pt x="4033" y="1314"/>
                  </a:lnTo>
                  <a:lnTo>
                    <a:pt x="4049" y="1355"/>
                  </a:lnTo>
                  <a:lnTo>
                    <a:pt x="4060" y="1400"/>
                  </a:lnTo>
                  <a:lnTo>
                    <a:pt x="4062" y="1446"/>
                  </a:lnTo>
                  <a:lnTo>
                    <a:pt x="4060" y="1482"/>
                  </a:lnTo>
                  <a:lnTo>
                    <a:pt x="4052" y="1518"/>
                  </a:lnTo>
                  <a:lnTo>
                    <a:pt x="4039" y="1551"/>
                  </a:lnTo>
                  <a:lnTo>
                    <a:pt x="4021" y="1584"/>
                  </a:lnTo>
                  <a:lnTo>
                    <a:pt x="3999" y="1613"/>
                  </a:lnTo>
                  <a:lnTo>
                    <a:pt x="3555" y="2107"/>
                  </a:lnTo>
                  <a:lnTo>
                    <a:pt x="3555" y="2201"/>
                  </a:lnTo>
                  <a:lnTo>
                    <a:pt x="3551" y="2247"/>
                  </a:lnTo>
                  <a:lnTo>
                    <a:pt x="3540" y="2291"/>
                  </a:lnTo>
                  <a:lnTo>
                    <a:pt x="3525" y="2332"/>
                  </a:lnTo>
                  <a:lnTo>
                    <a:pt x="3503" y="2370"/>
                  </a:lnTo>
                  <a:lnTo>
                    <a:pt x="3477" y="2406"/>
                  </a:lnTo>
                  <a:lnTo>
                    <a:pt x="3446" y="2437"/>
                  </a:lnTo>
                  <a:lnTo>
                    <a:pt x="3409" y="2464"/>
                  </a:lnTo>
                  <a:lnTo>
                    <a:pt x="3370" y="2485"/>
                  </a:lnTo>
                  <a:lnTo>
                    <a:pt x="3329" y="2501"/>
                  </a:lnTo>
                  <a:lnTo>
                    <a:pt x="3283" y="2510"/>
                  </a:lnTo>
                  <a:lnTo>
                    <a:pt x="3237" y="2514"/>
                  </a:lnTo>
                  <a:lnTo>
                    <a:pt x="825" y="2514"/>
                  </a:lnTo>
                  <a:lnTo>
                    <a:pt x="779" y="2510"/>
                  </a:lnTo>
                  <a:lnTo>
                    <a:pt x="733" y="2501"/>
                  </a:lnTo>
                  <a:lnTo>
                    <a:pt x="692" y="2485"/>
                  </a:lnTo>
                  <a:lnTo>
                    <a:pt x="653" y="2464"/>
                  </a:lnTo>
                  <a:lnTo>
                    <a:pt x="616" y="2437"/>
                  </a:lnTo>
                  <a:lnTo>
                    <a:pt x="585" y="2406"/>
                  </a:lnTo>
                  <a:lnTo>
                    <a:pt x="559" y="2370"/>
                  </a:lnTo>
                  <a:lnTo>
                    <a:pt x="537" y="2332"/>
                  </a:lnTo>
                  <a:lnTo>
                    <a:pt x="520" y="2291"/>
                  </a:lnTo>
                  <a:lnTo>
                    <a:pt x="511" y="2247"/>
                  </a:lnTo>
                  <a:lnTo>
                    <a:pt x="507" y="2201"/>
                  </a:lnTo>
                  <a:lnTo>
                    <a:pt x="507" y="2107"/>
                  </a:lnTo>
                  <a:lnTo>
                    <a:pt x="63" y="1613"/>
                  </a:lnTo>
                  <a:lnTo>
                    <a:pt x="41" y="1584"/>
                  </a:lnTo>
                  <a:lnTo>
                    <a:pt x="23" y="1551"/>
                  </a:lnTo>
                  <a:lnTo>
                    <a:pt x="10" y="1518"/>
                  </a:lnTo>
                  <a:lnTo>
                    <a:pt x="2" y="1482"/>
                  </a:lnTo>
                  <a:lnTo>
                    <a:pt x="0" y="1446"/>
                  </a:lnTo>
                  <a:lnTo>
                    <a:pt x="4" y="1400"/>
                  </a:lnTo>
                  <a:lnTo>
                    <a:pt x="13" y="1355"/>
                  </a:lnTo>
                  <a:lnTo>
                    <a:pt x="30" y="1314"/>
                  </a:lnTo>
                  <a:lnTo>
                    <a:pt x="52" y="1275"/>
                  </a:lnTo>
                  <a:lnTo>
                    <a:pt x="78" y="1239"/>
                  </a:lnTo>
                  <a:lnTo>
                    <a:pt x="109" y="1208"/>
                  </a:lnTo>
                  <a:lnTo>
                    <a:pt x="145" y="1182"/>
                  </a:lnTo>
                  <a:lnTo>
                    <a:pt x="184" y="1161"/>
                  </a:lnTo>
                  <a:lnTo>
                    <a:pt x="226" y="1145"/>
                  </a:lnTo>
                  <a:lnTo>
                    <a:pt x="271" y="1135"/>
                  </a:lnTo>
                  <a:lnTo>
                    <a:pt x="318" y="1131"/>
                  </a:lnTo>
                  <a:lnTo>
                    <a:pt x="659" y="1131"/>
                  </a:lnTo>
                  <a:lnTo>
                    <a:pt x="681" y="1031"/>
                  </a:lnTo>
                  <a:lnTo>
                    <a:pt x="711" y="934"/>
                  </a:lnTo>
                  <a:lnTo>
                    <a:pt x="748" y="841"/>
                  </a:lnTo>
                  <a:lnTo>
                    <a:pt x="790" y="749"/>
                  </a:lnTo>
                  <a:lnTo>
                    <a:pt x="841" y="662"/>
                  </a:lnTo>
                  <a:lnTo>
                    <a:pt x="896" y="580"/>
                  </a:lnTo>
                  <a:lnTo>
                    <a:pt x="958" y="501"/>
                  </a:lnTo>
                  <a:lnTo>
                    <a:pt x="1024" y="427"/>
                  </a:lnTo>
                  <a:lnTo>
                    <a:pt x="1096" y="357"/>
                  </a:lnTo>
                  <a:lnTo>
                    <a:pt x="1172" y="294"/>
                  </a:lnTo>
                  <a:lnTo>
                    <a:pt x="1254" y="235"/>
                  </a:lnTo>
                  <a:lnTo>
                    <a:pt x="1340" y="182"/>
                  </a:lnTo>
                  <a:lnTo>
                    <a:pt x="1429" y="136"/>
                  </a:lnTo>
                  <a:lnTo>
                    <a:pt x="1521" y="96"/>
                  </a:lnTo>
                  <a:lnTo>
                    <a:pt x="1618" y="63"/>
                  </a:lnTo>
                  <a:lnTo>
                    <a:pt x="1717" y="36"/>
                  </a:lnTo>
                  <a:lnTo>
                    <a:pt x="1820" y="17"/>
                  </a:lnTo>
                  <a:lnTo>
                    <a:pt x="1924" y="5"/>
                  </a:lnTo>
                  <a:lnTo>
                    <a:pt x="203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144">
              <a:extLst>
                <a:ext uri="{FF2B5EF4-FFF2-40B4-BE49-F238E27FC236}">
                  <a16:creationId xmlns:a16="http://schemas.microsoft.com/office/drawing/2014/main" id="{71E57929-6459-444F-956F-3179CE7A4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8425" y="3590925"/>
              <a:ext cx="152400" cy="498475"/>
            </a:xfrm>
            <a:custGeom>
              <a:avLst/>
              <a:gdLst>
                <a:gd name="T0" fmla="*/ 216 w 287"/>
                <a:gd name="T1" fmla="*/ 2 h 942"/>
                <a:gd name="T2" fmla="*/ 246 w 287"/>
                <a:gd name="T3" fmla="*/ 23 h 942"/>
                <a:gd name="T4" fmla="*/ 274 w 287"/>
                <a:gd name="T5" fmla="*/ 92 h 942"/>
                <a:gd name="T6" fmla="*/ 287 w 287"/>
                <a:gd name="T7" fmla="*/ 198 h 942"/>
                <a:gd name="T8" fmla="*/ 272 w 287"/>
                <a:gd name="T9" fmla="*/ 300 h 942"/>
                <a:gd name="T10" fmla="*/ 241 w 287"/>
                <a:gd name="T11" fmla="*/ 401 h 942"/>
                <a:gd name="T12" fmla="*/ 202 w 287"/>
                <a:gd name="T13" fmla="*/ 497 h 942"/>
                <a:gd name="T14" fmla="*/ 163 w 287"/>
                <a:gd name="T15" fmla="*/ 593 h 942"/>
                <a:gd name="T16" fmla="*/ 136 w 287"/>
                <a:gd name="T17" fmla="*/ 686 h 942"/>
                <a:gd name="T18" fmla="*/ 129 w 287"/>
                <a:gd name="T19" fmla="*/ 776 h 942"/>
                <a:gd name="T20" fmla="*/ 149 w 287"/>
                <a:gd name="T21" fmla="*/ 861 h 942"/>
                <a:gd name="T22" fmla="*/ 150 w 287"/>
                <a:gd name="T23" fmla="*/ 871 h 942"/>
                <a:gd name="T24" fmla="*/ 148 w 287"/>
                <a:gd name="T25" fmla="*/ 899 h 942"/>
                <a:gd name="T26" fmla="*/ 124 w 287"/>
                <a:gd name="T27" fmla="*/ 930 h 942"/>
                <a:gd name="T28" fmla="*/ 87 w 287"/>
                <a:gd name="T29" fmla="*/ 942 h 942"/>
                <a:gd name="T30" fmla="*/ 54 w 287"/>
                <a:gd name="T31" fmla="*/ 933 h 942"/>
                <a:gd name="T32" fmla="*/ 31 w 287"/>
                <a:gd name="T33" fmla="*/ 908 h 942"/>
                <a:gd name="T34" fmla="*/ 31 w 287"/>
                <a:gd name="T35" fmla="*/ 907 h 942"/>
                <a:gd name="T36" fmla="*/ 28 w 287"/>
                <a:gd name="T37" fmla="*/ 903 h 942"/>
                <a:gd name="T38" fmla="*/ 10 w 287"/>
                <a:gd name="T39" fmla="*/ 848 h 942"/>
                <a:gd name="T40" fmla="*/ 0 w 287"/>
                <a:gd name="T41" fmla="*/ 745 h 942"/>
                <a:gd name="T42" fmla="*/ 15 w 287"/>
                <a:gd name="T43" fmla="*/ 644 h 942"/>
                <a:gd name="T44" fmla="*/ 48 w 287"/>
                <a:gd name="T45" fmla="*/ 545 h 942"/>
                <a:gd name="T46" fmla="*/ 87 w 287"/>
                <a:gd name="T47" fmla="*/ 449 h 942"/>
                <a:gd name="T48" fmla="*/ 126 w 287"/>
                <a:gd name="T49" fmla="*/ 353 h 942"/>
                <a:gd name="T50" fmla="*/ 153 w 287"/>
                <a:gd name="T51" fmla="*/ 261 h 942"/>
                <a:gd name="T52" fmla="*/ 161 w 287"/>
                <a:gd name="T53" fmla="*/ 172 h 942"/>
                <a:gd name="T54" fmla="*/ 140 w 287"/>
                <a:gd name="T55" fmla="*/ 86 h 942"/>
                <a:gd name="T56" fmla="*/ 140 w 287"/>
                <a:gd name="T57" fmla="*/ 84 h 942"/>
                <a:gd name="T58" fmla="*/ 136 w 287"/>
                <a:gd name="T59" fmla="*/ 72 h 942"/>
                <a:gd name="T60" fmla="*/ 139 w 287"/>
                <a:gd name="T61" fmla="*/ 42 h 942"/>
                <a:gd name="T62" fmla="*/ 161 w 287"/>
                <a:gd name="T63" fmla="*/ 11 h 942"/>
                <a:gd name="T64" fmla="*/ 197 w 287"/>
                <a:gd name="T65" fmla="*/ 0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7" h="942">
                  <a:moveTo>
                    <a:pt x="197" y="0"/>
                  </a:moveTo>
                  <a:lnTo>
                    <a:pt x="216" y="2"/>
                  </a:lnTo>
                  <a:lnTo>
                    <a:pt x="233" y="11"/>
                  </a:lnTo>
                  <a:lnTo>
                    <a:pt x="246" y="23"/>
                  </a:lnTo>
                  <a:lnTo>
                    <a:pt x="255" y="39"/>
                  </a:lnTo>
                  <a:lnTo>
                    <a:pt x="274" y="92"/>
                  </a:lnTo>
                  <a:lnTo>
                    <a:pt x="284" y="145"/>
                  </a:lnTo>
                  <a:lnTo>
                    <a:pt x="287" y="198"/>
                  </a:lnTo>
                  <a:lnTo>
                    <a:pt x="281" y="249"/>
                  </a:lnTo>
                  <a:lnTo>
                    <a:pt x="272" y="300"/>
                  </a:lnTo>
                  <a:lnTo>
                    <a:pt x="258" y="351"/>
                  </a:lnTo>
                  <a:lnTo>
                    <a:pt x="241" y="401"/>
                  </a:lnTo>
                  <a:lnTo>
                    <a:pt x="222" y="449"/>
                  </a:lnTo>
                  <a:lnTo>
                    <a:pt x="202" y="497"/>
                  </a:lnTo>
                  <a:lnTo>
                    <a:pt x="181" y="546"/>
                  </a:lnTo>
                  <a:lnTo>
                    <a:pt x="163" y="593"/>
                  </a:lnTo>
                  <a:lnTo>
                    <a:pt x="148" y="641"/>
                  </a:lnTo>
                  <a:lnTo>
                    <a:pt x="136" y="686"/>
                  </a:lnTo>
                  <a:lnTo>
                    <a:pt x="129" y="731"/>
                  </a:lnTo>
                  <a:lnTo>
                    <a:pt x="129" y="776"/>
                  </a:lnTo>
                  <a:lnTo>
                    <a:pt x="135" y="818"/>
                  </a:lnTo>
                  <a:lnTo>
                    <a:pt x="149" y="861"/>
                  </a:lnTo>
                  <a:lnTo>
                    <a:pt x="149" y="863"/>
                  </a:lnTo>
                  <a:lnTo>
                    <a:pt x="150" y="871"/>
                  </a:lnTo>
                  <a:lnTo>
                    <a:pt x="150" y="879"/>
                  </a:lnTo>
                  <a:lnTo>
                    <a:pt x="148" y="899"/>
                  </a:lnTo>
                  <a:lnTo>
                    <a:pt x="139" y="916"/>
                  </a:lnTo>
                  <a:lnTo>
                    <a:pt x="124" y="930"/>
                  </a:lnTo>
                  <a:lnTo>
                    <a:pt x="107" y="939"/>
                  </a:lnTo>
                  <a:lnTo>
                    <a:pt x="87" y="942"/>
                  </a:lnTo>
                  <a:lnTo>
                    <a:pt x="70" y="941"/>
                  </a:lnTo>
                  <a:lnTo>
                    <a:pt x="54" y="933"/>
                  </a:lnTo>
                  <a:lnTo>
                    <a:pt x="41" y="923"/>
                  </a:lnTo>
                  <a:lnTo>
                    <a:pt x="31" y="908"/>
                  </a:lnTo>
                  <a:lnTo>
                    <a:pt x="31" y="908"/>
                  </a:lnTo>
                  <a:lnTo>
                    <a:pt x="31" y="907"/>
                  </a:lnTo>
                  <a:lnTo>
                    <a:pt x="29" y="906"/>
                  </a:lnTo>
                  <a:lnTo>
                    <a:pt x="28" y="903"/>
                  </a:lnTo>
                  <a:lnTo>
                    <a:pt x="27" y="901"/>
                  </a:lnTo>
                  <a:lnTo>
                    <a:pt x="10" y="848"/>
                  </a:lnTo>
                  <a:lnTo>
                    <a:pt x="1" y="797"/>
                  </a:lnTo>
                  <a:lnTo>
                    <a:pt x="0" y="745"/>
                  </a:lnTo>
                  <a:lnTo>
                    <a:pt x="5" y="694"/>
                  </a:lnTo>
                  <a:lnTo>
                    <a:pt x="15" y="644"/>
                  </a:lnTo>
                  <a:lnTo>
                    <a:pt x="29" y="593"/>
                  </a:lnTo>
                  <a:lnTo>
                    <a:pt x="48" y="545"/>
                  </a:lnTo>
                  <a:lnTo>
                    <a:pt x="66" y="497"/>
                  </a:lnTo>
                  <a:lnTo>
                    <a:pt x="87" y="449"/>
                  </a:lnTo>
                  <a:lnTo>
                    <a:pt x="106" y="401"/>
                  </a:lnTo>
                  <a:lnTo>
                    <a:pt x="126" y="353"/>
                  </a:lnTo>
                  <a:lnTo>
                    <a:pt x="141" y="307"/>
                  </a:lnTo>
                  <a:lnTo>
                    <a:pt x="153" y="261"/>
                  </a:lnTo>
                  <a:lnTo>
                    <a:pt x="161" y="216"/>
                  </a:lnTo>
                  <a:lnTo>
                    <a:pt x="161" y="172"/>
                  </a:lnTo>
                  <a:lnTo>
                    <a:pt x="155" y="128"/>
                  </a:lnTo>
                  <a:lnTo>
                    <a:pt x="140" y="86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40" y="83"/>
                  </a:lnTo>
                  <a:lnTo>
                    <a:pt x="136" y="72"/>
                  </a:lnTo>
                  <a:lnTo>
                    <a:pt x="135" y="61"/>
                  </a:lnTo>
                  <a:lnTo>
                    <a:pt x="139" y="42"/>
                  </a:lnTo>
                  <a:lnTo>
                    <a:pt x="148" y="25"/>
                  </a:lnTo>
                  <a:lnTo>
                    <a:pt x="161" y="11"/>
                  </a:lnTo>
                  <a:lnTo>
                    <a:pt x="177" y="3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145">
              <a:extLst>
                <a:ext uri="{FF2B5EF4-FFF2-40B4-BE49-F238E27FC236}">
                  <a16:creationId xmlns:a16="http://schemas.microsoft.com/office/drawing/2014/main" id="{246E9E82-43B3-B643-B0AF-BCB5E0C6C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7575" y="3581400"/>
              <a:ext cx="150812" cy="498475"/>
            </a:xfrm>
            <a:custGeom>
              <a:avLst/>
              <a:gdLst>
                <a:gd name="T0" fmla="*/ 217 w 286"/>
                <a:gd name="T1" fmla="*/ 2 h 942"/>
                <a:gd name="T2" fmla="*/ 247 w 286"/>
                <a:gd name="T3" fmla="*/ 23 h 942"/>
                <a:gd name="T4" fmla="*/ 274 w 286"/>
                <a:gd name="T5" fmla="*/ 92 h 942"/>
                <a:gd name="T6" fmla="*/ 286 w 286"/>
                <a:gd name="T7" fmla="*/ 196 h 942"/>
                <a:gd name="T8" fmla="*/ 271 w 286"/>
                <a:gd name="T9" fmla="*/ 300 h 942"/>
                <a:gd name="T10" fmla="*/ 240 w 286"/>
                <a:gd name="T11" fmla="*/ 401 h 942"/>
                <a:gd name="T12" fmla="*/ 201 w 286"/>
                <a:gd name="T13" fmla="*/ 497 h 942"/>
                <a:gd name="T14" fmla="*/ 164 w 286"/>
                <a:gd name="T15" fmla="*/ 593 h 942"/>
                <a:gd name="T16" fmla="*/ 136 w 286"/>
                <a:gd name="T17" fmla="*/ 686 h 942"/>
                <a:gd name="T18" fmla="*/ 129 w 286"/>
                <a:gd name="T19" fmla="*/ 775 h 942"/>
                <a:gd name="T20" fmla="*/ 148 w 286"/>
                <a:gd name="T21" fmla="*/ 861 h 942"/>
                <a:gd name="T22" fmla="*/ 149 w 286"/>
                <a:gd name="T23" fmla="*/ 862 h 942"/>
                <a:gd name="T24" fmla="*/ 152 w 286"/>
                <a:gd name="T25" fmla="*/ 879 h 942"/>
                <a:gd name="T26" fmla="*/ 139 w 286"/>
                <a:gd name="T27" fmla="*/ 916 h 942"/>
                <a:gd name="T28" fmla="*/ 106 w 286"/>
                <a:gd name="T29" fmla="*/ 939 h 942"/>
                <a:gd name="T30" fmla="*/ 69 w 286"/>
                <a:gd name="T31" fmla="*/ 939 h 942"/>
                <a:gd name="T32" fmla="*/ 40 w 286"/>
                <a:gd name="T33" fmla="*/ 921 h 942"/>
                <a:gd name="T34" fmla="*/ 30 w 286"/>
                <a:gd name="T35" fmla="*/ 907 h 942"/>
                <a:gd name="T36" fmla="*/ 30 w 286"/>
                <a:gd name="T37" fmla="*/ 906 h 942"/>
                <a:gd name="T38" fmla="*/ 27 w 286"/>
                <a:gd name="T39" fmla="*/ 901 h 942"/>
                <a:gd name="T40" fmla="*/ 1 w 286"/>
                <a:gd name="T41" fmla="*/ 797 h 942"/>
                <a:gd name="T42" fmla="*/ 5 w 286"/>
                <a:gd name="T43" fmla="*/ 694 h 942"/>
                <a:gd name="T44" fmla="*/ 30 w 286"/>
                <a:gd name="T45" fmla="*/ 593 h 942"/>
                <a:gd name="T46" fmla="*/ 66 w 286"/>
                <a:gd name="T47" fmla="*/ 496 h 942"/>
                <a:gd name="T48" fmla="*/ 106 w 286"/>
                <a:gd name="T49" fmla="*/ 401 h 942"/>
                <a:gd name="T50" fmla="*/ 141 w 286"/>
                <a:gd name="T51" fmla="*/ 306 h 942"/>
                <a:gd name="T52" fmla="*/ 161 w 286"/>
                <a:gd name="T53" fmla="*/ 216 h 942"/>
                <a:gd name="T54" fmla="*/ 154 w 286"/>
                <a:gd name="T55" fmla="*/ 128 h 942"/>
                <a:gd name="T56" fmla="*/ 140 w 286"/>
                <a:gd name="T57" fmla="*/ 84 h 942"/>
                <a:gd name="T58" fmla="*/ 139 w 286"/>
                <a:gd name="T59" fmla="*/ 83 h 942"/>
                <a:gd name="T60" fmla="*/ 136 w 286"/>
                <a:gd name="T61" fmla="*/ 72 h 942"/>
                <a:gd name="T62" fmla="*/ 139 w 286"/>
                <a:gd name="T63" fmla="*/ 41 h 942"/>
                <a:gd name="T64" fmla="*/ 161 w 286"/>
                <a:gd name="T65" fmla="*/ 11 h 942"/>
                <a:gd name="T66" fmla="*/ 197 w 286"/>
                <a:gd name="T67" fmla="*/ 0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6" h="942">
                  <a:moveTo>
                    <a:pt x="197" y="0"/>
                  </a:moveTo>
                  <a:lnTo>
                    <a:pt x="217" y="2"/>
                  </a:lnTo>
                  <a:lnTo>
                    <a:pt x="232" y="10"/>
                  </a:lnTo>
                  <a:lnTo>
                    <a:pt x="247" y="23"/>
                  </a:lnTo>
                  <a:lnTo>
                    <a:pt x="256" y="38"/>
                  </a:lnTo>
                  <a:lnTo>
                    <a:pt x="274" y="92"/>
                  </a:lnTo>
                  <a:lnTo>
                    <a:pt x="284" y="145"/>
                  </a:lnTo>
                  <a:lnTo>
                    <a:pt x="286" y="196"/>
                  </a:lnTo>
                  <a:lnTo>
                    <a:pt x="282" y="249"/>
                  </a:lnTo>
                  <a:lnTo>
                    <a:pt x="271" y="300"/>
                  </a:lnTo>
                  <a:lnTo>
                    <a:pt x="258" y="351"/>
                  </a:lnTo>
                  <a:lnTo>
                    <a:pt x="240" y="401"/>
                  </a:lnTo>
                  <a:lnTo>
                    <a:pt x="222" y="450"/>
                  </a:lnTo>
                  <a:lnTo>
                    <a:pt x="201" y="497"/>
                  </a:lnTo>
                  <a:lnTo>
                    <a:pt x="182" y="546"/>
                  </a:lnTo>
                  <a:lnTo>
                    <a:pt x="164" y="593"/>
                  </a:lnTo>
                  <a:lnTo>
                    <a:pt x="148" y="640"/>
                  </a:lnTo>
                  <a:lnTo>
                    <a:pt x="136" y="686"/>
                  </a:lnTo>
                  <a:lnTo>
                    <a:pt x="130" y="731"/>
                  </a:lnTo>
                  <a:lnTo>
                    <a:pt x="129" y="775"/>
                  </a:lnTo>
                  <a:lnTo>
                    <a:pt x="135" y="818"/>
                  </a:lnTo>
                  <a:lnTo>
                    <a:pt x="148" y="861"/>
                  </a:lnTo>
                  <a:lnTo>
                    <a:pt x="149" y="862"/>
                  </a:lnTo>
                  <a:lnTo>
                    <a:pt x="149" y="862"/>
                  </a:lnTo>
                  <a:lnTo>
                    <a:pt x="151" y="871"/>
                  </a:lnTo>
                  <a:lnTo>
                    <a:pt x="152" y="879"/>
                  </a:lnTo>
                  <a:lnTo>
                    <a:pt x="148" y="898"/>
                  </a:lnTo>
                  <a:lnTo>
                    <a:pt x="139" y="916"/>
                  </a:lnTo>
                  <a:lnTo>
                    <a:pt x="125" y="930"/>
                  </a:lnTo>
                  <a:lnTo>
                    <a:pt x="106" y="939"/>
                  </a:lnTo>
                  <a:lnTo>
                    <a:pt x="87" y="942"/>
                  </a:lnTo>
                  <a:lnTo>
                    <a:pt x="69" y="939"/>
                  </a:lnTo>
                  <a:lnTo>
                    <a:pt x="53" y="933"/>
                  </a:lnTo>
                  <a:lnTo>
                    <a:pt x="40" y="921"/>
                  </a:lnTo>
                  <a:lnTo>
                    <a:pt x="31" y="907"/>
                  </a:lnTo>
                  <a:lnTo>
                    <a:pt x="30" y="907"/>
                  </a:lnTo>
                  <a:lnTo>
                    <a:pt x="30" y="907"/>
                  </a:lnTo>
                  <a:lnTo>
                    <a:pt x="30" y="906"/>
                  </a:lnTo>
                  <a:lnTo>
                    <a:pt x="29" y="903"/>
                  </a:lnTo>
                  <a:lnTo>
                    <a:pt x="27" y="901"/>
                  </a:lnTo>
                  <a:lnTo>
                    <a:pt x="10" y="848"/>
                  </a:lnTo>
                  <a:lnTo>
                    <a:pt x="1" y="797"/>
                  </a:lnTo>
                  <a:lnTo>
                    <a:pt x="0" y="745"/>
                  </a:lnTo>
                  <a:lnTo>
                    <a:pt x="5" y="694"/>
                  </a:lnTo>
                  <a:lnTo>
                    <a:pt x="16" y="642"/>
                  </a:lnTo>
                  <a:lnTo>
                    <a:pt x="30" y="593"/>
                  </a:lnTo>
                  <a:lnTo>
                    <a:pt x="47" y="545"/>
                  </a:lnTo>
                  <a:lnTo>
                    <a:pt x="66" y="496"/>
                  </a:lnTo>
                  <a:lnTo>
                    <a:pt x="86" y="450"/>
                  </a:lnTo>
                  <a:lnTo>
                    <a:pt x="106" y="401"/>
                  </a:lnTo>
                  <a:lnTo>
                    <a:pt x="126" y="353"/>
                  </a:lnTo>
                  <a:lnTo>
                    <a:pt x="141" y="306"/>
                  </a:lnTo>
                  <a:lnTo>
                    <a:pt x="153" y="261"/>
                  </a:lnTo>
                  <a:lnTo>
                    <a:pt x="161" y="216"/>
                  </a:lnTo>
                  <a:lnTo>
                    <a:pt x="161" y="172"/>
                  </a:lnTo>
                  <a:lnTo>
                    <a:pt x="154" y="128"/>
                  </a:lnTo>
                  <a:lnTo>
                    <a:pt x="140" y="86"/>
                  </a:lnTo>
                  <a:lnTo>
                    <a:pt x="140" y="84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9" y="82"/>
                  </a:lnTo>
                  <a:lnTo>
                    <a:pt x="136" y="72"/>
                  </a:lnTo>
                  <a:lnTo>
                    <a:pt x="135" y="60"/>
                  </a:lnTo>
                  <a:lnTo>
                    <a:pt x="139" y="41"/>
                  </a:lnTo>
                  <a:lnTo>
                    <a:pt x="147" y="24"/>
                  </a:lnTo>
                  <a:lnTo>
                    <a:pt x="161" y="11"/>
                  </a:lnTo>
                  <a:lnTo>
                    <a:pt x="178" y="2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146">
              <a:extLst>
                <a:ext uri="{FF2B5EF4-FFF2-40B4-BE49-F238E27FC236}">
                  <a16:creationId xmlns:a16="http://schemas.microsoft.com/office/drawing/2014/main" id="{EB8FDD60-9095-8C44-A996-0948E2489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0" y="3290888"/>
              <a:ext cx="152400" cy="498475"/>
            </a:xfrm>
            <a:custGeom>
              <a:avLst/>
              <a:gdLst>
                <a:gd name="T0" fmla="*/ 216 w 286"/>
                <a:gd name="T1" fmla="*/ 3 h 942"/>
                <a:gd name="T2" fmla="*/ 246 w 286"/>
                <a:gd name="T3" fmla="*/ 23 h 942"/>
                <a:gd name="T4" fmla="*/ 274 w 286"/>
                <a:gd name="T5" fmla="*/ 93 h 942"/>
                <a:gd name="T6" fmla="*/ 286 w 286"/>
                <a:gd name="T7" fmla="*/ 198 h 942"/>
                <a:gd name="T8" fmla="*/ 272 w 286"/>
                <a:gd name="T9" fmla="*/ 301 h 942"/>
                <a:gd name="T10" fmla="*/ 240 w 286"/>
                <a:gd name="T11" fmla="*/ 401 h 942"/>
                <a:gd name="T12" fmla="*/ 201 w 286"/>
                <a:gd name="T13" fmla="*/ 497 h 942"/>
                <a:gd name="T14" fmla="*/ 164 w 286"/>
                <a:gd name="T15" fmla="*/ 594 h 942"/>
                <a:gd name="T16" fmla="*/ 137 w 286"/>
                <a:gd name="T17" fmla="*/ 686 h 942"/>
                <a:gd name="T18" fmla="*/ 129 w 286"/>
                <a:gd name="T19" fmla="*/ 776 h 942"/>
                <a:gd name="T20" fmla="*/ 148 w 286"/>
                <a:gd name="T21" fmla="*/ 861 h 942"/>
                <a:gd name="T22" fmla="*/ 149 w 286"/>
                <a:gd name="T23" fmla="*/ 872 h 942"/>
                <a:gd name="T24" fmla="*/ 147 w 286"/>
                <a:gd name="T25" fmla="*/ 900 h 942"/>
                <a:gd name="T26" fmla="*/ 125 w 286"/>
                <a:gd name="T27" fmla="*/ 931 h 942"/>
                <a:gd name="T28" fmla="*/ 87 w 286"/>
                <a:gd name="T29" fmla="*/ 942 h 942"/>
                <a:gd name="T30" fmla="*/ 53 w 286"/>
                <a:gd name="T31" fmla="*/ 933 h 942"/>
                <a:gd name="T32" fmla="*/ 31 w 286"/>
                <a:gd name="T33" fmla="*/ 909 h 942"/>
                <a:gd name="T34" fmla="*/ 30 w 286"/>
                <a:gd name="T35" fmla="*/ 906 h 942"/>
                <a:gd name="T36" fmla="*/ 27 w 286"/>
                <a:gd name="T37" fmla="*/ 901 h 942"/>
                <a:gd name="T38" fmla="*/ 1 w 286"/>
                <a:gd name="T39" fmla="*/ 797 h 942"/>
                <a:gd name="T40" fmla="*/ 5 w 286"/>
                <a:gd name="T41" fmla="*/ 694 h 942"/>
                <a:gd name="T42" fmla="*/ 30 w 286"/>
                <a:gd name="T43" fmla="*/ 594 h 942"/>
                <a:gd name="T44" fmla="*/ 66 w 286"/>
                <a:gd name="T45" fmla="*/ 496 h 942"/>
                <a:gd name="T46" fmla="*/ 107 w 286"/>
                <a:gd name="T47" fmla="*/ 401 h 942"/>
                <a:gd name="T48" fmla="*/ 142 w 286"/>
                <a:gd name="T49" fmla="*/ 307 h 942"/>
                <a:gd name="T50" fmla="*/ 160 w 286"/>
                <a:gd name="T51" fmla="*/ 216 h 942"/>
                <a:gd name="T52" fmla="*/ 155 w 286"/>
                <a:gd name="T53" fmla="*/ 129 h 942"/>
                <a:gd name="T54" fmla="*/ 140 w 286"/>
                <a:gd name="T55" fmla="*/ 85 h 942"/>
                <a:gd name="T56" fmla="*/ 139 w 286"/>
                <a:gd name="T57" fmla="*/ 82 h 942"/>
                <a:gd name="T58" fmla="*/ 135 w 286"/>
                <a:gd name="T59" fmla="*/ 62 h 942"/>
                <a:gd name="T60" fmla="*/ 147 w 286"/>
                <a:gd name="T61" fmla="*/ 26 h 942"/>
                <a:gd name="T62" fmla="*/ 178 w 286"/>
                <a:gd name="T63" fmla="*/ 3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6" h="942">
                  <a:moveTo>
                    <a:pt x="198" y="0"/>
                  </a:moveTo>
                  <a:lnTo>
                    <a:pt x="216" y="3"/>
                  </a:lnTo>
                  <a:lnTo>
                    <a:pt x="233" y="12"/>
                  </a:lnTo>
                  <a:lnTo>
                    <a:pt x="246" y="23"/>
                  </a:lnTo>
                  <a:lnTo>
                    <a:pt x="256" y="39"/>
                  </a:lnTo>
                  <a:lnTo>
                    <a:pt x="274" y="93"/>
                  </a:lnTo>
                  <a:lnTo>
                    <a:pt x="285" y="145"/>
                  </a:lnTo>
                  <a:lnTo>
                    <a:pt x="286" y="198"/>
                  </a:lnTo>
                  <a:lnTo>
                    <a:pt x="282" y="249"/>
                  </a:lnTo>
                  <a:lnTo>
                    <a:pt x="272" y="301"/>
                  </a:lnTo>
                  <a:lnTo>
                    <a:pt x="259" y="352"/>
                  </a:lnTo>
                  <a:lnTo>
                    <a:pt x="240" y="401"/>
                  </a:lnTo>
                  <a:lnTo>
                    <a:pt x="222" y="450"/>
                  </a:lnTo>
                  <a:lnTo>
                    <a:pt x="201" y="497"/>
                  </a:lnTo>
                  <a:lnTo>
                    <a:pt x="182" y="546"/>
                  </a:lnTo>
                  <a:lnTo>
                    <a:pt x="164" y="594"/>
                  </a:lnTo>
                  <a:lnTo>
                    <a:pt x="148" y="641"/>
                  </a:lnTo>
                  <a:lnTo>
                    <a:pt x="137" y="686"/>
                  </a:lnTo>
                  <a:lnTo>
                    <a:pt x="130" y="731"/>
                  </a:lnTo>
                  <a:lnTo>
                    <a:pt x="129" y="776"/>
                  </a:lnTo>
                  <a:lnTo>
                    <a:pt x="135" y="819"/>
                  </a:lnTo>
                  <a:lnTo>
                    <a:pt x="148" y="861"/>
                  </a:lnTo>
                  <a:lnTo>
                    <a:pt x="148" y="864"/>
                  </a:lnTo>
                  <a:lnTo>
                    <a:pt x="149" y="872"/>
                  </a:lnTo>
                  <a:lnTo>
                    <a:pt x="151" y="879"/>
                  </a:lnTo>
                  <a:lnTo>
                    <a:pt x="147" y="900"/>
                  </a:lnTo>
                  <a:lnTo>
                    <a:pt x="138" y="917"/>
                  </a:lnTo>
                  <a:lnTo>
                    <a:pt x="125" y="931"/>
                  </a:lnTo>
                  <a:lnTo>
                    <a:pt x="107" y="940"/>
                  </a:lnTo>
                  <a:lnTo>
                    <a:pt x="87" y="942"/>
                  </a:lnTo>
                  <a:lnTo>
                    <a:pt x="69" y="940"/>
                  </a:lnTo>
                  <a:lnTo>
                    <a:pt x="53" y="933"/>
                  </a:lnTo>
                  <a:lnTo>
                    <a:pt x="40" y="922"/>
                  </a:lnTo>
                  <a:lnTo>
                    <a:pt x="31" y="909"/>
                  </a:lnTo>
                  <a:lnTo>
                    <a:pt x="30" y="908"/>
                  </a:lnTo>
                  <a:lnTo>
                    <a:pt x="30" y="906"/>
                  </a:lnTo>
                  <a:lnTo>
                    <a:pt x="29" y="904"/>
                  </a:lnTo>
                  <a:lnTo>
                    <a:pt x="27" y="901"/>
                  </a:lnTo>
                  <a:lnTo>
                    <a:pt x="9" y="848"/>
                  </a:lnTo>
                  <a:lnTo>
                    <a:pt x="1" y="797"/>
                  </a:lnTo>
                  <a:lnTo>
                    <a:pt x="0" y="746"/>
                  </a:lnTo>
                  <a:lnTo>
                    <a:pt x="5" y="694"/>
                  </a:lnTo>
                  <a:lnTo>
                    <a:pt x="16" y="644"/>
                  </a:lnTo>
                  <a:lnTo>
                    <a:pt x="30" y="594"/>
                  </a:lnTo>
                  <a:lnTo>
                    <a:pt x="47" y="545"/>
                  </a:lnTo>
                  <a:lnTo>
                    <a:pt x="66" y="496"/>
                  </a:lnTo>
                  <a:lnTo>
                    <a:pt x="86" y="450"/>
                  </a:lnTo>
                  <a:lnTo>
                    <a:pt x="107" y="401"/>
                  </a:lnTo>
                  <a:lnTo>
                    <a:pt x="125" y="353"/>
                  </a:lnTo>
                  <a:lnTo>
                    <a:pt x="142" y="307"/>
                  </a:lnTo>
                  <a:lnTo>
                    <a:pt x="153" y="261"/>
                  </a:lnTo>
                  <a:lnTo>
                    <a:pt x="160" y="216"/>
                  </a:lnTo>
                  <a:lnTo>
                    <a:pt x="161" y="172"/>
                  </a:lnTo>
                  <a:lnTo>
                    <a:pt x="155" y="129"/>
                  </a:lnTo>
                  <a:lnTo>
                    <a:pt x="140" y="86"/>
                  </a:lnTo>
                  <a:lnTo>
                    <a:pt x="140" y="85"/>
                  </a:lnTo>
                  <a:lnTo>
                    <a:pt x="139" y="85"/>
                  </a:lnTo>
                  <a:lnTo>
                    <a:pt x="139" y="82"/>
                  </a:lnTo>
                  <a:lnTo>
                    <a:pt x="137" y="72"/>
                  </a:lnTo>
                  <a:lnTo>
                    <a:pt x="135" y="62"/>
                  </a:lnTo>
                  <a:lnTo>
                    <a:pt x="138" y="42"/>
                  </a:lnTo>
                  <a:lnTo>
                    <a:pt x="147" y="26"/>
                  </a:lnTo>
                  <a:lnTo>
                    <a:pt x="160" y="12"/>
                  </a:lnTo>
                  <a:lnTo>
                    <a:pt x="178" y="3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2" name="Freeform 16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D829EF11-A764-9247-B247-BF817BBD1A55}"/>
              </a:ext>
            </a:extLst>
          </p:cNvPr>
          <p:cNvSpPr>
            <a:spLocks/>
          </p:cNvSpPr>
          <p:nvPr/>
        </p:nvSpPr>
        <p:spPr bwMode="auto">
          <a:xfrm>
            <a:off x="2935416" y="4479264"/>
            <a:ext cx="428390" cy="380703"/>
          </a:xfrm>
          <a:custGeom>
            <a:avLst/>
            <a:gdLst>
              <a:gd name="T0" fmla="*/ 2511 w 3261"/>
              <a:gd name="T1" fmla="*/ 18 h 3862"/>
              <a:gd name="T2" fmla="*/ 2767 w 3261"/>
              <a:gd name="T3" fmla="*/ 134 h 3862"/>
              <a:gd name="T4" fmla="*/ 2993 w 3261"/>
              <a:gd name="T5" fmla="*/ 350 h 3862"/>
              <a:gd name="T6" fmla="*/ 3158 w 3261"/>
              <a:gd name="T7" fmla="*/ 646 h 3862"/>
              <a:gd name="T8" fmla="*/ 3246 w 3261"/>
              <a:gd name="T9" fmla="*/ 980 h 3862"/>
              <a:gd name="T10" fmla="*/ 3256 w 3261"/>
              <a:gd name="T11" fmla="*/ 1329 h 3862"/>
              <a:gd name="T12" fmla="*/ 3188 w 3261"/>
              <a:gd name="T13" fmla="*/ 1669 h 3862"/>
              <a:gd name="T14" fmla="*/ 3041 w 3261"/>
              <a:gd name="T15" fmla="*/ 1978 h 3862"/>
              <a:gd name="T16" fmla="*/ 1836 w 3261"/>
              <a:gd name="T17" fmla="*/ 3539 h 3862"/>
              <a:gd name="T18" fmla="*/ 1749 w 3261"/>
              <a:gd name="T19" fmla="*/ 3526 h 3862"/>
              <a:gd name="T20" fmla="*/ 1701 w 3261"/>
              <a:gd name="T21" fmla="*/ 3428 h 3862"/>
              <a:gd name="T22" fmla="*/ 1730 w 3261"/>
              <a:gd name="T23" fmla="*/ 3319 h 3862"/>
              <a:gd name="T24" fmla="*/ 2945 w 3261"/>
              <a:gd name="T25" fmla="*/ 1689 h 3862"/>
              <a:gd name="T26" fmla="*/ 3028 w 3261"/>
              <a:gd name="T27" fmla="*/ 1404 h 3862"/>
              <a:gd name="T28" fmla="*/ 3038 w 3261"/>
              <a:gd name="T29" fmla="*/ 1104 h 3862"/>
              <a:gd name="T30" fmla="*/ 2973 w 3261"/>
              <a:gd name="T31" fmla="*/ 813 h 3862"/>
              <a:gd name="T32" fmla="*/ 2834 w 3261"/>
              <a:gd name="T33" fmla="*/ 558 h 3862"/>
              <a:gd name="T34" fmla="*/ 2639 w 3261"/>
              <a:gd name="T35" fmla="*/ 375 h 3862"/>
              <a:gd name="T36" fmla="*/ 2416 w 3261"/>
              <a:gd name="T37" fmla="*/ 291 h 3862"/>
              <a:gd name="T38" fmla="*/ 2186 w 3261"/>
              <a:gd name="T39" fmla="*/ 303 h 3862"/>
              <a:gd name="T40" fmla="*/ 1969 w 3261"/>
              <a:gd name="T41" fmla="*/ 412 h 3862"/>
              <a:gd name="T42" fmla="*/ 353 w 3261"/>
              <a:gd name="T43" fmla="*/ 2459 h 3862"/>
              <a:gd name="T44" fmla="*/ 241 w 3261"/>
              <a:gd name="T45" fmla="*/ 2680 h 3862"/>
              <a:gd name="T46" fmla="*/ 204 w 3261"/>
              <a:gd name="T47" fmla="*/ 2930 h 3862"/>
              <a:gd name="T48" fmla="*/ 241 w 3261"/>
              <a:gd name="T49" fmla="*/ 3181 h 3862"/>
              <a:gd name="T50" fmla="*/ 353 w 3261"/>
              <a:gd name="T51" fmla="*/ 3401 h 3862"/>
              <a:gd name="T52" fmla="*/ 521 w 3261"/>
              <a:gd name="T53" fmla="*/ 3548 h 3862"/>
              <a:gd name="T54" fmla="*/ 713 w 3261"/>
              <a:gd name="T55" fmla="*/ 3597 h 3862"/>
              <a:gd name="T56" fmla="*/ 904 w 3261"/>
              <a:gd name="T57" fmla="*/ 3548 h 3862"/>
              <a:gd name="T58" fmla="*/ 1073 w 3261"/>
              <a:gd name="T59" fmla="*/ 3401 h 3862"/>
              <a:gd name="T60" fmla="*/ 2624 w 3261"/>
              <a:gd name="T61" fmla="*/ 1359 h 3862"/>
              <a:gd name="T62" fmla="*/ 2650 w 3261"/>
              <a:gd name="T63" fmla="*/ 1174 h 3862"/>
              <a:gd name="T64" fmla="*/ 2606 w 3261"/>
              <a:gd name="T65" fmla="*/ 993 h 3862"/>
              <a:gd name="T66" fmla="*/ 2500 w 3261"/>
              <a:gd name="T67" fmla="*/ 854 h 3862"/>
              <a:gd name="T68" fmla="*/ 2362 w 3261"/>
              <a:gd name="T69" fmla="*/ 799 h 3862"/>
              <a:gd name="T70" fmla="*/ 2220 w 3261"/>
              <a:gd name="T71" fmla="*/ 832 h 3862"/>
              <a:gd name="T72" fmla="*/ 1011 w 3261"/>
              <a:gd name="T73" fmla="*/ 2376 h 3862"/>
              <a:gd name="T74" fmla="*/ 926 w 3261"/>
              <a:gd name="T75" fmla="*/ 2415 h 3862"/>
              <a:gd name="T76" fmla="*/ 851 w 3261"/>
              <a:gd name="T77" fmla="*/ 2353 h 3862"/>
              <a:gd name="T78" fmla="*/ 841 w 3261"/>
              <a:gd name="T79" fmla="*/ 2239 h 3862"/>
              <a:gd name="T80" fmla="*/ 2022 w 3261"/>
              <a:gd name="T81" fmla="*/ 681 h 3862"/>
              <a:gd name="T82" fmla="*/ 2199 w 3261"/>
              <a:gd name="T83" fmla="*/ 559 h 3862"/>
              <a:gd name="T84" fmla="*/ 2393 w 3261"/>
              <a:gd name="T85" fmla="*/ 534 h 3862"/>
              <a:gd name="T86" fmla="*/ 2580 w 3261"/>
              <a:gd name="T87" fmla="*/ 607 h 3862"/>
              <a:gd name="T88" fmla="*/ 2739 w 3261"/>
              <a:gd name="T89" fmla="*/ 777 h 3862"/>
              <a:gd name="T90" fmla="*/ 2832 w 3261"/>
              <a:gd name="T91" fmla="*/ 1008 h 3862"/>
              <a:gd name="T92" fmla="*/ 2851 w 3261"/>
              <a:gd name="T93" fmla="*/ 1261 h 3862"/>
              <a:gd name="T94" fmla="*/ 2795 w 3261"/>
              <a:gd name="T95" fmla="*/ 1508 h 3862"/>
              <a:gd name="T96" fmla="*/ 1217 w 3261"/>
              <a:gd name="T97" fmla="*/ 3590 h 3862"/>
              <a:gd name="T98" fmla="*/ 1022 w 3261"/>
              <a:gd name="T99" fmla="*/ 3771 h 3862"/>
              <a:gd name="T100" fmla="*/ 799 w 3261"/>
              <a:gd name="T101" fmla="*/ 3855 h 3862"/>
              <a:gd name="T102" fmla="*/ 569 w 3261"/>
              <a:gd name="T103" fmla="*/ 3844 h 3862"/>
              <a:gd name="T104" fmla="*/ 352 w 3261"/>
              <a:gd name="T105" fmla="*/ 3735 h 3862"/>
              <a:gd name="T106" fmla="*/ 167 w 3261"/>
              <a:gd name="T107" fmla="*/ 3531 h 3862"/>
              <a:gd name="T108" fmla="*/ 47 w 3261"/>
              <a:gd name="T109" fmla="*/ 3264 h 3862"/>
              <a:gd name="T110" fmla="*/ 0 w 3261"/>
              <a:gd name="T111" fmla="*/ 2968 h 3862"/>
              <a:gd name="T112" fmla="*/ 28 w 3261"/>
              <a:gd name="T113" fmla="*/ 2669 h 3862"/>
              <a:gd name="T114" fmla="*/ 129 w 3261"/>
              <a:gd name="T115" fmla="*/ 2394 h 3862"/>
              <a:gd name="T116" fmla="*/ 1748 w 3261"/>
              <a:gd name="T117" fmla="*/ 286 h 3862"/>
              <a:gd name="T118" fmla="*/ 1983 w 3261"/>
              <a:gd name="T119" fmla="*/ 94 h 3862"/>
              <a:gd name="T120" fmla="*/ 2243 w 3261"/>
              <a:gd name="T121" fmla="*/ 5 h 3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261" h="3862">
                <a:moveTo>
                  <a:pt x="2310" y="0"/>
                </a:moveTo>
                <a:lnTo>
                  <a:pt x="2378" y="0"/>
                </a:lnTo>
                <a:lnTo>
                  <a:pt x="2445" y="5"/>
                </a:lnTo>
                <a:lnTo>
                  <a:pt x="2511" y="18"/>
                </a:lnTo>
                <a:lnTo>
                  <a:pt x="2576" y="38"/>
                </a:lnTo>
                <a:lnTo>
                  <a:pt x="2642" y="63"/>
                </a:lnTo>
                <a:lnTo>
                  <a:pt x="2705" y="94"/>
                </a:lnTo>
                <a:lnTo>
                  <a:pt x="2767" y="134"/>
                </a:lnTo>
                <a:lnTo>
                  <a:pt x="2826" y="178"/>
                </a:lnTo>
                <a:lnTo>
                  <a:pt x="2884" y="228"/>
                </a:lnTo>
                <a:lnTo>
                  <a:pt x="2940" y="286"/>
                </a:lnTo>
                <a:lnTo>
                  <a:pt x="2993" y="350"/>
                </a:lnTo>
                <a:lnTo>
                  <a:pt x="3041" y="418"/>
                </a:lnTo>
                <a:lnTo>
                  <a:pt x="3085" y="491"/>
                </a:lnTo>
                <a:lnTo>
                  <a:pt x="3124" y="567"/>
                </a:lnTo>
                <a:lnTo>
                  <a:pt x="3158" y="646"/>
                </a:lnTo>
                <a:lnTo>
                  <a:pt x="3188" y="726"/>
                </a:lnTo>
                <a:lnTo>
                  <a:pt x="3212" y="810"/>
                </a:lnTo>
                <a:lnTo>
                  <a:pt x="3232" y="894"/>
                </a:lnTo>
                <a:lnTo>
                  <a:pt x="3246" y="980"/>
                </a:lnTo>
                <a:lnTo>
                  <a:pt x="3256" y="1067"/>
                </a:lnTo>
                <a:lnTo>
                  <a:pt x="3261" y="1155"/>
                </a:lnTo>
                <a:lnTo>
                  <a:pt x="3261" y="1241"/>
                </a:lnTo>
                <a:lnTo>
                  <a:pt x="3256" y="1329"/>
                </a:lnTo>
                <a:lnTo>
                  <a:pt x="3246" y="1416"/>
                </a:lnTo>
                <a:lnTo>
                  <a:pt x="3232" y="1502"/>
                </a:lnTo>
                <a:lnTo>
                  <a:pt x="3212" y="1586"/>
                </a:lnTo>
                <a:lnTo>
                  <a:pt x="3188" y="1669"/>
                </a:lnTo>
                <a:lnTo>
                  <a:pt x="3158" y="1750"/>
                </a:lnTo>
                <a:lnTo>
                  <a:pt x="3124" y="1829"/>
                </a:lnTo>
                <a:lnTo>
                  <a:pt x="3085" y="1905"/>
                </a:lnTo>
                <a:lnTo>
                  <a:pt x="3041" y="1978"/>
                </a:lnTo>
                <a:lnTo>
                  <a:pt x="2993" y="2046"/>
                </a:lnTo>
                <a:lnTo>
                  <a:pt x="1875" y="3508"/>
                </a:lnTo>
                <a:lnTo>
                  <a:pt x="1857" y="3526"/>
                </a:lnTo>
                <a:lnTo>
                  <a:pt x="1836" y="3539"/>
                </a:lnTo>
                <a:lnTo>
                  <a:pt x="1814" y="3546"/>
                </a:lnTo>
                <a:lnTo>
                  <a:pt x="1791" y="3546"/>
                </a:lnTo>
                <a:lnTo>
                  <a:pt x="1769" y="3539"/>
                </a:lnTo>
                <a:lnTo>
                  <a:pt x="1749" y="3526"/>
                </a:lnTo>
                <a:lnTo>
                  <a:pt x="1730" y="3508"/>
                </a:lnTo>
                <a:lnTo>
                  <a:pt x="1716" y="3483"/>
                </a:lnTo>
                <a:lnTo>
                  <a:pt x="1706" y="3457"/>
                </a:lnTo>
                <a:lnTo>
                  <a:pt x="1701" y="3428"/>
                </a:lnTo>
                <a:lnTo>
                  <a:pt x="1701" y="3399"/>
                </a:lnTo>
                <a:lnTo>
                  <a:pt x="1706" y="3370"/>
                </a:lnTo>
                <a:lnTo>
                  <a:pt x="1716" y="3342"/>
                </a:lnTo>
                <a:lnTo>
                  <a:pt x="1730" y="3319"/>
                </a:lnTo>
                <a:lnTo>
                  <a:pt x="2834" y="1876"/>
                </a:lnTo>
                <a:lnTo>
                  <a:pt x="2875" y="1817"/>
                </a:lnTo>
                <a:lnTo>
                  <a:pt x="2913" y="1754"/>
                </a:lnTo>
                <a:lnTo>
                  <a:pt x="2945" y="1689"/>
                </a:lnTo>
                <a:lnTo>
                  <a:pt x="2973" y="1621"/>
                </a:lnTo>
                <a:lnTo>
                  <a:pt x="2996" y="1550"/>
                </a:lnTo>
                <a:lnTo>
                  <a:pt x="3015" y="1478"/>
                </a:lnTo>
                <a:lnTo>
                  <a:pt x="3028" y="1404"/>
                </a:lnTo>
                <a:lnTo>
                  <a:pt x="3038" y="1329"/>
                </a:lnTo>
                <a:lnTo>
                  <a:pt x="3042" y="1254"/>
                </a:lnTo>
                <a:lnTo>
                  <a:pt x="3042" y="1180"/>
                </a:lnTo>
                <a:lnTo>
                  <a:pt x="3038" y="1104"/>
                </a:lnTo>
                <a:lnTo>
                  <a:pt x="3028" y="1030"/>
                </a:lnTo>
                <a:lnTo>
                  <a:pt x="3015" y="955"/>
                </a:lnTo>
                <a:lnTo>
                  <a:pt x="2996" y="883"/>
                </a:lnTo>
                <a:lnTo>
                  <a:pt x="2973" y="813"/>
                </a:lnTo>
                <a:lnTo>
                  <a:pt x="2945" y="745"/>
                </a:lnTo>
                <a:lnTo>
                  <a:pt x="2913" y="680"/>
                </a:lnTo>
                <a:lnTo>
                  <a:pt x="2875" y="617"/>
                </a:lnTo>
                <a:lnTo>
                  <a:pt x="2834" y="558"/>
                </a:lnTo>
                <a:lnTo>
                  <a:pt x="2788" y="502"/>
                </a:lnTo>
                <a:lnTo>
                  <a:pt x="2741" y="454"/>
                </a:lnTo>
                <a:lnTo>
                  <a:pt x="2691" y="412"/>
                </a:lnTo>
                <a:lnTo>
                  <a:pt x="2639" y="375"/>
                </a:lnTo>
                <a:lnTo>
                  <a:pt x="2584" y="345"/>
                </a:lnTo>
                <a:lnTo>
                  <a:pt x="2529" y="321"/>
                </a:lnTo>
                <a:lnTo>
                  <a:pt x="2473" y="303"/>
                </a:lnTo>
                <a:lnTo>
                  <a:pt x="2416" y="291"/>
                </a:lnTo>
                <a:lnTo>
                  <a:pt x="2359" y="285"/>
                </a:lnTo>
                <a:lnTo>
                  <a:pt x="2301" y="285"/>
                </a:lnTo>
                <a:lnTo>
                  <a:pt x="2243" y="291"/>
                </a:lnTo>
                <a:lnTo>
                  <a:pt x="2186" y="303"/>
                </a:lnTo>
                <a:lnTo>
                  <a:pt x="2130" y="321"/>
                </a:lnTo>
                <a:lnTo>
                  <a:pt x="2075" y="345"/>
                </a:lnTo>
                <a:lnTo>
                  <a:pt x="2021" y="375"/>
                </a:lnTo>
                <a:lnTo>
                  <a:pt x="1969" y="412"/>
                </a:lnTo>
                <a:lnTo>
                  <a:pt x="1919" y="454"/>
                </a:lnTo>
                <a:lnTo>
                  <a:pt x="1871" y="502"/>
                </a:lnTo>
                <a:lnTo>
                  <a:pt x="1826" y="558"/>
                </a:lnTo>
                <a:lnTo>
                  <a:pt x="353" y="2459"/>
                </a:lnTo>
                <a:lnTo>
                  <a:pt x="318" y="2510"/>
                </a:lnTo>
                <a:lnTo>
                  <a:pt x="287" y="2564"/>
                </a:lnTo>
                <a:lnTo>
                  <a:pt x="262" y="2621"/>
                </a:lnTo>
                <a:lnTo>
                  <a:pt x="241" y="2680"/>
                </a:lnTo>
                <a:lnTo>
                  <a:pt x="225" y="2741"/>
                </a:lnTo>
                <a:lnTo>
                  <a:pt x="213" y="2803"/>
                </a:lnTo>
                <a:lnTo>
                  <a:pt x="206" y="2866"/>
                </a:lnTo>
                <a:lnTo>
                  <a:pt x="204" y="2930"/>
                </a:lnTo>
                <a:lnTo>
                  <a:pt x="206" y="2995"/>
                </a:lnTo>
                <a:lnTo>
                  <a:pt x="213" y="3058"/>
                </a:lnTo>
                <a:lnTo>
                  <a:pt x="225" y="3121"/>
                </a:lnTo>
                <a:lnTo>
                  <a:pt x="241" y="3181"/>
                </a:lnTo>
                <a:lnTo>
                  <a:pt x="262" y="3240"/>
                </a:lnTo>
                <a:lnTo>
                  <a:pt x="287" y="3296"/>
                </a:lnTo>
                <a:lnTo>
                  <a:pt x="318" y="3350"/>
                </a:lnTo>
                <a:lnTo>
                  <a:pt x="353" y="3401"/>
                </a:lnTo>
                <a:lnTo>
                  <a:pt x="391" y="3447"/>
                </a:lnTo>
                <a:lnTo>
                  <a:pt x="433" y="3487"/>
                </a:lnTo>
                <a:lnTo>
                  <a:pt x="476" y="3521"/>
                </a:lnTo>
                <a:lnTo>
                  <a:pt x="521" y="3548"/>
                </a:lnTo>
                <a:lnTo>
                  <a:pt x="568" y="3569"/>
                </a:lnTo>
                <a:lnTo>
                  <a:pt x="616" y="3584"/>
                </a:lnTo>
                <a:lnTo>
                  <a:pt x="664" y="3593"/>
                </a:lnTo>
                <a:lnTo>
                  <a:pt x="713" y="3597"/>
                </a:lnTo>
                <a:lnTo>
                  <a:pt x="762" y="3593"/>
                </a:lnTo>
                <a:lnTo>
                  <a:pt x="810" y="3584"/>
                </a:lnTo>
                <a:lnTo>
                  <a:pt x="858" y="3569"/>
                </a:lnTo>
                <a:lnTo>
                  <a:pt x="904" y="3548"/>
                </a:lnTo>
                <a:lnTo>
                  <a:pt x="950" y="3521"/>
                </a:lnTo>
                <a:lnTo>
                  <a:pt x="994" y="3487"/>
                </a:lnTo>
                <a:lnTo>
                  <a:pt x="1035" y="3447"/>
                </a:lnTo>
                <a:lnTo>
                  <a:pt x="1073" y="3401"/>
                </a:lnTo>
                <a:lnTo>
                  <a:pt x="2560" y="1480"/>
                </a:lnTo>
                <a:lnTo>
                  <a:pt x="2585" y="1443"/>
                </a:lnTo>
                <a:lnTo>
                  <a:pt x="2606" y="1403"/>
                </a:lnTo>
                <a:lnTo>
                  <a:pt x="2624" y="1359"/>
                </a:lnTo>
                <a:lnTo>
                  <a:pt x="2637" y="1315"/>
                </a:lnTo>
                <a:lnTo>
                  <a:pt x="2645" y="1269"/>
                </a:lnTo>
                <a:lnTo>
                  <a:pt x="2650" y="1222"/>
                </a:lnTo>
                <a:lnTo>
                  <a:pt x="2650" y="1174"/>
                </a:lnTo>
                <a:lnTo>
                  <a:pt x="2645" y="1127"/>
                </a:lnTo>
                <a:lnTo>
                  <a:pt x="2637" y="1081"/>
                </a:lnTo>
                <a:lnTo>
                  <a:pt x="2624" y="1037"/>
                </a:lnTo>
                <a:lnTo>
                  <a:pt x="2606" y="993"/>
                </a:lnTo>
                <a:lnTo>
                  <a:pt x="2585" y="953"/>
                </a:lnTo>
                <a:lnTo>
                  <a:pt x="2560" y="915"/>
                </a:lnTo>
                <a:lnTo>
                  <a:pt x="2531" y="882"/>
                </a:lnTo>
                <a:lnTo>
                  <a:pt x="2500" y="854"/>
                </a:lnTo>
                <a:lnTo>
                  <a:pt x="2468" y="832"/>
                </a:lnTo>
                <a:lnTo>
                  <a:pt x="2433" y="815"/>
                </a:lnTo>
                <a:lnTo>
                  <a:pt x="2398" y="804"/>
                </a:lnTo>
                <a:lnTo>
                  <a:pt x="2362" y="799"/>
                </a:lnTo>
                <a:lnTo>
                  <a:pt x="2325" y="799"/>
                </a:lnTo>
                <a:lnTo>
                  <a:pt x="2290" y="804"/>
                </a:lnTo>
                <a:lnTo>
                  <a:pt x="2255" y="815"/>
                </a:lnTo>
                <a:lnTo>
                  <a:pt x="2220" y="832"/>
                </a:lnTo>
                <a:lnTo>
                  <a:pt x="2188" y="854"/>
                </a:lnTo>
                <a:lnTo>
                  <a:pt x="2157" y="882"/>
                </a:lnTo>
                <a:lnTo>
                  <a:pt x="2128" y="915"/>
                </a:lnTo>
                <a:lnTo>
                  <a:pt x="1011" y="2376"/>
                </a:lnTo>
                <a:lnTo>
                  <a:pt x="992" y="2396"/>
                </a:lnTo>
                <a:lnTo>
                  <a:pt x="972" y="2408"/>
                </a:lnTo>
                <a:lnTo>
                  <a:pt x="949" y="2415"/>
                </a:lnTo>
                <a:lnTo>
                  <a:pt x="926" y="2415"/>
                </a:lnTo>
                <a:lnTo>
                  <a:pt x="905" y="2408"/>
                </a:lnTo>
                <a:lnTo>
                  <a:pt x="884" y="2396"/>
                </a:lnTo>
                <a:lnTo>
                  <a:pt x="866" y="2376"/>
                </a:lnTo>
                <a:lnTo>
                  <a:pt x="851" y="2353"/>
                </a:lnTo>
                <a:lnTo>
                  <a:pt x="841" y="2325"/>
                </a:lnTo>
                <a:lnTo>
                  <a:pt x="837" y="2296"/>
                </a:lnTo>
                <a:lnTo>
                  <a:pt x="837" y="2268"/>
                </a:lnTo>
                <a:lnTo>
                  <a:pt x="841" y="2239"/>
                </a:lnTo>
                <a:lnTo>
                  <a:pt x="851" y="2212"/>
                </a:lnTo>
                <a:lnTo>
                  <a:pt x="866" y="2187"/>
                </a:lnTo>
                <a:lnTo>
                  <a:pt x="1983" y="727"/>
                </a:lnTo>
                <a:lnTo>
                  <a:pt x="2022" y="681"/>
                </a:lnTo>
                <a:lnTo>
                  <a:pt x="2063" y="642"/>
                </a:lnTo>
                <a:lnTo>
                  <a:pt x="2107" y="607"/>
                </a:lnTo>
                <a:lnTo>
                  <a:pt x="2152" y="580"/>
                </a:lnTo>
                <a:lnTo>
                  <a:pt x="2199" y="559"/>
                </a:lnTo>
                <a:lnTo>
                  <a:pt x="2246" y="543"/>
                </a:lnTo>
                <a:lnTo>
                  <a:pt x="2295" y="534"/>
                </a:lnTo>
                <a:lnTo>
                  <a:pt x="2343" y="531"/>
                </a:lnTo>
                <a:lnTo>
                  <a:pt x="2393" y="534"/>
                </a:lnTo>
                <a:lnTo>
                  <a:pt x="2441" y="543"/>
                </a:lnTo>
                <a:lnTo>
                  <a:pt x="2489" y="559"/>
                </a:lnTo>
                <a:lnTo>
                  <a:pt x="2535" y="580"/>
                </a:lnTo>
                <a:lnTo>
                  <a:pt x="2580" y="607"/>
                </a:lnTo>
                <a:lnTo>
                  <a:pt x="2625" y="642"/>
                </a:lnTo>
                <a:lnTo>
                  <a:pt x="2666" y="681"/>
                </a:lnTo>
                <a:lnTo>
                  <a:pt x="2704" y="727"/>
                </a:lnTo>
                <a:lnTo>
                  <a:pt x="2739" y="777"/>
                </a:lnTo>
                <a:lnTo>
                  <a:pt x="2769" y="831"/>
                </a:lnTo>
                <a:lnTo>
                  <a:pt x="2795" y="888"/>
                </a:lnTo>
                <a:lnTo>
                  <a:pt x="2816" y="947"/>
                </a:lnTo>
                <a:lnTo>
                  <a:pt x="2832" y="1008"/>
                </a:lnTo>
                <a:lnTo>
                  <a:pt x="2844" y="1071"/>
                </a:lnTo>
                <a:lnTo>
                  <a:pt x="2851" y="1134"/>
                </a:lnTo>
                <a:lnTo>
                  <a:pt x="2853" y="1198"/>
                </a:lnTo>
                <a:lnTo>
                  <a:pt x="2851" y="1261"/>
                </a:lnTo>
                <a:lnTo>
                  <a:pt x="2844" y="1325"/>
                </a:lnTo>
                <a:lnTo>
                  <a:pt x="2832" y="1387"/>
                </a:lnTo>
                <a:lnTo>
                  <a:pt x="2816" y="1449"/>
                </a:lnTo>
                <a:lnTo>
                  <a:pt x="2795" y="1508"/>
                </a:lnTo>
                <a:lnTo>
                  <a:pt x="2769" y="1564"/>
                </a:lnTo>
                <a:lnTo>
                  <a:pt x="2739" y="1618"/>
                </a:lnTo>
                <a:lnTo>
                  <a:pt x="2704" y="1669"/>
                </a:lnTo>
                <a:lnTo>
                  <a:pt x="1217" y="3590"/>
                </a:lnTo>
                <a:lnTo>
                  <a:pt x="1172" y="3644"/>
                </a:lnTo>
                <a:lnTo>
                  <a:pt x="1124" y="3693"/>
                </a:lnTo>
                <a:lnTo>
                  <a:pt x="1074" y="3735"/>
                </a:lnTo>
                <a:lnTo>
                  <a:pt x="1022" y="3771"/>
                </a:lnTo>
                <a:lnTo>
                  <a:pt x="968" y="3802"/>
                </a:lnTo>
                <a:lnTo>
                  <a:pt x="912" y="3825"/>
                </a:lnTo>
                <a:lnTo>
                  <a:pt x="856" y="3844"/>
                </a:lnTo>
                <a:lnTo>
                  <a:pt x="799" y="3855"/>
                </a:lnTo>
                <a:lnTo>
                  <a:pt x="742" y="3862"/>
                </a:lnTo>
                <a:lnTo>
                  <a:pt x="684" y="3862"/>
                </a:lnTo>
                <a:lnTo>
                  <a:pt x="626" y="3855"/>
                </a:lnTo>
                <a:lnTo>
                  <a:pt x="569" y="3844"/>
                </a:lnTo>
                <a:lnTo>
                  <a:pt x="513" y="3825"/>
                </a:lnTo>
                <a:lnTo>
                  <a:pt x="458" y="3802"/>
                </a:lnTo>
                <a:lnTo>
                  <a:pt x="404" y="3771"/>
                </a:lnTo>
                <a:lnTo>
                  <a:pt x="352" y="3735"/>
                </a:lnTo>
                <a:lnTo>
                  <a:pt x="302" y="3693"/>
                </a:lnTo>
                <a:lnTo>
                  <a:pt x="254" y="3644"/>
                </a:lnTo>
                <a:lnTo>
                  <a:pt x="209" y="3590"/>
                </a:lnTo>
                <a:lnTo>
                  <a:pt x="167" y="3531"/>
                </a:lnTo>
                <a:lnTo>
                  <a:pt x="129" y="3468"/>
                </a:lnTo>
                <a:lnTo>
                  <a:pt x="97" y="3403"/>
                </a:lnTo>
                <a:lnTo>
                  <a:pt x="70" y="3334"/>
                </a:lnTo>
                <a:lnTo>
                  <a:pt x="47" y="3264"/>
                </a:lnTo>
                <a:lnTo>
                  <a:pt x="28" y="3191"/>
                </a:lnTo>
                <a:lnTo>
                  <a:pt x="14" y="3118"/>
                </a:lnTo>
                <a:lnTo>
                  <a:pt x="5" y="3043"/>
                </a:lnTo>
                <a:lnTo>
                  <a:pt x="0" y="2968"/>
                </a:lnTo>
                <a:lnTo>
                  <a:pt x="0" y="2894"/>
                </a:lnTo>
                <a:lnTo>
                  <a:pt x="5" y="2817"/>
                </a:lnTo>
                <a:lnTo>
                  <a:pt x="14" y="2743"/>
                </a:lnTo>
                <a:lnTo>
                  <a:pt x="28" y="2669"/>
                </a:lnTo>
                <a:lnTo>
                  <a:pt x="47" y="2597"/>
                </a:lnTo>
                <a:lnTo>
                  <a:pt x="70" y="2527"/>
                </a:lnTo>
                <a:lnTo>
                  <a:pt x="97" y="2459"/>
                </a:lnTo>
                <a:lnTo>
                  <a:pt x="129" y="2394"/>
                </a:lnTo>
                <a:lnTo>
                  <a:pt x="167" y="2331"/>
                </a:lnTo>
                <a:lnTo>
                  <a:pt x="209" y="2271"/>
                </a:lnTo>
                <a:lnTo>
                  <a:pt x="1695" y="350"/>
                </a:lnTo>
                <a:lnTo>
                  <a:pt x="1748" y="286"/>
                </a:lnTo>
                <a:lnTo>
                  <a:pt x="1804" y="228"/>
                </a:lnTo>
                <a:lnTo>
                  <a:pt x="1861" y="178"/>
                </a:lnTo>
                <a:lnTo>
                  <a:pt x="1921" y="134"/>
                </a:lnTo>
                <a:lnTo>
                  <a:pt x="1983" y="94"/>
                </a:lnTo>
                <a:lnTo>
                  <a:pt x="2046" y="63"/>
                </a:lnTo>
                <a:lnTo>
                  <a:pt x="2112" y="38"/>
                </a:lnTo>
                <a:lnTo>
                  <a:pt x="2177" y="18"/>
                </a:lnTo>
                <a:lnTo>
                  <a:pt x="2243" y="5"/>
                </a:lnTo>
                <a:lnTo>
                  <a:pt x="2310" y="0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Freeform 16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BD8DD964-BA0F-0A46-9E29-70D0D9DF02AF}"/>
              </a:ext>
            </a:extLst>
          </p:cNvPr>
          <p:cNvSpPr>
            <a:spLocks noEditPoints="1"/>
          </p:cNvSpPr>
          <p:nvPr/>
        </p:nvSpPr>
        <p:spPr bwMode="auto">
          <a:xfrm>
            <a:off x="4450706" y="4476438"/>
            <a:ext cx="389335" cy="385416"/>
          </a:xfrm>
          <a:custGeom>
            <a:avLst/>
            <a:gdLst>
              <a:gd name="T0" fmla="*/ 2242 w 4469"/>
              <a:gd name="T1" fmla="*/ 3606 h 4426"/>
              <a:gd name="T2" fmla="*/ 2300 w 4469"/>
              <a:gd name="T3" fmla="*/ 3614 h 4426"/>
              <a:gd name="T4" fmla="*/ 3522 w 4469"/>
              <a:gd name="T5" fmla="*/ 4095 h 4426"/>
              <a:gd name="T6" fmla="*/ 3675 w 4469"/>
              <a:gd name="T7" fmla="*/ 737 h 4426"/>
              <a:gd name="T8" fmla="*/ 1283 w 4469"/>
              <a:gd name="T9" fmla="*/ 3210 h 4426"/>
              <a:gd name="T10" fmla="*/ 1320 w 4469"/>
              <a:gd name="T11" fmla="*/ 3231 h 4426"/>
              <a:gd name="T12" fmla="*/ 4068 w 4469"/>
              <a:gd name="T13" fmla="*/ 522 h 4426"/>
              <a:gd name="T14" fmla="*/ 1422 w 4469"/>
              <a:gd name="T15" fmla="*/ 3327 h 4426"/>
              <a:gd name="T16" fmla="*/ 1812 w 4469"/>
              <a:gd name="T17" fmla="*/ 4003 h 4426"/>
              <a:gd name="T18" fmla="*/ 4329 w 4469"/>
              <a:gd name="T19" fmla="*/ 0 h 4426"/>
              <a:gd name="T20" fmla="*/ 4356 w 4469"/>
              <a:gd name="T21" fmla="*/ 3 h 4426"/>
              <a:gd name="T22" fmla="*/ 4405 w 4469"/>
              <a:gd name="T23" fmla="*/ 23 h 4426"/>
              <a:gd name="T24" fmla="*/ 4449 w 4469"/>
              <a:gd name="T25" fmla="*/ 68 h 4426"/>
              <a:gd name="T26" fmla="*/ 4469 w 4469"/>
              <a:gd name="T27" fmla="*/ 129 h 4426"/>
              <a:gd name="T28" fmla="*/ 3769 w 4469"/>
              <a:gd name="T29" fmla="*/ 4310 h 4426"/>
              <a:gd name="T30" fmla="*/ 3745 w 4469"/>
              <a:gd name="T31" fmla="*/ 4367 h 4426"/>
              <a:gd name="T32" fmla="*/ 3699 w 4469"/>
              <a:gd name="T33" fmla="*/ 4408 h 4426"/>
              <a:gd name="T34" fmla="*/ 3655 w 4469"/>
              <a:gd name="T35" fmla="*/ 4424 h 4426"/>
              <a:gd name="T36" fmla="*/ 3605 w 4469"/>
              <a:gd name="T37" fmla="*/ 4424 h 4426"/>
              <a:gd name="T38" fmla="*/ 2224 w 4469"/>
              <a:gd name="T39" fmla="*/ 3880 h 4426"/>
              <a:gd name="T40" fmla="*/ 1917 w 4469"/>
              <a:gd name="T41" fmla="*/ 4381 h 4426"/>
              <a:gd name="T42" fmla="*/ 1870 w 4469"/>
              <a:gd name="T43" fmla="*/ 4415 h 4426"/>
              <a:gd name="T44" fmla="*/ 1814 w 4469"/>
              <a:gd name="T45" fmla="*/ 4426 h 4426"/>
              <a:gd name="T46" fmla="*/ 1784 w 4469"/>
              <a:gd name="T47" fmla="*/ 4422 h 4426"/>
              <a:gd name="T48" fmla="*/ 1732 w 4469"/>
              <a:gd name="T49" fmla="*/ 4400 h 4426"/>
              <a:gd name="T50" fmla="*/ 1694 w 4469"/>
              <a:gd name="T51" fmla="*/ 4357 h 4426"/>
              <a:gd name="T52" fmla="*/ 87 w 4469"/>
              <a:gd name="T53" fmla="*/ 3033 h 4426"/>
              <a:gd name="T54" fmla="*/ 37 w 4469"/>
              <a:gd name="T55" fmla="*/ 2999 h 4426"/>
              <a:gd name="T56" fmla="*/ 6 w 4469"/>
              <a:gd name="T57" fmla="*/ 2948 h 4426"/>
              <a:gd name="T58" fmla="*/ 0 w 4469"/>
              <a:gd name="T59" fmla="*/ 2889 h 4426"/>
              <a:gd name="T60" fmla="*/ 19 w 4469"/>
              <a:gd name="T61" fmla="*/ 2832 h 4426"/>
              <a:gd name="T62" fmla="*/ 61 w 4469"/>
              <a:gd name="T63" fmla="*/ 2790 h 4426"/>
              <a:gd name="T64" fmla="*/ 4276 w 4469"/>
              <a:gd name="T65" fmla="*/ 10 h 4426"/>
              <a:gd name="T66" fmla="*/ 4329 w 4469"/>
              <a:gd name="T67" fmla="*/ 0 h 4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469" h="4426">
                <a:moveTo>
                  <a:pt x="4079" y="787"/>
                </a:moveTo>
                <a:lnTo>
                  <a:pt x="2242" y="3606"/>
                </a:lnTo>
                <a:lnTo>
                  <a:pt x="2270" y="3609"/>
                </a:lnTo>
                <a:lnTo>
                  <a:pt x="2300" y="3614"/>
                </a:lnTo>
                <a:lnTo>
                  <a:pt x="2329" y="3623"/>
                </a:lnTo>
                <a:lnTo>
                  <a:pt x="3522" y="4095"/>
                </a:lnTo>
                <a:lnTo>
                  <a:pt x="4079" y="787"/>
                </a:lnTo>
                <a:close/>
                <a:moveTo>
                  <a:pt x="3675" y="737"/>
                </a:moveTo>
                <a:lnTo>
                  <a:pt x="437" y="2873"/>
                </a:lnTo>
                <a:lnTo>
                  <a:pt x="1283" y="3210"/>
                </a:lnTo>
                <a:lnTo>
                  <a:pt x="1302" y="3220"/>
                </a:lnTo>
                <a:lnTo>
                  <a:pt x="1320" y="3231"/>
                </a:lnTo>
                <a:lnTo>
                  <a:pt x="3675" y="737"/>
                </a:lnTo>
                <a:close/>
                <a:moveTo>
                  <a:pt x="4068" y="522"/>
                </a:moveTo>
                <a:lnTo>
                  <a:pt x="1422" y="3327"/>
                </a:lnTo>
                <a:lnTo>
                  <a:pt x="1422" y="3327"/>
                </a:lnTo>
                <a:lnTo>
                  <a:pt x="1422" y="3329"/>
                </a:lnTo>
                <a:lnTo>
                  <a:pt x="1812" y="4003"/>
                </a:lnTo>
                <a:lnTo>
                  <a:pt x="4068" y="522"/>
                </a:lnTo>
                <a:close/>
                <a:moveTo>
                  <a:pt x="4329" y="0"/>
                </a:moveTo>
                <a:lnTo>
                  <a:pt x="4329" y="0"/>
                </a:lnTo>
                <a:lnTo>
                  <a:pt x="4356" y="3"/>
                </a:lnTo>
                <a:lnTo>
                  <a:pt x="4380" y="10"/>
                </a:lnTo>
                <a:lnTo>
                  <a:pt x="4405" y="23"/>
                </a:lnTo>
                <a:lnTo>
                  <a:pt x="4430" y="43"/>
                </a:lnTo>
                <a:lnTo>
                  <a:pt x="4449" y="68"/>
                </a:lnTo>
                <a:lnTo>
                  <a:pt x="4463" y="98"/>
                </a:lnTo>
                <a:lnTo>
                  <a:pt x="4469" y="129"/>
                </a:lnTo>
                <a:lnTo>
                  <a:pt x="4468" y="160"/>
                </a:lnTo>
                <a:lnTo>
                  <a:pt x="3769" y="4310"/>
                </a:lnTo>
                <a:lnTo>
                  <a:pt x="3760" y="4340"/>
                </a:lnTo>
                <a:lnTo>
                  <a:pt x="3745" y="4367"/>
                </a:lnTo>
                <a:lnTo>
                  <a:pt x="3725" y="4390"/>
                </a:lnTo>
                <a:lnTo>
                  <a:pt x="3699" y="4408"/>
                </a:lnTo>
                <a:lnTo>
                  <a:pt x="3677" y="4418"/>
                </a:lnTo>
                <a:lnTo>
                  <a:pt x="3655" y="4424"/>
                </a:lnTo>
                <a:lnTo>
                  <a:pt x="3630" y="4426"/>
                </a:lnTo>
                <a:lnTo>
                  <a:pt x="3605" y="4424"/>
                </a:lnTo>
                <a:lnTo>
                  <a:pt x="3579" y="4417"/>
                </a:lnTo>
                <a:lnTo>
                  <a:pt x="2224" y="3880"/>
                </a:lnTo>
                <a:lnTo>
                  <a:pt x="1934" y="4359"/>
                </a:lnTo>
                <a:lnTo>
                  <a:pt x="1917" y="4381"/>
                </a:lnTo>
                <a:lnTo>
                  <a:pt x="1896" y="4401"/>
                </a:lnTo>
                <a:lnTo>
                  <a:pt x="1870" y="4415"/>
                </a:lnTo>
                <a:lnTo>
                  <a:pt x="1843" y="4424"/>
                </a:lnTo>
                <a:lnTo>
                  <a:pt x="1814" y="4426"/>
                </a:lnTo>
                <a:lnTo>
                  <a:pt x="1813" y="4426"/>
                </a:lnTo>
                <a:lnTo>
                  <a:pt x="1784" y="4422"/>
                </a:lnTo>
                <a:lnTo>
                  <a:pt x="1757" y="4414"/>
                </a:lnTo>
                <a:lnTo>
                  <a:pt x="1732" y="4400"/>
                </a:lnTo>
                <a:lnTo>
                  <a:pt x="1712" y="4380"/>
                </a:lnTo>
                <a:lnTo>
                  <a:pt x="1694" y="4357"/>
                </a:lnTo>
                <a:lnTo>
                  <a:pt x="1180" y="3466"/>
                </a:lnTo>
                <a:lnTo>
                  <a:pt x="87" y="3033"/>
                </a:lnTo>
                <a:lnTo>
                  <a:pt x="60" y="3019"/>
                </a:lnTo>
                <a:lnTo>
                  <a:pt x="37" y="2999"/>
                </a:lnTo>
                <a:lnTo>
                  <a:pt x="19" y="2975"/>
                </a:lnTo>
                <a:lnTo>
                  <a:pt x="6" y="2948"/>
                </a:lnTo>
                <a:lnTo>
                  <a:pt x="0" y="2919"/>
                </a:lnTo>
                <a:lnTo>
                  <a:pt x="0" y="2889"/>
                </a:lnTo>
                <a:lnTo>
                  <a:pt x="6" y="2859"/>
                </a:lnTo>
                <a:lnTo>
                  <a:pt x="19" y="2832"/>
                </a:lnTo>
                <a:lnTo>
                  <a:pt x="37" y="2808"/>
                </a:lnTo>
                <a:lnTo>
                  <a:pt x="61" y="2790"/>
                </a:lnTo>
                <a:lnTo>
                  <a:pt x="4252" y="23"/>
                </a:lnTo>
                <a:lnTo>
                  <a:pt x="4276" y="10"/>
                </a:lnTo>
                <a:lnTo>
                  <a:pt x="4302" y="3"/>
                </a:lnTo>
                <a:lnTo>
                  <a:pt x="4329" y="0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4" name="Группа 19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87BCDC93-494B-B945-9C09-55AD164B7B0D}"/>
              </a:ext>
            </a:extLst>
          </p:cNvPr>
          <p:cNvGrpSpPr/>
          <p:nvPr/>
        </p:nvGrpSpPr>
        <p:grpSpPr>
          <a:xfrm>
            <a:off x="5926941" y="4362040"/>
            <a:ext cx="387323" cy="383569"/>
            <a:chOff x="5929313" y="3287713"/>
            <a:chExt cx="1965324" cy="1946275"/>
          </a:xfrm>
          <a:solidFill>
            <a:schemeClr val="bg1"/>
          </a:solidFill>
        </p:grpSpPr>
        <p:sp>
          <p:nvSpPr>
            <p:cNvPr id="25" name="Freeform 171">
              <a:extLst>
                <a:ext uri="{FF2B5EF4-FFF2-40B4-BE49-F238E27FC236}">
                  <a16:creationId xmlns:a16="http://schemas.microsoft.com/office/drawing/2014/main" id="{886454CB-301F-8B48-AFF2-91F2F25EFA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9313" y="3287713"/>
              <a:ext cx="614362" cy="1946275"/>
            </a:xfrm>
            <a:custGeom>
              <a:avLst/>
              <a:gdLst>
                <a:gd name="T0" fmla="*/ 476 w 1161"/>
                <a:gd name="T1" fmla="*/ 3383 h 3678"/>
                <a:gd name="T2" fmla="*/ 554 w 1161"/>
                <a:gd name="T3" fmla="*/ 3445 h 3678"/>
                <a:gd name="T4" fmla="*/ 653 w 1161"/>
                <a:gd name="T5" fmla="*/ 3423 h 3678"/>
                <a:gd name="T6" fmla="*/ 697 w 1161"/>
                <a:gd name="T7" fmla="*/ 3332 h 3678"/>
                <a:gd name="T8" fmla="*/ 521 w 1161"/>
                <a:gd name="T9" fmla="*/ 1720 h 3678"/>
                <a:gd name="T10" fmla="*/ 502 w 1161"/>
                <a:gd name="T11" fmla="*/ 814 h 3678"/>
                <a:gd name="T12" fmla="*/ 371 w 1161"/>
                <a:gd name="T13" fmla="*/ 874 h 3678"/>
                <a:gd name="T14" fmla="*/ 320 w 1161"/>
                <a:gd name="T15" fmla="*/ 921 h 3678"/>
                <a:gd name="T16" fmla="*/ 266 w 1161"/>
                <a:gd name="T17" fmla="*/ 1005 h 3678"/>
                <a:gd name="T18" fmla="*/ 248 w 1161"/>
                <a:gd name="T19" fmla="*/ 1053 h 3678"/>
                <a:gd name="T20" fmla="*/ 235 w 1161"/>
                <a:gd name="T21" fmla="*/ 1182 h 3678"/>
                <a:gd name="T22" fmla="*/ 254 w 1161"/>
                <a:gd name="T23" fmla="*/ 1263 h 3678"/>
                <a:gd name="T24" fmla="*/ 298 w 1161"/>
                <a:gd name="T25" fmla="*/ 1349 h 3678"/>
                <a:gd name="T26" fmla="*/ 370 w 1161"/>
                <a:gd name="T27" fmla="*/ 1422 h 3678"/>
                <a:gd name="T28" fmla="*/ 432 w 1161"/>
                <a:gd name="T29" fmla="*/ 1458 h 3678"/>
                <a:gd name="T30" fmla="*/ 580 w 1161"/>
                <a:gd name="T31" fmla="*/ 1494 h 3678"/>
                <a:gd name="T32" fmla="*/ 729 w 1161"/>
                <a:gd name="T33" fmla="*/ 1460 h 3678"/>
                <a:gd name="T34" fmla="*/ 790 w 1161"/>
                <a:gd name="T35" fmla="*/ 1422 h 3678"/>
                <a:gd name="T36" fmla="*/ 863 w 1161"/>
                <a:gd name="T37" fmla="*/ 1348 h 3678"/>
                <a:gd name="T38" fmla="*/ 909 w 1161"/>
                <a:gd name="T39" fmla="*/ 1257 h 3678"/>
                <a:gd name="T40" fmla="*/ 926 w 1161"/>
                <a:gd name="T41" fmla="*/ 1182 h 3678"/>
                <a:gd name="T42" fmla="*/ 913 w 1161"/>
                <a:gd name="T43" fmla="*/ 1053 h 3678"/>
                <a:gd name="T44" fmla="*/ 881 w 1161"/>
                <a:gd name="T45" fmla="*/ 976 h 3678"/>
                <a:gd name="T46" fmla="*/ 862 w 1161"/>
                <a:gd name="T47" fmla="*/ 947 h 3678"/>
                <a:gd name="T48" fmla="*/ 789 w 1161"/>
                <a:gd name="T49" fmla="*/ 875 h 3678"/>
                <a:gd name="T50" fmla="*/ 697 w 1161"/>
                <a:gd name="T51" fmla="*/ 825 h 3678"/>
                <a:gd name="T52" fmla="*/ 580 w 1161"/>
                <a:gd name="T53" fmla="*/ 230 h 3678"/>
                <a:gd name="T54" fmla="*/ 490 w 1161"/>
                <a:gd name="T55" fmla="*/ 272 h 3678"/>
                <a:gd name="T56" fmla="*/ 464 w 1161"/>
                <a:gd name="T57" fmla="*/ 585 h 3678"/>
                <a:gd name="T58" fmla="*/ 697 w 1161"/>
                <a:gd name="T59" fmla="*/ 585 h 3678"/>
                <a:gd name="T60" fmla="*/ 670 w 1161"/>
                <a:gd name="T61" fmla="*/ 272 h 3678"/>
                <a:gd name="T62" fmla="*/ 580 w 1161"/>
                <a:gd name="T63" fmla="*/ 230 h 3678"/>
                <a:gd name="T64" fmla="*/ 716 w 1161"/>
                <a:gd name="T65" fmla="*/ 27 h 3678"/>
                <a:gd name="T66" fmla="*/ 856 w 1161"/>
                <a:gd name="T67" fmla="*/ 134 h 3678"/>
                <a:gd name="T68" fmla="*/ 924 w 1161"/>
                <a:gd name="T69" fmla="*/ 297 h 3678"/>
                <a:gd name="T70" fmla="*/ 1015 w 1161"/>
                <a:gd name="T71" fmla="*/ 770 h 3678"/>
                <a:gd name="T72" fmla="*/ 1131 w 1161"/>
                <a:gd name="T73" fmla="*/ 971 h 3678"/>
                <a:gd name="T74" fmla="*/ 1157 w 1161"/>
                <a:gd name="T75" fmla="*/ 1210 h 3678"/>
                <a:gd name="T76" fmla="*/ 1082 w 1161"/>
                <a:gd name="T77" fmla="*/ 1434 h 3678"/>
                <a:gd name="T78" fmla="*/ 928 w 1161"/>
                <a:gd name="T79" fmla="*/ 1605 h 3678"/>
                <a:gd name="T80" fmla="*/ 901 w 1161"/>
                <a:gd name="T81" fmla="*/ 3466 h 3678"/>
                <a:gd name="T82" fmla="*/ 793 w 1161"/>
                <a:gd name="T83" fmla="*/ 3606 h 3678"/>
                <a:gd name="T84" fmla="*/ 628 w 1161"/>
                <a:gd name="T85" fmla="*/ 3674 h 3678"/>
                <a:gd name="T86" fmla="*/ 445 w 1161"/>
                <a:gd name="T87" fmla="*/ 3651 h 3678"/>
                <a:gd name="T88" fmla="*/ 305 w 1161"/>
                <a:gd name="T89" fmla="*/ 3544 h 3678"/>
                <a:gd name="T90" fmla="*/ 236 w 1161"/>
                <a:gd name="T91" fmla="*/ 3379 h 3678"/>
                <a:gd name="T92" fmla="*/ 146 w 1161"/>
                <a:gd name="T93" fmla="*/ 1528 h 3678"/>
                <a:gd name="T94" fmla="*/ 29 w 1161"/>
                <a:gd name="T95" fmla="*/ 1328 h 3678"/>
                <a:gd name="T96" fmla="*/ 3 w 1161"/>
                <a:gd name="T97" fmla="*/ 1087 h 3678"/>
                <a:gd name="T98" fmla="*/ 78 w 1161"/>
                <a:gd name="T99" fmla="*/ 864 h 3678"/>
                <a:gd name="T100" fmla="*/ 232 w 1161"/>
                <a:gd name="T101" fmla="*/ 692 h 3678"/>
                <a:gd name="T102" fmla="*/ 260 w 1161"/>
                <a:gd name="T103" fmla="*/ 210 h 3678"/>
                <a:gd name="T104" fmla="*/ 368 w 1161"/>
                <a:gd name="T105" fmla="*/ 71 h 3678"/>
                <a:gd name="T106" fmla="*/ 533 w 1161"/>
                <a:gd name="T107" fmla="*/ 3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61" h="3678">
                  <a:moveTo>
                    <a:pt x="464" y="1712"/>
                  </a:moveTo>
                  <a:lnTo>
                    <a:pt x="464" y="3332"/>
                  </a:lnTo>
                  <a:lnTo>
                    <a:pt x="467" y="3359"/>
                  </a:lnTo>
                  <a:lnTo>
                    <a:pt x="476" y="3383"/>
                  </a:lnTo>
                  <a:lnTo>
                    <a:pt x="490" y="3405"/>
                  </a:lnTo>
                  <a:lnTo>
                    <a:pt x="508" y="3423"/>
                  </a:lnTo>
                  <a:lnTo>
                    <a:pt x="529" y="3435"/>
                  </a:lnTo>
                  <a:lnTo>
                    <a:pt x="554" y="3445"/>
                  </a:lnTo>
                  <a:lnTo>
                    <a:pt x="580" y="3447"/>
                  </a:lnTo>
                  <a:lnTo>
                    <a:pt x="606" y="3445"/>
                  </a:lnTo>
                  <a:lnTo>
                    <a:pt x="631" y="3435"/>
                  </a:lnTo>
                  <a:lnTo>
                    <a:pt x="653" y="3423"/>
                  </a:lnTo>
                  <a:lnTo>
                    <a:pt x="670" y="3405"/>
                  </a:lnTo>
                  <a:lnTo>
                    <a:pt x="685" y="3383"/>
                  </a:lnTo>
                  <a:lnTo>
                    <a:pt x="693" y="3359"/>
                  </a:lnTo>
                  <a:lnTo>
                    <a:pt x="697" y="3332"/>
                  </a:lnTo>
                  <a:lnTo>
                    <a:pt x="697" y="1712"/>
                  </a:lnTo>
                  <a:lnTo>
                    <a:pt x="640" y="1720"/>
                  </a:lnTo>
                  <a:lnTo>
                    <a:pt x="580" y="1724"/>
                  </a:lnTo>
                  <a:lnTo>
                    <a:pt x="521" y="1720"/>
                  </a:lnTo>
                  <a:lnTo>
                    <a:pt x="464" y="1712"/>
                  </a:lnTo>
                  <a:close/>
                  <a:moveTo>
                    <a:pt x="580" y="805"/>
                  </a:moveTo>
                  <a:lnTo>
                    <a:pt x="540" y="807"/>
                  </a:lnTo>
                  <a:lnTo>
                    <a:pt x="502" y="814"/>
                  </a:lnTo>
                  <a:lnTo>
                    <a:pt x="464" y="825"/>
                  </a:lnTo>
                  <a:lnTo>
                    <a:pt x="432" y="839"/>
                  </a:lnTo>
                  <a:lnTo>
                    <a:pt x="401" y="855"/>
                  </a:lnTo>
                  <a:lnTo>
                    <a:pt x="371" y="874"/>
                  </a:lnTo>
                  <a:lnTo>
                    <a:pt x="371" y="875"/>
                  </a:lnTo>
                  <a:lnTo>
                    <a:pt x="370" y="875"/>
                  </a:lnTo>
                  <a:lnTo>
                    <a:pt x="344" y="898"/>
                  </a:lnTo>
                  <a:lnTo>
                    <a:pt x="320" y="921"/>
                  </a:lnTo>
                  <a:lnTo>
                    <a:pt x="299" y="947"/>
                  </a:lnTo>
                  <a:lnTo>
                    <a:pt x="298" y="949"/>
                  </a:lnTo>
                  <a:lnTo>
                    <a:pt x="280" y="976"/>
                  </a:lnTo>
                  <a:lnTo>
                    <a:pt x="266" y="1005"/>
                  </a:lnTo>
                  <a:lnTo>
                    <a:pt x="254" y="1034"/>
                  </a:lnTo>
                  <a:lnTo>
                    <a:pt x="251" y="1040"/>
                  </a:lnTo>
                  <a:lnTo>
                    <a:pt x="249" y="1046"/>
                  </a:lnTo>
                  <a:lnTo>
                    <a:pt x="248" y="1053"/>
                  </a:lnTo>
                  <a:lnTo>
                    <a:pt x="240" y="1083"/>
                  </a:lnTo>
                  <a:lnTo>
                    <a:pt x="235" y="1115"/>
                  </a:lnTo>
                  <a:lnTo>
                    <a:pt x="232" y="1149"/>
                  </a:lnTo>
                  <a:lnTo>
                    <a:pt x="235" y="1182"/>
                  </a:lnTo>
                  <a:lnTo>
                    <a:pt x="240" y="1214"/>
                  </a:lnTo>
                  <a:lnTo>
                    <a:pt x="248" y="1246"/>
                  </a:lnTo>
                  <a:lnTo>
                    <a:pt x="250" y="1254"/>
                  </a:lnTo>
                  <a:lnTo>
                    <a:pt x="254" y="1263"/>
                  </a:lnTo>
                  <a:lnTo>
                    <a:pt x="266" y="1293"/>
                  </a:lnTo>
                  <a:lnTo>
                    <a:pt x="280" y="1321"/>
                  </a:lnTo>
                  <a:lnTo>
                    <a:pt x="297" y="1348"/>
                  </a:lnTo>
                  <a:lnTo>
                    <a:pt x="298" y="1349"/>
                  </a:lnTo>
                  <a:lnTo>
                    <a:pt x="299" y="1350"/>
                  </a:lnTo>
                  <a:lnTo>
                    <a:pt x="320" y="1376"/>
                  </a:lnTo>
                  <a:lnTo>
                    <a:pt x="344" y="1401"/>
                  </a:lnTo>
                  <a:lnTo>
                    <a:pt x="370" y="1422"/>
                  </a:lnTo>
                  <a:lnTo>
                    <a:pt x="371" y="1422"/>
                  </a:lnTo>
                  <a:lnTo>
                    <a:pt x="371" y="1423"/>
                  </a:lnTo>
                  <a:lnTo>
                    <a:pt x="401" y="1442"/>
                  </a:lnTo>
                  <a:lnTo>
                    <a:pt x="432" y="1458"/>
                  </a:lnTo>
                  <a:lnTo>
                    <a:pt x="464" y="1472"/>
                  </a:lnTo>
                  <a:lnTo>
                    <a:pt x="502" y="1483"/>
                  </a:lnTo>
                  <a:lnTo>
                    <a:pt x="540" y="1491"/>
                  </a:lnTo>
                  <a:lnTo>
                    <a:pt x="580" y="1494"/>
                  </a:lnTo>
                  <a:lnTo>
                    <a:pt x="621" y="1491"/>
                  </a:lnTo>
                  <a:lnTo>
                    <a:pt x="659" y="1484"/>
                  </a:lnTo>
                  <a:lnTo>
                    <a:pt x="697" y="1472"/>
                  </a:lnTo>
                  <a:lnTo>
                    <a:pt x="729" y="1460"/>
                  </a:lnTo>
                  <a:lnTo>
                    <a:pt x="759" y="1443"/>
                  </a:lnTo>
                  <a:lnTo>
                    <a:pt x="789" y="1423"/>
                  </a:lnTo>
                  <a:lnTo>
                    <a:pt x="789" y="1423"/>
                  </a:lnTo>
                  <a:lnTo>
                    <a:pt x="790" y="1422"/>
                  </a:lnTo>
                  <a:lnTo>
                    <a:pt x="816" y="1401"/>
                  </a:lnTo>
                  <a:lnTo>
                    <a:pt x="840" y="1376"/>
                  </a:lnTo>
                  <a:lnTo>
                    <a:pt x="862" y="1350"/>
                  </a:lnTo>
                  <a:lnTo>
                    <a:pt x="863" y="1348"/>
                  </a:lnTo>
                  <a:lnTo>
                    <a:pt x="881" y="1322"/>
                  </a:lnTo>
                  <a:lnTo>
                    <a:pt x="895" y="1293"/>
                  </a:lnTo>
                  <a:lnTo>
                    <a:pt x="907" y="1263"/>
                  </a:lnTo>
                  <a:lnTo>
                    <a:pt x="909" y="1257"/>
                  </a:lnTo>
                  <a:lnTo>
                    <a:pt x="911" y="1251"/>
                  </a:lnTo>
                  <a:lnTo>
                    <a:pt x="913" y="1246"/>
                  </a:lnTo>
                  <a:lnTo>
                    <a:pt x="921" y="1214"/>
                  </a:lnTo>
                  <a:lnTo>
                    <a:pt x="926" y="1182"/>
                  </a:lnTo>
                  <a:lnTo>
                    <a:pt x="928" y="1149"/>
                  </a:lnTo>
                  <a:lnTo>
                    <a:pt x="926" y="1115"/>
                  </a:lnTo>
                  <a:lnTo>
                    <a:pt x="921" y="1083"/>
                  </a:lnTo>
                  <a:lnTo>
                    <a:pt x="913" y="1053"/>
                  </a:lnTo>
                  <a:lnTo>
                    <a:pt x="910" y="1043"/>
                  </a:lnTo>
                  <a:lnTo>
                    <a:pt x="907" y="1034"/>
                  </a:lnTo>
                  <a:lnTo>
                    <a:pt x="895" y="1005"/>
                  </a:lnTo>
                  <a:lnTo>
                    <a:pt x="881" y="976"/>
                  </a:lnTo>
                  <a:lnTo>
                    <a:pt x="864" y="949"/>
                  </a:lnTo>
                  <a:lnTo>
                    <a:pt x="863" y="948"/>
                  </a:lnTo>
                  <a:lnTo>
                    <a:pt x="863" y="948"/>
                  </a:lnTo>
                  <a:lnTo>
                    <a:pt x="862" y="947"/>
                  </a:lnTo>
                  <a:lnTo>
                    <a:pt x="840" y="921"/>
                  </a:lnTo>
                  <a:lnTo>
                    <a:pt x="816" y="898"/>
                  </a:lnTo>
                  <a:lnTo>
                    <a:pt x="790" y="875"/>
                  </a:lnTo>
                  <a:lnTo>
                    <a:pt x="789" y="875"/>
                  </a:lnTo>
                  <a:lnTo>
                    <a:pt x="789" y="874"/>
                  </a:lnTo>
                  <a:lnTo>
                    <a:pt x="759" y="855"/>
                  </a:lnTo>
                  <a:lnTo>
                    <a:pt x="729" y="839"/>
                  </a:lnTo>
                  <a:lnTo>
                    <a:pt x="697" y="825"/>
                  </a:lnTo>
                  <a:lnTo>
                    <a:pt x="659" y="814"/>
                  </a:lnTo>
                  <a:lnTo>
                    <a:pt x="621" y="807"/>
                  </a:lnTo>
                  <a:lnTo>
                    <a:pt x="580" y="805"/>
                  </a:lnTo>
                  <a:close/>
                  <a:moveTo>
                    <a:pt x="580" y="230"/>
                  </a:moveTo>
                  <a:lnTo>
                    <a:pt x="554" y="232"/>
                  </a:lnTo>
                  <a:lnTo>
                    <a:pt x="529" y="242"/>
                  </a:lnTo>
                  <a:lnTo>
                    <a:pt x="508" y="255"/>
                  </a:lnTo>
                  <a:lnTo>
                    <a:pt x="490" y="272"/>
                  </a:lnTo>
                  <a:lnTo>
                    <a:pt x="476" y="293"/>
                  </a:lnTo>
                  <a:lnTo>
                    <a:pt x="467" y="318"/>
                  </a:lnTo>
                  <a:lnTo>
                    <a:pt x="464" y="344"/>
                  </a:lnTo>
                  <a:lnTo>
                    <a:pt x="464" y="585"/>
                  </a:lnTo>
                  <a:lnTo>
                    <a:pt x="521" y="577"/>
                  </a:lnTo>
                  <a:lnTo>
                    <a:pt x="580" y="574"/>
                  </a:lnTo>
                  <a:lnTo>
                    <a:pt x="640" y="577"/>
                  </a:lnTo>
                  <a:lnTo>
                    <a:pt x="697" y="585"/>
                  </a:lnTo>
                  <a:lnTo>
                    <a:pt x="697" y="344"/>
                  </a:lnTo>
                  <a:lnTo>
                    <a:pt x="693" y="318"/>
                  </a:lnTo>
                  <a:lnTo>
                    <a:pt x="685" y="293"/>
                  </a:lnTo>
                  <a:lnTo>
                    <a:pt x="670" y="272"/>
                  </a:lnTo>
                  <a:lnTo>
                    <a:pt x="653" y="255"/>
                  </a:lnTo>
                  <a:lnTo>
                    <a:pt x="631" y="242"/>
                  </a:lnTo>
                  <a:lnTo>
                    <a:pt x="606" y="232"/>
                  </a:lnTo>
                  <a:lnTo>
                    <a:pt x="580" y="230"/>
                  </a:lnTo>
                  <a:close/>
                  <a:moveTo>
                    <a:pt x="580" y="0"/>
                  </a:moveTo>
                  <a:lnTo>
                    <a:pt x="628" y="3"/>
                  </a:lnTo>
                  <a:lnTo>
                    <a:pt x="673" y="11"/>
                  </a:lnTo>
                  <a:lnTo>
                    <a:pt x="716" y="27"/>
                  </a:lnTo>
                  <a:lnTo>
                    <a:pt x="756" y="47"/>
                  </a:lnTo>
                  <a:lnTo>
                    <a:pt x="793" y="71"/>
                  </a:lnTo>
                  <a:lnTo>
                    <a:pt x="826" y="101"/>
                  </a:lnTo>
                  <a:lnTo>
                    <a:pt x="856" y="134"/>
                  </a:lnTo>
                  <a:lnTo>
                    <a:pt x="881" y="170"/>
                  </a:lnTo>
                  <a:lnTo>
                    <a:pt x="901" y="210"/>
                  </a:lnTo>
                  <a:lnTo>
                    <a:pt x="916" y="252"/>
                  </a:lnTo>
                  <a:lnTo>
                    <a:pt x="924" y="297"/>
                  </a:lnTo>
                  <a:lnTo>
                    <a:pt x="928" y="344"/>
                  </a:lnTo>
                  <a:lnTo>
                    <a:pt x="928" y="692"/>
                  </a:lnTo>
                  <a:lnTo>
                    <a:pt x="973" y="728"/>
                  </a:lnTo>
                  <a:lnTo>
                    <a:pt x="1015" y="770"/>
                  </a:lnTo>
                  <a:lnTo>
                    <a:pt x="1050" y="815"/>
                  </a:lnTo>
                  <a:lnTo>
                    <a:pt x="1082" y="864"/>
                  </a:lnTo>
                  <a:lnTo>
                    <a:pt x="1110" y="915"/>
                  </a:lnTo>
                  <a:lnTo>
                    <a:pt x="1131" y="971"/>
                  </a:lnTo>
                  <a:lnTo>
                    <a:pt x="1148" y="1028"/>
                  </a:lnTo>
                  <a:lnTo>
                    <a:pt x="1157" y="1087"/>
                  </a:lnTo>
                  <a:lnTo>
                    <a:pt x="1161" y="1149"/>
                  </a:lnTo>
                  <a:lnTo>
                    <a:pt x="1157" y="1210"/>
                  </a:lnTo>
                  <a:lnTo>
                    <a:pt x="1148" y="1270"/>
                  </a:lnTo>
                  <a:lnTo>
                    <a:pt x="1131" y="1328"/>
                  </a:lnTo>
                  <a:lnTo>
                    <a:pt x="1110" y="1382"/>
                  </a:lnTo>
                  <a:lnTo>
                    <a:pt x="1082" y="1434"/>
                  </a:lnTo>
                  <a:lnTo>
                    <a:pt x="1050" y="1483"/>
                  </a:lnTo>
                  <a:lnTo>
                    <a:pt x="1015" y="1528"/>
                  </a:lnTo>
                  <a:lnTo>
                    <a:pt x="973" y="1569"/>
                  </a:lnTo>
                  <a:lnTo>
                    <a:pt x="928" y="1605"/>
                  </a:lnTo>
                  <a:lnTo>
                    <a:pt x="928" y="3332"/>
                  </a:lnTo>
                  <a:lnTo>
                    <a:pt x="924" y="3379"/>
                  </a:lnTo>
                  <a:lnTo>
                    <a:pt x="916" y="3424"/>
                  </a:lnTo>
                  <a:lnTo>
                    <a:pt x="901" y="3466"/>
                  </a:lnTo>
                  <a:lnTo>
                    <a:pt x="881" y="3506"/>
                  </a:lnTo>
                  <a:lnTo>
                    <a:pt x="856" y="3544"/>
                  </a:lnTo>
                  <a:lnTo>
                    <a:pt x="826" y="3577"/>
                  </a:lnTo>
                  <a:lnTo>
                    <a:pt x="793" y="3606"/>
                  </a:lnTo>
                  <a:lnTo>
                    <a:pt x="756" y="3631"/>
                  </a:lnTo>
                  <a:lnTo>
                    <a:pt x="716" y="3651"/>
                  </a:lnTo>
                  <a:lnTo>
                    <a:pt x="673" y="3666"/>
                  </a:lnTo>
                  <a:lnTo>
                    <a:pt x="628" y="3674"/>
                  </a:lnTo>
                  <a:lnTo>
                    <a:pt x="580" y="3678"/>
                  </a:lnTo>
                  <a:lnTo>
                    <a:pt x="533" y="3674"/>
                  </a:lnTo>
                  <a:lnTo>
                    <a:pt x="488" y="3666"/>
                  </a:lnTo>
                  <a:lnTo>
                    <a:pt x="445" y="3651"/>
                  </a:lnTo>
                  <a:lnTo>
                    <a:pt x="405" y="3631"/>
                  </a:lnTo>
                  <a:lnTo>
                    <a:pt x="368" y="3606"/>
                  </a:lnTo>
                  <a:lnTo>
                    <a:pt x="335" y="3577"/>
                  </a:lnTo>
                  <a:lnTo>
                    <a:pt x="305" y="3544"/>
                  </a:lnTo>
                  <a:lnTo>
                    <a:pt x="280" y="3506"/>
                  </a:lnTo>
                  <a:lnTo>
                    <a:pt x="260" y="3466"/>
                  </a:lnTo>
                  <a:lnTo>
                    <a:pt x="244" y="3424"/>
                  </a:lnTo>
                  <a:lnTo>
                    <a:pt x="236" y="3379"/>
                  </a:lnTo>
                  <a:lnTo>
                    <a:pt x="232" y="3332"/>
                  </a:lnTo>
                  <a:lnTo>
                    <a:pt x="232" y="1605"/>
                  </a:lnTo>
                  <a:lnTo>
                    <a:pt x="187" y="1569"/>
                  </a:lnTo>
                  <a:lnTo>
                    <a:pt x="146" y="1528"/>
                  </a:lnTo>
                  <a:lnTo>
                    <a:pt x="110" y="1483"/>
                  </a:lnTo>
                  <a:lnTo>
                    <a:pt x="78" y="1434"/>
                  </a:lnTo>
                  <a:lnTo>
                    <a:pt x="51" y="1382"/>
                  </a:lnTo>
                  <a:lnTo>
                    <a:pt x="29" y="1328"/>
                  </a:lnTo>
                  <a:lnTo>
                    <a:pt x="13" y="1270"/>
                  </a:lnTo>
                  <a:lnTo>
                    <a:pt x="3" y="1210"/>
                  </a:lnTo>
                  <a:lnTo>
                    <a:pt x="0" y="1149"/>
                  </a:lnTo>
                  <a:lnTo>
                    <a:pt x="3" y="1087"/>
                  </a:lnTo>
                  <a:lnTo>
                    <a:pt x="13" y="1028"/>
                  </a:lnTo>
                  <a:lnTo>
                    <a:pt x="29" y="971"/>
                  </a:lnTo>
                  <a:lnTo>
                    <a:pt x="51" y="915"/>
                  </a:lnTo>
                  <a:lnTo>
                    <a:pt x="78" y="864"/>
                  </a:lnTo>
                  <a:lnTo>
                    <a:pt x="110" y="815"/>
                  </a:lnTo>
                  <a:lnTo>
                    <a:pt x="146" y="770"/>
                  </a:lnTo>
                  <a:lnTo>
                    <a:pt x="187" y="728"/>
                  </a:lnTo>
                  <a:lnTo>
                    <a:pt x="232" y="692"/>
                  </a:lnTo>
                  <a:lnTo>
                    <a:pt x="232" y="344"/>
                  </a:lnTo>
                  <a:lnTo>
                    <a:pt x="236" y="297"/>
                  </a:lnTo>
                  <a:lnTo>
                    <a:pt x="244" y="252"/>
                  </a:lnTo>
                  <a:lnTo>
                    <a:pt x="260" y="210"/>
                  </a:lnTo>
                  <a:lnTo>
                    <a:pt x="280" y="170"/>
                  </a:lnTo>
                  <a:lnTo>
                    <a:pt x="305" y="134"/>
                  </a:lnTo>
                  <a:lnTo>
                    <a:pt x="335" y="101"/>
                  </a:lnTo>
                  <a:lnTo>
                    <a:pt x="368" y="71"/>
                  </a:lnTo>
                  <a:lnTo>
                    <a:pt x="405" y="47"/>
                  </a:lnTo>
                  <a:lnTo>
                    <a:pt x="445" y="27"/>
                  </a:lnTo>
                  <a:lnTo>
                    <a:pt x="488" y="11"/>
                  </a:lnTo>
                  <a:lnTo>
                    <a:pt x="533" y="3"/>
                  </a:lnTo>
                  <a:lnTo>
                    <a:pt x="58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72">
              <a:extLst>
                <a:ext uri="{FF2B5EF4-FFF2-40B4-BE49-F238E27FC236}">
                  <a16:creationId xmlns:a16="http://schemas.microsoft.com/office/drawing/2014/main" id="{4DE27855-643E-A046-BFFA-C31F865220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80275" y="3287713"/>
              <a:ext cx="614362" cy="1946275"/>
            </a:xfrm>
            <a:custGeom>
              <a:avLst/>
              <a:gdLst>
                <a:gd name="T0" fmla="*/ 476 w 1161"/>
                <a:gd name="T1" fmla="*/ 3383 h 3678"/>
                <a:gd name="T2" fmla="*/ 554 w 1161"/>
                <a:gd name="T3" fmla="*/ 3445 h 3678"/>
                <a:gd name="T4" fmla="*/ 653 w 1161"/>
                <a:gd name="T5" fmla="*/ 3423 h 3678"/>
                <a:gd name="T6" fmla="*/ 697 w 1161"/>
                <a:gd name="T7" fmla="*/ 3332 h 3678"/>
                <a:gd name="T8" fmla="*/ 521 w 1161"/>
                <a:gd name="T9" fmla="*/ 1720 h 3678"/>
                <a:gd name="T10" fmla="*/ 502 w 1161"/>
                <a:gd name="T11" fmla="*/ 814 h 3678"/>
                <a:gd name="T12" fmla="*/ 372 w 1161"/>
                <a:gd name="T13" fmla="*/ 874 h 3678"/>
                <a:gd name="T14" fmla="*/ 320 w 1161"/>
                <a:gd name="T15" fmla="*/ 921 h 3678"/>
                <a:gd name="T16" fmla="*/ 266 w 1161"/>
                <a:gd name="T17" fmla="*/ 1005 h 3678"/>
                <a:gd name="T18" fmla="*/ 240 w 1161"/>
                <a:gd name="T19" fmla="*/ 1083 h 3678"/>
                <a:gd name="T20" fmla="*/ 240 w 1161"/>
                <a:gd name="T21" fmla="*/ 1214 h 3678"/>
                <a:gd name="T22" fmla="*/ 266 w 1161"/>
                <a:gd name="T23" fmla="*/ 1293 h 3678"/>
                <a:gd name="T24" fmla="*/ 320 w 1161"/>
                <a:gd name="T25" fmla="*/ 1376 h 3678"/>
                <a:gd name="T26" fmla="*/ 372 w 1161"/>
                <a:gd name="T27" fmla="*/ 1423 h 3678"/>
                <a:gd name="T28" fmla="*/ 502 w 1161"/>
                <a:gd name="T29" fmla="*/ 1483 h 3678"/>
                <a:gd name="T30" fmla="*/ 659 w 1161"/>
                <a:gd name="T31" fmla="*/ 1484 h 3678"/>
                <a:gd name="T32" fmla="*/ 789 w 1161"/>
                <a:gd name="T33" fmla="*/ 1423 h 3678"/>
                <a:gd name="T34" fmla="*/ 840 w 1161"/>
                <a:gd name="T35" fmla="*/ 1376 h 3678"/>
                <a:gd name="T36" fmla="*/ 895 w 1161"/>
                <a:gd name="T37" fmla="*/ 1293 h 3678"/>
                <a:gd name="T38" fmla="*/ 921 w 1161"/>
                <a:gd name="T39" fmla="*/ 1214 h 3678"/>
                <a:gd name="T40" fmla="*/ 921 w 1161"/>
                <a:gd name="T41" fmla="*/ 1083 h 3678"/>
                <a:gd name="T42" fmla="*/ 895 w 1161"/>
                <a:gd name="T43" fmla="*/ 1005 h 3678"/>
                <a:gd name="T44" fmla="*/ 862 w 1161"/>
                <a:gd name="T45" fmla="*/ 947 h 3678"/>
                <a:gd name="T46" fmla="*/ 789 w 1161"/>
                <a:gd name="T47" fmla="*/ 875 h 3678"/>
                <a:gd name="T48" fmla="*/ 697 w 1161"/>
                <a:gd name="T49" fmla="*/ 825 h 3678"/>
                <a:gd name="T50" fmla="*/ 580 w 1161"/>
                <a:gd name="T51" fmla="*/ 230 h 3678"/>
                <a:gd name="T52" fmla="*/ 490 w 1161"/>
                <a:gd name="T53" fmla="*/ 272 h 3678"/>
                <a:gd name="T54" fmla="*/ 464 w 1161"/>
                <a:gd name="T55" fmla="*/ 585 h 3678"/>
                <a:gd name="T56" fmla="*/ 697 w 1161"/>
                <a:gd name="T57" fmla="*/ 585 h 3678"/>
                <a:gd name="T58" fmla="*/ 671 w 1161"/>
                <a:gd name="T59" fmla="*/ 272 h 3678"/>
                <a:gd name="T60" fmla="*/ 580 w 1161"/>
                <a:gd name="T61" fmla="*/ 230 h 3678"/>
                <a:gd name="T62" fmla="*/ 716 w 1161"/>
                <a:gd name="T63" fmla="*/ 27 h 3678"/>
                <a:gd name="T64" fmla="*/ 856 w 1161"/>
                <a:gd name="T65" fmla="*/ 134 h 3678"/>
                <a:gd name="T66" fmla="*/ 926 w 1161"/>
                <a:gd name="T67" fmla="*/ 297 h 3678"/>
                <a:gd name="T68" fmla="*/ 1015 w 1161"/>
                <a:gd name="T69" fmla="*/ 770 h 3678"/>
                <a:gd name="T70" fmla="*/ 1132 w 1161"/>
                <a:gd name="T71" fmla="*/ 971 h 3678"/>
                <a:gd name="T72" fmla="*/ 1157 w 1161"/>
                <a:gd name="T73" fmla="*/ 1210 h 3678"/>
                <a:gd name="T74" fmla="*/ 1084 w 1161"/>
                <a:gd name="T75" fmla="*/ 1434 h 3678"/>
                <a:gd name="T76" fmla="*/ 928 w 1161"/>
                <a:gd name="T77" fmla="*/ 1605 h 3678"/>
                <a:gd name="T78" fmla="*/ 901 w 1161"/>
                <a:gd name="T79" fmla="*/ 3466 h 3678"/>
                <a:gd name="T80" fmla="*/ 793 w 1161"/>
                <a:gd name="T81" fmla="*/ 3606 h 3678"/>
                <a:gd name="T82" fmla="*/ 628 w 1161"/>
                <a:gd name="T83" fmla="*/ 3674 h 3678"/>
                <a:gd name="T84" fmla="*/ 445 w 1161"/>
                <a:gd name="T85" fmla="*/ 3651 h 3678"/>
                <a:gd name="T86" fmla="*/ 305 w 1161"/>
                <a:gd name="T87" fmla="*/ 3544 h 3678"/>
                <a:gd name="T88" fmla="*/ 235 w 1161"/>
                <a:gd name="T89" fmla="*/ 3379 h 3678"/>
                <a:gd name="T90" fmla="*/ 146 w 1161"/>
                <a:gd name="T91" fmla="*/ 1528 h 3678"/>
                <a:gd name="T92" fmla="*/ 30 w 1161"/>
                <a:gd name="T93" fmla="*/ 1328 h 3678"/>
                <a:gd name="T94" fmla="*/ 4 w 1161"/>
                <a:gd name="T95" fmla="*/ 1087 h 3678"/>
                <a:gd name="T96" fmla="*/ 78 w 1161"/>
                <a:gd name="T97" fmla="*/ 864 h 3678"/>
                <a:gd name="T98" fmla="*/ 233 w 1161"/>
                <a:gd name="T99" fmla="*/ 692 h 3678"/>
                <a:gd name="T100" fmla="*/ 260 w 1161"/>
                <a:gd name="T101" fmla="*/ 210 h 3678"/>
                <a:gd name="T102" fmla="*/ 368 w 1161"/>
                <a:gd name="T103" fmla="*/ 71 h 3678"/>
                <a:gd name="T104" fmla="*/ 534 w 1161"/>
                <a:gd name="T105" fmla="*/ 3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61" h="3678">
                  <a:moveTo>
                    <a:pt x="464" y="1712"/>
                  </a:moveTo>
                  <a:lnTo>
                    <a:pt x="464" y="3332"/>
                  </a:lnTo>
                  <a:lnTo>
                    <a:pt x="468" y="3359"/>
                  </a:lnTo>
                  <a:lnTo>
                    <a:pt x="476" y="3383"/>
                  </a:lnTo>
                  <a:lnTo>
                    <a:pt x="490" y="3405"/>
                  </a:lnTo>
                  <a:lnTo>
                    <a:pt x="508" y="3423"/>
                  </a:lnTo>
                  <a:lnTo>
                    <a:pt x="529" y="3435"/>
                  </a:lnTo>
                  <a:lnTo>
                    <a:pt x="554" y="3445"/>
                  </a:lnTo>
                  <a:lnTo>
                    <a:pt x="580" y="3447"/>
                  </a:lnTo>
                  <a:lnTo>
                    <a:pt x="608" y="3445"/>
                  </a:lnTo>
                  <a:lnTo>
                    <a:pt x="631" y="3435"/>
                  </a:lnTo>
                  <a:lnTo>
                    <a:pt x="653" y="3423"/>
                  </a:lnTo>
                  <a:lnTo>
                    <a:pt x="671" y="3405"/>
                  </a:lnTo>
                  <a:lnTo>
                    <a:pt x="685" y="3383"/>
                  </a:lnTo>
                  <a:lnTo>
                    <a:pt x="693" y="3359"/>
                  </a:lnTo>
                  <a:lnTo>
                    <a:pt x="697" y="3332"/>
                  </a:lnTo>
                  <a:lnTo>
                    <a:pt x="697" y="1712"/>
                  </a:lnTo>
                  <a:lnTo>
                    <a:pt x="640" y="1720"/>
                  </a:lnTo>
                  <a:lnTo>
                    <a:pt x="580" y="1724"/>
                  </a:lnTo>
                  <a:lnTo>
                    <a:pt x="521" y="1720"/>
                  </a:lnTo>
                  <a:lnTo>
                    <a:pt x="464" y="1712"/>
                  </a:lnTo>
                  <a:close/>
                  <a:moveTo>
                    <a:pt x="580" y="805"/>
                  </a:moveTo>
                  <a:lnTo>
                    <a:pt x="540" y="807"/>
                  </a:lnTo>
                  <a:lnTo>
                    <a:pt x="502" y="814"/>
                  </a:lnTo>
                  <a:lnTo>
                    <a:pt x="464" y="825"/>
                  </a:lnTo>
                  <a:lnTo>
                    <a:pt x="432" y="839"/>
                  </a:lnTo>
                  <a:lnTo>
                    <a:pt x="401" y="855"/>
                  </a:lnTo>
                  <a:lnTo>
                    <a:pt x="372" y="874"/>
                  </a:lnTo>
                  <a:lnTo>
                    <a:pt x="372" y="875"/>
                  </a:lnTo>
                  <a:lnTo>
                    <a:pt x="370" y="875"/>
                  </a:lnTo>
                  <a:lnTo>
                    <a:pt x="344" y="898"/>
                  </a:lnTo>
                  <a:lnTo>
                    <a:pt x="320" y="921"/>
                  </a:lnTo>
                  <a:lnTo>
                    <a:pt x="299" y="947"/>
                  </a:lnTo>
                  <a:lnTo>
                    <a:pt x="298" y="949"/>
                  </a:lnTo>
                  <a:lnTo>
                    <a:pt x="280" y="976"/>
                  </a:lnTo>
                  <a:lnTo>
                    <a:pt x="266" y="1005"/>
                  </a:lnTo>
                  <a:lnTo>
                    <a:pt x="254" y="1034"/>
                  </a:lnTo>
                  <a:lnTo>
                    <a:pt x="250" y="1043"/>
                  </a:lnTo>
                  <a:lnTo>
                    <a:pt x="248" y="1053"/>
                  </a:lnTo>
                  <a:lnTo>
                    <a:pt x="240" y="1083"/>
                  </a:lnTo>
                  <a:lnTo>
                    <a:pt x="234" y="1115"/>
                  </a:lnTo>
                  <a:lnTo>
                    <a:pt x="233" y="1149"/>
                  </a:lnTo>
                  <a:lnTo>
                    <a:pt x="234" y="1182"/>
                  </a:lnTo>
                  <a:lnTo>
                    <a:pt x="240" y="1214"/>
                  </a:lnTo>
                  <a:lnTo>
                    <a:pt x="248" y="1246"/>
                  </a:lnTo>
                  <a:lnTo>
                    <a:pt x="250" y="1254"/>
                  </a:lnTo>
                  <a:lnTo>
                    <a:pt x="254" y="1263"/>
                  </a:lnTo>
                  <a:lnTo>
                    <a:pt x="266" y="1293"/>
                  </a:lnTo>
                  <a:lnTo>
                    <a:pt x="280" y="1321"/>
                  </a:lnTo>
                  <a:lnTo>
                    <a:pt x="298" y="1348"/>
                  </a:lnTo>
                  <a:lnTo>
                    <a:pt x="299" y="1350"/>
                  </a:lnTo>
                  <a:lnTo>
                    <a:pt x="320" y="1376"/>
                  </a:lnTo>
                  <a:lnTo>
                    <a:pt x="344" y="1401"/>
                  </a:lnTo>
                  <a:lnTo>
                    <a:pt x="370" y="1422"/>
                  </a:lnTo>
                  <a:lnTo>
                    <a:pt x="372" y="1422"/>
                  </a:lnTo>
                  <a:lnTo>
                    <a:pt x="372" y="1423"/>
                  </a:lnTo>
                  <a:lnTo>
                    <a:pt x="401" y="1442"/>
                  </a:lnTo>
                  <a:lnTo>
                    <a:pt x="432" y="1458"/>
                  </a:lnTo>
                  <a:lnTo>
                    <a:pt x="464" y="1472"/>
                  </a:lnTo>
                  <a:lnTo>
                    <a:pt x="502" y="1483"/>
                  </a:lnTo>
                  <a:lnTo>
                    <a:pt x="540" y="1491"/>
                  </a:lnTo>
                  <a:lnTo>
                    <a:pt x="580" y="1494"/>
                  </a:lnTo>
                  <a:lnTo>
                    <a:pt x="621" y="1491"/>
                  </a:lnTo>
                  <a:lnTo>
                    <a:pt x="659" y="1484"/>
                  </a:lnTo>
                  <a:lnTo>
                    <a:pt x="697" y="1472"/>
                  </a:lnTo>
                  <a:lnTo>
                    <a:pt x="729" y="1460"/>
                  </a:lnTo>
                  <a:lnTo>
                    <a:pt x="760" y="1443"/>
                  </a:lnTo>
                  <a:lnTo>
                    <a:pt x="789" y="1423"/>
                  </a:lnTo>
                  <a:lnTo>
                    <a:pt x="789" y="1423"/>
                  </a:lnTo>
                  <a:lnTo>
                    <a:pt x="791" y="1422"/>
                  </a:lnTo>
                  <a:lnTo>
                    <a:pt x="817" y="1401"/>
                  </a:lnTo>
                  <a:lnTo>
                    <a:pt x="840" y="1376"/>
                  </a:lnTo>
                  <a:lnTo>
                    <a:pt x="862" y="1350"/>
                  </a:lnTo>
                  <a:lnTo>
                    <a:pt x="864" y="1348"/>
                  </a:lnTo>
                  <a:lnTo>
                    <a:pt x="881" y="1322"/>
                  </a:lnTo>
                  <a:lnTo>
                    <a:pt x="895" y="1293"/>
                  </a:lnTo>
                  <a:lnTo>
                    <a:pt x="907" y="1263"/>
                  </a:lnTo>
                  <a:lnTo>
                    <a:pt x="910" y="1255"/>
                  </a:lnTo>
                  <a:lnTo>
                    <a:pt x="913" y="1246"/>
                  </a:lnTo>
                  <a:lnTo>
                    <a:pt x="921" y="1214"/>
                  </a:lnTo>
                  <a:lnTo>
                    <a:pt x="927" y="1182"/>
                  </a:lnTo>
                  <a:lnTo>
                    <a:pt x="928" y="1149"/>
                  </a:lnTo>
                  <a:lnTo>
                    <a:pt x="927" y="1115"/>
                  </a:lnTo>
                  <a:lnTo>
                    <a:pt x="921" y="1083"/>
                  </a:lnTo>
                  <a:lnTo>
                    <a:pt x="914" y="1053"/>
                  </a:lnTo>
                  <a:lnTo>
                    <a:pt x="910" y="1043"/>
                  </a:lnTo>
                  <a:lnTo>
                    <a:pt x="908" y="1034"/>
                  </a:lnTo>
                  <a:lnTo>
                    <a:pt x="895" y="1005"/>
                  </a:lnTo>
                  <a:lnTo>
                    <a:pt x="881" y="976"/>
                  </a:lnTo>
                  <a:lnTo>
                    <a:pt x="864" y="949"/>
                  </a:lnTo>
                  <a:lnTo>
                    <a:pt x="863" y="948"/>
                  </a:lnTo>
                  <a:lnTo>
                    <a:pt x="862" y="947"/>
                  </a:lnTo>
                  <a:lnTo>
                    <a:pt x="840" y="921"/>
                  </a:lnTo>
                  <a:lnTo>
                    <a:pt x="817" y="898"/>
                  </a:lnTo>
                  <a:lnTo>
                    <a:pt x="791" y="875"/>
                  </a:lnTo>
                  <a:lnTo>
                    <a:pt x="789" y="875"/>
                  </a:lnTo>
                  <a:lnTo>
                    <a:pt x="789" y="874"/>
                  </a:lnTo>
                  <a:lnTo>
                    <a:pt x="760" y="855"/>
                  </a:lnTo>
                  <a:lnTo>
                    <a:pt x="729" y="839"/>
                  </a:lnTo>
                  <a:lnTo>
                    <a:pt x="697" y="825"/>
                  </a:lnTo>
                  <a:lnTo>
                    <a:pt x="659" y="814"/>
                  </a:lnTo>
                  <a:lnTo>
                    <a:pt x="621" y="807"/>
                  </a:lnTo>
                  <a:lnTo>
                    <a:pt x="580" y="805"/>
                  </a:lnTo>
                  <a:close/>
                  <a:moveTo>
                    <a:pt x="580" y="230"/>
                  </a:moveTo>
                  <a:lnTo>
                    <a:pt x="554" y="232"/>
                  </a:lnTo>
                  <a:lnTo>
                    <a:pt x="529" y="242"/>
                  </a:lnTo>
                  <a:lnTo>
                    <a:pt x="508" y="255"/>
                  </a:lnTo>
                  <a:lnTo>
                    <a:pt x="490" y="272"/>
                  </a:lnTo>
                  <a:lnTo>
                    <a:pt x="476" y="293"/>
                  </a:lnTo>
                  <a:lnTo>
                    <a:pt x="468" y="318"/>
                  </a:lnTo>
                  <a:lnTo>
                    <a:pt x="464" y="344"/>
                  </a:lnTo>
                  <a:lnTo>
                    <a:pt x="464" y="585"/>
                  </a:lnTo>
                  <a:lnTo>
                    <a:pt x="521" y="577"/>
                  </a:lnTo>
                  <a:lnTo>
                    <a:pt x="580" y="574"/>
                  </a:lnTo>
                  <a:lnTo>
                    <a:pt x="640" y="577"/>
                  </a:lnTo>
                  <a:lnTo>
                    <a:pt x="697" y="585"/>
                  </a:lnTo>
                  <a:lnTo>
                    <a:pt x="697" y="344"/>
                  </a:lnTo>
                  <a:lnTo>
                    <a:pt x="693" y="318"/>
                  </a:lnTo>
                  <a:lnTo>
                    <a:pt x="685" y="293"/>
                  </a:lnTo>
                  <a:lnTo>
                    <a:pt x="671" y="272"/>
                  </a:lnTo>
                  <a:lnTo>
                    <a:pt x="653" y="255"/>
                  </a:lnTo>
                  <a:lnTo>
                    <a:pt x="631" y="242"/>
                  </a:lnTo>
                  <a:lnTo>
                    <a:pt x="608" y="232"/>
                  </a:lnTo>
                  <a:lnTo>
                    <a:pt x="580" y="230"/>
                  </a:lnTo>
                  <a:close/>
                  <a:moveTo>
                    <a:pt x="580" y="0"/>
                  </a:moveTo>
                  <a:lnTo>
                    <a:pt x="628" y="3"/>
                  </a:lnTo>
                  <a:lnTo>
                    <a:pt x="673" y="11"/>
                  </a:lnTo>
                  <a:lnTo>
                    <a:pt x="716" y="27"/>
                  </a:lnTo>
                  <a:lnTo>
                    <a:pt x="756" y="47"/>
                  </a:lnTo>
                  <a:lnTo>
                    <a:pt x="793" y="71"/>
                  </a:lnTo>
                  <a:lnTo>
                    <a:pt x="826" y="101"/>
                  </a:lnTo>
                  <a:lnTo>
                    <a:pt x="856" y="134"/>
                  </a:lnTo>
                  <a:lnTo>
                    <a:pt x="881" y="170"/>
                  </a:lnTo>
                  <a:lnTo>
                    <a:pt x="901" y="210"/>
                  </a:lnTo>
                  <a:lnTo>
                    <a:pt x="916" y="252"/>
                  </a:lnTo>
                  <a:lnTo>
                    <a:pt x="926" y="297"/>
                  </a:lnTo>
                  <a:lnTo>
                    <a:pt x="928" y="344"/>
                  </a:lnTo>
                  <a:lnTo>
                    <a:pt x="928" y="692"/>
                  </a:lnTo>
                  <a:lnTo>
                    <a:pt x="973" y="728"/>
                  </a:lnTo>
                  <a:lnTo>
                    <a:pt x="1015" y="770"/>
                  </a:lnTo>
                  <a:lnTo>
                    <a:pt x="1052" y="815"/>
                  </a:lnTo>
                  <a:lnTo>
                    <a:pt x="1084" y="864"/>
                  </a:lnTo>
                  <a:lnTo>
                    <a:pt x="1110" y="915"/>
                  </a:lnTo>
                  <a:lnTo>
                    <a:pt x="1132" y="971"/>
                  </a:lnTo>
                  <a:lnTo>
                    <a:pt x="1148" y="1028"/>
                  </a:lnTo>
                  <a:lnTo>
                    <a:pt x="1157" y="1087"/>
                  </a:lnTo>
                  <a:lnTo>
                    <a:pt x="1161" y="1149"/>
                  </a:lnTo>
                  <a:lnTo>
                    <a:pt x="1157" y="1210"/>
                  </a:lnTo>
                  <a:lnTo>
                    <a:pt x="1148" y="1270"/>
                  </a:lnTo>
                  <a:lnTo>
                    <a:pt x="1132" y="1328"/>
                  </a:lnTo>
                  <a:lnTo>
                    <a:pt x="1110" y="1382"/>
                  </a:lnTo>
                  <a:lnTo>
                    <a:pt x="1084" y="1434"/>
                  </a:lnTo>
                  <a:lnTo>
                    <a:pt x="1052" y="1483"/>
                  </a:lnTo>
                  <a:lnTo>
                    <a:pt x="1015" y="1528"/>
                  </a:lnTo>
                  <a:lnTo>
                    <a:pt x="973" y="1569"/>
                  </a:lnTo>
                  <a:lnTo>
                    <a:pt x="928" y="1605"/>
                  </a:lnTo>
                  <a:lnTo>
                    <a:pt x="928" y="3332"/>
                  </a:lnTo>
                  <a:lnTo>
                    <a:pt x="926" y="3379"/>
                  </a:lnTo>
                  <a:lnTo>
                    <a:pt x="916" y="3424"/>
                  </a:lnTo>
                  <a:lnTo>
                    <a:pt x="901" y="3466"/>
                  </a:lnTo>
                  <a:lnTo>
                    <a:pt x="881" y="3506"/>
                  </a:lnTo>
                  <a:lnTo>
                    <a:pt x="856" y="3544"/>
                  </a:lnTo>
                  <a:lnTo>
                    <a:pt x="826" y="3577"/>
                  </a:lnTo>
                  <a:lnTo>
                    <a:pt x="793" y="3606"/>
                  </a:lnTo>
                  <a:lnTo>
                    <a:pt x="756" y="3631"/>
                  </a:lnTo>
                  <a:lnTo>
                    <a:pt x="716" y="3651"/>
                  </a:lnTo>
                  <a:lnTo>
                    <a:pt x="673" y="3666"/>
                  </a:lnTo>
                  <a:lnTo>
                    <a:pt x="628" y="3674"/>
                  </a:lnTo>
                  <a:lnTo>
                    <a:pt x="580" y="3678"/>
                  </a:lnTo>
                  <a:lnTo>
                    <a:pt x="534" y="3674"/>
                  </a:lnTo>
                  <a:lnTo>
                    <a:pt x="488" y="3666"/>
                  </a:lnTo>
                  <a:lnTo>
                    <a:pt x="445" y="3651"/>
                  </a:lnTo>
                  <a:lnTo>
                    <a:pt x="405" y="3631"/>
                  </a:lnTo>
                  <a:lnTo>
                    <a:pt x="368" y="3606"/>
                  </a:lnTo>
                  <a:lnTo>
                    <a:pt x="335" y="3577"/>
                  </a:lnTo>
                  <a:lnTo>
                    <a:pt x="305" y="3544"/>
                  </a:lnTo>
                  <a:lnTo>
                    <a:pt x="280" y="3506"/>
                  </a:lnTo>
                  <a:lnTo>
                    <a:pt x="260" y="3466"/>
                  </a:lnTo>
                  <a:lnTo>
                    <a:pt x="244" y="3424"/>
                  </a:lnTo>
                  <a:lnTo>
                    <a:pt x="235" y="3379"/>
                  </a:lnTo>
                  <a:lnTo>
                    <a:pt x="233" y="3332"/>
                  </a:lnTo>
                  <a:lnTo>
                    <a:pt x="233" y="1605"/>
                  </a:lnTo>
                  <a:lnTo>
                    <a:pt x="188" y="1569"/>
                  </a:lnTo>
                  <a:lnTo>
                    <a:pt x="146" y="1528"/>
                  </a:lnTo>
                  <a:lnTo>
                    <a:pt x="110" y="1483"/>
                  </a:lnTo>
                  <a:lnTo>
                    <a:pt x="78" y="1434"/>
                  </a:lnTo>
                  <a:lnTo>
                    <a:pt x="51" y="1382"/>
                  </a:lnTo>
                  <a:lnTo>
                    <a:pt x="30" y="1328"/>
                  </a:lnTo>
                  <a:lnTo>
                    <a:pt x="14" y="1270"/>
                  </a:lnTo>
                  <a:lnTo>
                    <a:pt x="4" y="1210"/>
                  </a:lnTo>
                  <a:lnTo>
                    <a:pt x="0" y="1149"/>
                  </a:lnTo>
                  <a:lnTo>
                    <a:pt x="4" y="1087"/>
                  </a:lnTo>
                  <a:lnTo>
                    <a:pt x="14" y="1028"/>
                  </a:lnTo>
                  <a:lnTo>
                    <a:pt x="30" y="971"/>
                  </a:lnTo>
                  <a:lnTo>
                    <a:pt x="51" y="915"/>
                  </a:lnTo>
                  <a:lnTo>
                    <a:pt x="78" y="864"/>
                  </a:lnTo>
                  <a:lnTo>
                    <a:pt x="110" y="815"/>
                  </a:lnTo>
                  <a:lnTo>
                    <a:pt x="146" y="770"/>
                  </a:lnTo>
                  <a:lnTo>
                    <a:pt x="188" y="728"/>
                  </a:lnTo>
                  <a:lnTo>
                    <a:pt x="233" y="692"/>
                  </a:lnTo>
                  <a:lnTo>
                    <a:pt x="233" y="344"/>
                  </a:lnTo>
                  <a:lnTo>
                    <a:pt x="235" y="297"/>
                  </a:lnTo>
                  <a:lnTo>
                    <a:pt x="244" y="252"/>
                  </a:lnTo>
                  <a:lnTo>
                    <a:pt x="260" y="210"/>
                  </a:lnTo>
                  <a:lnTo>
                    <a:pt x="280" y="170"/>
                  </a:lnTo>
                  <a:lnTo>
                    <a:pt x="305" y="134"/>
                  </a:lnTo>
                  <a:lnTo>
                    <a:pt x="335" y="101"/>
                  </a:lnTo>
                  <a:lnTo>
                    <a:pt x="368" y="71"/>
                  </a:lnTo>
                  <a:lnTo>
                    <a:pt x="405" y="47"/>
                  </a:lnTo>
                  <a:lnTo>
                    <a:pt x="445" y="27"/>
                  </a:lnTo>
                  <a:lnTo>
                    <a:pt x="488" y="11"/>
                  </a:lnTo>
                  <a:lnTo>
                    <a:pt x="534" y="3"/>
                  </a:lnTo>
                  <a:lnTo>
                    <a:pt x="58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73">
              <a:extLst>
                <a:ext uri="{FF2B5EF4-FFF2-40B4-BE49-F238E27FC236}">
                  <a16:creationId xmlns:a16="http://schemas.microsoft.com/office/drawing/2014/main" id="{59B8D191-AD96-5345-88DA-12E4386661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4000" y="3287713"/>
              <a:ext cx="614362" cy="1946275"/>
            </a:xfrm>
            <a:custGeom>
              <a:avLst/>
              <a:gdLst>
                <a:gd name="T0" fmla="*/ 476 w 1161"/>
                <a:gd name="T1" fmla="*/ 3383 h 3678"/>
                <a:gd name="T2" fmla="*/ 553 w 1161"/>
                <a:gd name="T3" fmla="*/ 3445 h 3678"/>
                <a:gd name="T4" fmla="*/ 653 w 1161"/>
                <a:gd name="T5" fmla="*/ 3423 h 3678"/>
                <a:gd name="T6" fmla="*/ 697 w 1161"/>
                <a:gd name="T7" fmla="*/ 3332 h 3678"/>
                <a:gd name="T8" fmla="*/ 521 w 1161"/>
                <a:gd name="T9" fmla="*/ 3099 h 3678"/>
                <a:gd name="T10" fmla="*/ 501 w 1161"/>
                <a:gd name="T11" fmla="*/ 2193 h 3678"/>
                <a:gd name="T12" fmla="*/ 372 w 1161"/>
                <a:gd name="T13" fmla="*/ 2254 h 3678"/>
                <a:gd name="T14" fmla="*/ 320 w 1161"/>
                <a:gd name="T15" fmla="*/ 2300 h 3678"/>
                <a:gd name="T16" fmla="*/ 280 w 1161"/>
                <a:gd name="T17" fmla="*/ 2355 h 3678"/>
                <a:gd name="T18" fmla="*/ 247 w 1161"/>
                <a:gd name="T19" fmla="*/ 2432 h 3678"/>
                <a:gd name="T20" fmla="*/ 234 w 1161"/>
                <a:gd name="T21" fmla="*/ 2561 h 3678"/>
                <a:gd name="T22" fmla="*/ 253 w 1161"/>
                <a:gd name="T23" fmla="*/ 2643 h 3678"/>
                <a:gd name="T24" fmla="*/ 298 w 1161"/>
                <a:gd name="T25" fmla="*/ 2729 h 3678"/>
                <a:gd name="T26" fmla="*/ 370 w 1161"/>
                <a:gd name="T27" fmla="*/ 2802 h 3678"/>
                <a:gd name="T28" fmla="*/ 464 w 1161"/>
                <a:gd name="T29" fmla="*/ 2851 h 3678"/>
                <a:gd name="T30" fmla="*/ 620 w 1161"/>
                <a:gd name="T31" fmla="*/ 2870 h 3678"/>
                <a:gd name="T32" fmla="*/ 760 w 1161"/>
                <a:gd name="T33" fmla="*/ 2822 h 3678"/>
                <a:gd name="T34" fmla="*/ 815 w 1161"/>
                <a:gd name="T35" fmla="*/ 2780 h 3678"/>
                <a:gd name="T36" fmla="*/ 880 w 1161"/>
                <a:gd name="T37" fmla="*/ 2701 h 3678"/>
                <a:gd name="T38" fmla="*/ 913 w 1161"/>
                <a:gd name="T39" fmla="*/ 2624 h 3678"/>
                <a:gd name="T40" fmla="*/ 926 w 1161"/>
                <a:gd name="T41" fmla="*/ 2495 h 3678"/>
                <a:gd name="T42" fmla="*/ 907 w 1161"/>
                <a:gd name="T43" fmla="*/ 2413 h 3678"/>
                <a:gd name="T44" fmla="*/ 861 w 1161"/>
                <a:gd name="T45" fmla="*/ 2327 h 3678"/>
                <a:gd name="T46" fmla="*/ 789 w 1161"/>
                <a:gd name="T47" fmla="*/ 2254 h 3678"/>
                <a:gd name="T48" fmla="*/ 697 w 1161"/>
                <a:gd name="T49" fmla="*/ 2205 h 3678"/>
                <a:gd name="T50" fmla="*/ 580 w 1161"/>
                <a:gd name="T51" fmla="*/ 230 h 3678"/>
                <a:gd name="T52" fmla="*/ 489 w 1161"/>
                <a:gd name="T53" fmla="*/ 272 h 3678"/>
                <a:gd name="T54" fmla="*/ 464 w 1161"/>
                <a:gd name="T55" fmla="*/ 1965 h 3678"/>
                <a:gd name="T56" fmla="*/ 697 w 1161"/>
                <a:gd name="T57" fmla="*/ 1965 h 3678"/>
                <a:gd name="T58" fmla="*/ 671 w 1161"/>
                <a:gd name="T59" fmla="*/ 272 h 3678"/>
                <a:gd name="T60" fmla="*/ 580 w 1161"/>
                <a:gd name="T61" fmla="*/ 230 h 3678"/>
                <a:gd name="T62" fmla="*/ 716 w 1161"/>
                <a:gd name="T63" fmla="*/ 27 h 3678"/>
                <a:gd name="T64" fmla="*/ 856 w 1161"/>
                <a:gd name="T65" fmla="*/ 134 h 3678"/>
                <a:gd name="T66" fmla="*/ 925 w 1161"/>
                <a:gd name="T67" fmla="*/ 297 h 3678"/>
                <a:gd name="T68" fmla="*/ 1014 w 1161"/>
                <a:gd name="T69" fmla="*/ 2150 h 3678"/>
                <a:gd name="T70" fmla="*/ 1131 w 1161"/>
                <a:gd name="T71" fmla="*/ 2349 h 3678"/>
                <a:gd name="T72" fmla="*/ 1157 w 1161"/>
                <a:gd name="T73" fmla="*/ 2590 h 3678"/>
                <a:gd name="T74" fmla="*/ 1083 w 1161"/>
                <a:gd name="T75" fmla="*/ 2814 h 3678"/>
                <a:gd name="T76" fmla="*/ 928 w 1161"/>
                <a:gd name="T77" fmla="*/ 2985 h 3678"/>
                <a:gd name="T78" fmla="*/ 901 w 1161"/>
                <a:gd name="T79" fmla="*/ 3466 h 3678"/>
                <a:gd name="T80" fmla="*/ 793 w 1161"/>
                <a:gd name="T81" fmla="*/ 3606 h 3678"/>
                <a:gd name="T82" fmla="*/ 627 w 1161"/>
                <a:gd name="T83" fmla="*/ 3674 h 3678"/>
                <a:gd name="T84" fmla="*/ 445 w 1161"/>
                <a:gd name="T85" fmla="*/ 3651 h 3678"/>
                <a:gd name="T86" fmla="*/ 304 w 1161"/>
                <a:gd name="T87" fmla="*/ 3544 h 3678"/>
                <a:gd name="T88" fmla="*/ 235 w 1161"/>
                <a:gd name="T89" fmla="*/ 3379 h 3678"/>
                <a:gd name="T90" fmla="*/ 146 w 1161"/>
                <a:gd name="T91" fmla="*/ 2906 h 3678"/>
                <a:gd name="T92" fmla="*/ 28 w 1161"/>
                <a:gd name="T93" fmla="*/ 2707 h 3678"/>
                <a:gd name="T94" fmla="*/ 4 w 1161"/>
                <a:gd name="T95" fmla="*/ 2467 h 3678"/>
                <a:gd name="T96" fmla="*/ 77 w 1161"/>
                <a:gd name="T97" fmla="*/ 2244 h 3678"/>
                <a:gd name="T98" fmla="*/ 231 w 1161"/>
                <a:gd name="T99" fmla="*/ 2071 h 3678"/>
                <a:gd name="T100" fmla="*/ 259 w 1161"/>
                <a:gd name="T101" fmla="*/ 210 h 3678"/>
                <a:gd name="T102" fmla="*/ 367 w 1161"/>
                <a:gd name="T103" fmla="*/ 71 h 3678"/>
                <a:gd name="T104" fmla="*/ 533 w 1161"/>
                <a:gd name="T105" fmla="*/ 3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61" h="3678">
                  <a:moveTo>
                    <a:pt x="464" y="3091"/>
                  </a:moveTo>
                  <a:lnTo>
                    <a:pt x="464" y="3332"/>
                  </a:lnTo>
                  <a:lnTo>
                    <a:pt x="466" y="3359"/>
                  </a:lnTo>
                  <a:lnTo>
                    <a:pt x="476" y="3383"/>
                  </a:lnTo>
                  <a:lnTo>
                    <a:pt x="489" y="3405"/>
                  </a:lnTo>
                  <a:lnTo>
                    <a:pt x="507" y="3423"/>
                  </a:lnTo>
                  <a:lnTo>
                    <a:pt x="529" y="3435"/>
                  </a:lnTo>
                  <a:lnTo>
                    <a:pt x="553" y="3445"/>
                  </a:lnTo>
                  <a:lnTo>
                    <a:pt x="580" y="3447"/>
                  </a:lnTo>
                  <a:lnTo>
                    <a:pt x="607" y="3445"/>
                  </a:lnTo>
                  <a:lnTo>
                    <a:pt x="631" y="3435"/>
                  </a:lnTo>
                  <a:lnTo>
                    <a:pt x="653" y="3423"/>
                  </a:lnTo>
                  <a:lnTo>
                    <a:pt x="671" y="3405"/>
                  </a:lnTo>
                  <a:lnTo>
                    <a:pt x="685" y="3383"/>
                  </a:lnTo>
                  <a:lnTo>
                    <a:pt x="693" y="3359"/>
                  </a:lnTo>
                  <a:lnTo>
                    <a:pt x="697" y="3332"/>
                  </a:lnTo>
                  <a:lnTo>
                    <a:pt x="697" y="3091"/>
                  </a:lnTo>
                  <a:lnTo>
                    <a:pt x="639" y="3099"/>
                  </a:lnTo>
                  <a:lnTo>
                    <a:pt x="580" y="3103"/>
                  </a:lnTo>
                  <a:lnTo>
                    <a:pt x="521" y="3099"/>
                  </a:lnTo>
                  <a:lnTo>
                    <a:pt x="464" y="3091"/>
                  </a:lnTo>
                  <a:close/>
                  <a:moveTo>
                    <a:pt x="580" y="2184"/>
                  </a:moveTo>
                  <a:lnTo>
                    <a:pt x="540" y="2186"/>
                  </a:lnTo>
                  <a:lnTo>
                    <a:pt x="501" y="2193"/>
                  </a:lnTo>
                  <a:lnTo>
                    <a:pt x="464" y="2205"/>
                  </a:lnTo>
                  <a:lnTo>
                    <a:pt x="431" y="2218"/>
                  </a:lnTo>
                  <a:lnTo>
                    <a:pt x="400" y="2234"/>
                  </a:lnTo>
                  <a:lnTo>
                    <a:pt x="372" y="2254"/>
                  </a:lnTo>
                  <a:lnTo>
                    <a:pt x="370" y="2254"/>
                  </a:lnTo>
                  <a:lnTo>
                    <a:pt x="370" y="2254"/>
                  </a:lnTo>
                  <a:lnTo>
                    <a:pt x="344" y="2276"/>
                  </a:lnTo>
                  <a:lnTo>
                    <a:pt x="320" y="2300"/>
                  </a:lnTo>
                  <a:lnTo>
                    <a:pt x="298" y="2327"/>
                  </a:lnTo>
                  <a:lnTo>
                    <a:pt x="298" y="2327"/>
                  </a:lnTo>
                  <a:lnTo>
                    <a:pt x="297" y="2328"/>
                  </a:lnTo>
                  <a:lnTo>
                    <a:pt x="280" y="2355"/>
                  </a:lnTo>
                  <a:lnTo>
                    <a:pt x="266" y="2383"/>
                  </a:lnTo>
                  <a:lnTo>
                    <a:pt x="253" y="2413"/>
                  </a:lnTo>
                  <a:lnTo>
                    <a:pt x="250" y="2422"/>
                  </a:lnTo>
                  <a:lnTo>
                    <a:pt x="247" y="2432"/>
                  </a:lnTo>
                  <a:lnTo>
                    <a:pt x="240" y="2462"/>
                  </a:lnTo>
                  <a:lnTo>
                    <a:pt x="234" y="2495"/>
                  </a:lnTo>
                  <a:lnTo>
                    <a:pt x="231" y="2528"/>
                  </a:lnTo>
                  <a:lnTo>
                    <a:pt x="234" y="2561"/>
                  </a:lnTo>
                  <a:lnTo>
                    <a:pt x="240" y="2594"/>
                  </a:lnTo>
                  <a:lnTo>
                    <a:pt x="247" y="2624"/>
                  </a:lnTo>
                  <a:lnTo>
                    <a:pt x="250" y="2634"/>
                  </a:lnTo>
                  <a:lnTo>
                    <a:pt x="253" y="2643"/>
                  </a:lnTo>
                  <a:lnTo>
                    <a:pt x="265" y="2673"/>
                  </a:lnTo>
                  <a:lnTo>
                    <a:pt x="279" y="2701"/>
                  </a:lnTo>
                  <a:lnTo>
                    <a:pt x="297" y="2728"/>
                  </a:lnTo>
                  <a:lnTo>
                    <a:pt x="298" y="2729"/>
                  </a:lnTo>
                  <a:lnTo>
                    <a:pt x="319" y="2756"/>
                  </a:lnTo>
                  <a:lnTo>
                    <a:pt x="344" y="2780"/>
                  </a:lnTo>
                  <a:lnTo>
                    <a:pt x="370" y="2801"/>
                  </a:lnTo>
                  <a:lnTo>
                    <a:pt x="370" y="2802"/>
                  </a:lnTo>
                  <a:lnTo>
                    <a:pt x="370" y="2802"/>
                  </a:lnTo>
                  <a:lnTo>
                    <a:pt x="400" y="2822"/>
                  </a:lnTo>
                  <a:lnTo>
                    <a:pt x="431" y="2838"/>
                  </a:lnTo>
                  <a:lnTo>
                    <a:pt x="464" y="2851"/>
                  </a:lnTo>
                  <a:lnTo>
                    <a:pt x="501" y="2863"/>
                  </a:lnTo>
                  <a:lnTo>
                    <a:pt x="540" y="2870"/>
                  </a:lnTo>
                  <a:lnTo>
                    <a:pt x="580" y="2872"/>
                  </a:lnTo>
                  <a:lnTo>
                    <a:pt x="620" y="2870"/>
                  </a:lnTo>
                  <a:lnTo>
                    <a:pt x="659" y="2863"/>
                  </a:lnTo>
                  <a:lnTo>
                    <a:pt x="696" y="2851"/>
                  </a:lnTo>
                  <a:lnTo>
                    <a:pt x="729" y="2838"/>
                  </a:lnTo>
                  <a:lnTo>
                    <a:pt x="760" y="2822"/>
                  </a:lnTo>
                  <a:lnTo>
                    <a:pt x="788" y="2802"/>
                  </a:lnTo>
                  <a:lnTo>
                    <a:pt x="789" y="2802"/>
                  </a:lnTo>
                  <a:lnTo>
                    <a:pt x="789" y="2801"/>
                  </a:lnTo>
                  <a:lnTo>
                    <a:pt x="815" y="2780"/>
                  </a:lnTo>
                  <a:lnTo>
                    <a:pt x="839" y="2756"/>
                  </a:lnTo>
                  <a:lnTo>
                    <a:pt x="861" y="2729"/>
                  </a:lnTo>
                  <a:lnTo>
                    <a:pt x="863" y="2728"/>
                  </a:lnTo>
                  <a:lnTo>
                    <a:pt x="880" y="2701"/>
                  </a:lnTo>
                  <a:lnTo>
                    <a:pt x="895" y="2673"/>
                  </a:lnTo>
                  <a:lnTo>
                    <a:pt x="907" y="2643"/>
                  </a:lnTo>
                  <a:lnTo>
                    <a:pt x="909" y="2634"/>
                  </a:lnTo>
                  <a:lnTo>
                    <a:pt x="913" y="2624"/>
                  </a:lnTo>
                  <a:lnTo>
                    <a:pt x="921" y="2594"/>
                  </a:lnTo>
                  <a:lnTo>
                    <a:pt x="926" y="2561"/>
                  </a:lnTo>
                  <a:lnTo>
                    <a:pt x="928" y="2528"/>
                  </a:lnTo>
                  <a:lnTo>
                    <a:pt x="926" y="2495"/>
                  </a:lnTo>
                  <a:lnTo>
                    <a:pt x="921" y="2462"/>
                  </a:lnTo>
                  <a:lnTo>
                    <a:pt x="913" y="2432"/>
                  </a:lnTo>
                  <a:lnTo>
                    <a:pt x="909" y="2422"/>
                  </a:lnTo>
                  <a:lnTo>
                    <a:pt x="907" y="2413"/>
                  </a:lnTo>
                  <a:lnTo>
                    <a:pt x="895" y="2383"/>
                  </a:lnTo>
                  <a:lnTo>
                    <a:pt x="880" y="2355"/>
                  </a:lnTo>
                  <a:lnTo>
                    <a:pt x="863" y="2328"/>
                  </a:lnTo>
                  <a:lnTo>
                    <a:pt x="861" y="2327"/>
                  </a:lnTo>
                  <a:lnTo>
                    <a:pt x="840" y="2301"/>
                  </a:lnTo>
                  <a:lnTo>
                    <a:pt x="815" y="2276"/>
                  </a:lnTo>
                  <a:lnTo>
                    <a:pt x="789" y="2255"/>
                  </a:lnTo>
                  <a:lnTo>
                    <a:pt x="789" y="2254"/>
                  </a:lnTo>
                  <a:lnTo>
                    <a:pt x="788" y="2254"/>
                  </a:lnTo>
                  <a:lnTo>
                    <a:pt x="760" y="2234"/>
                  </a:lnTo>
                  <a:lnTo>
                    <a:pt x="729" y="2218"/>
                  </a:lnTo>
                  <a:lnTo>
                    <a:pt x="697" y="2205"/>
                  </a:lnTo>
                  <a:lnTo>
                    <a:pt x="659" y="2193"/>
                  </a:lnTo>
                  <a:lnTo>
                    <a:pt x="620" y="2186"/>
                  </a:lnTo>
                  <a:lnTo>
                    <a:pt x="580" y="2184"/>
                  </a:lnTo>
                  <a:close/>
                  <a:moveTo>
                    <a:pt x="580" y="230"/>
                  </a:moveTo>
                  <a:lnTo>
                    <a:pt x="553" y="232"/>
                  </a:lnTo>
                  <a:lnTo>
                    <a:pt x="529" y="242"/>
                  </a:lnTo>
                  <a:lnTo>
                    <a:pt x="507" y="255"/>
                  </a:lnTo>
                  <a:lnTo>
                    <a:pt x="489" y="272"/>
                  </a:lnTo>
                  <a:lnTo>
                    <a:pt x="476" y="293"/>
                  </a:lnTo>
                  <a:lnTo>
                    <a:pt x="466" y="318"/>
                  </a:lnTo>
                  <a:lnTo>
                    <a:pt x="464" y="344"/>
                  </a:lnTo>
                  <a:lnTo>
                    <a:pt x="464" y="1965"/>
                  </a:lnTo>
                  <a:lnTo>
                    <a:pt x="521" y="1957"/>
                  </a:lnTo>
                  <a:lnTo>
                    <a:pt x="580" y="1953"/>
                  </a:lnTo>
                  <a:lnTo>
                    <a:pt x="639" y="1957"/>
                  </a:lnTo>
                  <a:lnTo>
                    <a:pt x="697" y="1965"/>
                  </a:lnTo>
                  <a:lnTo>
                    <a:pt x="697" y="344"/>
                  </a:lnTo>
                  <a:lnTo>
                    <a:pt x="693" y="318"/>
                  </a:lnTo>
                  <a:lnTo>
                    <a:pt x="685" y="293"/>
                  </a:lnTo>
                  <a:lnTo>
                    <a:pt x="671" y="272"/>
                  </a:lnTo>
                  <a:lnTo>
                    <a:pt x="653" y="255"/>
                  </a:lnTo>
                  <a:lnTo>
                    <a:pt x="631" y="242"/>
                  </a:lnTo>
                  <a:lnTo>
                    <a:pt x="607" y="232"/>
                  </a:lnTo>
                  <a:lnTo>
                    <a:pt x="580" y="230"/>
                  </a:lnTo>
                  <a:close/>
                  <a:moveTo>
                    <a:pt x="580" y="0"/>
                  </a:moveTo>
                  <a:lnTo>
                    <a:pt x="627" y="3"/>
                  </a:lnTo>
                  <a:lnTo>
                    <a:pt x="673" y="11"/>
                  </a:lnTo>
                  <a:lnTo>
                    <a:pt x="716" y="27"/>
                  </a:lnTo>
                  <a:lnTo>
                    <a:pt x="756" y="47"/>
                  </a:lnTo>
                  <a:lnTo>
                    <a:pt x="793" y="71"/>
                  </a:lnTo>
                  <a:lnTo>
                    <a:pt x="826" y="101"/>
                  </a:lnTo>
                  <a:lnTo>
                    <a:pt x="856" y="134"/>
                  </a:lnTo>
                  <a:lnTo>
                    <a:pt x="881" y="170"/>
                  </a:lnTo>
                  <a:lnTo>
                    <a:pt x="901" y="210"/>
                  </a:lnTo>
                  <a:lnTo>
                    <a:pt x="915" y="252"/>
                  </a:lnTo>
                  <a:lnTo>
                    <a:pt x="925" y="297"/>
                  </a:lnTo>
                  <a:lnTo>
                    <a:pt x="928" y="344"/>
                  </a:lnTo>
                  <a:lnTo>
                    <a:pt x="928" y="2071"/>
                  </a:lnTo>
                  <a:lnTo>
                    <a:pt x="973" y="2108"/>
                  </a:lnTo>
                  <a:lnTo>
                    <a:pt x="1014" y="2150"/>
                  </a:lnTo>
                  <a:lnTo>
                    <a:pt x="1050" y="2194"/>
                  </a:lnTo>
                  <a:lnTo>
                    <a:pt x="1083" y="2244"/>
                  </a:lnTo>
                  <a:lnTo>
                    <a:pt x="1110" y="2295"/>
                  </a:lnTo>
                  <a:lnTo>
                    <a:pt x="1131" y="2349"/>
                  </a:lnTo>
                  <a:lnTo>
                    <a:pt x="1147" y="2407"/>
                  </a:lnTo>
                  <a:lnTo>
                    <a:pt x="1157" y="2467"/>
                  </a:lnTo>
                  <a:lnTo>
                    <a:pt x="1161" y="2528"/>
                  </a:lnTo>
                  <a:lnTo>
                    <a:pt x="1157" y="2590"/>
                  </a:lnTo>
                  <a:lnTo>
                    <a:pt x="1147" y="2649"/>
                  </a:lnTo>
                  <a:lnTo>
                    <a:pt x="1131" y="2707"/>
                  </a:lnTo>
                  <a:lnTo>
                    <a:pt x="1110" y="2761"/>
                  </a:lnTo>
                  <a:lnTo>
                    <a:pt x="1083" y="2814"/>
                  </a:lnTo>
                  <a:lnTo>
                    <a:pt x="1050" y="2862"/>
                  </a:lnTo>
                  <a:lnTo>
                    <a:pt x="1014" y="2906"/>
                  </a:lnTo>
                  <a:lnTo>
                    <a:pt x="973" y="2948"/>
                  </a:lnTo>
                  <a:lnTo>
                    <a:pt x="928" y="2985"/>
                  </a:lnTo>
                  <a:lnTo>
                    <a:pt x="928" y="3332"/>
                  </a:lnTo>
                  <a:lnTo>
                    <a:pt x="925" y="3379"/>
                  </a:lnTo>
                  <a:lnTo>
                    <a:pt x="915" y="3424"/>
                  </a:lnTo>
                  <a:lnTo>
                    <a:pt x="901" y="3466"/>
                  </a:lnTo>
                  <a:lnTo>
                    <a:pt x="881" y="3506"/>
                  </a:lnTo>
                  <a:lnTo>
                    <a:pt x="856" y="3544"/>
                  </a:lnTo>
                  <a:lnTo>
                    <a:pt x="826" y="3577"/>
                  </a:lnTo>
                  <a:lnTo>
                    <a:pt x="793" y="3606"/>
                  </a:lnTo>
                  <a:lnTo>
                    <a:pt x="756" y="3631"/>
                  </a:lnTo>
                  <a:lnTo>
                    <a:pt x="716" y="3651"/>
                  </a:lnTo>
                  <a:lnTo>
                    <a:pt x="673" y="3666"/>
                  </a:lnTo>
                  <a:lnTo>
                    <a:pt x="627" y="3674"/>
                  </a:lnTo>
                  <a:lnTo>
                    <a:pt x="580" y="3678"/>
                  </a:lnTo>
                  <a:lnTo>
                    <a:pt x="533" y="3674"/>
                  </a:lnTo>
                  <a:lnTo>
                    <a:pt x="488" y="3666"/>
                  </a:lnTo>
                  <a:lnTo>
                    <a:pt x="445" y="3651"/>
                  </a:lnTo>
                  <a:lnTo>
                    <a:pt x="405" y="3631"/>
                  </a:lnTo>
                  <a:lnTo>
                    <a:pt x="367" y="3606"/>
                  </a:lnTo>
                  <a:lnTo>
                    <a:pt x="334" y="3577"/>
                  </a:lnTo>
                  <a:lnTo>
                    <a:pt x="304" y="3544"/>
                  </a:lnTo>
                  <a:lnTo>
                    <a:pt x="279" y="3506"/>
                  </a:lnTo>
                  <a:lnTo>
                    <a:pt x="259" y="3466"/>
                  </a:lnTo>
                  <a:lnTo>
                    <a:pt x="243" y="3424"/>
                  </a:lnTo>
                  <a:lnTo>
                    <a:pt x="235" y="3379"/>
                  </a:lnTo>
                  <a:lnTo>
                    <a:pt x="231" y="3332"/>
                  </a:lnTo>
                  <a:lnTo>
                    <a:pt x="231" y="2985"/>
                  </a:lnTo>
                  <a:lnTo>
                    <a:pt x="186" y="2948"/>
                  </a:lnTo>
                  <a:lnTo>
                    <a:pt x="146" y="2906"/>
                  </a:lnTo>
                  <a:lnTo>
                    <a:pt x="109" y="2862"/>
                  </a:lnTo>
                  <a:lnTo>
                    <a:pt x="77" y="2814"/>
                  </a:lnTo>
                  <a:lnTo>
                    <a:pt x="50" y="2761"/>
                  </a:lnTo>
                  <a:lnTo>
                    <a:pt x="28" y="2707"/>
                  </a:lnTo>
                  <a:lnTo>
                    <a:pt x="13" y="2649"/>
                  </a:lnTo>
                  <a:lnTo>
                    <a:pt x="4" y="2590"/>
                  </a:lnTo>
                  <a:lnTo>
                    <a:pt x="0" y="2528"/>
                  </a:lnTo>
                  <a:lnTo>
                    <a:pt x="4" y="2467"/>
                  </a:lnTo>
                  <a:lnTo>
                    <a:pt x="13" y="2407"/>
                  </a:lnTo>
                  <a:lnTo>
                    <a:pt x="28" y="2349"/>
                  </a:lnTo>
                  <a:lnTo>
                    <a:pt x="50" y="2295"/>
                  </a:lnTo>
                  <a:lnTo>
                    <a:pt x="77" y="2244"/>
                  </a:lnTo>
                  <a:lnTo>
                    <a:pt x="109" y="2194"/>
                  </a:lnTo>
                  <a:lnTo>
                    <a:pt x="146" y="2150"/>
                  </a:lnTo>
                  <a:lnTo>
                    <a:pt x="186" y="2108"/>
                  </a:lnTo>
                  <a:lnTo>
                    <a:pt x="231" y="2071"/>
                  </a:lnTo>
                  <a:lnTo>
                    <a:pt x="231" y="344"/>
                  </a:lnTo>
                  <a:lnTo>
                    <a:pt x="235" y="297"/>
                  </a:lnTo>
                  <a:lnTo>
                    <a:pt x="243" y="252"/>
                  </a:lnTo>
                  <a:lnTo>
                    <a:pt x="259" y="210"/>
                  </a:lnTo>
                  <a:lnTo>
                    <a:pt x="279" y="170"/>
                  </a:lnTo>
                  <a:lnTo>
                    <a:pt x="304" y="134"/>
                  </a:lnTo>
                  <a:lnTo>
                    <a:pt x="334" y="101"/>
                  </a:lnTo>
                  <a:lnTo>
                    <a:pt x="367" y="71"/>
                  </a:lnTo>
                  <a:lnTo>
                    <a:pt x="405" y="47"/>
                  </a:lnTo>
                  <a:lnTo>
                    <a:pt x="445" y="27"/>
                  </a:lnTo>
                  <a:lnTo>
                    <a:pt x="488" y="11"/>
                  </a:lnTo>
                  <a:lnTo>
                    <a:pt x="533" y="3"/>
                  </a:lnTo>
                  <a:lnTo>
                    <a:pt x="58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8" name="Freeform 17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F837E208-031E-164F-900D-E4EC4C9148B3}"/>
              </a:ext>
            </a:extLst>
          </p:cNvPr>
          <p:cNvSpPr>
            <a:spLocks noEditPoints="1"/>
          </p:cNvSpPr>
          <p:nvPr/>
        </p:nvSpPr>
        <p:spPr bwMode="auto">
          <a:xfrm>
            <a:off x="7401164" y="4477312"/>
            <a:ext cx="387566" cy="383957"/>
          </a:xfrm>
          <a:custGeom>
            <a:avLst/>
            <a:gdLst>
              <a:gd name="T0" fmla="*/ 266 w 4189"/>
              <a:gd name="T1" fmla="*/ 3665 h 4150"/>
              <a:gd name="T2" fmla="*/ 296 w 4189"/>
              <a:gd name="T3" fmla="*/ 3804 h 4150"/>
              <a:gd name="T4" fmla="*/ 456 w 4189"/>
              <a:gd name="T5" fmla="*/ 3890 h 4150"/>
              <a:gd name="T6" fmla="*/ 545 w 4189"/>
              <a:gd name="T7" fmla="*/ 3874 h 4150"/>
              <a:gd name="T8" fmla="*/ 992 w 4189"/>
              <a:gd name="T9" fmla="*/ 3519 h 4150"/>
              <a:gd name="T10" fmla="*/ 800 w 4189"/>
              <a:gd name="T11" fmla="*/ 3264 h 4150"/>
              <a:gd name="T12" fmla="*/ 526 w 4189"/>
              <a:gd name="T13" fmla="*/ 3137 h 4150"/>
              <a:gd name="T14" fmla="*/ 866 w 4189"/>
              <a:gd name="T15" fmla="*/ 2341 h 4150"/>
              <a:gd name="T16" fmla="*/ 610 w 4189"/>
              <a:gd name="T17" fmla="*/ 2467 h 4150"/>
              <a:gd name="T18" fmla="*/ 582 w 4189"/>
              <a:gd name="T19" fmla="*/ 3013 h 4150"/>
              <a:gd name="T20" fmla="*/ 890 w 4189"/>
              <a:gd name="T21" fmla="*/ 3169 h 4150"/>
              <a:gd name="T22" fmla="*/ 1106 w 4189"/>
              <a:gd name="T23" fmla="*/ 3453 h 4150"/>
              <a:gd name="T24" fmla="*/ 1645 w 4189"/>
              <a:gd name="T25" fmla="*/ 3588 h 4150"/>
              <a:gd name="T26" fmla="*/ 1793 w 4189"/>
              <a:gd name="T27" fmla="*/ 3406 h 4150"/>
              <a:gd name="T28" fmla="*/ 1833 w 4189"/>
              <a:gd name="T29" fmla="*/ 3090 h 4150"/>
              <a:gd name="T30" fmla="*/ 1719 w 4189"/>
              <a:gd name="T31" fmla="*/ 2764 h 4150"/>
              <a:gd name="T32" fmla="*/ 1461 w 4189"/>
              <a:gd name="T33" fmla="*/ 2487 h 4150"/>
              <a:gd name="T34" fmla="*/ 1132 w 4189"/>
              <a:gd name="T35" fmla="*/ 2344 h 4150"/>
              <a:gd name="T36" fmla="*/ 2036 w 4189"/>
              <a:gd name="T37" fmla="*/ 2828 h 4150"/>
              <a:gd name="T38" fmla="*/ 2098 w 4189"/>
              <a:gd name="T39" fmla="*/ 3182 h 4150"/>
              <a:gd name="T40" fmla="*/ 3153 w 4189"/>
              <a:gd name="T41" fmla="*/ 2121 h 4150"/>
              <a:gd name="T42" fmla="*/ 3271 w 4189"/>
              <a:gd name="T43" fmla="*/ 1840 h 4150"/>
              <a:gd name="T44" fmla="*/ 3240 w 4189"/>
              <a:gd name="T45" fmla="*/ 1519 h 4150"/>
              <a:gd name="T46" fmla="*/ 1663 w 4189"/>
              <a:gd name="T47" fmla="*/ 2314 h 4150"/>
              <a:gd name="T48" fmla="*/ 1898 w 4189"/>
              <a:gd name="T49" fmla="*/ 2568 h 4150"/>
              <a:gd name="T50" fmla="*/ 3069 w 4189"/>
              <a:gd name="T51" fmla="*/ 1214 h 4150"/>
              <a:gd name="T52" fmla="*/ 2802 w 4189"/>
              <a:gd name="T53" fmla="*/ 1001 h 4150"/>
              <a:gd name="T54" fmla="*/ 2220 w 4189"/>
              <a:gd name="T55" fmla="*/ 935 h 4150"/>
              <a:gd name="T56" fmla="*/ 997 w 4189"/>
              <a:gd name="T57" fmla="*/ 2070 h 4150"/>
              <a:gd name="T58" fmla="*/ 2607 w 4189"/>
              <a:gd name="T59" fmla="*/ 926 h 4150"/>
              <a:gd name="T60" fmla="*/ 3008 w 4189"/>
              <a:gd name="T61" fmla="*/ 263 h 4150"/>
              <a:gd name="T62" fmla="*/ 2733 w 4189"/>
              <a:gd name="T63" fmla="*/ 354 h 4150"/>
              <a:gd name="T64" fmla="*/ 2595 w 4189"/>
              <a:gd name="T65" fmla="*/ 658 h 4150"/>
              <a:gd name="T66" fmla="*/ 2995 w 4189"/>
              <a:gd name="T67" fmla="*/ 810 h 4150"/>
              <a:gd name="T68" fmla="*/ 3320 w 4189"/>
              <a:gd name="T69" fmla="*/ 1110 h 4150"/>
              <a:gd name="T70" fmla="*/ 3506 w 4189"/>
              <a:gd name="T71" fmla="*/ 1493 h 4150"/>
              <a:gd name="T72" fmla="*/ 3536 w 4189"/>
              <a:gd name="T73" fmla="*/ 1747 h 4150"/>
              <a:gd name="T74" fmla="*/ 3891 w 4189"/>
              <a:gd name="T75" fmla="*/ 1316 h 4150"/>
              <a:gd name="T76" fmla="*/ 3918 w 4189"/>
              <a:gd name="T77" fmla="*/ 985 h 4150"/>
              <a:gd name="T78" fmla="*/ 3769 w 4189"/>
              <a:gd name="T79" fmla="*/ 641 h 4150"/>
              <a:gd name="T80" fmla="*/ 3482 w 4189"/>
              <a:gd name="T81" fmla="*/ 378 h 4150"/>
              <a:gd name="T82" fmla="*/ 3140 w 4189"/>
              <a:gd name="T83" fmla="*/ 263 h 4150"/>
              <a:gd name="T84" fmla="*/ 3320 w 4189"/>
              <a:gd name="T85" fmla="*/ 32 h 4150"/>
              <a:gd name="T86" fmla="*/ 3711 w 4189"/>
              <a:gd name="T87" fmla="*/ 218 h 4150"/>
              <a:gd name="T88" fmla="*/ 4010 w 4189"/>
              <a:gd name="T89" fmla="*/ 531 h 4150"/>
              <a:gd name="T90" fmla="*/ 4165 w 4189"/>
              <a:gd name="T91" fmla="*/ 893 h 4150"/>
              <a:gd name="T92" fmla="*/ 4176 w 4189"/>
              <a:gd name="T93" fmla="*/ 1260 h 4150"/>
              <a:gd name="T94" fmla="*/ 4038 w 4189"/>
              <a:gd name="T95" fmla="*/ 1594 h 4150"/>
              <a:gd name="T96" fmla="*/ 1862 w 4189"/>
              <a:gd name="T97" fmla="*/ 3771 h 4150"/>
              <a:gd name="T98" fmla="*/ 606 w 4189"/>
              <a:gd name="T99" fmla="*/ 4126 h 4150"/>
              <a:gd name="T100" fmla="*/ 519 w 4189"/>
              <a:gd name="T101" fmla="*/ 4144 h 4150"/>
              <a:gd name="T102" fmla="*/ 337 w 4189"/>
              <a:gd name="T103" fmla="*/ 4134 h 4150"/>
              <a:gd name="T104" fmla="*/ 95 w 4189"/>
              <a:gd name="T105" fmla="*/ 3974 h 4150"/>
              <a:gd name="T106" fmla="*/ 0 w 4189"/>
              <a:gd name="T107" fmla="*/ 3697 h 4150"/>
              <a:gd name="T108" fmla="*/ 13 w 4189"/>
              <a:gd name="T109" fmla="*/ 3594 h 4150"/>
              <a:gd name="T110" fmla="*/ 345 w 4189"/>
              <a:gd name="T111" fmla="*/ 2410 h 4150"/>
              <a:gd name="T112" fmla="*/ 1813 w 4189"/>
              <a:gd name="T113" fmla="*/ 887 h 4150"/>
              <a:gd name="T114" fmla="*/ 1819 w 4189"/>
              <a:gd name="T115" fmla="*/ 881 h 4150"/>
              <a:gd name="T116" fmla="*/ 2635 w 4189"/>
              <a:gd name="T117" fmla="*/ 110 h 4150"/>
              <a:gd name="T118" fmla="*/ 2992 w 4189"/>
              <a:gd name="T119" fmla="*/ 3 h 4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189" h="4150">
                <a:moveTo>
                  <a:pt x="412" y="3129"/>
                </a:moveTo>
                <a:lnTo>
                  <a:pt x="274" y="3624"/>
                </a:lnTo>
                <a:lnTo>
                  <a:pt x="273" y="3634"/>
                </a:lnTo>
                <a:lnTo>
                  <a:pt x="269" y="3649"/>
                </a:lnTo>
                <a:lnTo>
                  <a:pt x="266" y="3665"/>
                </a:lnTo>
                <a:lnTo>
                  <a:pt x="263" y="3682"/>
                </a:lnTo>
                <a:lnTo>
                  <a:pt x="262" y="3697"/>
                </a:lnTo>
                <a:lnTo>
                  <a:pt x="266" y="3735"/>
                </a:lnTo>
                <a:lnTo>
                  <a:pt x="277" y="3771"/>
                </a:lnTo>
                <a:lnTo>
                  <a:pt x="296" y="3804"/>
                </a:lnTo>
                <a:lnTo>
                  <a:pt x="318" y="3833"/>
                </a:lnTo>
                <a:lnTo>
                  <a:pt x="348" y="3857"/>
                </a:lnTo>
                <a:lnTo>
                  <a:pt x="381" y="3874"/>
                </a:lnTo>
                <a:lnTo>
                  <a:pt x="417" y="3886"/>
                </a:lnTo>
                <a:lnTo>
                  <a:pt x="456" y="3890"/>
                </a:lnTo>
                <a:lnTo>
                  <a:pt x="476" y="3889"/>
                </a:lnTo>
                <a:lnTo>
                  <a:pt x="496" y="3885"/>
                </a:lnTo>
                <a:lnTo>
                  <a:pt x="517" y="3881"/>
                </a:lnTo>
                <a:lnTo>
                  <a:pt x="534" y="3877"/>
                </a:lnTo>
                <a:lnTo>
                  <a:pt x="545" y="3874"/>
                </a:lnTo>
                <a:lnTo>
                  <a:pt x="1033" y="3747"/>
                </a:lnTo>
                <a:lnTo>
                  <a:pt x="1032" y="3691"/>
                </a:lnTo>
                <a:lnTo>
                  <a:pt x="1025" y="3633"/>
                </a:lnTo>
                <a:lnTo>
                  <a:pt x="1012" y="3576"/>
                </a:lnTo>
                <a:lnTo>
                  <a:pt x="992" y="3519"/>
                </a:lnTo>
                <a:lnTo>
                  <a:pt x="966" y="3463"/>
                </a:lnTo>
                <a:lnTo>
                  <a:pt x="934" y="3409"/>
                </a:lnTo>
                <a:lnTo>
                  <a:pt x="895" y="3357"/>
                </a:lnTo>
                <a:lnTo>
                  <a:pt x="850" y="3308"/>
                </a:lnTo>
                <a:lnTo>
                  <a:pt x="800" y="3264"/>
                </a:lnTo>
                <a:lnTo>
                  <a:pt x="750" y="3226"/>
                </a:lnTo>
                <a:lnTo>
                  <a:pt x="696" y="3195"/>
                </a:lnTo>
                <a:lnTo>
                  <a:pt x="640" y="3170"/>
                </a:lnTo>
                <a:lnTo>
                  <a:pt x="583" y="3150"/>
                </a:lnTo>
                <a:lnTo>
                  <a:pt x="526" y="3137"/>
                </a:lnTo>
                <a:lnTo>
                  <a:pt x="470" y="3130"/>
                </a:lnTo>
                <a:lnTo>
                  <a:pt x="412" y="3129"/>
                </a:lnTo>
                <a:close/>
                <a:moveTo>
                  <a:pt x="997" y="2330"/>
                </a:moveTo>
                <a:lnTo>
                  <a:pt x="932" y="2333"/>
                </a:lnTo>
                <a:lnTo>
                  <a:pt x="866" y="2341"/>
                </a:lnTo>
                <a:lnTo>
                  <a:pt x="804" y="2356"/>
                </a:lnTo>
                <a:lnTo>
                  <a:pt x="743" y="2377"/>
                </a:lnTo>
                <a:lnTo>
                  <a:pt x="685" y="2405"/>
                </a:lnTo>
                <a:lnTo>
                  <a:pt x="632" y="2439"/>
                </a:lnTo>
                <a:lnTo>
                  <a:pt x="610" y="2467"/>
                </a:lnTo>
                <a:lnTo>
                  <a:pt x="593" y="2498"/>
                </a:lnTo>
                <a:lnTo>
                  <a:pt x="581" y="2528"/>
                </a:lnTo>
                <a:lnTo>
                  <a:pt x="450" y="2996"/>
                </a:lnTo>
                <a:lnTo>
                  <a:pt x="517" y="3002"/>
                </a:lnTo>
                <a:lnTo>
                  <a:pt x="582" y="3013"/>
                </a:lnTo>
                <a:lnTo>
                  <a:pt x="648" y="3033"/>
                </a:lnTo>
                <a:lnTo>
                  <a:pt x="712" y="3057"/>
                </a:lnTo>
                <a:lnTo>
                  <a:pt x="774" y="3089"/>
                </a:lnTo>
                <a:lnTo>
                  <a:pt x="834" y="3125"/>
                </a:lnTo>
                <a:lnTo>
                  <a:pt x="890" y="3169"/>
                </a:lnTo>
                <a:lnTo>
                  <a:pt x="942" y="3216"/>
                </a:lnTo>
                <a:lnTo>
                  <a:pt x="993" y="3271"/>
                </a:lnTo>
                <a:lnTo>
                  <a:pt x="1037" y="3329"/>
                </a:lnTo>
                <a:lnTo>
                  <a:pt x="1075" y="3390"/>
                </a:lnTo>
                <a:lnTo>
                  <a:pt x="1106" y="3453"/>
                </a:lnTo>
                <a:lnTo>
                  <a:pt x="1128" y="3518"/>
                </a:lnTo>
                <a:lnTo>
                  <a:pt x="1146" y="3583"/>
                </a:lnTo>
                <a:lnTo>
                  <a:pt x="1157" y="3649"/>
                </a:lnTo>
                <a:lnTo>
                  <a:pt x="1162" y="3714"/>
                </a:lnTo>
                <a:lnTo>
                  <a:pt x="1645" y="3588"/>
                </a:lnTo>
                <a:lnTo>
                  <a:pt x="1669" y="3579"/>
                </a:lnTo>
                <a:lnTo>
                  <a:pt x="1692" y="3568"/>
                </a:lnTo>
                <a:lnTo>
                  <a:pt x="1732" y="3518"/>
                </a:lnTo>
                <a:lnTo>
                  <a:pt x="1766" y="3463"/>
                </a:lnTo>
                <a:lnTo>
                  <a:pt x="1793" y="3406"/>
                </a:lnTo>
                <a:lnTo>
                  <a:pt x="1813" y="3348"/>
                </a:lnTo>
                <a:lnTo>
                  <a:pt x="1827" y="3285"/>
                </a:lnTo>
                <a:lnTo>
                  <a:pt x="1835" y="3222"/>
                </a:lnTo>
                <a:lnTo>
                  <a:pt x="1837" y="3157"/>
                </a:lnTo>
                <a:lnTo>
                  <a:pt x="1833" y="3090"/>
                </a:lnTo>
                <a:lnTo>
                  <a:pt x="1822" y="3024"/>
                </a:lnTo>
                <a:lnTo>
                  <a:pt x="1805" y="2958"/>
                </a:lnTo>
                <a:lnTo>
                  <a:pt x="1782" y="2891"/>
                </a:lnTo>
                <a:lnTo>
                  <a:pt x="1754" y="2828"/>
                </a:lnTo>
                <a:lnTo>
                  <a:pt x="1719" y="2764"/>
                </a:lnTo>
                <a:lnTo>
                  <a:pt x="1677" y="2702"/>
                </a:lnTo>
                <a:lnTo>
                  <a:pt x="1631" y="2642"/>
                </a:lnTo>
                <a:lnTo>
                  <a:pt x="1578" y="2586"/>
                </a:lnTo>
                <a:lnTo>
                  <a:pt x="1521" y="2533"/>
                </a:lnTo>
                <a:lnTo>
                  <a:pt x="1461" y="2487"/>
                </a:lnTo>
                <a:lnTo>
                  <a:pt x="1398" y="2446"/>
                </a:lnTo>
                <a:lnTo>
                  <a:pt x="1332" y="2411"/>
                </a:lnTo>
                <a:lnTo>
                  <a:pt x="1266" y="2383"/>
                </a:lnTo>
                <a:lnTo>
                  <a:pt x="1199" y="2361"/>
                </a:lnTo>
                <a:lnTo>
                  <a:pt x="1132" y="2344"/>
                </a:lnTo>
                <a:lnTo>
                  <a:pt x="1064" y="2334"/>
                </a:lnTo>
                <a:lnTo>
                  <a:pt x="997" y="2330"/>
                </a:lnTo>
                <a:close/>
                <a:moveTo>
                  <a:pt x="3240" y="1519"/>
                </a:moveTo>
                <a:lnTo>
                  <a:pt x="2001" y="2746"/>
                </a:lnTo>
                <a:lnTo>
                  <a:pt x="2036" y="2828"/>
                </a:lnTo>
                <a:lnTo>
                  <a:pt x="2064" y="2913"/>
                </a:lnTo>
                <a:lnTo>
                  <a:pt x="2084" y="2999"/>
                </a:lnTo>
                <a:lnTo>
                  <a:pt x="2097" y="3085"/>
                </a:lnTo>
                <a:lnTo>
                  <a:pt x="2098" y="3134"/>
                </a:lnTo>
                <a:lnTo>
                  <a:pt x="2098" y="3182"/>
                </a:lnTo>
                <a:lnTo>
                  <a:pt x="3110" y="2173"/>
                </a:lnTo>
                <a:lnTo>
                  <a:pt x="3107" y="2171"/>
                </a:lnTo>
                <a:lnTo>
                  <a:pt x="3109" y="2170"/>
                </a:lnTo>
                <a:lnTo>
                  <a:pt x="3111" y="2169"/>
                </a:lnTo>
                <a:lnTo>
                  <a:pt x="3153" y="2121"/>
                </a:lnTo>
                <a:lnTo>
                  <a:pt x="3189" y="2070"/>
                </a:lnTo>
                <a:lnTo>
                  <a:pt x="3219" y="2017"/>
                </a:lnTo>
                <a:lnTo>
                  <a:pt x="3243" y="1960"/>
                </a:lnTo>
                <a:lnTo>
                  <a:pt x="3260" y="1901"/>
                </a:lnTo>
                <a:lnTo>
                  <a:pt x="3271" y="1840"/>
                </a:lnTo>
                <a:lnTo>
                  <a:pt x="3276" y="1777"/>
                </a:lnTo>
                <a:lnTo>
                  <a:pt x="3276" y="1714"/>
                </a:lnTo>
                <a:lnTo>
                  <a:pt x="3269" y="1649"/>
                </a:lnTo>
                <a:lnTo>
                  <a:pt x="3257" y="1584"/>
                </a:lnTo>
                <a:lnTo>
                  <a:pt x="3240" y="1519"/>
                </a:lnTo>
                <a:close/>
                <a:moveTo>
                  <a:pt x="2743" y="974"/>
                </a:moveTo>
                <a:lnTo>
                  <a:pt x="1495" y="2210"/>
                </a:lnTo>
                <a:lnTo>
                  <a:pt x="1553" y="2242"/>
                </a:lnTo>
                <a:lnTo>
                  <a:pt x="1608" y="2277"/>
                </a:lnTo>
                <a:lnTo>
                  <a:pt x="1663" y="2314"/>
                </a:lnTo>
                <a:lnTo>
                  <a:pt x="1714" y="2357"/>
                </a:lnTo>
                <a:lnTo>
                  <a:pt x="1763" y="2402"/>
                </a:lnTo>
                <a:lnTo>
                  <a:pt x="1813" y="2455"/>
                </a:lnTo>
                <a:lnTo>
                  <a:pt x="1857" y="2511"/>
                </a:lnTo>
                <a:lnTo>
                  <a:pt x="1898" y="2568"/>
                </a:lnTo>
                <a:lnTo>
                  <a:pt x="1937" y="2626"/>
                </a:lnTo>
                <a:lnTo>
                  <a:pt x="3186" y="1389"/>
                </a:lnTo>
                <a:lnTo>
                  <a:pt x="3152" y="1329"/>
                </a:lnTo>
                <a:lnTo>
                  <a:pt x="3113" y="1269"/>
                </a:lnTo>
                <a:lnTo>
                  <a:pt x="3069" y="1214"/>
                </a:lnTo>
                <a:lnTo>
                  <a:pt x="3019" y="1159"/>
                </a:lnTo>
                <a:lnTo>
                  <a:pt x="2967" y="1113"/>
                </a:lnTo>
                <a:lnTo>
                  <a:pt x="2915" y="1070"/>
                </a:lnTo>
                <a:lnTo>
                  <a:pt x="2858" y="1033"/>
                </a:lnTo>
                <a:lnTo>
                  <a:pt x="2802" y="1001"/>
                </a:lnTo>
                <a:lnTo>
                  <a:pt x="2743" y="974"/>
                </a:lnTo>
                <a:close/>
                <a:moveTo>
                  <a:pt x="2409" y="903"/>
                </a:moveTo>
                <a:lnTo>
                  <a:pt x="2344" y="907"/>
                </a:lnTo>
                <a:lnTo>
                  <a:pt x="2281" y="918"/>
                </a:lnTo>
                <a:lnTo>
                  <a:pt x="2220" y="935"/>
                </a:lnTo>
                <a:lnTo>
                  <a:pt x="2162" y="958"/>
                </a:lnTo>
                <a:lnTo>
                  <a:pt x="2106" y="987"/>
                </a:lnTo>
                <a:lnTo>
                  <a:pt x="2054" y="1023"/>
                </a:lnTo>
                <a:lnTo>
                  <a:pt x="2005" y="1064"/>
                </a:lnTo>
                <a:lnTo>
                  <a:pt x="997" y="2070"/>
                </a:lnTo>
                <a:lnTo>
                  <a:pt x="1092" y="2076"/>
                </a:lnTo>
                <a:lnTo>
                  <a:pt x="1187" y="2092"/>
                </a:lnTo>
                <a:lnTo>
                  <a:pt x="1281" y="2116"/>
                </a:lnTo>
                <a:lnTo>
                  <a:pt x="1373" y="2147"/>
                </a:lnTo>
                <a:lnTo>
                  <a:pt x="2607" y="926"/>
                </a:lnTo>
                <a:lnTo>
                  <a:pt x="2540" y="913"/>
                </a:lnTo>
                <a:lnTo>
                  <a:pt x="2474" y="905"/>
                </a:lnTo>
                <a:lnTo>
                  <a:pt x="2409" y="903"/>
                </a:lnTo>
                <a:close/>
                <a:moveTo>
                  <a:pt x="3070" y="260"/>
                </a:moveTo>
                <a:lnTo>
                  <a:pt x="3008" y="263"/>
                </a:lnTo>
                <a:lnTo>
                  <a:pt x="2948" y="271"/>
                </a:lnTo>
                <a:lnTo>
                  <a:pt x="2891" y="284"/>
                </a:lnTo>
                <a:lnTo>
                  <a:pt x="2836" y="302"/>
                </a:lnTo>
                <a:lnTo>
                  <a:pt x="2783" y="326"/>
                </a:lnTo>
                <a:lnTo>
                  <a:pt x="2733" y="354"/>
                </a:lnTo>
                <a:lnTo>
                  <a:pt x="2687" y="389"/>
                </a:lnTo>
                <a:lnTo>
                  <a:pt x="2644" y="426"/>
                </a:lnTo>
                <a:lnTo>
                  <a:pt x="2427" y="642"/>
                </a:lnTo>
                <a:lnTo>
                  <a:pt x="2512" y="646"/>
                </a:lnTo>
                <a:lnTo>
                  <a:pt x="2595" y="658"/>
                </a:lnTo>
                <a:lnTo>
                  <a:pt x="2678" y="675"/>
                </a:lnTo>
                <a:lnTo>
                  <a:pt x="2759" y="699"/>
                </a:lnTo>
                <a:lnTo>
                  <a:pt x="2840" y="731"/>
                </a:lnTo>
                <a:lnTo>
                  <a:pt x="2919" y="768"/>
                </a:lnTo>
                <a:lnTo>
                  <a:pt x="2995" y="810"/>
                </a:lnTo>
                <a:lnTo>
                  <a:pt x="3067" y="861"/>
                </a:lnTo>
                <a:lnTo>
                  <a:pt x="3137" y="915"/>
                </a:lnTo>
                <a:lnTo>
                  <a:pt x="3203" y="976"/>
                </a:lnTo>
                <a:lnTo>
                  <a:pt x="3264" y="1041"/>
                </a:lnTo>
                <a:lnTo>
                  <a:pt x="3320" y="1110"/>
                </a:lnTo>
                <a:lnTo>
                  <a:pt x="3370" y="1182"/>
                </a:lnTo>
                <a:lnTo>
                  <a:pt x="3414" y="1256"/>
                </a:lnTo>
                <a:lnTo>
                  <a:pt x="3452" y="1333"/>
                </a:lnTo>
                <a:lnTo>
                  <a:pt x="3482" y="1413"/>
                </a:lnTo>
                <a:lnTo>
                  <a:pt x="3506" y="1493"/>
                </a:lnTo>
                <a:lnTo>
                  <a:pt x="3525" y="1576"/>
                </a:lnTo>
                <a:lnTo>
                  <a:pt x="3536" y="1659"/>
                </a:lnTo>
                <a:lnTo>
                  <a:pt x="3537" y="1688"/>
                </a:lnTo>
                <a:lnTo>
                  <a:pt x="3536" y="1718"/>
                </a:lnTo>
                <a:lnTo>
                  <a:pt x="3536" y="1747"/>
                </a:lnTo>
                <a:lnTo>
                  <a:pt x="3756" y="1527"/>
                </a:lnTo>
                <a:lnTo>
                  <a:pt x="3798" y="1479"/>
                </a:lnTo>
                <a:lnTo>
                  <a:pt x="3836" y="1428"/>
                </a:lnTo>
                <a:lnTo>
                  <a:pt x="3867" y="1373"/>
                </a:lnTo>
                <a:lnTo>
                  <a:pt x="3891" y="1316"/>
                </a:lnTo>
                <a:lnTo>
                  <a:pt x="3910" y="1255"/>
                </a:lnTo>
                <a:lnTo>
                  <a:pt x="3922" y="1191"/>
                </a:lnTo>
                <a:lnTo>
                  <a:pt x="3927" y="1126"/>
                </a:lnTo>
                <a:lnTo>
                  <a:pt x="3926" y="1058"/>
                </a:lnTo>
                <a:lnTo>
                  <a:pt x="3918" y="985"/>
                </a:lnTo>
                <a:lnTo>
                  <a:pt x="3902" y="914"/>
                </a:lnTo>
                <a:lnTo>
                  <a:pt x="3879" y="842"/>
                </a:lnTo>
                <a:lnTo>
                  <a:pt x="3848" y="773"/>
                </a:lnTo>
                <a:lnTo>
                  <a:pt x="3812" y="706"/>
                </a:lnTo>
                <a:lnTo>
                  <a:pt x="3769" y="641"/>
                </a:lnTo>
                <a:lnTo>
                  <a:pt x="3719" y="577"/>
                </a:lnTo>
                <a:lnTo>
                  <a:pt x="3663" y="517"/>
                </a:lnTo>
                <a:lnTo>
                  <a:pt x="3606" y="466"/>
                </a:lnTo>
                <a:lnTo>
                  <a:pt x="3545" y="419"/>
                </a:lnTo>
                <a:lnTo>
                  <a:pt x="3482" y="378"/>
                </a:lnTo>
                <a:lnTo>
                  <a:pt x="3417" y="342"/>
                </a:lnTo>
                <a:lnTo>
                  <a:pt x="3350" y="313"/>
                </a:lnTo>
                <a:lnTo>
                  <a:pt x="3280" y="290"/>
                </a:lnTo>
                <a:lnTo>
                  <a:pt x="3211" y="273"/>
                </a:lnTo>
                <a:lnTo>
                  <a:pt x="3140" y="263"/>
                </a:lnTo>
                <a:lnTo>
                  <a:pt x="3070" y="260"/>
                </a:lnTo>
                <a:close/>
                <a:moveTo>
                  <a:pt x="3070" y="0"/>
                </a:moveTo>
                <a:lnTo>
                  <a:pt x="3154" y="4"/>
                </a:lnTo>
                <a:lnTo>
                  <a:pt x="3237" y="15"/>
                </a:lnTo>
                <a:lnTo>
                  <a:pt x="3320" y="32"/>
                </a:lnTo>
                <a:lnTo>
                  <a:pt x="3402" y="56"/>
                </a:lnTo>
                <a:lnTo>
                  <a:pt x="3484" y="88"/>
                </a:lnTo>
                <a:lnTo>
                  <a:pt x="3561" y="125"/>
                </a:lnTo>
                <a:lnTo>
                  <a:pt x="3638" y="168"/>
                </a:lnTo>
                <a:lnTo>
                  <a:pt x="3711" y="218"/>
                </a:lnTo>
                <a:lnTo>
                  <a:pt x="3782" y="273"/>
                </a:lnTo>
                <a:lnTo>
                  <a:pt x="3848" y="334"/>
                </a:lnTo>
                <a:lnTo>
                  <a:pt x="3908" y="398"/>
                </a:lnTo>
                <a:lnTo>
                  <a:pt x="3962" y="463"/>
                </a:lnTo>
                <a:lnTo>
                  <a:pt x="4010" y="531"/>
                </a:lnTo>
                <a:lnTo>
                  <a:pt x="4053" y="601"/>
                </a:lnTo>
                <a:lnTo>
                  <a:pt x="4089" y="672"/>
                </a:lnTo>
                <a:lnTo>
                  <a:pt x="4120" y="744"/>
                </a:lnTo>
                <a:lnTo>
                  <a:pt x="4145" y="818"/>
                </a:lnTo>
                <a:lnTo>
                  <a:pt x="4165" y="893"/>
                </a:lnTo>
                <a:lnTo>
                  <a:pt x="4179" y="967"/>
                </a:lnTo>
                <a:lnTo>
                  <a:pt x="4187" y="1041"/>
                </a:lnTo>
                <a:lnTo>
                  <a:pt x="4189" y="1115"/>
                </a:lnTo>
                <a:lnTo>
                  <a:pt x="4185" y="1188"/>
                </a:lnTo>
                <a:lnTo>
                  <a:pt x="4176" y="1260"/>
                </a:lnTo>
                <a:lnTo>
                  <a:pt x="4160" y="1332"/>
                </a:lnTo>
                <a:lnTo>
                  <a:pt x="4139" y="1401"/>
                </a:lnTo>
                <a:lnTo>
                  <a:pt x="4112" y="1468"/>
                </a:lnTo>
                <a:lnTo>
                  <a:pt x="4078" y="1532"/>
                </a:lnTo>
                <a:lnTo>
                  <a:pt x="4038" y="1594"/>
                </a:lnTo>
                <a:lnTo>
                  <a:pt x="3993" y="1654"/>
                </a:lnTo>
                <a:lnTo>
                  <a:pt x="3942" y="1710"/>
                </a:lnTo>
                <a:lnTo>
                  <a:pt x="1944" y="3705"/>
                </a:lnTo>
                <a:lnTo>
                  <a:pt x="1904" y="3740"/>
                </a:lnTo>
                <a:lnTo>
                  <a:pt x="1862" y="3771"/>
                </a:lnTo>
                <a:lnTo>
                  <a:pt x="1817" y="3797"/>
                </a:lnTo>
                <a:lnTo>
                  <a:pt x="1770" y="3819"/>
                </a:lnTo>
                <a:lnTo>
                  <a:pt x="1720" y="3837"/>
                </a:lnTo>
                <a:lnTo>
                  <a:pt x="610" y="4125"/>
                </a:lnTo>
                <a:lnTo>
                  <a:pt x="606" y="4126"/>
                </a:lnTo>
                <a:lnTo>
                  <a:pt x="596" y="4129"/>
                </a:lnTo>
                <a:lnTo>
                  <a:pt x="581" y="4132"/>
                </a:lnTo>
                <a:lnTo>
                  <a:pt x="562" y="4136"/>
                </a:lnTo>
                <a:lnTo>
                  <a:pt x="541" y="4140"/>
                </a:lnTo>
                <a:lnTo>
                  <a:pt x="519" y="4144"/>
                </a:lnTo>
                <a:lnTo>
                  <a:pt x="498" y="4148"/>
                </a:lnTo>
                <a:lnTo>
                  <a:pt x="478" y="4149"/>
                </a:lnTo>
                <a:lnTo>
                  <a:pt x="459" y="4150"/>
                </a:lnTo>
                <a:lnTo>
                  <a:pt x="396" y="4146"/>
                </a:lnTo>
                <a:lnTo>
                  <a:pt x="337" y="4134"/>
                </a:lnTo>
                <a:lnTo>
                  <a:pt x="280" y="4114"/>
                </a:lnTo>
                <a:lnTo>
                  <a:pt x="227" y="4088"/>
                </a:lnTo>
                <a:lnTo>
                  <a:pt x="178" y="4056"/>
                </a:lnTo>
                <a:lnTo>
                  <a:pt x="134" y="4018"/>
                </a:lnTo>
                <a:lnTo>
                  <a:pt x="95" y="3974"/>
                </a:lnTo>
                <a:lnTo>
                  <a:pt x="63" y="3925"/>
                </a:lnTo>
                <a:lnTo>
                  <a:pt x="36" y="3873"/>
                </a:lnTo>
                <a:lnTo>
                  <a:pt x="16" y="3817"/>
                </a:lnTo>
                <a:lnTo>
                  <a:pt x="4" y="3758"/>
                </a:lnTo>
                <a:lnTo>
                  <a:pt x="0" y="3697"/>
                </a:lnTo>
                <a:lnTo>
                  <a:pt x="1" y="3678"/>
                </a:lnTo>
                <a:lnTo>
                  <a:pt x="2" y="3657"/>
                </a:lnTo>
                <a:lnTo>
                  <a:pt x="6" y="3636"/>
                </a:lnTo>
                <a:lnTo>
                  <a:pt x="10" y="3613"/>
                </a:lnTo>
                <a:lnTo>
                  <a:pt x="13" y="3594"/>
                </a:lnTo>
                <a:lnTo>
                  <a:pt x="17" y="3579"/>
                </a:lnTo>
                <a:lnTo>
                  <a:pt x="20" y="3567"/>
                </a:lnTo>
                <a:lnTo>
                  <a:pt x="20" y="3563"/>
                </a:lnTo>
                <a:lnTo>
                  <a:pt x="328" y="2459"/>
                </a:lnTo>
                <a:lnTo>
                  <a:pt x="345" y="2410"/>
                </a:lnTo>
                <a:lnTo>
                  <a:pt x="368" y="2362"/>
                </a:lnTo>
                <a:lnTo>
                  <a:pt x="393" y="2318"/>
                </a:lnTo>
                <a:lnTo>
                  <a:pt x="425" y="2276"/>
                </a:lnTo>
                <a:lnTo>
                  <a:pt x="460" y="2238"/>
                </a:lnTo>
                <a:lnTo>
                  <a:pt x="1813" y="887"/>
                </a:lnTo>
                <a:lnTo>
                  <a:pt x="1813" y="887"/>
                </a:lnTo>
                <a:lnTo>
                  <a:pt x="1814" y="886"/>
                </a:lnTo>
                <a:lnTo>
                  <a:pt x="1815" y="885"/>
                </a:lnTo>
                <a:lnTo>
                  <a:pt x="1817" y="882"/>
                </a:lnTo>
                <a:lnTo>
                  <a:pt x="1819" y="881"/>
                </a:lnTo>
                <a:lnTo>
                  <a:pt x="1821" y="879"/>
                </a:lnTo>
                <a:lnTo>
                  <a:pt x="2458" y="243"/>
                </a:lnTo>
                <a:lnTo>
                  <a:pt x="2513" y="194"/>
                </a:lnTo>
                <a:lnTo>
                  <a:pt x="2572" y="150"/>
                </a:lnTo>
                <a:lnTo>
                  <a:pt x="2635" y="110"/>
                </a:lnTo>
                <a:lnTo>
                  <a:pt x="2700" y="77"/>
                </a:lnTo>
                <a:lnTo>
                  <a:pt x="2770" y="50"/>
                </a:lnTo>
                <a:lnTo>
                  <a:pt x="2842" y="28"/>
                </a:lnTo>
                <a:lnTo>
                  <a:pt x="2916" y="12"/>
                </a:lnTo>
                <a:lnTo>
                  <a:pt x="2992" y="3"/>
                </a:lnTo>
                <a:lnTo>
                  <a:pt x="3070" y="0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9" name="Группа 20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4873D4F-33B3-2749-89B7-4D9F585BCC8B}"/>
              </a:ext>
            </a:extLst>
          </p:cNvPr>
          <p:cNvGrpSpPr/>
          <p:nvPr/>
        </p:nvGrpSpPr>
        <p:grpSpPr>
          <a:xfrm>
            <a:off x="8875630" y="4478096"/>
            <a:ext cx="358383" cy="382649"/>
            <a:chOff x="5943600" y="3289300"/>
            <a:chExt cx="1922463" cy="2052638"/>
          </a:xfrm>
          <a:solidFill>
            <a:schemeClr val="bg2">
              <a:lumMod val="25000"/>
            </a:schemeClr>
          </a:solidFill>
        </p:grpSpPr>
        <p:sp>
          <p:nvSpPr>
            <p:cNvPr id="30" name="Freeform 188">
              <a:extLst>
                <a:ext uri="{FF2B5EF4-FFF2-40B4-BE49-F238E27FC236}">
                  <a16:creationId xmlns:a16="http://schemas.microsoft.com/office/drawing/2014/main" id="{80F0D24E-45A7-F04C-B7AA-0D5E5C60B5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600" y="3289300"/>
              <a:ext cx="1922463" cy="2052638"/>
            </a:xfrm>
            <a:custGeom>
              <a:avLst/>
              <a:gdLst>
                <a:gd name="T0" fmla="*/ 441 w 3634"/>
                <a:gd name="T1" fmla="*/ 246 h 3877"/>
                <a:gd name="T2" fmla="*/ 363 w 3634"/>
                <a:gd name="T3" fmla="*/ 275 h 3877"/>
                <a:gd name="T4" fmla="*/ 300 w 3634"/>
                <a:gd name="T5" fmla="*/ 328 h 3877"/>
                <a:gd name="T6" fmla="*/ 257 w 3634"/>
                <a:gd name="T7" fmla="*/ 400 h 3877"/>
                <a:gd name="T8" fmla="*/ 243 w 3634"/>
                <a:gd name="T9" fmla="*/ 484 h 3877"/>
                <a:gd name="T10" fmla="*/ 246 w 3634"/>
                <a:gd name="T11" fmla="*/ 3431 h 3877"/>
                <a:gd name="T12" fmla="*/ 270 w 3634"/>
                <a:gd name="T13" fmla="*/ 3503 h 3877"/>
                <a:gd name="T14" fmla="*/ 313 w 3634"/>
                <a:gd name="T15" fmla="*/ 3563 h 3877"/>
                <a:gd name="T16" fmla="*/ 374 w 3634"/>
                <a:gd name="T17" fmla="*/ 3607 h 3877"/>
                <a:gd name="T18" fmla="*/ 446 w 3634"/>
                <a:gd name="T19" fmla="*/ 3631 h 3877"/>
                <a:gd name="T20" fmla="*/ 3150 w 3634"/>
                <a:gd name="T21" fmla="*/ 3634 h 3877"/>
                <a:gd name="T22" fmla="*/ 3234 w 3634"/>
                <a:gd name="T23" fmla="*/ 3619 h 3877"/>
                <a:gd name="T24" fmla="*/ 3305 w 3634"/>
                <a:gd name="T25" fmla="*/ 3577 h 3877"/>
                <a:gd name="T26" fmla="*/ 3358 w 3634"/>
                <a:gd name="T27" fmla="*/ 3514 h 3877"/>
                <a:gd name="T28" fmla="*/ 3388 w 3634"/>
                <a:gd name="T29" fmla="*/ 3436 h 3877"/>
                <a:gd name="T30" fmla="*/ 3391 w 3634"/>
                <a:gd name="T31" fmla="*/ 484 h 3877"/>
                <a:gd name="T32" fmla="*/ 3379 w 3634"/>
                <a:gd name="T33" fmla="*/ 407 h 3877"/>
                <a:gd name="T34" fmla="*/ 3344 w 3634"/>
                <a:gd name="T35" fmla="*/ 342 h 3877"/>
                <a:gd name="T36" fmla="*/ 3292 w 3634"/>
                <a:gd name="T37" fmla="*/ 288 h 3877"/>
                <a:gd name="T38" fmla="*/ 3225 w 3634"/>
                <a:gd name="T39" fmla="*/ 255 h 3877"/>
                <a:gd name="T40" fmla="*/ 3150 w 3634"/>
                <a:gd name="T41" fmla="*/ 243 h 3877"/>
                <a:gd name="T42" fmla="*/ 484 w 3634"/>
                <a:gd name="T43" fmla="*/ 0 h 3877"/>
                <a:gd name="T44" fmla="*/ 3210 w 3634"/>
                <a:gd name="T45" fmla="*/ 3 h 3877"/>
                <a:gd name="T46" fmla="*/ 3324 w 3634"/>
                <a:gd name="T47" fmla="*/ 32 h 3877"/>
                <a:gd name="T48" fmla="*/ 3426 w 3634"/>
                <a:gd name="T49" fmla="*/ 86 h 3877"/>
                <a:gd name="T50" fmla="*/ 3511 w 3634"/>
                <a:gd name="T51" fmla="*/ 162 h 3877"/>
                <a:gd name="T52" fmla="*/ 3577 w 3634"/>
                <a:gd name="T53" fmla="*/ 256 h 3877"/>
                <a:gd name="T54" fmla="*/ 3619 w 3634"/>
                <a:gd name="T55" fmla="*/ 365 h 3877"/>
                <a:gd name="T56" fmla="*/ 3634 w 3634"/>
                <a:gd name="T57" fmla="*/ 484 h 3877"/>
                <a:gd name="T58" fmla="*/ 3634 w 3634"/>
                <a:gd name="T59" fmla="*/ 3391 h 3877"/>
                <a:gd name="T60" fmla="*/ 3619 w 3634"/>
                <a:gd name="T61" fmla="*/ 3511 h 3877"/>
                <a:gd name="T62" fmla="*/ 3577 w 3634"/>
                <a:gd name="T63" fmla="*/ 3620 h 3877"/>
                <a:gd name="T64" fmla="*/ 3511 w 3634"/>
                <a:gd name="T65" fmla="*/ 3715 h 3877"/>
                <a:gd name="T66" fmla="*/ 3426 w 3634"/>
                <a:gd name="T67" fmla="*/ 3790 h 3877"/>
                <a:gd name="T68" fmla="*/ 3324 w 3634"/>
                <a:gd name="T69" fmla="*/ 3845 h 3877"/>
                <a:gd name="T70" fmla="*/ 3210 w 3634"/>
                <a:gd name="T71" fmla="*/ 3873 h 3877"/>
                <a:gd name="T72" fmla="*/ 484 w 3634"/>
                <a:gd name="T73" fmla="*/ 3877 h 3877"/>
                <a:gd name="T74" fmla="*/ 365 w 3634"/>
                <a:gd name="T75" fmla="*/ 3862 h 3877"/>
                <a:gd name="T76" fmla="*/ 257 w 3634"/>
                <a:gd name="T77" fmla="*/ 3820 h 3877"/>
                <a:gd name="T78" fmla="*/ 163 w 3634"/>
                <a:gd name="T79" fmla="*/ 3754 h 3877"/>
                <a:gd name="T80" fmla="*/ 86 w 3634"/>
                <a:gd name="T81" fmla="*/ 3669 h 3877"/>
                <a:gd name="T82" fmla="*/ 33 w 3634"/>
                <a:gd name="T83" fmla="*/ 3567 h 3877"/>
                <a:gd name="T84" fmla="*/ 3 w 3634"/>
                <a:gd name="T85" fmla="*/ 3453 h 3877"/>
                <a:gd name="T86" fmla="*/ 0 w 3634"/>
                <a:gd name="T87" fmla="*/ 659 h 3877"/>
                <a:gd name="T88" fmla="*/ 3 w 3634"/>
                <a:gd name="T89" fmla="*/ 423 h 3877"/>
                <a:gd name="T90" fmla="*/ 33 w 3634"/>
                <a:gd name="T91" fmla="*/ 309 h 3877"/>
                <a:gd name="T92" fmla="*/ 86 w 3634"/>
                <a:gd name="T93" fmla="*/ 208 h 3877"/>
                <a:gd name="T94" fmla="*/ 163 w 3634"/>
                <a:gd name="T95" fmla="*/ 122 h 3877"/>
                <a:gd name="T96" fmla="*/ 257 w 3634"/>
                <a:gd name="T97" fmla="*/ 57 h 3877"/>
                <a:gd name="T98" fmla="*/ 365 w 3634"/>
                <a:gd name="T99" fmla="*/ 15 h 3877"/>
                <a:gd name="T100" fmla="*/ 484 w 3634"/>
                <a:gd name="T101" fmla="*/ 0 h 3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634" h="3877">
                  <a:moveTo>
                    <a:pt x="484" y="243"/>
                  </a:moveTo>
                  <a:lnTo>
                    <a:pt x="441" y="246"/>
                  </a:lnTo>
                  <a:lnTo>
                    <a:pt x="400" y="257"/>
                  </a:lnTo>
                  <a:lnTo>
                    <a:pt x="363" y="275"/>
                  </a:lnTo>
                  <a:lnTo>
                    <a:pt x="329" y="300"/>
                  </a:lnTo>
                  <a:lnTo>
                    <a:pt x="300" y="328"/>
                  </a:lnTo>
                  <a:lnTo>
                    <a:pt x="276" y="362"/>
                  </a:lnTo>
                  <a:lnTo>
                    <a:pt x="257" y="400"/>
                  </a:lnTo>
                  <a:lnTo>
                    <a:pt x="246" y="441"/>
                  </a:lnTo>
                  <a:lnTo>
                    <a:pt x="243" y="484"/>
                  </a:lnTo>
                  <a:lnTo>
                    <a:pt x="243" y="3391"/>
                  </a:lnTo>
                  <a:lnTo>
                    <a:pt x="246" y="3431"/>
                  </a:lnTo>
                  <a:lnTo>
                    <a:pt x="255" y="3468"/>
                  </a:lnTo>
                  <a:lnTo>
                    <a:pt x="270" y="3503"/>
                  </a:lnTo>
                  <a:lnTo>
                    <a:pt x="290" y="3535"/>
                  </a:lnTo>
                  <a:lnTo>
                    <a:pt x="313" y="3563"/>
                  </a:lnTo>
                  <a:lnTo>
                    <a:pt x="342" y="3587"/>
                  </a:lnTo>
                  <a:lnTo>
                    <a:pt x="374" y="3607"/>
                  </a:lnTo>
                  <a:lnTo>
                    <a:pt x="409" y="3622"/>
                  </a:lnTo>
                  <a:lnTo>
                    <a:pt x="446" y="3631"/>
                  </a:lnTo>
                  <a:lnTo>
                    <a:pt x="484" y="3634"/>
                  </a:lnTo>
                  <a:lnTo>
                    <a:pt x="3150" y="3634"/>
                  </a:lnTo>
                  <a:lnTo>
                    <a:pt x="3193" y="3630"/>
                  </a:lnTo>
                  <a:lnTo>
                    <a:pt x="3234" y="3619"/>
                  </a:lnTo>
                  <a:lnTo>
                    <a:pt x="3271" y="3601"/>
                  </a:lnTo>
                  <a:lnTo>
                    <a:pt x="3305" y="3577"/>
                  </a:lnTo>
                  <a:lnTo>
                    <a:pt x="3334" y="3547"/>
                  </a:lnTo>
                  <a:lnTo>
                    <a:pt x="3358" y="3514"/>
                  </a:lnTo>
                  <a:lnTo>
                    <a:pt x="3376" y="3477"/>
                  </a:lnTo>
                  <a:lnTo>
                    <a:pt x="3388" y="3436"/>
                  </a:lnTo>
                  <a:lnTo>
                    <a:pt x="3391" y="3391"/>
                  </a:lnTo>
                  <a:lnTo>
                    <a:pt x="3391" y="484"/>
                  </a:lnTo>
                  <a:lnTo>
                    <a:pt x="3388" y="445"/>
                  </a:lnTo>
                  <a:lnTo>
                    <a:pt x="3379" y="407"/>
                  </a:lnTo>
                  <a:lnTo>
                    <a:pt x="3364" y="373"/>
                  </a:lnTo>
                  <a:lnTo>
                    <a:pt x="3344" y="342"/>
                  </a:lnTo>
                  <a:lnTo>
                    <a:pt x="3321" y="313"/>
                  </a:lnTo>
                  <a:lnTo>
                    <a:pt x="3292" y="288"/>
                  </a:lnTo>
                  <a:lnTo>
                    <a:pt x="3260" y="269"/>
                  </a:lnTo>
                  <a:lnTo>
                    <a:pt x="3225" y="255"/>
                  </a:lnTo>
                  <a:lnTo>
                    <a:pt x="3188" y="245"/>
                  </a:lnTo>
                  <a:lnTo>
                    <a:pt x="3150" y="243"/>
                  </a:lnTo>
                  <a:lnTo>
                    <a:pt x="484" y="243"/>
                  </a:lnTo>
                  <a:close/>
                  <a:moveTo>
                    <a:pt x="484" y="0"/>
                  </a:moveTo>
                  <a:lnTo>
                    <a:pt x="3150" y="0"/>
                  </a:lnTo>
                  <a:lnTo>
                    <a:pt x="3210" y="3"/>
                  </a:lnTo>
                  <a:lnTo>
                    <a:pt x="3269" y="15"/>
                  </a:lnTo>
                  <a:lnTo>
                    <a:pt x="3324" y="32"/>
                  </a:lnTo>
                  <a:lnTo>
                    <a:pt x="3376" y="57"/>
                  </a:lnTo>
                  <a:lnTo>
                    <a:pt x="3426" y="86"/>
                  </a:lnTo>
                  <a:lnTo>
                    <a:pt x="3470" y="122"/>
                  </a:lnTo>
                  <a:lnTo>
                    <a:pt x="3511" y="162"/>
                  </a:lnTo>
                  <a:lnTo>
                    <a:pt x="3547" y="208"/>
                  </a:lnTo>
                  <a:lnTo>
                    <a:pt x="3577" y="256"/>
                  </a:lnTo>
                  <a:lnTo>
                    <a:pt x="3601" y="309"/>
                  </a:lnTo>
                  <a:lnTo>
                    <a:pt x="3619" y="365"/>
                  </a:lnTo>
                  <a:lnTo>
                    <a:pt x="3630" y="423"/>
                  </a:lnTo>
                  <a:lnTo>
                    <a:pt x="3634" y="484"/>
                  </a:lnTo>
                  <a:lnTo>
                    <a:pt x="3634" y="1976"/>
                  </a:lnTo>
                  <a:lnTo>
                    <a:pt x="3634" y="3391"/>
                  </a:lnTo>
                  <a:lnTo>
                    <a:pt x="3630" y="3453"/>
                  </a:lnTo>
                  <a:lnTo>
                    <a:pt x="3619" y="3511"/>
                  </a:lnTo>
                  <a:lnTo>
                    <a:pt x="3601" y="3567"/>
                  </a:lnTo>
                  <a:lnTo>
                    <a:pt x="3577" y="3620"/>
                  </a:lnTo>
                  <a:lnTo>
                    <a:pt x="3547" y="3669"/>
                  </a:lnTo>
                  <a:lnTo>
                    <a:pt x="3511" y="3715"/>
                  </a:lnTo>
                  <a:lnTo>
                    <a:pt x="3470" y="3754"/>
                  </a:lnTo>
                  <a:lnTo>
                    <a:pt x="3426" y="3790"/>
                  </a:lnTo>
                  <a:lnTo>
                    <a:pt x="3376" y="3820"/>
                  </a:lnTo>
                  <a:lnTo>
                    <a:pt x="3324" y="3845"/>
                  </a:lnTo>
                  <a:lnTo>
                    <a:pt x="3269" y="3862"/>
                  </a:lnTo>
                  <a:lnTo>
                    <a:pt x="3210" y="3873"/>
                  </a:lnTo>
                  <a:lnTo>
                    <a:pt x="3150" y="3877"/>
                  </a:lnTo>
                  <a:lnTo>
                    <a:pt x="484" y="3877"/>
                  </a:lnTo>
                  <a:lnTo>
                    <a:pt x="423" y="3873"/>
                  </a:lnTo>
                  <a:lnTo>
                    <a:pt x="365" y="3862"/>
                  </a:lnTo>
                  <a:lnTo>
                    <a:pt x="309" y="3845"/>
                  </a:lnTo>
                  <a:lnTo>
                    <a:pt x="257" y="3820"/>
                  </a:lnTo>
                  <a:lnTo>
                    <a:pt x="208" y="3790"/>
                  </a:lnTo>
                  <a:lnTo>
                    <a:pt x="163" y="3754"/>
                  </a:lnTo>
                  <a:lnTo>
                    <a:pt x="122" y="3715"/>
                  </a:lnTo>
                  <a:lnTo>
                    <a:pt x="86" y="3669"/>
                  </a:lnTo>
                  <a:lnTo>
                    <a:pt x="57" y="3620"/>
                  </a:lnTo>
                  <a:lnTo>
                    <a:pt x="33" y="3567"/>
                  </a:lnTo>
                  <a:lnTo>
                    <a:pt x="15" y="3511"/>
                  </a:lnTo>
                  <a:lnTo>
                    <a:pt x="3" y="3453"/>
                  </a:lnTo>
                  <a:lnTo>
                    <a:pt x="0" y="3391"/>
                  </a:lnTo>
                  <a:lnTo>
                    <a:pt x="0" y="659"/>
                  </a:lnTo>
                  <a:lnTo>
                    <a:pt x="0" y="484"/>
                  </a:lnTo>
                  <a:lnTo>
                    <a:pt x="3" y="423"/>
                  </a:lnTo>
                  <a:lnTo>
                    <a:pt x="15" y="365"/>
                  </a:lnTo>
                  <a:lnTo>
                    <a:pt x="33" y="309"/>
                  </a:lnTo>
                  <a:lnTo>
                    <a:pt x="57" y="256"/>
                  </a:lnTo>
                  <a:lnTo>
                    <a:pt x="86" y="208"/>
                  </a:lnTo>
                  <a:lnTo>
                    <a:pt x="122" y="162"/>
                  </a:lnTo>
                  <a:lnTo>
                    <a:pt x="163" y="122"/>
                  </a:lnTo>
                  <a:lnTo>
                    <a:pt x="208" y="86"/>
                  </a:lnTo>
                  <a:lnTo>
                    <a:pt x="257" y="57"/>
                  </a:lnTo>
                  <a:lnTo>
                    <a:pt x="309" y="32"/>
                  </a:lnTo>
                  <a:lnTo>
                    <a:pt x="365" y="15"/>
                  </a:lnTo>
                  <a:lnTo>
                    <a:pt x="423" y="3"/>
                  </a:lnTo>
                  <a:lnTo>
                    <a:pt x="4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189">
              <a:extLst>
                <a:ext uri="{FF2B5EF4-FFF2-40B4-BE49-F238E27FC236}">
                  <a16:creationId xmlns:a16="http://schemas.microsoft.com/office/drawing/2014/main" id="{F3369179-1034-EB4C-AFD2-8D44173C81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9188" y="3546475"/>
              <a:ext cx="1411288" cy="1281113"/>
            </a:xfrm>
            <a:custGeom>
              <a:avLst/>
              <a:gdLst>
                <a:gd name="T0" fmla="*/ 1734 w 2666"/>
                <a:gd name="T1" fmla="*/ 1823 h 2423"/>
                <a:gd name="T2" fmla="*/ 2544 w 2666"/>
                <a:gd name="T3" fmla="*/ 2302 h 2423"/>
                <a:gd name="T4" fmla="*/ 2060 w 2666"/>
                <a:gd name="T5" fmla="*/ 1454 h 2423"/>
                <a:gd name="T6" fmla="*/ 121 w 2666"/>
                <a:gd name="T7" fmla="*/ 1284 h 2423"/>
                <a:gd name="T8" fmla="*/ 1988 w 2666"/>
                <a:gd name="T9" fmla="*/ 2302 h 2423"/>
                <a:gd name="T10" fmla="*/ 1583 w 2666"/>
                <a:gd name="T11" fmla="*/ 1834 h 2423"/>
                <a:gd name="T12" fmla="*/ 121 w 2666"/>
                <a:gd name="T13" fmla="*/ 122 h 2423"/>
                <a:gd name="T14" fmla="*/ 515 w 2666"/>
                <a:gd name="T15" fmla="*/ 647 h 2423"/>
                <a:gd name="T16" fmla="*/ 556 w 2666"/>
                <a:gd name="T17" fmla="*/ 616 h 2423"/>
                <a:gd name="T18" fmla="*/ 606 w 2666"/>
                <a:gd name="T19" fmla="*/ 606 h 2423"/>
                <a:gd name="T20" fmla="*/ 657 w 2666"/>
                <a:gd name="T21" fmla="*/ 616 h 2423"/>
                <a:gd name="T22" fmla="*/ 697 w 2666"/>
                <a:gd name="T23" fmla="*/ 647 h 2423"/>
                <a:gd name="T24" fmla="*/ 1968 w 2666"/>
                <a:gd name="T25" fmla="*/ 1374 h 2423"/>
                <a:gd name="T26" fmla="*/ 2009 w 2666"/>
                <a:gd name="T27" fmla="*/ 1343 h 2423"/>
                <a:gd name="T28" fmla="*/ 2060 w 2666"/>
                <a:gd name="T29" fmla="*/ 1333 h 2423"/>
                <a:gd name="T30" fmla="*/ 2110 w 2666"/>
                <a:gd name="T31" fmla="*/ 1343 h 2423"/>
                <a:gd name="T32" fmla="*/ 2150 w 2666"/>
                <a:gd name="T33" fmla="*/ 1374 h 2423"/>
                <a:gd name="T34" fmla="*/ 2544 w 2666"/>
                <a:gd name="T35" fmla="*/ 122 h 2423"/>
                <a:gd name="T36" fmla="*/ 121 w 2666"/>
                <a:gd name="T37" fmla="*/ 0 h 2423"/>
                <a:gd name="T38" fmla="*/ 2572 w 2666"/>
                <a:gd name="T39" fmla="*/ 3 h 2423"/>
                <a:gd name="T40" fmla="*/ 2620 w 2666"/>
                <a:gd name="T41" fmla="*/ 26 h 2423"/>
                <a:gd name="T42" fmla="*/ 2653 w 2666"/>
                <a:gd name="T43" fmla="*/ 68 h 2423"/>
                <a:gd name="T44" fmla="*/ 2666 w 2666"/>
                <a:gd name="T45" fmla="*/ 122 h 2423"/>
                <a:gd name="T46" fmla="*/ 2662 w 2666"/>
                <a:gd name="T47" fmla="*/ 2330 h 2423"/>
                <a:gd name="T48" fmla="*/ 2638 w 2666"/>
                <a:gd name="T49" fmla="*/ 2378 h 2423"/>
                <a:gd name="T50" fmla="*/ 2598 w 2666"/>
                <a:gd name="T51" fmla="*/ 2411 h 2423"/>
                <a:gd name="T52" fmla="*/ 2544 w 2666"/>
                <a:gd name="T53" fmla="*/ 2423 h 2423"/>
                <a:gd name="T54" fmla="*/ 94 w 2666"/>
                <a:gd name="T55" fmla="*/ 2420 h 2423"/>
                <a:gd name="T56" fmla="*/ 46 w 2666"/>
                <a:gd name="T57" fmla="*/ 2397 h 2423"/>
                <a:gd name="T58" fmla="*/ 12 w 2666"/>
                <a:gd name="T59" fmla="*/ 2356 h 2423"/>
                <a:gd name="T60" fmla="*/ 0 w 2666"/>
                <a:gd name="T61" fmla="*/ 2302 h 2423"/>
                <a:gd name="T62" fmla="*/ 4 w 2666"/>
                <a:gd name="T63" fmla="*/ 93 h 2423"/>
                <a:gd name="T64" fmla="*/ 27 w 2666"/>
                <a:gd name="T65" fmla="*/ 46 h 2423"/>
                <a:gd name="T66" fmla="*/ 68 w 2666"/>
                <a:gd name="T67" fmla="*/ 13 h 2423"/>
                <a:gd name="T68" fmla="*/ 121 w 2666"/>
                <a:gd name="T69" fmla="*/ 0 h 2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6" h="2423">
                  <a:moveTo>
                    <a:pt x="2060" y="1454"/>
                  </a:moveTo>
                  <a:lnTo>
                    <a:pt x="1734" y="1823"/>
                  </a:lnTo>
                  <a:lnTo>
                    <a:pt x="2149" y="2302"/>
                  </a:lnTo>
                  <a:lnTo>
                    <a:pt x="2544" y="2302"/>
                  </a:lnTo>
                  <a:lnTo>
                    <a:pt x="2544" y="1985"/>
                  </a:lnTo>
                  <a:lnTo>
                    <a:pt x="2060" y="1454"/>
                  </a:lnTo>
                  <a:close/>
                  <a:moveTo>
                    <a:pt x="606" y="728"/>
                  </a:moveTo>
                  <a:lnTo>
                    <a:pt x="121" y="1284"/>
                  </a:lnTo>
                  <a:lnTo>
                    <a:pt x="121" y="2302"/>
                  </a:lnTo>
                  <a:lnTo>
                    <a:pt x="1988" y="2302"/>
                  </a:lnTo>
                  <a:lnTo>
                    <a:pt x="1654" y="1915"/>
                  </a:lnTo>
                  <a:lnTo>
                    <a:pt x="1583" y="1834"/>
                  </a:lnTo>
                  <a:lnTo>
                    <a:pt x="606" y="728"/>
                  </a:lnTo>
                  <a:close/>
                  <a:moveTo>
                    <a:pt x="121" y="122"/>
                  </a:moveTo>
                  <a:lnTo>
                    <a:pt x="121" y="1101"/>
                  </a:lnTo>
                  <a:lnTo>
                    <a:pt x="515" y="647"/>
                  </a:lnTo>
                  <a:lnTo>
                    <a:pt x="535" y="630"/>
                  </a:lnTo>
                  <a:lnTo>
                    <a:pt x="556" y="616"/>
                  </a:lnTo>
                  <a:lnTo>
                    <a:pt x="581" y="609"/>
                  </a:lnTo>
                  <a:lnTo>
                    <a:pt x="606" y="606"/>
                  </a:lnTo>
                  <a:lnTo>
                    <a:pt x="632" y="609"/>
                  </a:lnTo>
                  <a:lnTo>
                    <a:pt x="657" y="616"/>
                  </a:lnTo>
                  <a:lnTo>
                    <a:pt x="678" y="630"/>
                  </a:lnTo>
                  <a:lnTo>
                    <a:pt x="697" y="647"/>
                  </a:lnTo>
                  <a:lnTo>
                    <a:pt x="1654" y="1731"/>
                  </a:lnTo>
                  <a:lnTo>
                    <a:pt x="1968" y="1374"/>
                  </a:lnTo>
                  <a:lnTo>
                    <a:pt x="1988" y="1357"/>
                  </a:lnTo>
                  <a:lnTo>
                    <a:pt x="2009" y="1343"/>
                  </a:lnTo>
                  <a:lnTo>
                    <a:pt x="2034" y="1336"/>
                  </a:lnTo>
                  <a:lnTo>
                    <a:pt x="2060" y="1333"/>
                  </a:lnTo>
                  <a:lnTo>
                    <a:pt x="2085" y="1336"/>
                  </a:lnTo>
                  <a:lnTo>
                    <a:pt x="2110" y="1343"/>
                  </a:lnTo>
                  <a:lnTo>
                    <a:pt x="2131" y="1357"/>
                  </a:lnTo>
                  <a:lnTo>
                    <a:pt x="2150" y="1374"/>
                  </a:lnTo>
                  <a:lnTo>
                    <a:pt x="2544" y="1802"/>
                  </a:lnTo>
                  <a:lnTo>
                    <a:pt x="2544" y="122"/>
                  </a:lnTo>
                  <a:lnTo>
                    <a:pt x="121" y="122"/>
                  </a:lnTo>
                  <a:close/>
                  <a:moveTo>
                    <a:pt x="121" y="0"/>
                  </a:moveTo>
                  <a:lnTo>
                    <a:pt x="2544" y="0"/>
                  </a:lnTo>
                  <a:lnTo>
                    <a:pt x="2572" y="3"/>
                  </a:lnTo>
                  <a:lnTo>
                    <a:pt x="2598" y="13"/>
                  </a:lnTo>
                  <a:lnTo>
                    <a:pt x="2620" y="26"/>
                  </a:lnTo>
                  <a:lnTo>
                    <a:pt x="2638" y="46"/>
                  </a:lnTo>
                  <a:lnTo>
                    <a:pt x="2653" y="68"/>
                  </a:lnTo>
                  <a:lnTo>
                    <a:pt x="2662" y="93"/>
                  </a:lnTo>
                  <a:lnTo>
                    <a:pt x="2666" y="122"/>
                  </a:lnTo>
                  <a:lnTo>
                    <a:pt x="2666" y="2302"/>
                  </a:lnTo>
                  <a:lnTo>
                    <a:pt x="2662" y="2330"/>
                  </a:lnTo>
                  <a:lnTo>
                    <a:pt x="2653" y="2356"/>
                  </a:lnTo>
                  <a:lnTo>
                    <a:pt x="2638" y="2378"/>
                  </a:lnTo>
                  <a:lnTo>
                    <a:pt x="2620" y="2397"/>
                  </a:lnTo>
                  <a:lnTo>
                    <a:pt x="2598" y="2411"/>
                  </a:lnTo>
                  <a:lnTo>
                    <a:pt x="2572" y="2420"/>
                  </a:lnTo>
                  <a:lnTo>
                    <a:pt x="2544" y="2423"/>
                  </a:lnTo>
                  <a:lnTo>
                    <a:pt x="121" y="2423"/>
                  </a:lnTo>
                  <a:lnTo>
                    <a:pt x="94" y="2420"/>
                  </a:lnTo>
                  <a:lnTo>
                    <a:pt x="68" y="2411"/>
                  </a:lnTo>
                  <a:lnTo>
                    <a:pt x="46" y="2397"/>
                  </a:lnTo>
                  <a:lnTo>
                    <a:pt x="27" y="2378"/>
                  </a:lnTo>
                  <a:lnTo>
                    <a:pt x="12" y="2356"/>
                  </a:lnTo>
                  <a:lnTo>
                    <a:pt x="4" y="2330"/>
                  </a:lnTo>
                  <a:lnTo>
                    <a:pt x="0" y="2302"/>
                  </a:lnTo>
                  <a:lnTo>
                    <a:pt x="0" y="122"/>
                  </a:lnTo>
                  <a:lnTo>
                    <a:pt x="4" y="93"/>
                  </a:lnTo>
                  <a:lnTo>
                    <a:pt x="12" y="68"/>
                  </a:lnTo>
                  <a:lnTo>
                    <a:pt x="27" y="46"/>
                  </a:lnTo>
                  <a:lnTo>
                    <a:pt x="46" y="26"/>
                  </a:lnTo>
                  <a:lnTo>
                    <a:pt x="68" y="13"/>
                  </a:lnTo>
                  <a:lnTo>
                    <a:pt x="94" y="3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190">
              <a:extLst>
                <a:ext uri="{FF2B5EF4-FFF2-40B4-BE49-F238E27FC236}">
                  <a16:creationId xmlns:a16="http://schemas.microsoft.com/office/drawing/2014/main" id="{17C74CA6-C8B9-9D46-89C4-0E0C5B9FE3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9125" y="3738563"/>
              <a:ext cx="384175" cy="384175"/>
            </a:xfrm>
            <a:custGeom>
              <a:avLst/>
              <a:gdLst>
                <a:gd name="T0" fmla="*/ 324 w 727"/>
                <a:gd name="T1" fmla="*/ 123 h 727"/>
                <a:gd name="T2" fmla="*/ 252 w 727"/>
                <a:gd name="T3" fmla="*/ 148 h 727"/>
                <a:gd name="T4" fmla="*/ 192 w 727"/>
                <a:gd name="T5" fmla="*/ 191 h 727"/>
                <a:gd name="T6" fmla="*/ 149 w 727"/>
                <a:gd name="T7" fmla="*/ 252 h 727"/>
                <a:gd name="T8" fmla="*/ 124 w 727"/>
                <a:gd name="T9" fmla="*/ 324 h 727"/>
                <a:gd name="T10" fmla="*/ 124 w 727"/>
                <a:gd name="T11" fmla="*/ 402 h 727"/>
                <a:gd name="T12" fmla="*/ 149 w 727"/>
                <a:gd name="T13" fmla="*/ 475 h 727"/>
                <a:gd name="T14" fmla="*/ 192 w 727"/>
                <a:gd name="T15" fmla="*/ 535 h 727"/>
                <a:gd name="T16" fmla="*/ 252 w 727"/>
                <a:gd name="T17" fmla="*/ 579 h 727"/>
                <a:gd name="T18" fmla="*/ 324 w 727"/>
                <a:gd name="T19" fmla="*/ 603 h 727"/>
                <a:gd name="T20" fmla="*/ 407 w 727"/>
                <a:gd name="T21" fmla="*/ 601 h 727"/>
                <a:gd name="T22" fmla="*/ 486 w 727"/>
                <a:gd name="T23" fmla="*/ 573 h 727"/>
                <a:gd name="T24" fmla="*/ 549 w 727"/>
                <a:gd name="T25" fmla="*/ 520 h 727"/>
                <a:gd name="T26" fmla="*/ 591 w 727"/>
                <a:gd name="T27" fmla="*/ 448 h 727"/>
                <a:gd name="T28" fmla="*/ 606 w 727"/>
                <a:gd name="T29" fmla="*/ 364 h 727"/>
                <a:gd name="T30" fmla="*/ 591 w 727"/>
                <a:gd name="T31" fmla="*/ 278 h 727"/>
                <a:gd name="T32" fmla="*/ 549 w 727"/>
                <a:gd name="T33" fmla="*/ 207 h 727"/>
                <a:gd name="T34" fmla="*/ 486 w 727"/>
                <a:gd name="T35" fmla="*/ 154 h 727"/>
                <a:gd name="T36" fmla="*/ 407 w 727"/>
                <a:gd name="T37" fmla="*/ 124 h 727"/>
                <a:gd name="T38" fmla="*/ 363 w 727"/>
                <a:gd name="T39" fmla="*/ 0 h 727"/>
                <a:gd name="T40" fmla="*/ 460 w 727"/>
                <a:gd name="T41" fmla="*/ 13 h 727"/>
                <a:gd name="T42" fmla="*/ 547 w 727"/>
                <a:gd name="T43" fmla="*/ 50 h 727"/>
                <a:gd name="T44" fmla="*/ 621 w 727"/>
                <a:gd name="T45" fmla="*/ 106 h 727"/>
                <a:gd name="T46" fmla="*/ 678 w 727"/>
                <a:gd name="T47" fmla="*/ 180 h 727"/>
                <a:gd name="T48" fmla="*/ 714 w 727"/>
                <a:gd name="T49" fmla="*/ 267 h 727"/>
                <a:gd name="T50" fmla="*/ 727 w 727"/>
                <a:gd name="T51" fmla="*/ 364 h 727"/>
                <a:gd name="T52" fmla="*/ 714 w 727"/>
                <a:gd name="T53" fmla="*/ 460 h 727"/>
                <a:gd name="T54" fmla="*/ 678 w 727"/>
                <a:gd name="T55" fmla="*/ 547 h 727"/>
                <a:gd name="T56" fmla="*/ 621 w 727"/>
                <a:gd name="T57" fmla="*/ 620 h 727"/>
                <a:gd name="T58" fmla="*/ 547 w 727"/>
                <a:gd name="T59" fmla="*/ 677 h 727"/>
                <a:gd name="T60" fmla="*/ 460 w 727"/>
                <a:gd name="T61" fmla="*/ 713 h 727"/>
                <a:gd name="T62" fmla="*/ 363 w 727"/>
                <a:gd name="T63" fmla="*/ 727 h 727"/>
                <a:gd name="T64" fmla="*/ 267 w 727"/>
                <a:gd name="T65" fmla="*/ 713 h 727"/>
                <a:gd name="T66" fmla="*/ 180 w 727"/>
                <a:gd name="T67" fmla="*/ 677 h 727"/>
                <a:gd name="T68" fmla="*/ 107 w 727"/>
                <a:gd name="T69" fmla="*/ 620 h 727"/>
                <a:gd name="T70" fmla="*/ 50 w 727"/>
                <a:gd name="T71" fmla="*/ 547 h 727"/>
                <a:gd name="T72" fmla="*/ 13 w 727"/>
                <a:gd name="T73" fmla="*/ 460 h 727"/>
                <a:gd name="T74" fmla="*/ 0 w 727"/>
                <a:gd name="T75" fmla="*/ 364 h 727"/>
                <a:gd name="T76" fmla="*/ 13 w 727"/>
                <a:gd name="T77" fmla="*/ 267 h 727"/>
                <a:gd name="T78" fmla="*/ 50 w 727"/>
                <a:gd name="T79" fmla="*/ 180 h 727"/>
                <a:gd name="T80" fmla="*/ 107 w 727"/>
                <a:gd name="T81" fmla="*/ 106 h 727"/>
                <a:gd name="T82" fmla="*/ 180 w 727"/>
                <a:gd name="T83" fmla="*/ 50 h 727"/>
                <a:gd name="T84" fmla="*/ 267 w 727"/>
                <a:gd name="T85" fmla="*/ 13 h 727"/>
                <a:gd name="T86" fmla="*/ 363 w 727"/>
                <a:gd name="T87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27" h="727">
                  <a:moveTo>
                    <a:pt x="363" y="121"/>
                  </a:moveTo>
                  <a:lnTo>
                    <a:pt x="324" y="123"/>
                  </a:lnTo>
                  <a:lnTo>
                    <a:pt x="286" y="133"/>
                  </a:lnTo>
                  <a:lnTo>
                    <a:pt x="252" y="148"/>
                  </a:lnTo>
                  <a:lnTo>
                    <a:pt x="221" y="168"/>
                  </a:lnTo>
                  <a:lnTo>
                    <a:pt x="192" y="191"/>
                  </a:lnTo>
                  <a:lnTo>
                    <a:pt x="167" y="220"/>
                  </a:lnTo>
                  <a:lnTo>
                    <a:pt x="149" y="252"/>
                  </a:lnTo>
                  <a:lnTo>
                    <a:pt x="134" y="287"/>
                  </a:lnTo>
                  <a:lnTo>
                    <a:pt x="124" y="324"/>
                  </a:lnTo>
                  <a:lnTo>
                    <a:pt x="122" y="364"/>
                  </a:lnTo>
                  <a:lnTo>
                    <a:pt x="124" y="402"/>
                  </a:lnTo>
                  <a:lnTo>
                    <a:pt x="134" y="439"/>
                  </a:lnTo>
                  <a:lnTo>
                    <a:pt x="149" y="475"/>
                  </a:lnTo>
                  <a:lnTo>
                    <a:pt x="167" y="506"/>
                  </a:lnTo>
                  <a:lnTo>
                    <a:pt x="192" y="535"/>
                  </a:lnTo>
                  <a:lnTo>
                    <a:pt x="221" y="559"/>
                  </a:lnTo>
                  <a:lnTo>
                    <a:pt x="252" y="579"/>
                  </a:lnTo>
                  <a:lnTo>
                    <a:pt x="286" y="593"/>
                  </a:lnTo>
                  <a:lnTo>
                    <a:pt x="324" y="603"/>
                  </a:lnTo>
                  <a:lnTo>
                    <a:pt x="363" y="605"/>
                  </a:lnTo>
                  <a:lnTo>
                    <a:pt x="407" y="601"/>
                  </a:lnTo>
                  <a:lnTo>
                    <a:pt x="447" y="590"/>
                  </a:lnTo>
                  <a:lnTo>
                    <a:pt x="486" y="573"/>
                  </a:lnTo>
                  <a:lnTo>
                    <a:pt x="519" y="548"/>
                  </a:lnTo>
                  <a:lnTo>
                    <a:pt x="549" y="520"/>
                  </a:lnTo>
                  <a:lnTo>
                    <a:pt x="573" y="485"/>
                  </a:lnTo>
                  <a:lnTo>
                    <a:pt x="591" y="448"/>
                  </a:lnTo>
                  <a:lnTo>
                    <a:pt x="602" y="407"/>
                  </a:lnTo>
                  <a:lnTo>
                    <a:pt x="606" y="364"/>
                  </a:lnTo>
                  <a:lnTo>
                    <a:pt x="602" y="320"/>
                  </a:lnTo>
                  <a:lnTo>
                    <a:pt x="591" y="278"/>
                  </a:lnTo>
                  <a:lnTo>
                    <a:pt x="573" y="241"/>
                  </a:lnTo>
                  <a:lnTo>
                    <a:pt x="549" y="207"/>
                  </a:lnTo>
                  <a:lnTo>
                    <a:pt x="519" y="178"/>
                  </a:lnTo>
                  <a:lnTo>
                    <a:pt x="486" y="154"/>
                  </a:lnTo>
                  <a:lnTo>
                    <a:pt x="447" y="136"/>
                  </a:lnTo>
                  <a:lnTo>
                    <a:pt x="407" y="124"/>
                  </a:lnTo>
                  <a:lnTo>
                    <a:pt x="363" y="121"/>
                  </a:lnTo>
                  <a:close/>
                  <a:moveTo>
                    <a:pt x="363" y="0"/>
                  </a:moveTo>
                  <a:lnTo>
                    <a:pt x="413" y="3"/>
                  </a:lnTo>
                  <a:lnTo>
                    <a:pt x="460" y="13"/>
                  </a:lnTo>
                  <a:lnTo>
                    <a:pt x="504" y="29"/>
                  </a:lnTo>
                  <a:lnTo>
                    <a:pt x="547" y="50"/>
                  </a:lnTo>
                  <a:lnTo>
                    <a:pt x="585" y="76"/>
                  </a:lnTo>
                  <a:lnTo>
                    <a:pt x="621" y="106"/>
                  </a:lnTo>
                  <a:lnTo>
                    <a:pt x="651" y="142"/>
                  </a:lnTo>
                  <a:lnTo>
                    <a:pt x="678" y="180"/>
                  </a:lnTo>
                  <a:lnTo>
                    <a:pt x="699" y="222"/>
                  </a:lnTo>
                  <a:lnTo>
                    <a:pt x="714" y="267"/>
                  </a:lnTo>
                  <a:lnTo>
                    <a:pt x="724" y="314"/>
                  </a:lnTo>
                  <a:lnTo>
                    <a:pt x="727" y="364"/>
                  </a:lnTo>
                  <a:lnTo>
                    <a:pt x="724" y="412"/>
                  </a:lnTo>
                  <a:lnTo>
                    <a:pt x="714" y="460"/>
                  </a:lnTo>
                  <a:lnTo>
                    <a:pt x="699" y="505"/>
                  </a:lnTo>
                  <a:lnTo>
                    <a:pt x="678" y="547"/>
                  </a:lnTo>
                  <a:lnTo>
                    <a:pt x="651" y="585"/>
                  </a:lnTo>
                  <a:lnTo>
                    <a:pt x="621" y="620"/>
                  </a:lnTo>
                  <a:lnTo>
                    <a:pt x="585" y="651"/>
                  </a:lnTo>
                  <a:lnTo>
                    <a:pt x="547" y="677"/>
                  </a:lnTo>
                  <a:lnTo>
                    <a:pt x="504" y="698"/>
                  </a:lnTo>
                  <a:lnTo>
                    <a:pt x="460" y="713"/>
                  </a:lnTo>
                  <a:lnTo>
                    <a:pt x="413" y="723"/>
                  </a:lnTo>
                  <a:lnTo>
                    <a:pt x="363" y="727"/>
                  </a:lnTo>
                  <a:lnTo>
                    <a:pt x="314" y="723"/>
                  </a:lnTo>
                  <a:lnTo>
                    <a:pt x="267" y="713"/>
                  </a:lnTo>
                  <a:lnTo>
                    <a:pt x="222" y="698"/>
                  </a:lnTo>
                  <a:lnTo>
                    <a:pt x="180" y="677"/>
                  </a:lnTo>
                  <a:lnTo>
                    <a:pt x="141" y="651"/>
                  </a:lnTo>
                  <a:lnTo>
                    <a:pt x="107" y="620"/>
                  </a:lnTo>
                  <a:lnTo>
                    <a:pt x="76" y="585"/>
                  </a:lnTo>
                  <a:lnTo>
                    <a:pt x="50" y="547"/>
                  </a:lnTo>
                  <a:lnTo>
                    <a:pt x="29" y="505"/>
                  </a:lnTo>
                  <a:lnTo>
                    <a:pt x="13" y="460"/>
                  </a:lnTo>
                  <a:lnTo>
                    <a:pt x="4" y="412"/>
                  </a:lnTo>
                  <a:lnTo>
                    <a:pt x="0" y="364"/>
                  </a:lnTo>
                  <a:lnTo>
                    <a:pt x="4" y="314"/>
                  </a:lnTo>
                  <a:lnTo>
                    <a:pt x="13" y="267"/>
                  </a:lnTo>
                  <a:lnTo>
                    <a:pt x="29" y="222"/>
                  </a:lnTo>
                  <a:lnTo>
                    <a:pt x="50" y="180"/>
                  </a:lnTo>
                  <a:lnTo>
                    <a:pt x="76" y="142"/>
                  </a:lnTo>
                  <a:lnTo>
                    <a:pt x="107" y="106"/>
                  </a:lnTo>
                  <a:lnTo>
                    <a:pt x="141" y="76"/>
                  </a:lnTo>
                  <a:lnTo>
                    <a:pt x="180" y="50"/>
                  </a:lnTo>
                  <a:lnTo>
                    <a:pt x="222" y="29"/>
                  </a:lnTo>
                  <a:lnTo>
                    <a:pt x="267" y="13"/>
                  </a:lnTo>
                  <a:lnTo>
                    <a:pt x="314" y="3"/>
                  </a:lnTo>
                  <a:lnTo>
                    <a:pt x="3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3" name="Группа 23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85C32D95-CEF4-2F40-A42B-896F189E7F97}"/>
              </a:ext>
            </a:extLst>
          </p:cNvPr>
          <p:cNvGrpSpPr/>
          <p:nvPr/>
        </p:nvGrpSpPr>
        <p:grpSpPr>
          <a:xfrm>
            <a:off x="1463852" y="4478989"/>
            <a:ext cx="384664" cy="381161"/>
            <a:chOff x="5929313" y="3287713"/>
            <a:chExt cx="1917700" cy="1900238"/>
          </a:xfrm>
          <a:solidFill>
            <a:schemeClr val="bg2">
              <a:lumMod val="25000"/>
            </a:schemeClr>
          </a:solidFill>
        </p:grpSpPr>
        <p:sp>
          <p:nvSpPr>
            <p:cNvPr id="34" name="Freeform 208">
              <a:extLst>
                <a:ext uri="{FF2B5EF4-FFF2-40B4-BE49-F238E27FC236}">
                  <a16:creationId xmlns:a16="http://schemas.microsoft.com/office/drawing/2014/main" id="{8393E402-55A0-5942-BB7B-D957C3C2C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9313" y="3287713"/>
              <a:ext cx="1917700" cy="1900238"/>
            </a:xfrm>
            <a:custGeom>
              <a:avLst/>
              <a:gdLst>
                <a:gd name="T0" fmla="*/ 1526 w 3625"/>
                <a:gd name="T1" fmla="*/ 685 h 3593"/>
                <a:gd name="T2" fmla="*/ 1287 w 3625"/>
                <a:gd name="T3" fmla="*/ 799 h 3593"/>
                <a:gd name="T4" fmla="*/ 1095 w 3625"/>
                <a:gd name="T5" fmla="*/ 772 h 3593"/>
                <a:gd name="T6" fmla="*/ 814 w 3625"/>
                <a:gd name="T7" fmla="*/ 1178 h 3593"/>
                <a:gd name="T8" fmla="*/ 744 w 3625"/>
                <a:gd name="T9" fmla="*/ 1429 h 3593"/>
                <a:gd name="T10" fmla="*/ 607 w 3625"/>
                <a:gd name="T11" fmla="*/ 1566 h 3593"/>
                <a:gd name="T12" fmla="*/ 637 w 3625"/>
                <a:gd name="T13" fmla="*/ 2041 h 3593"/>
                <a:gd name="T14" fmla="*/ 767 w 3625"/>
                <a:gd name="T15" fmla="*/ 2225 h 3593"/>
                <a:gd name="T16" fmla="*/ 807 w 3625"/>
                <a:gd name="T17" fmla="*/ 2447 h 3593"/>
                <a:gd name="T18" fmla="*/ 1125 w 3625"/>
                <a:gd name="T19" fmla="*/ 2804 h 3593"/>
                <a:gd name="T20" fmla="*/ 1320 w 3625"/>
                <a:gd name="T21" fmla="*/ 2805 h 3593"/>
                <a:gd name="T22" fmla="*/ 1548 w 3625"/>
                <a:gd name="T23" fmla="*/ 2934 h 3593"/>
                <a:gd name="T24" fmla="*/ 2037 w 3625"/>
                <a:gd name="T25" fmla="*/ 3025 h 3593"/>
                <a:gd name="T26" fmla="*/ 2153 w 3625"/>
                <a:gd name="T27" fmla="*/ 2870 h 3593"/>
                <a:gd name="T28" fmla="*/ 2404 w 3625"/>
                <a:gd name="T29" fmla="*/ 2783 h 3593"/>
                <a:gd name="T30" fmla="*/ 3042 w 3625"/>
                <a:gd name="T31" fmla="*/ 2800 h 3593"/>
                <a:gd name="T32" fmla="*/ 2811 w 3625"/>
                <a:gd name="T33" fmla="*/ 2349 h 3593"/>
                <a:gd name="T34" fmla="*/ 2913 w 3625"/>
                <a:gd name="T35" fmla="*/ 2105 h 3593"/>
                <a:gd name="T36" fmla="*/ 3398 w 3625"/>
                <a:gd name="T37" fmla="*/ 1949 h 3593"/>
                <a:gd name="T38" fmla="*/ 2935 w 3625"/>
                <a:gd name="T39" fmla="*/ 1512 h 3593"/>
                <a:gd name="T40" fmla="*/ 2819 w 3625"/>
                <a:gd name="T41" fmla="*/ 1276 h 3593"/>
                <a:gd name="T42" fmla="*/ 2847 w 3625"/>
                <a:gd name="T43" fmla="*/ 1085 h 3593"/>
                <a:gd name="T44" fmla="*/ 2438 w 3625"/>
                <a:gd name="T45" fmla="*/ 807 h 3593"/>
                <a:gd name="T46" fmla="*/ 2184 w 3625"/>
                <a:gd name="T47" fmla="*/ 737 h 3593"/>
                <a:gd name="T48" fmla="*/ 2045 w 3625"/>
                <a:gd name="T49" fmla="*/ 602 h 3593"/>
                <a:gd name="T50" fmla="*/ 2036 w 3625"/>
                <a:gd name="T51" fmla="*/ 11 h 3593"/>
                <a:gd name="T52" fmla="*/ 2179 w 3625"/>
                <a:gd name="T53" fmla="*/ 147 h 3593"/>
                <a:gd name="T54" fmla="*/ 2728 w 3625"/>
                <a:gd name="T55" fmla="*/ 373 h 3593"/>
                <a:gd name="T56" fmla="*/ 2927 w 3625"/>
                <a:gd name="T57" fmla="*/ 377 h 3593"/>
                <a:gd name="T58" fmla="*/ 3258 w 3625"/>
                <a:gd name="T59" fmla="*/ 721 h 3593"/>
                <a:gd name="T60" fmla="*/ 3231 w 3625"/>
                <a:gd name="T61" fmla="*/ 918 h 3593"/>
                <a:gd name="T62" fmla="*/ 3508 w 3625"/>
                <a:gd name="T63" fmla="*/ 1447 h 3593"/>
                <a:gd name="T64" fmla="*/ 3623 w 3625"/>
                <a:gd name="T65" fmla="*/ 1609 h 3593"/>
                <a:gd name="T66" fmla="*/ 3585 w 3625"/>
                <a:gd name="T67" fmla="*/ 2078 h 3593"/>
                <a:gd name="T68" fmla="*/ 3096 w 3625"/>
                <a:gd name="T69" fmla="*/ 2238 h 3593"/>
                <a:gd name="T70" fmla="*/ 3267 w 3625"/>
                <a:gd name="T71" fmla="*/ 2772 h 3593"/>
                <a:gd name="T72" fmla="*/ 3203 w 3625"/>
                <a:gd name="T73" fmla="*/ 2959 h 3593"/>
                <a:gd name="T74" fmla="*/ 2825 w 3625"/>
                <a:gd name="T75" fmla="*/ 3240 h 3593"/>
                <a:gd name="T76" fmla="*/ 2333 w 3625"/>
                <a:gd name="T77" fmla="*/ 3039 h 3593"/>
                <a:gd name="T78" fmla="*/ 2124 w 3625"/>
                <a:gd name="T79" fmla="*/ 3530 h 3593"/>
                <a:gd name="T80" fmla="*/ 1658 w 3625"/>
                <a:gd name="T81" fmla="*/ 3593 h 3593"/>
                <a:gd name="T82" fmla="*/ 1479 w 3625"/>
                <a:gd name="T83" fmla="*/ 3506 h 3593"/>
                <a:gd name="T84" fmla="*/ 1221 w 3625"/>
                <a:gd name="T85" fmla="*/ 3007 h 3593"/>
                <a:gd name="T86" fmla="*/ 766 w 3625"/>
                <a:gd name="T87" fmla="*/ 3238 h 3593"/>
                <a:gd name="T88" fmla="*/ 398 w 3625"/>
                <a:gd name="T89" fmla="*/ 2932 h 3593"/>
                <a:gd name="T90" fmla="*/ 364 w 3625"/>
                <a:gd name="T91" fmla="*/ 2739 h 3593"/>
                <a:gd name="T92" fmla="*/ 182 w 3625"/>
                <a:gd name="T93" fmla="*/ 2169 h 3593"/>
                <a:gd name="T94" fmla="*/ 24 w 3625"/>
                <a:gd name="T95" fmla="*/ 2049 h 3593"/>
                <a:gd name="T96" fmla="*/ 10 w 3625"/>
                <a:gd name="T97" fmla="*/ 1576 h 3593"/>
                <a:gd name="T98" fmla="*/ 148 w 3625"/>
                <a:gd name="T99" fmla="*/ 1433 h 3593"/>
                <a:gd name="T100" fmla="*/ 376 w 3625"/>
                <a:gd name="T101" fmla="*/ 887 h 3593"/>
                <a:gd name="T102" fmla="*/ 381 w 3625"/>
                <a:gd name="T103" fmla="*/ 690 h 3593"/>
                <a:gd name="T104" fmla="*/ 731 w 3625"/>
                <a:gd name="T105" fmla="*/ 363 h 3593"/>
                <a:gd name="T106" fmla="*/ 926 w 3625"/>
                <a:gd name="T107" fmla="*/ 389 h 3593"/>
                <a:gd name="T108" fmla="*/ 1461 w 3625"/>
                <a:gd name="T109" fmla="*/ 115 h 3593"/>
                <a:gd name="T110" fmla="*/ 1623 w 3625"/>
                <a:gd name="T111" fmla="*/ 3 h 3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625" h="3593">
                  <a:moveTo>
                    <a:pt x="1658" y="225"/>
                  </a:moveTo>
                  <a:lnTo>
                    <a:pt x="1588" y="569"/>
                  </a:lnTo>
                  <a:lnTo>
                    <a:pt x="1579" y="602"/>
                  </a:lnTo>
                  <a:lnTo>
                    <a:pt x="1566" y="632"/>
                  </a:lnTo>
                  <a:lnTo>
                    <a:pt x="1548" y="659"/>
                  </a:lnTo>
                  <a:lnTo>
                    <a:pt x="1526" y="685"/>
                  </a:lnTo>
                  <a:lnTo>
                    <a:pt x="1500" y="706"/>
                  </a:lnTo>
                  <a:lnTo>
                    <a:pt x="1472" y="724"/>
                  </a:lnTo>
                  <a:lnTo>
                    <a:pt x="1441" y="737"/>
                  </a:lnTo>
                  <a:lnTo>
                    <a:pt x="1379" y="760"/>
                  </a:lnTo>
                  <a:lnTo>
                    <a:pt x="1320" y="788"/>
                  </a:lnTo>
                  <a:lnTo>
                    <a:pt x="1287" y="799"/>
                  </a:lnTo>
                  <a:lnTo>
                    <a:pt x="1255" y="807"/>
                  </a:lnTo>
                  <a:lnTo>
                    <a:pt x="1221" y="810"/>
                  </a:lnTo>
                  <a:lnTo>
                    <a:pt x="1187" y="807"/>
                  </a:lnTo>
                  <a:lnTo>
                    <a:pt x="1155" y="799"/>
                  </a:lnTo>
                  <a:lnTo>
                    <a:pt x="1125" y="788"/>
                  </a:lnTo>
                  <a:lnTo>
                    <a:pt x="1095" y="772"/>
                  </a:lnTo>
                  <a:lnTo>
                    <a:pt x="799" y="577"/>
                  </a:lnTo>
                  <a:lnTo>
                    <a:pt x="581" y="793"/>
                  </a:lnTo>
                  <a:lnTo>
                    <a:pt x="778" y="1085"/>
                  </a:lnTo>
                  <a:lnTo>
                    <a:pt x="796" y="1115"/>
                  </a:lnTo>
                  <a:lnTo>
                    <a:pt x="807" y="1146"/>
                  </a:lnTo>
                  <a:lnTo>
                    <a:pt x="814" y="1178"/>
                  </a:lnTo>
                  <a:lnTo>
                    <a:pt x="817" y="1212"/>
                  </a:lnTo>
                  <a:lnTo>
                    <a:pt x="814" y="1244"/>
                  </a:lnTo>
                  <a:lnTo>
                    <a:pt x="806" y="1276"/>
                  </a:lnTo>
                  <a:lnTo>
                    <a:pt x="794" y="1308"/>
                  </a:lnTo>
                  <a:lnTo>
                    <a:pt x="767" y="1368"/>
                  </a:lnTo>
                  <a:lnTo>
                    <a:pt x="744" y="1429"/>
                  </a:lnTo>
                  <a:lnTo>
                    <a:pt x="730" y="1460"/>
                  </a:lnTo>
                  <a:lnTo>
                    <a:pt x="712" y="1487"/>
                  </a:lnTo>
                  <a:lnTo>
                    <a:pt x="690" y="1512"/>
                  </a:lnTo>
                  <a:lnTo>
                    <a:pt x="665" y="1534"/>
                  </a:lnTo>
                  <a:lnTo>
                    <a:pt x="637" y="1553"/>
                  </a:lnTo>
                  <a:lnTo>
                    <a:pt x="607" y="1566"/>
                  </a:lnTo>
                  <a:lnTo>
                    <a:pt x="575" y="1576"/>
                  </a:lnTo>
                  <a:lnTo>
                    <a:pt x="227" y="1643"/>
                  </a:lnTo>
                  <a:lnTo>
                    <a:pt x="227" y="1949"/>
                  </a:lnTo>
                  <a:lnTo>
                    <a:pt x="575" y="2018"/>
                  </a:lnTo>
                  <a:lnTo>
                    <a:pt x="607" y="2027"/>
                  </a:lnTo>
                  <a:lnTo>
                    <a:pt x="637" y="2041"/>
                  </a:lnTo>
                  <a:lnTo>
                    <a:pt x="666" y="2059"/>
                  </a:lnTo>
                  <a:lnTo>
                    <a:pt x="690" y="2081"/>
                  </a:lnTo>
                  <a:lnTo>
                    <a:pt x="712" y="2105"/>
                  </a:lnTo>
                  <a:lnTo>
                    <a:pt x="730" y="2134"/>
                  </a:lnTo>
                  <a:lnTo>
                    <a:pt x="744" y="2165"/>
                  </a:lnTo>
                  <a:lnTo>
                    <a:pt x="767" y="2225"/>
                  </a:lnTo>
                  <a:lnTo>
                    <a:pt x="795" y="2285"/>
                  </a:lnTo>
                  <a:lnTo>
                    <a:pt x="806" y="2316"/>
                  </a:lnTo>
                  <a:lnTo>
                    <a:pt x="814" y="2349"/>
                  </a:lnTo>
                  <a:lnTo>
                    <a:pt x="817" y="2382"/>
                  </a:lnTo>
                  <a:lnTo>
                    <a:pt x="814" y="2415"/>
                  </a:lnTo>
                  <a:lnTo>
                    <a:pt x="807" y="2447"/>
                  </a:lnTo>
                  <a:lnTo>
                    <a:pt x="796" y="2478"/>
                  </a:lnTo>
                  <a:lnTo>
                    <a:pt x="778" y="2508"/>
                  </a:lnTo>
                  <a:lnTo>
                    <a:pt x="581" y="2800"/>
                  </a:lnTo>
                  <a:lnTo>
                    <a:pt x="800" y="3015"/>
                  </a:lnTo>
                  <a:lnTo>
                    <a:pt x="1095" y="2821"/>
                  </a:lnTo>
                  <a:lnTo>
                    <a:pt x="1125" y="2804"/>
                  </a:lnTo>
                  <a:lnTo>
                    <a:pt x="1155" y="2793"/>
                  </a:lnTo>
                  <a:lnTo>
                    <a:pt x="1187" y="2786"/>
                  </a:lnTo>
                  <a:lnTo>
                    <a:pt x="1221" y="2783"/>
                  </a:lnTo>
                  <a:lnTo>
                    <a:pt x="1255" y="2786"/>
                  </a:lnTo>
                  <a:lnTo>
                    <a:pt x="1287" y="2794"/>
                  </a:lnTo>
                  <a:lnTo>
                    <a:pt x="1320" y="2805"/>
                  </a:lnTo>
                  <a:lnTo>
                    <a:pt x="1380" y="2833"/>
                  </a:lnTo>
                  <a:lnTo>
                    <a:pt x="1441" y="2856"/>
                  </a:lnTo>
                  <a:lnTo>
                    <a:pt x="1472" y="2870"/>
                  </a:lnTo>
                  <a:lnTo>
                    <a:pt x="1501" y="2887"/>
                  </a:lnTo>
                  <a:lnTo>
                    <a:pt x="1527" y="2909"/>
                  </a:lnTo>
                  <a:lnTo>
                    <a:pt x="1548" y="2934"/>
                  </a:lnTo>
                  <a:lnTo>
                    <a:pt x="1566" y="2961"/>
                  </a:lnTo>
                  <a:lnTo>
                    <a:pt x="1580" y="2991"/>
                  </a:lnTo>
                  <a:lnTo>
                    <a:pt x="1589" y="3025"/>
                  </a:lnTo>
                  <a:lnTo>
                    <a:pt x="1658" y="3368"/>
                  </a:lnTo>
                  <a:lnTo>
                    <a:pt x="1966" y="3368"/>
                  </a:lnTo>
                  <a:lnTo>
                    <a:pt x="2037" y="3025"/>
                  </a:lnTo>
                  <a:lnTo>
                    <a:pt x="2046" y="2991"/>
                  </a:lnTo>
                  <a:lnTo>
                    <a:pt x="2059" y="2961"/>
                  </a:lnTo>
                  <a:lnTo>
                    <a:pt x="2077" y="2934"/>
                  </a:lnTo>
                  <a:lnTo>
                    <a:pt x="2099" y="2909"/>
                  </a:lnTo>
                  <a:lnTo>
                    <a:pt x="2125" y="2887"/>
                  </a:lnTo>
                  <a:lnTo>
                    <a:pt x="2153" y="2870"/>
                  </a:lnTo>
                  <a:lnTo>
                    <a:pt x="2184" y="2856"/>
                  </a:lnTo>
                  <a:lnTo>
                    <a:pt x="2245" y="2833"/>
                  </a:lnTo>
                  <a:lnTo>
                    <a:pt x="2306" y="2805"/>
                  </a:lnTo>
                  <a:lnTo>
                    <a:pt x="2338" y="2794"/>
                  </a:lnTo>
                  <a:lnTo>
                    <a:pt x="2370" y="2786"/>
                  </a:lnTo>
                  <a:lnTo>
                    <a:pt x="2404" y="2783"/>
                  </a:lnTo>
                  <a:lnTo>
                    <a:pt x="2438" y="2786"/>
                  </a:lnTo>
                  <a:lnTo>
                    <a:pt x="2470" y="2793"/>
                  </a:lnTo>
                  <a:lnTo>
                    <a:pt x="2501" y="2804"/>
                  </a:lnTo>
                  <a:lnTo>
                    <a:pt x="2530" y="2821"/>
                  </a:lnTo>
                  <a:lnTo>
                    <a:pt x="2825" y="3015"/>
                  </a:lnTo>
                  <a:lnTo>
                    <a:pt x="3042" y="2800"/>
                  </a:lnTo>
                  <a:lnTo>
                    <a:pt x="2847" y="2508"/>
                  </a:lnTo>
                  <a:lnTo>
                    <a:pt x="2829" y="2478"/>
                  </a:lnTo>
                  <a:lnTo>
                    <a:pt x="2818" y="2447"/>
                  </a:lnTo>
                  <a:lnTo>
                    <a:pt x="2811" y="2415"/>
                  </a:lnTo>
                  <a:lnTo>
                    <a:pt x="2808" y="2382"/>
                  </a:lnTo>
                  <a:lnTo>
                    <a:pt x="2811" y="2349"/>
                  </a:lnTo>
                  <a:lnTo>
                    <a:pt x="2819" y="2316"/>
                  </a:lnTo>
                  <a:lnTo>
                    <a:pt x="2832" y="2285"/>
                  </a:lnTo>
                  <a:lnTo>
                    <a:pt x="2858" y="2225"/>
                  </a:lnTo>
                  <a:lnTo>
                    <a:pt x="2883" y="2165"/>
                  </a:lnTo>
                  <a:lnTo>
                    <a:pt x="2895" y="2134"/>
                  </a:lnTo>
                  <a:lnTo>
                    <a:pt x="2913" y="2105"/>
                  </a:lnTo>
                  <a:lnTo>
                    <a:pt x="2935" y="2080"/>
                  </a:lnTo>
                  <a:lnTo>
                    <a:pt x="2960" y="2059"/>
                  </a:lnTo>
                  <a:lnTo>
                    <a:pt x="2988" y="2041"/>
                  </a:lnTo>
                  <a:lnTo>
                    <a:pt x="3018" y="2027"/>
                  </a:lnTo>
                  <a:lnTo>
                    <a:pt x="3052" y="2018"/>
                  </a:lnTo>
                  <a:lnTo>
                    <a:pt x="3398" y="1949"/>
                  </a:lnTo>
                  <a:lnTo>
                    <a:pt x="3398" y="1643"/>
                  </a:lnTo>
                  <a:lnTo>
                    <a:pt x="3052" y="1574"/>
                  </a:lnTo>
                  <a:lnTo>
                    <a:pt x="3018" y="1565"/>
                  </a:lnTo>
                  <a:lnTo>
                    <a:pt x="2988" y="1553"/>
                  </a:lnTo>
                  <a:lnTo>
                    <a:pt x="2960" y="1534"/>
                  </a:lnTo>
                  <a:lnTo>
                    <a:pt x="2935" y="1512"/>
                  </a:lnTo>
                  <a:lnTo>
                    <a:pt x="2913" y="1487"/>
                  </a:lnTo>
                  <a:lnTo>
                    <a:pt x="2895" y="1460"/>
                  </a:lnTo>
                  <a:lnTo>
                    <a:pt x="2881" y="1429"/>
                  </a:lnTo>
                  <a:lnTo>
                    <a:pt x="2858" y="1367"/>
                  </a:lnTo>
                  <a:lnTo>
                    <a:pt x="2832" y="1308"/>
                  </a:lnTo>
                  <a:lnTo>
                    <a:pt x="2819" y="1276"/>
                  </a:lnTo>
                  <a:lnTo>
                    <a:pt x="2811" y="1244"/>
                  </a:lnTo>
                  <a:lnTo>
                    <a:pt x="2808" y="1212"/>
                  </a:lnTo>
                  <a:lnTo>
                    <a:pt x="2811" y="1178"/>
                  </a:lnTo>
                  <a:lnTo>
                    <a:pt x="2818" y="1146"/>
                  </a:lnTo>
                  <a:lnTo>
                    <a:pt x="2830" y="1115"/>
                  </a:lnTo>
                  <a:lnTo>
                    <a:pt x="2847" y="1085"/>
                  </a:lnTo>
                  <a:lnTo>
                    <a:pt x="3042" y="793"/>
                  </a:lnTo>
                  <a:lnTo>
                    <a:pt x="2825" y="577"/>
                  </a:lnTo>
                  <a:lnTo>
                    <a:pt x="2530" y="772"/>
                  </a:lnTo>
                  <a:lnTo>
                    <a:pt x="2500" y="788"/>
                  </a:lnTo>
                  <a:lnTo>
                    <a:pt x="2469" y="799"/>
                  </a:lnTo>
                  <a:lnTo>
                    <a:pt x="2438" y="807"/>
                  </a:lnTo>
                  <a:lnTo>
                    <a:pt x="2404" y="810"/>
                  </a:lnTo>
                  <a:lnTo>
                    <a:pt x="2370" y="807"/>
                  </a:lnTo>
                  <a:lnTo>
                    <a:pt x="2338" y="799"/>
                  </a:lnTo>
                  <a:lnTo>
                    <a:pt x="2306" y="787"/>
                  </a:lnTo>
                  <a:lnTo>
                    <a:pt x="2245" y="760"/>
                  </a:lnTo>
                  <a:lnTo>
                    <a:pt x="2184" y="737"/>
                  </a:lnTo>
                  <a:lnTo>
                    <a:pt x="2153" y="724"/>
                  </a:lnTo>
                  <a:lnTo>
                    <a:pt x="2124" y="706"/>
                  </a:lnTo>
                  <a:lnTo>
                    <a:pt x="2099" y="685"/>
                  </a:lnTo>
                  <a:lnTo>
                    <a:pt x="2077" y="659"/>
                  </a:lnTo>
                  <a:lnTo>
                    <a:pt x="2059" y="632"/>
                  </a:lnTo>
                  <a:lnTo>
                    <a:pt x="2045" y="602"/>
                  </a:lnTo>
                  <a:lnTo>
                    <a:pt x="2037" y="569"/>
                  </a:lnTo>
                  <a:lnTo>
                    <a:pt x="1966" y="225"/>
                  </a:lnTo>
                  <a:lnTo>
                    <a:pt x="1658" y="225"/>
                  </a:lnTo>
                  <a:close/>
                  <a:moveTo>
                    <a:pt x="1966" y="0"/>
                  </a:moveTo>
                  <a:lnTo>
                    <a:pt x="2002" y="3"/>
                  </a:lnTo>
                  <a:lnTo>
                    <a:pt x="2036" y="11"/>
                  </a:lnTo>
                  <a:lnTo>
                    <a:pt x="2067" y="23"/>
                  </a:lnTo>
                  <a:lnTo>
                    <a:pt x="2097" y="40"/>
                  </a:lnTo>
                  <a:lnTo>
                    <a:pt x="2122" y="62"/>
                  </a:lnTo>
                  <a:lnTo>
                    <a:pt x="2146" y="88"/>
                  </a:lnTo>
                  <a:lnTo>
                    <a:pt x="2165" y="115"/>
                  </a:lnTo>
                  <a:lnTo>
                    <a:pt x="2179" y="147"/>
                  </a:lnTo>
                  <a:lnTo>
                    <a:pt x="2189" y="181"/>
                  </a:lnTo>
                  <a:lnTo>
                    <a:pt x="2258" y="525"/>
                  </a:lnTo>
                  <a:lnTo>
                    <a:pt x="2332" y="553"/>
                  </a:lnTo>
                  <a:lnTo>
                    <a:pt x="2404" y="585"/>
                  </a:lnTo>
                  <a:lnTo>
                    <a:pt x="2699" y="389"/>
                  </a:lnTo>
                  <a:lnTo>
                    <a:pt x="2728" y="373"/>
                  </a:lnTo>
                  <a:lnTo>
                    <a:pt x="2760" y="362"/>
                  </a:lnTo>
                  <a:lnTo>
                    <a:pt x="2792" y="355"/>
                  </a:lnTo>
                  <a:lnTo>
                    <a:pt x="2825" y="353"/>
                  </a:lnTo>
                  <a:lnTo>
                    <a:pt x="2861" y="355"/>
                  </a:lnTo>
                  <a:lnTo>
                    <a:pt x="2894" y="363"/>
                  </a:lnTo>
                  <a:lnTo>
                    <a:pt x="2927" y="377"/>
                  </a:lnTo>
                  <a:lnTo>
                    <a:pt x="2958" y="395"/>
                  </a:lnTo>
                  <a:lnTo>
                    <a:pt x="2986" y="418"/>
                  </a:lnTo>
                  <a:lnTo>
                    <a:pt x="3203" y="634"/>
                  </a:lnTo>
                  <a:lnTo>
                    <a:pt x="3227" y="662"/>
                  </a:lnTo>
                  <a:lnTo>
                    <a:pt x="3244" y="690"/>
                  </a:lnTo>
                  <a:lnTo>
                    <a:pt x="3258" y="721"/>
                  </a:lnTo>
                  <a:lnTo>
                    <a:pt x="3266" y="755"/>
                  </a:lnTo>
                  <a:lnTo>
                    <a:pt x="3270" y="788"/>
                  </a:lnTo>
                  <a:lnTo>
                    <a:pt x="3267" y="821"/>
                  </a:lnTo>
                  <a:lnTo>
                    <a:pt x="3261" y="855"/>
                  </a:lnTo>
                  <a:lnTo>
                    <a:pt x="3249" y="887"/>
                  </a:lnTo>
                  <a:lnTo>
                    <a:pt x="3231" y="918"/>
                  </a:lnTo>
                  <a:lnTo>
                    <a:pt x="3035" y="1210"/>
                  </a:lnTo>
                  <a:lnTo>
                    <a:pt x="3068" y="1282"/>
                  </a:lnTo>
                  <a:lnTo>
                    <a:pt x="3096" y="1355"/>
                  </a:lnTo>
                  <a:lnTo>
                    <a:pt x="3443" y="1423"/>
                  </a:lnTo>
                  <a:lnTo>
                    <a:pt x="3477" y="1433"/>
                  </a:lnTo>
                  <a:lnTo>
                    <a:pt x="3508" y="1447"/>
                  </a:lnTo>
                  <a:lnTo>
                    <a:pt x="3537" y="1466"/>
                  </a:lnTo>
                  <a:lnTo>
                    <a:pt x="3563" y="1488"/>
                  </a:lnTo>
                  <a:lnTo>
                    <a:pt x="3585" y="1515"/>
                  </a:lnTo>
                  <a:lnTo>
                    <a:pt x="3602" y="1543"/>
                  </a:lnTo>
                  <a:lnTo>
                    <a:pt x="3615" y="1576"/>
                  </a:lnTo>
                  <a:lnTo>
                    <a:pt x="3623" y="1609"/>
                  </a:lnTo>
                  <a:lnTo>
                    <a:pt x="3625" y="1643"/>
                  </a:lnTo>
                  <a:lnTo>
                    <a:pt x="3625" y="1949"/>
                  </a:lnTo>
                  <a:lnTo>
                    <a:pt x="3623" y="1984"/>
                  </a:lnTo>
                  <a:lnTo>
                    <a:pt x="3615" y="2018"/>
                  </a:lnTo>
                  <a:lnTo>
                    <a:pt x="3602" y="2049"/>
                  </a:lnTo>
                  <a:lnTo>
                    <a:pt x="3585" y="2078"/>
                  </a:lnTo>
                  <a:lnTo>
                    <a:pt x="3563" y="2104"/>
                  </a:lnTo>
                  <a:lnTo>
                    <a:pt x="3537" y="2127"/>
                  </a:lnTo>
                  <a:lnTo>
                    <a:pt x="3508" y="2145"/>
                  </a:lnTo>
                  <a:lnTo>
                    <a:pt x="3477" y="2160"/>
                  </a:lnTo>
                  <a:lnTo>
                    <a:pt x="3443" y="2169"/>
                  </a:lnTo>
                  <a:lnTo>
                    <a:pt x="3096" y="2238"/>
                  </a:lnTo>
                  <a:lnTo>
                    <a:pt x="3068" y="2312"/>
                  </a:lnTo>
                  <a:lnTo>
                    <a:pt x="3035" y="2383"/>
                  </a:lnTo>
                  <a:lnTo>
                    <a:pt x="3231" y="2676"/>
                  </a:lnTo>
                  <a:lnTo>
                    <a:pt x="3249" y="2705"/>
                  </a:lnTo>
                  <a:lnTo>
                    <a:pt x="3261" y="2739"/>
                  </a:lnTo>
                  <a:lnTo>
                    <a:pt x="3267" y="2772"/>
                  </a:lnTo>
                  <a:lnTo>
                    <a:pt x="3270" y="2805"/>
                  </a:lnTo>
                  <a:lnTo>
                    <a:pt x="3266" y="2839"/>
                  </a:lnTo>
                  <a:lnTo>
                    <a:pt x="3258" y="2872"/>
                  </a:lnTo>
                  <a:lnTo>
                    <a:pt x="3244" y="2903"/>
                  </a:lnTo>
                  <a:lnTo>
                    <a:pt x="3227" y="2932"/>
                  </a:lnTo>
                  <a:lnTo>
                    <a:pt x="3203" y="2959"/>
                  </a:lnTo>
                  <a:lnTo>
                    <a:pt x="2986" y="3175"/>
                  </a:lnTo>
                  <a:lnTo>
                    <a:pt x="2958" y="3198"/>
                  </a:lnTo>
                  <a:lnTo>
                    <a:pt x="2927" y="3216"/>
                  </a:lnTo>
                  <a:lnTo>
                    <a:pt x="2894" y="3230"/>
                  </a:lnTo>
                  <a:lnTo>
                    <a:pt x="2861" y="3238"/>
                  </a:lnTo>
                  <a:lnTo>
                    <a:pt x="2825" y="3240"/>
                  </a:lnTo>
                  <a:lnTo>
                    <a:pt x="2792" y="3238"/>
                  </a:lnTo>
                  <a:lnTo>
                    <a:pt x="2761" y="3231"/>
                  </a:lnTo>
                  <a:lnTo>
                    <a:pt x="2730" y="3220"/>
                  </a:lnTo>
                  <a:lnTo>
                    <a:pt x="2699" y="3203"/>
                  </a:lnTo>
                  <a:lnTo>
                    <a:pt x="2404" y="3007"/>
                  </a:lnTo>
                  <a:lnTo>
                    <a:pt x="2333" y="3039"/>
                  </a:lnTo>
                  <a:lnTo>
                    <a:pt x="2258" y="3068"/>
                  </a:lnTo>
                  <a:lnTo>
                    <a:pt x="2189" y="3412"/>
                  </a:lnTo>
                  <a:lnTo>
                    <a:pt x="2179" y="3446"/>
                  </a:lnTo>
                  <a:lnTo>
                    <a:pt x="2165" y="3477"/>
                  </a:lnTo>
                  <a:lnTo>
                    <a:pt x="2146" y="3506"/>
                  </a:lnTo>
                  <a:lnTo>
                    <a:pt x="2124" y="3530"/>
                  </a:lnTo>
                  <a:lnTo>
                    <a:pt x="2097" y="3552"/>
                  </a:lnTo>
                  <a:lnTo>
                    <a:pt x="2068" y="3569"/>
                  </a:lnTo>
                  <a:lnTo>
                    <a:pt x="2036" y="3581"/>
                  </a:lnTo>
                  <a:lnTo>
                    <a:pt x="2002" y="3589"/>
                  </a:lnTo>
                  <a:lnTo>
                    <a:pt x="1966" y="3593"/>
                  </a:lnTo>
                  <a:lnTo>
                    <a:pt x="1658" y="3593"/>
                  </a:lnTo>
                  <a:lnTo>
                    <a:pt x="1623" y="3589"/>
                  </a:lnTo>
                  <a:lnTo>
                    <a:pt x="1589" y="3581"/>
                  </a:lnTo>
                  <a:lnTo>
                    <a:pt x="1557" y="3569"/>
                  </a:lnTo>
                  <a:lnTo>
                    <a:pt x="1528" y="3552"/>
                  </a:lnTo>
                  <a:lnTo>
                    <a:pt x="1503" y="3531"/>
                  </a:lnTo>
                  <a:lnTo>
                    <a:pt x="1479" y="3506"/>
                  </a:lnTo>
                  <a:lnTo>
                    <a:pt x="1461" y="3477"/>
                  </a:lnTo>
                  <a:lnTo>
                    <a:pt x="1446" y="3446"/>
                  </a:lnTo>
                  <a:lnTo>
                    <a:pt x="1437" y="3412"/>
                  </a:lnTo>
                  <a:lnTo>
                    <a:pt x="1367" y="3068"/>
                  </a:lnTo>
                  <a:lnTo>
                    <a:pt x="1293" y="3039"/>
                  </a:lnTo>
                  <a:lnTo>
                    <a:pt x="1221" y="3007"/>
                  </a:lnTo>
                  <a:lnTo>
                    <a:pt x="926" y="3203"/>
                  </a:lnTo>
                  <a:lnTo>
                    <a:pt x="897" y="3220"/>
                  </a:lnTo>
                  <a:lnTo>
                    <a:pt x="865" y="3231"/>
                  </a:lnTo>
                  <a:lnTo>
                    <a:pt x="833" y="3238"/>
                  </a:lnTo>
                  <a:lnTo>
                    <a:pt x="800" y="3240"/>
                  </a:lnTo>
                  <a:lnTo>
                    <a:pt x="766" y="3238"/>
                  </a:lnTo>
                  <a:lnTo>
                    <a:pt x="731" y="3230"/>
                  </a:lnTo>
                  <a:lnTo>
                    <a:pt x="699" y="3216"/>
                  </a:lnTo>
                  <a:lnTo>
                    <a:pt x="668" y="3198"/>
                  </a:lnTo>
                  <a:lnTo>
                    <a:pt x="641" y="3175"/>
                  </a:lnTo>
                  <a:lnTo>
                    <a:pt x="422" y="2959"/>
                  </a:lnTo>
                  <a:lnTo>
                    <a:pt x="398" y="2932"/>
                  </a:lnTo>
                  <a:lnTo>
                    <a:pt x="381" y="2903"/>
                  </a:lnTo>
                  <a:lnTo>
                    <a:pt x="367" y="2872"/>
                  </a:lnTo>
                  <a:lnTo>
                    <a:pt x="359" y="2839"/>
                  </a:lnTo>
                  <a:lnTo>
                    <a:pt x="356" y="2805"/>
                  </a:lnTo>
                  <a:lnTo>
                    <a:pt x="358" y="2772"/>
                  </a:lnTo>
                  <a:lnTo>
                    <a:pt x="364" y="2739"/>
                  </a:lnTo>
                  <a:lnTo>
                    <a:pt x="376" y="2705"/>
                  </a:lnTo>
                  <a:lnTo>
                    <a:pt x="394" y="2676"/>
                  </a:lnTo>
                  <a:lnTo>
                    <a:pt x="591" y="2383"/>
                  </a:lnTo>
                  <a:lnTo>
                    <a:pt x="558" y="2312"/>
                  </a:lnTo>
                  <a:lnTo>
                    <a:pt x="529" y="2238"/>
                  </a:lnTo>
                  <a:lnTo>
                    <a:pt x="182" y="2169"/>
                  </a:lnTo>
                  <a:lnTo>
                    <a:pt x="148" y="2160"/>
                  </a:lnTo>
                  <a:lnTo>
                    <a:pt x="117" y="2145"/>
                  </a:lnTo>
                  <a:lnTo>
                    <a:pt x="88" y="2127"/>
                  </a:lnTo>
                  <a:lnTo>
                    <a:pt x="62" y="2104"/>
                  </a:lnTo>
                  <a:lnTo>
                    <a:pt x="42" y="2078"/>
                  </a:lnTo>
                  <a:lnTo>
                    <a:pt x="24" y="2049"/>
                  </a:lnTo>
                  <a:lnTo>
                    <a:pt x="10" y="2018"/>
                  </a:lnTo>
                  <a:lnTo>
                    <a:pt x="2" y="1984"/>
                  </a:lnTo>
                  <a:lnTo>
                    <a:pt x="0" y="1949"/>
                  </a:lnTo>
                  <a:lnTo>
                    <a:pt x="0" y="1643"/>
                  </a:lnTo>
                  <a:lnTo>
                    <a:pt x="2" y="1609"/>
                  </a:lnTo>
                  <a:lnTo>
                    <a:pt x="10" y="1576"/>
                  </a:lnTo>
                  <a:lnTo>
                    <a:pt x="24" y="1543"/>
                  </a:lnTo>
                  <a:lnTo>
                    <a:pt x="42" y="1515"/>
                  </a:lnTo>
                  <a:lnTo>
                    <a:pt x="62" y="1488"/>
                  </a:lnTo>
                  <a:lnTo>
                    <a:pt x="88" y="1466"/>
                  </a:lnTo>
                  <a:lnTo>
                    <a:pt x="117" y="1447"/>
                  </a:lnTo>
                  <a:lnTo>
                    <a:pt x="148" y="1433"/>
                  </a:lnTo>
                  <a:lnTo>
                    <a:pt x="182" y="1423"/>
                  </a:lnTo>
                  <a:lnTo>
                    <a:pt x="529" y="1355"/>
                  </a:lnTo>
                  <a:lnTo>
                    <a:pt x="558" y="1282"/>
                  </a:lnTo>
                  <a:lnTo>
                    <a:pt x="591" y="1210"/>
                  </a:lnTo>
                  <a:lnTo>
                    <a:pt x="394" y="918"/>
                  </a:lnTo>
                  <a:lnTo>
                    <a:pt x="376" y="887"/>
                  </a:lnTo>
                  <a:lnTo>
                    <a:pt x="364" y="855"/>
                  </a:lnTo>
                  <a:lnTo>
                    <a:pt x="358" y="821"/>
                  </a:lnTo>
                  <a:lnTo>
                    <a:pt x="356" y="788"/>
                  </a:lnTo>
                  <a:lnTo>
                    <a:pt x="359" y="755"/>
                  </a:lnTo>
                  <a:lnTo>
                    <a:pt x="367" y="721"/>
                  </a:lnTo>
                  <a:lnTo>
                    <a:pt x="381" y="690"/>
                  </a:lnTo>
                  <a:lnTo>
                    <a:pt x="398" y="662"/>
                  </a:lnTo>
                  <a:lnTo>
                    <a:pt x="422" y="634"/>
                  </a:lnTo>
                  <a:lnTo>
                    <a:pt x="641" y="418"/>
                  </a:lnTo>
                  <a:lnTo>
                    <a:pt x="668" y="395"/>
                  </a:lnTo>
                  <a:lnTo>
                    <a:pt x="699" y="377"/>
                  </a:lnTo>
                  <a:lnTo>
                    <a:pt x="731" y="363"/>
                  </a:lnTo>
                  <a:lnTo>
                    <a:pt x="766" y="355"/>
                  </a:lnTo>
                  <a:lnTo>
                    <a:pt x="800" y="353"/>
                  </a:lnTo>
                  <a:lnTo>
                    <a:pt x="833" y="355"/>
                  </a:lnTo>
                  <a:lnTo>
                    <a:pt x="865" y="362"/>
                  </a:lnTo>
                  <a:lnTo>
                    <a:pt x="897" y="373"/>
                  </a:lnTo>
                  <a:lnTo>
                    <a:pt x="926" y="389"/>
                  </a:lnTo>
                  <a:lnTo>
                    <a:pt x="1221" y="585"/>
                  </a:lnTo>
                  <a:lnTo>
                    <a:pt x="1293" y="554"/>
                  </a:lnTo>
                  <a:lnTo>
                    <a:pt x="1367" y="525"/>
                  </a:lnTo>
                  <a:lnTo>
                    <a:pt x="1437" y="181"/>
                  </a:lnTo>
                  <a:lnTo>
                    <a:pt x="1446" y="147"/>
                  </a:lnTo>
                  <a:lnTo>
                    <a:pt x="1461" y="115"/>
                  </a:lnTo>
                  <a:lnTo>
                    <a:pt x="1479" y="88"/>
                  </a:lnTo>
                  <a:lnTo>
                    <a:pt x="1503" y="62"/>
                  </a:lnTo>
                  <a:lnTo>
                    <a:pt x="1528" y="40"/>
                  </a:lnTo>
                  <a:lnTo>
                    <a:pt x="1557" y="23"/>
                  </a:lnTo>
                  <a:lnTo>
                    <a:pt x="1589" y="11"/>
                  </a:lnTo>
                  <a:lnTo>
                    <a:pt x="1623" y="3"/>
                  </a:lnTo>
                  <a:lnTo>
                    <a:pt x="1658" y="0"/>
                  </a:lnTo>
                  <a:lnTo>
                    <a:pt x="19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209">
              <a:extLst>
                <a:ext uri="{FF2B5EF4-FFF2-40B4-BE49-F238E27FC236}">
                  <a16:creationId xmlns:a16="http://schemas.microsoft.com/office/drawing/2014/main" id="{0669E841-8EEE-F64B-8B53-B66E9A4E79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67475" y="3822700"/>
              <a:ext cx="839787" cy="831850"/>
            </a:xfrm>
            <a:custGeom>
              <a:avLst/>
              <a:gdLst>
                <a:gd name="T0" fmla="*/ 654 w 1587"/>
                <a:gd name="T1" fmla="*/ 112 h 1572"/>
                <a:gd name="T2" fmla="*/ 463 w 1587"/>
                <a:gd name="T3" fmla="*/ 181 h 1572"/>
                <a:gd name="T4" fmla="*/ 303 w 1587"/>
                <a:gd name="T5" fmla="*/ 299 h 1572"/>
                <a:gd name="T6" fmla="*/ 184 w 1587"/>
                <a:gd name="T7" fmla="*/ 458 h 1572"/>
                <a:gd name="T8" fmla="*/ 114 w 1587"/>
                <a:gd name="T9" fmla="*/ 647 h 1572"/>
                <a:gd name="T10" fmla="*/ 104 w 1587"/>
                <a:gd name="T11" fmla="*/ 856 h 1572"/>
                <a:gd name="T12" fmla="*/ 155 w 1587"/>
                <a:gd name="T13" fmla="*/ 1053 h 1572"/>
                <a:gd name="T14" fmla="*/ 258 w 1587"/>
                <a:gd name="T15" fmla="*/ 1222 h 1572"/>
                <a:gd name="T16" fmla="*/ 406 w 1587"/>
                <a:gd name="T17" fmla="*/ 1356 h 1572"/>
                <a:gd name="T18" fmla="*/ 588 w 1587"/>
                <a:gd name="T19" fmla="*/ 1442 h 1572"/>
                <a:gd name="T20" fmla="*/ 794 w 1587"/>
                <a:gd name="T21" fmla="*/ 1473 h 1572"/>
                <a:gd name="T22" fmla="*/ 1000 w 1587"/>
                <a:gd name="T23" fmla="*/ 1442 h 1572"/>
                <a:gd name="T24" fmla="*/ 1181 w 1587"/>
                <a:gd name="T25" fmla="*/ 1356 h 1572"/>
                <a:gd name="T26" fmla="*/ 1329 w 1587"/>
                <a:gd name="T27" fmla="*/ 1222 h 1572"/>
                <a:gd name="T28" fmla="*/ 1433 w 1587"/>
                <a:gd name="T29" fmla="*/ 1053 h 1572"/>
                <a:gd name="T30" fmla="*/ 1484 w 1587"/>
                <a:gd name="T31" fmla="*/ 856 h 1572"/>
                <a:gd name="T32" fmla="*/ 1473 w 1587"/>
                <a:gd name="T33" fmla="*/ 647 h 1572"/>
                <a:gd name="T34" fmla="*/ 1404 w 1587"/>
                <a:gd name="T35" fmla="*/ 458 h 1572"/>
                <a:gd name="T36" fmla="*/ 1284 w 1587"/>
                <a:gd name="T37" fmla="*/ 299 h 1572"/>
                <a:gd name="T38" fmla="*/ 1124 w 1587"/>
                <a:gd name="T39" fmla="*/ 181 h 1572"/>
                <a:gd name="T40" fmla="*/ 933 w 1587"/>
                <a:gd name="T41" fmla="*/ 112 h 1572"/>
                <a:gd name="T42" fmla="*/ 794 w 1587"/>
                <a:gd name="T43" fmla="*/ 0 h 1572"/>
                <a:gd name="T44" fmla="*/ 1017 w 1587"/>
                <a:gd name="T45" fmla="*/ 31 h 1572"/>
                <a:gd name="T46" fmla="*/ 1215 w 1587"/>
                <a:gd name="T47" fmla="*/ 119 h 1572"/>
                <a:gd name="T48" fmla="*/ 1379 w 1587"/>
                <a:gd name="T49" fmla="*/ 256 h 1572"/>
                <a:gd name="T50" fmla="*/ 1501 w 1587"/>
                <a:gd name="T51" fmla="*/ 430 h 1572"/>
                <a:gd name="T52" fmla="*/ 1572 w 1587"/>
                <a:gd name="T53" fmla="*/ 636 h 1572"/>
                <a:gd name="T54" fmla="*/ 1583 w 1587"/>
                <a:gd name="T55" fmla="*/ 861 h 1572"/>
                <a:gd name="T56" fmla="*/ 1531 w 1587"/>
                <a:gd name="T57" fmla="*/ 1074 h 1572"/>
                <a:gd name="T58" fmla="*/ 1424 w 1587"/>
                <a:gd name="T59" fmla="*/ 1260 h 1572"/>
                <a:gd name="T60" fmla="*/ 1274 w 1587"/>
                <a:gd name="T61" fmla="*/ 1411 h 1572"/>
                <a:gd name="T62" fmla="*/ 1085 w 1587"/>
                <a:gd name="T63" fmla="*/ 1516 h 1572"/>
                <a:gd name="T64" fmla="*/ 871 w 1587"/>
                <a:gd name="T65" fmla="*/ 1568 h 1572"/>
                <a:gd name="T66" fmla="*/ 643 w 1587"/>
                <a:gd name="T67" fmla="*/ 1557 h 1572"/>
                <a:gd name="T68" fmla="*/ 436 w 1587"/>
                <a:gd name="T69" fmla="*/ 1487 h 1572"/>
                <a:gd name="T70" fmla="*/ 259 w 1587"/>
                <a:gd name="T71" fmla="*/ 1366 h 1572"/>
                <a:gd name="T72" fmla="*/ 121 w 1587"/>
                <a:gd name="T73" fmla="*/ 1202 h 1572"/>
                <a:gd name="T74" fmla="*/ 32 w 1587"/>
                <a:gd name="T75" fmla="*/ 1007 h 1572"/>
                <a:gd name="T76" fmla="*/ 0 w 1587"/>
                <a:gd name="T77" fmla="*/ 786 h 1572"/>
                <a:gd name="T78" fmla="*/ 32 w 1587"/>
                <a:gd name="T79" fmla="*/ 565 h 1572"/>
                <a:gd name="T80" fmla="*/ 121 w 1587"/>
                <a:gd name="T81" fmla="*/ 368 h 1572"/>
                <a:gd name="T82" fmla="*/ 259 w 1587"/>
                <a:gd name="T83" fmla="*/ 205 h 1572"/>
                <a:gd name="T84" fmla="*/ 436 w 1587"/>
                <a:gd name="T85" fmla="*/ 83 h 1572"/>
                <a:gd name="T86" fmla="*/ 643 w 1587"/>
                <a:gd name="T87" fmla="*/ 13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87" h="1572">
                  <a:moveTo>
                    <a:pt x="794" y="97"/>
                  </a:moveTo>
                  <a:lnTo>
                    <a:pt x="722" y="101"/>
                  </a:lnTo>
                  <a:lnTo>
                    <a:pt x="654" y="112"/>
                  </a:lnTo>
                  <a:lnTo>
                    <a:pt x="588" y="128"/>
                  </a:lnTo>
                  <a:lnTo>
                    <a:pt x="523" y="151"/>
                  </a:lnTo>
                  <a:lnTo>
                    <a:pt x="463" y="181"/>
                  </a:lnTo>
                  <a:lnTo>
                    <a:pt x="406" y="216"/>
                  </a:lnTo>
                  <a:lnTo>
                    <a:pt x="353" y="255"/>
                  </a:lnTo>
                  <a:lnTo>
                    <a:pt x="303" y="299"/>
                  </a:lnTo>
                  <a:lnTo>
                    <a:pt x="258" y="348"/>
                  </a:lnTo>
                  <a:lnTo>
                    <a:pt x="218" y="402"/>
                  </a:lnTo>
                  <a:lnTo>
                    <a:pt x="184" y="458"/>
                  </a:lnTo>
                  <a:lnTo>
                    <a:pt x="155" y="517"/>
                  </a:lnTo>
                  <a:lnTo>
                    <a:pt x="130" y="581"/>
                  </a:lnTo>
                  <a:lnTo>
                    <a:pt x="114" y="647"/>
                  </a:lnTo>
                  <a:lnTo>
                    <a:pt x="104" y="715"/>
                  </a:lnTo>
                  <a:lnTo>
                    <a:pt x="99" y="786"/>
                  </a:lnTo>
                  <a:lnTo>
                    <a:pt x="104" y="856"/>
                  </a:lnTo>
                  <a:lnTo>
                    <a:pt x="114" y="924"/>
                  </a:lnTo>
                  <a:lnTo>
                    <a:pt x="130" y="991"/>
                  </a:lnTo>
                  <a:lnTo>
                    <a:pt x="155" y="1053"/>
                  </a:lnTo>
                  <a:lnTo>
                    <a:pt x="184" y="1113"/>
                  </a:lnTo>
                  <a:lnTo>
                    <a:pt x="218" y="1170"/>
                  </a:lnTo>
                  <a:lnTo>
                    <a:pt x="258" y="1222"/>
                  </a:lnTo>
                  <a:lnTo>
                    <a:pt x="303" y="1272"/>
                  </a:lnTo>
                  <a:lnTo>
                    <a:pt x="353" y="1315"/>
                  </a:lnTo>
                  <a:lnTo>
                    <a:pt x="406" y="1356"/>
                  </a:lnTo>
                  <a:lnTo>
                    <a:pt x="463" y="1390"/>
                  </a:lnTo>
                  <a:lnTo>
                    <a:pt x="523" y="1419"/>
                  </a:lnTo>
                  <a:lnTo>
                    <a:pt x="588" y="1442"/>
                  </a:lnTo>
                  <a:lnTo>
                    <a:pt x="654" y="1459"/>
                  </a:lnTo>
                  <a:lnTo>
                    <a:pt x="722" y="1469"/>
                  </a:lnTo>
                  <a:lnTo>
                    <a:pt x="794" y="1473"/>
                  </a:lnTo>
                  <a:lnTo>
                    <a:pt x="865" y="1469"/>
                  </a:lnTo>
                  <a:lnTo>
                    <a:pt x="933" y="1459"/>
                  </a:lnTo>
                  <a:lnTo>
                    <a:pt x="1000" y="1442"/>
                  </a:lnTo>
                  <a:lnTo>
                    <a:pt x="1064" y="1419"/>
                  </a:lnTo>
                  <a:lnTo>
                    <a:pt x="1124" y="1390"/>
                  </a:lnTo>
                  <a:lnTo>
                    <a:pt x="1181" y="1356"/>
                  </a:lnTo>
                  <a:lnTo>
                    <a:pt x="1234" y="1315"/>
                  </a:lnTo>
                  <a:lnTo>
                    <a:pt x="1284" y="1272"/>
                  </a:lnTo>
                  <a:lnTo>
                    <a:pt x="1329" y="1222"/>
                  </a:lnTo>
                  <a:lnTo>
                    <a:pt x="1369" y="1170"/>
                  </a:lnTo>
                  <a:lnTo>
                    <a:pt x="1404" y="1113"/>
                  </a:lnTo>
                  <a:lnTo>
                    <a:pt x="1433" y="1053"/>
                  </a:lnTo>
                  <a:lnTo>
                    <a:pt x="1456" y="991"/>
                  </a:lnTo>
                  <a:lnTo>
                    <a:pt x="1473" y="924"/>
                  </a:lnTo>
                  <a:lnTo>
                    <a:pt x="1484" y="856"/>
                  </a:lnTo>
                  <a:lnTo>
                    <a:pt x="1487" y="786"/>
                  </a:lnTo>
                  <a:lnTo>
                    <a:pt x="1484" y="715"/>
                  </a:lnTo>
                  <a:lnTo>
                    <a:pt x="1473" y="647"/>
                  </a:lnTo>
                  <a:lnTo>
                    <a:pt x="1456" y="581"/>
                  </a:lnTo>
                  <a:lnTo>
                    <a:pt x="1433" y="517"/>
                  </a:lnTo>
                  <a:lnTo>
                    <a:pt x="1404" y="458"/>
                  </a:lnTo>
                  <a:lnTo>
                    <a:pt x="1369" y="402"/>
                  </a:lnTo>
                  <a:lnTo>
                    <a:pt x="1329" y="348"/>
                  </a:lnTo>
                  <a:lnTo>
                    <a:pt x="1284" y="299"/>
                  </a:lnTo>
                  <a:lnTo>
                    <a:pt x="1234" y="255"/>
                  </a:lnTo>
                  <a:lnTo>
                    <a:pt x="1181" y="216"/>
                  </a:lnTo>
                  <a:lnTo>
                    <a:pt x="1124" y="181"/>
                  </a:lnTo>
                  <a:lnTo>
                    <a:pt x="1064" y="151"/>
                  </a:lnTo>
                  <a:lnTo>
                    <a:pt x="1000" y="128"/>
                  </a:lnTo>
                  <a:lnTo>
                    <a:pt x="933" y="112"/>
                  </a:lnTo>
                  <a:lnTo>
                    <a:pt x="865" y="101"/>
                  </a:lnTo>
                  <a:lnTo>
                    <a:pt x="794" y="97"/>
                  </a:lnTo>
                  <a:close/>
                  <a:moveTo>
                    <a:pt x="794" y="0"/>
                  </a:moveTo>
                  <a:lnTo>
                    <a:pt x="871" y="3"/>
                  </a:lnTo>
                  <a:lnTo>
                    <a:pt x="945" y="13"/>
                  </a:lnTo>
                  <a:lnTo>
                    <a:pt x="1017" y="31"/>
                  </a:lnTo>
                  <a:lnTo>
                    <a:pt x="1085" y="55"/>
                  </a:lnTo>
                  <a:lnTo>
                    <a:pt x="1151" y="83"/>
                  </a:lnTo>
                  <a:lnTo>
                    <a:pt x="1215" y="119"/>
                  </a:lnTo>
                  <a:lnTo>
                    <a:pt x="1274" y="159"/>
                  </a:lnTo>
                  <a:lnTo>
                    <a:pt x="1328" y="205"/>
                  </a:lnTo>
                  <a:lnTo>
                    <a:pt x="1379" y="256"/>
                  </a:lnTo>
                  <a:lnTo>
                    <a:pt x="1424" y="310"/>
                  </a:lnTo>
                  <a:lnTo>
                    <a:pt x="1466" y="368"/>
                  </a:lnTo>
                  <a:lnTo>
                    <a:pt x="1501" y="430"/>
                  </a:lnTo>
                  <a:lnTo>
                    <a:pt x="1531" y="497"/>
                  </a:lnTo>
                  <a:lnTo>
                    <a:pt x="1554" y="565"/>
                  </a:lnTo>
                  <a:lnTo>
                    <a:pt x="1572" y="636"/>
                  </a:lnTo>
                  <a:lnTo>
                    <a:pt x="1583" y="710"/>
                  </a:lnTo>
                  <a:lnTo>
                    <a:pt x="1587" y="786"/>
                  </a:lnTo>
                  <a:lnTo>
                    <a:pt x="1583" y="861"/>
                  </a:lnTo>
                  <a:lnTo>
                    <a:pt x="1572" y="934"/>
                  </a:lnTo>
                  <a:lnTo>
                    <a:pt x="1554" y="1007"/>
                  </a:lnTo>
                  <a:lnTo>
                    <a:pt x="1531" y="1074"/>
                  </a:lnTo>
                  <a:lnTo>
                    <a:pt x="1501" y="1140"/>
                  </a:lnTo>
                  <a:lnTo>
                    <a:pt x="1466" y="1202"/>
                  </a:lnTo>
                  <a:lnTo>
                    <a:pt x="1424" y="1260"/>
                  </a:lnTo>
                  <a:lnTo>
                    <a:pt x="1379" y="1315"/>
                  </a:lnTo>
                  <a:lnTo>
                    <a:pt x="1328" y="1366"/>
                  </a:lnTo>
                  <a:lnTo>
                    <a:pt x="1274" y="1411"/>
                  </a:lnTo>
                  <a:lnTo>
                    <a:pt x="1215" y="1451"/>
                  </a:lnTo>
                  <a:lnTo>
                    <a:pt x="1151" y="1487"/>
                  </a:lnTo>
                  <a:lnTo>
                    <a:pt x="1085" y="1516"/>
                  </a:lnTo>
                  <a:lnTo>
                    <a:pt x="1017" y="1539"/>
                  </a:lnTo>
                  <a:lnTo>
                    <a:pt x="945" y="1557"/>
                  </a:lnTo>
                  <a:lnTo>
                    <a:pt x="871" y="1568"/>
                  </a:lnTo>
                  <a:lnTo>
                    <a:pt x="794" y="1572"/>
                  </a:lnTo>
                  <a:lnTo>
                    <a:pt x="718" y="1568"/>
                  </a:lnTo>
                  <a:lnTo>
                    <a:pt x="643" y="1557"/>
                  </a:lnTo>
                  <a:lnTo>
                    <a:pt x="570" y="1539"/>
                  </a:lnTo>
                  <a:lnTo>
                    <a:pt x="502" y="1516"/>
                  </a:lnTo>
                  <a:lnTo>
                    <a:pt x="436" y="1487"/>
                  </a:lnTo>
                  <a:lnTo>
                    <a:pt x="372" y="1451"/>
                  </a:lnTo>
                  <a:lnTo>
                    <a:pt x="313" y="1411"/>
                  </a:lnTo>
                  <a:lnTo>
                    <a:pt x="259" y="1366"/>
                  </a:lnTo>
                  <a:lnTo>
                    <a:pt x="208" y="1315"/>
                  </a:lnTo>
                  <a:lnTo>
                    <a:pt x="163" y="1260"/>
                  </a:lnTo>
                  <a:lnTo>
                    <a:pt x="121" y="1202"/>
                  </a:lnTo>
                  <a:lnTo>
                    <a:pt x="86" y="1140"/>
                  </a:lnTo>
                  <a:lnTo>
                    <a:pt x="56" y="1074"/>
                  </a:lnTo>
                  <a:lnTo>
                    <a:pt x="32" y="1007"/>
                  </a:lnTo>
                  <a:lnTo>
                    <a:pt x="14" y="934"/>
                  </a:lnTo>
                  <a:lnTo>
                    <a:pt x="4" y="861"/>
                  </a:lnTo>
                  <a:lnTo>
                    <a:pt x="0" y="786"/>
                  </a:lnTo>
                  <a:lnTo>
                    <a:pt x="4" y="710"/>
                  </a:lnTo>
                  <a:lnTo>
                    <a:pt x="14" y="636"/>
                  </a:lnTo>
                  <a:lnTo>
                    <a:pt x="32" y="565"/>
                  </a:lnTo>
                  <a:lnTo>
                    <a:pt x="56" y="497"/>
                  </a:lnTo>
                  <a:lnTo>
                    <a:pt x="86" y="430"/>
                  </a:lnTo>
                  <a:lnTo>
                    <a:pt x="121" y="368"/>
                  </a:lnTo>
                  <a:lnTo>
                    <a:pt x="163" y="310"/>
                  </a:lnTo>
                  <a:lnTo>
                    <a:pt x="208" y="256"/>
                  </a:lnTo>
                  <a:lnTo>
                    <a:pt x="259" y="205"/>
                  </a:lnTo>
                  <a:lnTo>
                    <a:pt x="313" y="159"/>
                  </a:lnTo>
                  <a:lnTo>
                    <a:pt x="372" y="119"/>
                  </a:lnTo>
                  <a:lnTo>
                    <a:pt x="436" y="83"/>
                  </a:lnTo>
                  <a:lnTo>
                    <a:pt x="502" y="55"/>
                  </a:lnTo>
                  <a:lnTo>
                    <a:pt x="570" y="31"/>
                  </a:lnTo>
                  <a:lnTo>
                    <a:pt x="643" y="13"/>
                  </a:lnTo>
                  <a:lnTo>
                    <a:pt x="718" y="3"/>
                  </a:lnTo>
                  <a:lnTo>
                    <a:pt x="7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10">
              <a:extLst>
                <a:ext uri="{FF2B5EF4-FFF2-40B4-BE49-F238E27FC236}">
                  <a16:creationId xmlns:a16="http://schemas.microsoft.com/office/drawing/2014/main" id="{24BD650C-547C-C148-AB85-D6639C0C2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8450" y="4000500"/>
              <a:ext cx="479425" cy="474663"/>
            </a:xfrm>
            <a:custGeom>
              <a:avLst/>
              <a:gdLst>
                <a:gd name="T0" fmla="*/ 407 w 906"/>
                <a:gd name="T1" fmla="*/ 116 h 899"/>
                <a:gd name="T2" fmla="*/ 321 w 906"/>
                <a:gd name="T3" fmla="*/ 139 h 899"/>
                <a:gd name="T4" fmla="*/ 245 w 906"/>
                <a:gd name="T5" fmla="*/ 183 h 899"/>
                <a:gd name="T6" fmla="*/ 183 w 906"/>
                <a:gd name="T7" fmla="*/ 243 h 899"/>
                <a:gd name="T8" fmla="*/ 139 w 906"/>
                <a:gd name="T9" fmla="*/ 318 h 899"/>
                <a:gd name="T10" fmla="*/ 116 w 906"/>
                <a:gd name="T11" fmla="*/ 404 h 899"/>
                <a:gd name="T12" fmla="*/ 116 w 906"/>
                <a:gd name="T13" fmla="*/ 495 h 899"/>
                <a:gd name="T14" fmla="*/ 139 w 906"/>
                <a:gd name="T15" fmla="*/ 581 h 899"/>
                <a:gd name="T16" fmla="*/ 183 w 906"/>
                <a:gd name="T17" fmla="*/ 656 h 899"/>
                <a:gd name="T18" fmla="*/ 245 w 906"/>
                <a:gd name="T19" fmla="*/ 717 h 899"/>
                <a:gd name="T20" fmla="*/ 321 w 906"/>
                <a:gd name="T21" fmla="*/ 760 h 899"/>
                <a:gd name="T22" fmla="*/ 407 w 906"/>
                <a:gd name="T23" fmla="*/ 783 h 899"/>
                <a:gd name="T24" fmla="*/ 498 w 906"/>
                <a:gd name="T25" fmla="*/ 783 h 899"/>
                <a:gd name="T26" fmla="*/ 585 w 906"/>
                <a:gd name="T27" fmla="*/ 760 h 899"/>
                <a:gd name="T28" fmla="*/ 661 w 906"/>
                <a:gd name="T29" fmla="*/ 717 h 899"/>
                <a:gd name="T30" fmla="*/ 722 w 906"/>
                <a:gd name="T31" fmla="*/ 656 h 899"/>
                <a:gd name="T32" fmla="*/ 766 w 906"/>
                <a:gd name="T33" fmla="*/ 581 h 899"/>
                <a:gd name="T34" fmla="*/ 789 w 906"/>
                <a:gd name="T35" fmla="*/ 495 h 899"/>
                <a:gd name="T36" fmla="*/ 789 w 906"/>
                <a:gd name="T37" fmla="*/ 404 h 899"/>
                <a:gd name="T38" fmla="*/ 766 w 906"/>
                <a:gd name="T39" fmla="*/ 318 h 899"/>
                <a:gd name="T40" fmla="*/ 722 w 906"/>
                <a:gd name="T41" fmla="*/ 243 h 899"/>
                <a:gd name="T42" fmla="*/ 661 w 906"/>
                <a:gd name="T43" fmla="*/ 183 h 899"/>
                <a:gd name="T44" fmla="*/ 585 w 906"/>
                <a:gd name="T45" fmla="*/ 139 h 899"/>
                <a:gd name="T46" fmla="*/ 498 w 906"/>
                <a:gd name="T47" fmla="*/ 116 h 899"/>
                <a:gd name="T48" fmla="*/ 453 w 906"/>
                <a:gd name="T49" fmla="*/ 0 h 899"/>
                <a:gd name="T50" fmla="*/ 564 w 906"/>
                <a:gd name="T51" fmla="*/ 14 h 899"/>
                <a:gd name="T52" fmla="*/ 665 w 906"/>
                <a:gd name="T53" fmla="*/ 53 h 899"/>
                <a:gd name="T54" fmla="*/ 753 w 906"/>
                <a:gd name="T55" fmla="*/ 114 h 899"/>
                <a:gd name="T56" fmla="*/ 825 w 906"/>
                <a:gd name="T57" fmla="*/ 193 h 899"/>
                <a:gd name="T58" fmla="*/ 875 w 906"/>
                <a:gd name="T59" fmla="*/ 287 h 899"/>
                <a:gd name="T60" fmla="*/ 903 w 906"/>
                <a:gd name="T61" fmla="*/ 393 h 899"/>
                <a:gd name="T62" fmla="*/ 903 w 906"/>
                <a:gd name="T63" fmla="*/ 506 h 899"/>
                <a:gd name="T64" fmla="*/ 875 w 906"/>
                <a:gd name="T65" fmla="*/ 612 h 899"/>
                <a:gd name="T66" fmla="*/ 825 w 906"/>
                <a:gd name="T67" fmla="*/ 706 h 899"/>
                <a:gd name="T68" fmla="*/ 753 w 906"/>
                <a:gd name="T69" fmla="*/ 785 h 899"/>
                <a:gd name="T70" fmla="*/ 665 w 906"/>
                <a:gd name="T71" fmla="*/ 846 h 899"/>
                <a:gd name="T72" fmla="*/ 564 w 906"/>
                <a:gd name="T73" fmla="*/ 885 h 899"/>
                <a:gd name="T74" fmla="*/ 453 w 906"/>
                <a:gd name="T75" fmla="*/ 899 h 899"/>
                <a:gd name="T76" fmla="*/ 341 w 906"/>
                <a:gd name="T77" fmla="*/ 885 h 899"/>
                <a:gd name="T78" fmla="*/ 240 w 906"/>
                <a:gd name="T79" fmla="*/ 846 h 899"/>
                <a:gd name="T80" fmla="*/ 152 w 906"/>
                <a:gd name="T81" fmla="*/ 785 h 899"/>
                <a:gd name="T82" fmla="*/ 81 w 906"/>
                <a:gd name="T83" fmla="*/ 706 h 899"/>
                <a:gd name="T84" fmla="*/ 30 w 906"/>
                <a:gd name="T85" fmla="*/ 612 h 899"/>
                <a:gd name="T86" fmla="*/ 4 w 906"/>
                <a:gd name="T87" fmla="*/ 506 h 899"/>
                <a:gd name="T88" fmla="*/ 4 w 906"/>
                <a:gd name="T89" fmla="*/ 393 h 899"/>
                <a:gd name="T90" fmla="*/ 30 w 906"/>
                <a:gd name="T91" fmla="*/ 287 h 899"/>
                <a:gd name="T92" fmla="*/ 81 w 906"/>
                <a:gd name="T93" fmla="*/ 193 h 899"/>
                <a:gd name="T94" fmla="*/ 152 w 906"/>
                <a:gd name="T95" fmla="*/ 114 h 899"/>
                <a:gd name="T96" fmla="*/ 240 w 906"/>
                <a:gd name="T97" fmla="*/ 53 h 899"/>
                <a:gd name="T98" fmla="*/ 341 w 906"/>
                <a:gd name="T99" fmla="*/ 14 h 899"/>
                <a:gd name="T100" fmla="*/ 453 w 906"/>
                <a:gd name="T101" fmla="*/ 0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06" h="899">
                  <a:moveTo>
                    <a:pt x="453" y="113"/>
                  </a:moveTo>
                  <a:lnTo>
                    <a:pt x="407" y="116"/>
                  </a:lnTo>
                  <a:lnTo>
                    <a:pt x="363" y="124"/>
                  </a:lnTo>
                  <a:lnTo>
                    <a:pt x="321" y="139"/>
                  </a:lnTo>
                  <a:lnTo>
                    <a:pt x="282" y="159"/>
                  </a:lnTo>
                  <a:lnTo>
                    <a:pt x="245" y="183"/>
                  </a:lnTo>
                  <a:lnTo>
                    <a:pt x="212" y="211"/>
                  </a:lnTo>
                  <a:lnTo>
                    <a:pt x="183" y="243"/>
                  </a:lnTo>
                  <a:lnTo>
                    <a:pt x="159" y="279"/>
                  </a:lnTo>
                  <a:lnTo>
                    <a:pt x="139" y="318"/>
                  </a:lnTo>
                  <a:lnTo>
                    <a:pt x="124" y="361"/>
                  </a:lnTo>
                  <a:lnTo>
                    <a:pt x="116" y="404"/>
                  </a:lnTo>
                  <a:lnTo>
                    <a:pt x="112" y="450"/>
                  </a:lnTo>
                  <a:lnTo>
                    <a:pt x="116" y="495"/>
                  </a:lnTo>
                  <a:lnTo>
                    <a:pt x="124" y="539"/>
                  </a:lnTo>
                  <a:lnTo>
                    <a:pt x="139" y="581"/>
                  </a:lnTo>
                  <a:lnTo>
                    <a:pt x="159" y="619"/>
                  </a:lnTo>
                  <a:lnTo>
                    <a:pt x="183" y="656"/>
                  </a:lnTo>
                  <a:lnTo>
                    <a:pt x="212" y="688"/>
                  </a:lnTo>
                  <a:lnTo>
                    <a:pt x="245" y="717"/>
                  </a:lnTo>
                  <a:lnTo>
                    <a:pt x="282" y="741"/>
                  </a:lnTo>
                  <a:lnTo>
                    <a:pt x="321" y="760"/>
                  </a:lnTo>
                  <a:lnTo>
                    <a:pt x="363" y="774"/>
                  </a:lnTo>
                  <a:lnTo>
                    <a:pt x="407" y="783"/>
                  </a:lnTo>
                  <a:lnTo>
                    <a:pt x="453" y="787"/>
                  </a:lnTo>
                  <a:lnTo>
                    <a:pt x="498" y="783"/>
                  </a:lnTo>
                  <a:lnTo>
                    <a:pt x="543" y="774"/>
                  </a:lnTo>
                  <a:lnTo>
                    <a:pt x="585" y="760"/>
                  </a:lnTo>
                  <a:lnTo>
                    <a:pt x="625" y="741"/>
                  </a:lnTo>
                  <a:lnTo>
                    <a:pt x="661" y="717"/>
                  </a:lnTo>
                  <a:lnTo>
                    <a:pt x="693" y="688"/>
                  </a:lnTo>
                  <a:lnTo>
                    <a:pt x="722" y="656"/>
                  </a:lnTo>
                  <a:lnTo>
                    <a:pt x="746" y="619"/>
                  </a:lnTo>
                  <a:lnTo>
                    <a:pt x="766" y="581"/>
                  </a:lnTo>
                  <a:lnTo>
                    <a:pt x="780" y="539"/>
                  </a:lnTo>
                  <a:lnTo>
                    <a:pt x="789" y="495"/>
                  </a:lnTo>
                  <a:lnTo>
                    <a:pt x="793" y="450"/>
                  </a:lnTo>
                  <a:lnTo>
                    <a:pt x="789" y="404"/>
                  </a:lnTo>
                  <a:lnTo>
                    <a:pt x="780" y="361"/>
                  </a:lnTo>
                  <a:lnTo>
                    <a:pt x="766" y="318"/>
                  </a:lnTo>
                  <a:lnTo>
                    <a:pt x="746" y="279"/>
                  </a:lnTo>
                  <a:lnTo>
                    <a:pt x="722" y="243"/>
                  </a:lnTo>
                  <a:lnTo>
                    <a:pt x="693" y="211"/>
                  </a:lnTo>
                  <a:lnTo>
                    <a:pt x="661" y="183"/>
                  </a:lnTo>
                  <a:lnTo>
                    <a:pt x="625" y="159"/>
                  </a:lnTo>
                  <a:lnTo>
                    <a:pt x="585" y="139"/>
                  </a:lnTo>
                  <a:lnTo>
                    <a:pt x="543" y="124"/>
                  </a:lnTo>
                  <a:lnTo>
                    <a:pt x="498" y="116"/>
                  </a:lnTo>
                  <a:lnTo>
                    <a:pt x="453" y="113"/>
                  </a:lnTo>
                  <a:close/>
                  <a:moveTo>
                    <a:pt x="453" y="0"/>
                  </a:moveTo>
                  <a:lnTo>
                    <a:pt x="510" y="4"/>
                  </a:lnTo>
                  <a:lnTo>
                    <a:pt x="564" y="14"/>
                  </a:lnTo>
                  <a:lnTo>
                    <a:pt x="616" y="30"/>
                  </a:lnTo>
                  <a:lnTo>
                    <a:pt x="665" y="53"/>
                  </a:lnTo>
                  <a:lnTo>
                    <a:pt x="711" y="80"/>
                  </a:lnTo>
                  <a:lnTo>
                    <a:pt x="753" y="114"/>
                  </a:lnTo>
                  <a:lnTo>
                    <a:pt x="791" y="150"/>
                  </a:lnTo>
                  <a:lnTo>
                    <a:pt x="825" y="193"/>
                  </a:lnTo>
                  <a:lnTo>
                    <a:pt x="853" y="238"/>
                  </a:lnTo>
                  <a:lnTo>
                    <a:pt x="875" y="287"/>
                  </a:lnTo>
                  <a:lnTo>
                    <a:pt x="892" y="339"/>
                  </a:lnTo>
                  <a:lnTo>
                    <a:pt x="903" y="393"/>
                  </a:lnTo>
                  <a:lnTo>
                    <a:pt x="906" y="450"/>
                  </a:lnTo>
                  <a:lnTo>
                    <a:pt x="903" y="506"/>
                  </a:lnTo>
                  <a:lnTo>
                    <a:pt x="892" y="560"/>
                  </a:lnTo>
                  <a:lnTo>
                    <a:pt x="875" y="612"/>
                  </a:lnTo>
                  <a:lnTo>
                    <a:pt x="853" y="660"/>
                  </a:lnTo>
                  <a:lnTo>
                    <a:pt x="825" y="706"/>
                  </a:lnTo>
                  <a:lnTo>
                    <a:pt x="791" y="748"/>
                  </a:lnTo>
                  <a:lnTo>
                    <a:pt x="753" y="785"/>
                  </a:lnTo>
                  <a:lnTo>
                    <a:pt x="711" y="818"/>
                  </a:lnTo>
                  <a:lnTo>
                    <a:pt x="665" y="846"/>
                  </a:lnTo>
                  <a:lnTo>
                    <a:pt x="616" y="868"/>
                  </a:lnTo>
                  <a:lnTo>
                    <a:pt x="564" y="885"/>
                  </a:lnTo>
                  <a:lnTo>
                    <a:pt x="510" y="896"/>
                  </a:lnTo>
                  <a:lnTo>
                    <a:pt x="453" y="899"/>
                  </a:lnTo>
                  <a:lnTo>
                    <a:pt x="396" y="896"/>
                  </a:lnTo>
                  <a:lnTo>
                    <a:pt x="341" y="885"/>
                  </a:lnTo>
                  <a:lnTo>
                    <a:pt x="289" y="868"/>
                  </a:lnTo>
                  <a:lnTo>
                    <a:pt x="240" y="846"/>
                  </a:lnTo>
                  <a:lnTo>
                    <a:pt x="194" y="818"/>
                  </a:lnTo>
                  <a:lnTo>
                    <a:pt x="152" y="785"/>
                  </a:lnTo>
                  <a:lnTo>
                    <a:pt x="114" y="748"/>
                  </a:lnTo>
                  <a:lnTo>
                    <a:pt x="81" y="706"/>
                  </a:lnTo>
                  <a:lnTo>
                    <a:pt x="52" y="660"/>
                  </a:lnTo>
                  <a:lnTo>
                    <a:pt x="30" y="612"/>
                  </a:lnTo>
                  <a:lnTo>
                    <a:pt x="14" y="560"/>
                  </a:lnTo>
                  <a:lnTo>
                    <a:pt x="4" y="506"/>
                  </a:lnTo>
                  <a:lnTo>
                    <a:pt x="0" y="450"/>
                  </a:lnTo>
                  <a:lnTo>
                    <a:pt x="4" y="393"/>
                  </a:lnTo>
                  <a:lnTo>
                    <a:pt x="14" y="339"/>
                  </a:lnTo>
                  <a:lnTo>
                    <a:pt x="30" y="287"/>
                  </a:lnTo>
                  <a:lnTo>
                    <a:pt x="52" y="238"/>
                  </a:lnTo>
                  <a:lnTo>
                    <a:pt x="81" y="193"/>
                  </a:lnTo>
                  <a:lnTo>
                    <a:pt x="114" y="150"/>
                  </a:lnTo>
                  <a:lnTo>
                    <a:pt x="152" y="114"/>
                  </a:lnTo>
                  <a:lnTo>
                    <a:pt x="194" y="80"/>
                  </a:lnTo>
                  <a:lnTo>
                    <a:pt x="240" y="53"/>
                  </a:lnTo>
                  <a:lnTo>
                    <a:pt x="289" y="30"/>
                  </a:lnTo>
                  <a:lnTo>
                    <a:pt x="341" y="14"/>
                  </a:lnTo>
                  <a:lnTo>
                    <a:pt x="396" y="4"/>
                  </a:lnTo>
                  <a:lnTo>
                    <a:pt x="4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37" name="TextBox 3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9A3020DF-ED67-4C4A-8C41-892FB8739D3F}"/>
              </a:ext>
            </a:extLst>
          </p:cNvPr>
          <p:cNvSpPr txBox="1"/>
          <p:nvPr/>
        </p:nvSpPr>
        <p:spPr>
          <a:xfrm>
            <a:off x="1246913" y="5071529"/>
            <a:ext cx="8544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1400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Main Title</a:t>
            </a:r>
          </a:p>
        </p:txBody>
      </p:sp>
      <p:sp>
        <p:nvSpPr>
          <p:cNvPr id="38" name="TextBox 3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F583FB05-073D-F748-BD60-6088CE2E45DE}"/>
              </a:ext>
            </a:extLst>
          </p:cNvPr>
          <p:cNvSpPr txBox="1"/>
          <p:nvPr/>
        </p:nvSpPr>
        <p:spPr>
          <a:xfrm>
            <a:off x="2722411" y="5071529"/>
            <a:ext cx="8544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1400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Main Title</a:t>
            </a:r>
          </a:p>
        </p:txBody>
      </p:sp>
      <p:sp>
        <p:nvSpPr>
          <p:cNvPr id="39" name="TextBox 3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3026D081-36FF-494E-851D-7E6900A21428}"/>
              </a:ext>
            </a:extLst>
          </p:cNvPr>
          <p:cNvSpPr txBox="1"/>
          <p:nvPr/>
        </p:nvSpPr>
        <p:spPr>
          <a:xfrm>
            <a:off x="4218173" y="5071529"/>
            <a:ext cx="8544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1400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Main Title</a:t>
            </a:r>
          </a:p>
        </p:txBody>
      </p:sp>
      <p:sp>
        <p:nvSpPr>
          <p:cNvPr id="40" name="TextBox 3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894A0D03-EE86-7E43-8199-5908ED54683A}"/>
              </a:ext>
            </a:extLst>
          </p:cNvPr>
          <p:cNvSpPr txBox="1"/>
          <p:nvPr/>
        </p:nvSpPr>
        <p:spPr>
          <a:xfrm>
            <a:off x="5675317" y="4956026"/>
            <a:ext cx="8544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1400" dirty="0">
                <a:solidFill>
                  <a:schemeClr val="bg1"/>
                </a:solidFill>
                <a:ea typeface="Open Sans SemiBold" panose="020B0706030804020204" pitchFamily="34" charset="0"/>
                <a:cs typeface="Open Sans SemiBold" panose="020B0706030804020204" pitchFamily="34" charset="0"/>
              </a:rPr>
              <a:t>Main Title</a:t>
            </a:r>
          </a:p>
        </p:txBody>
      </p:sp>
      <p:sp>
        <p:nvSpPr>
          <p:cNvPr id="41" name="TextBox 4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258B08CC-C8FA-984D-A70E-87395520249E}"/>
              </a:ext>
            </a:extLst>
          </p:cNvPr>
          <p:cNvSpPr txBox="1"/>
          <p:nvPr/>
        </p:nvSpPr>
        <p:spPr>
          <a:xfrm>
            <a:off x="7152441" y="5071529"/>
            <a:ext cx="8544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1400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Main Title</a:t>
            </a:r>
          </a:p>
        </p:txBody>
      </p:sp>
      <p:sp>
        <p:nvSpPr>
          <p:cNvPr id="42" name="TextBox 4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F8A725DE-30A7-014F-8548-293D991CF3A7}"/>
              </a:ext>
            </a:extLst>
          </p:cNvPr>
          <p:cNvSpPr txBox="1"/>
          <p:nvPr/>
        </p:nvSpPr>
        <p:spPr>
          <a:xfrm>
            <a:off x="8627621" y="5071529"/>
            <a:ext cx="8544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1400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Main Title</a:t>
            </a:r>
          </a:p>
        </p:txBody>
      </p:sp>
      <p:sp>
        <p:nvSpPr>
          <p:cNvPr id="43" name="TextBox 4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076F37F5-7745-A344-99B9-D9E760AC8117}"/>
              </a:ext>
            </a:extLst>
          </p:cNvPr>
          <p:cNvSpPr txBox="1"/>
          <p:nvPr/>
        </p:nvSpPr>
        <p:spPr>
          <a:xfrm>
            <a:off x="10099856" y="5071529"/>
            <a:ext cx="8544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vi-VN" sz="1400" dirty="0">
                <a:ea typeface="Open Sans SemiBold" panose="020B0706030804020204" pitchFamily="34" charset="0"/>
                <a:cs typeface="Open Sans SemiBold" panose="020B0706030804020204" pitchFamily="34" charset="0"/>
              </a:rPr>
              <a:t>Main Title</a:t>
            </a:r>
          </a:p>
        </p:txBody>
      </p:sp>
      <p:grpSp>
        <p:nvGrpSpPr>
          <p:cNvPr id="44" name="Group 4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A3D6CF18-E4F1-FA48-AF1C-6DF61923B186}"/>
              </a:ext>
            </a:extLst>
          </p:cNvPr>
          <p:cNvGrpSpPr/>
          <p:nvPr/>
        </p:nvGrpSpPr>
        <p:grpSpPr>
          <a:xfrm>
            <a:off x="2315216" y="1385546"/>
            <a:ext cx="1100173" cy="553998"/>
            <a:chOff x="8669216" y="1066810"/>
            <a:chExt cx="1100173" cy="553998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239BF0A-F314-6C4F-AECD-C027CFDA5AE1}"/>
                </a:ext>
              </a:extLst>
            </p:cNvPr>
            <p:cNvSpPr txBox="1"/>
            <p:nvPr/>
          </p:nvSpPr>
          <p:spPr>
            <a:xfrm>
              <a:off x="8669216" y="1066810"/>
              <a:ext cx="11001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b="1" dirty="0">
                  <a:ea typeface="Open Sans SemiBold" charset="0"/>
                  <a:cs typeface="Open Sans SemiBold" charset="0"/>
                </a:rPr>
                <a:t>Company</a:t>
              </a:r>
              <a:endParaRPr lang="en-US" b="1" dirty="0">
                <a:ea typeface="Open Sans SemiBold" charset="0"/>
                <a:cs typeface="Open Sans SemiBold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64443F8-92A3-764A-90CE-31892FA63D15}"/>
                </a:ext>
              </a:extLst>
            </p:cNvPr>
            <p:cNvSpPr txBox="1"/>
            <p:nvPr/>
          </p:nvSpPr>
          <p:spPr>
            <a:xfrm>
              <a:off x="8669216" y="1374587"/>
              <a:ext cx="876843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 i="1">
                  <a:ea typeface="Open Sans" charset="0"/>
                  <a:cs typeface="Open Sans" charset="0"/>
                </a:rPr>
                <a:t>Designer</a:t>
              </a:r>
            </a:p>
          </p:txBody>
        </p:sp>
      </p:grpSp>
      <p:pic>
        <p:nvPicPr>
          <p:cNvPr id="47" name="图片占位符 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0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07" b="17007"/>
          <a:stretch>
            <a:fillRect/>
          </a:stretch>
        </p:blipFill>
        <p:spPr/>
      </p:pic>
      <p:pic>
        <p:nvPicPr>
          <p:cNvPr id="4" name="图片 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006094">
            <a:off x="9312085" y="-1083382"/>
            <a:ext cx="5164228" cy="5164228"/>
          </a:xfrm>
          <a:prstGeom prst="rect">
            <a:avLst/>
          </a:prstGeom>
        </p:spPr>
      </p:pic>
      <p:pic>
        <p:nvPicPr>
          <p:cNvPr id="48" name="图片 4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5660572"/>
            <a:ext cx="3091541" cy="3091541"/>
          </a:xfrm>
          <a:prstGeom prst="rect">
            <a:avLst/>
          </a:prstGeom>
        </p:spPr>
      </p:pic>
      <p:sp>
        <p:nvSpPr>
          <p:cNvPr id="6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18940307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339A3FE9-FAF9-C640-A126-DB30FCB5B3F0}"/>
              </a:ext>
            </a:extLst>
          </p:cNvPr>
          <p:cNvSpPr txBox="1"/>
          <p:nvPr/>
        </p:nvSpPr>
        <p:spPr>
          <a:xfrm>
            <a:off x="6096000" y="992876"/>
            <a:ext cx="5435600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vi-VN" sz="6600" b="1" dirty="0">
                <a:solidFill>
                  <a:schemeClr val="bg1">
                    <a:lumMod val="85000"/>
                  </a:schemeClr>
                </a:solidFill>
                <a:ea typeface="Open Sans SemiBold" panose="020B0606030504020204" pitchFamily="34" charset="0"/>
                <a:cs typeface="Open Sans SemiBold" panose="020B0606030504020204" pitchFamily="34" charset="0"/>
              </a:rPr>
              <a:t>MARKETING PLAN</a:t>
            </a:r>
          </a:p>
        </p:txBody>
      </p:sp>
      <p:grpSp>
        <p:nvGrpSpPr>
          <p:cNvPr id="12" name="Group 1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D50A83D-CAAA-B747-8FEE-BDF6EA0D38CC}"/>
              </a:ext>
            </a:extLst>
          </p:cNvPr>
          <p:cNvGrpSpPr/>
          <p:nvPr/>
        </p:nvGrpSpPr>
        <p:grpSpPr>
          <a:xfrm>
            <a:off x="1126733" y="5271363"/>
            <a:ext cx="766902" cy="772583"/>
            <a:chOff x="3541713" y="4476750"/>
            <a:chExt cx="1500188" cy="1511301"/>
          </a:xfrm>
        </p:grpSpPr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18981629-DD15-4B4D-A1EB-A5F2B3F10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1713" y="4578350"/>
              <a:ext cx="1500188" cy="260350"/>
            </a:xfrm>
            <a:custGeom>
              <a:avLst/>
              <a:gdLst>
                <a:gd name="T0" fmla="*/ 133 w 133"/>
                <a:gd name="T1" fmla="*/ 12 h 23"/>
                <a:gd name="T2" fmla="*/ 133 w 133"/>
                <a:gd name="T3" fmla="*/ 23 h 23"/>
                <a:gd name="T4" fmla="*/ 0 w 133"/>
                <a:gd name="T5" fmla="*/ 23 h 23"/>
                <a:gd name="T6" fmla="*/ 0 w 133"/>
                <a:gd name="T7" fmla="*/ 12 h 23"/>
                <a:gd name="T8" fmla="*/ 11 w 133"/>
                <a:gd name="T9" fmla="*/ 0 h 23"/>
                <a:gd name="T10" fmla="*/ 121 w 133"/>
                <a:gd name="T11" fmla="*/ 0 h 23"/>
                <a:gd name="T12" fmla="*/ 133 w 133"/>
                <a:gd name="T1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23">
                  <a:moveTo>
                    <a:pt x="133" y="12"/>
                  </a:moveTo>
                  <a:cubicBezTo>
                    <a:pt x="133" y="23"/>
                    <a:pt x="133" y="23"/>
                    <a:pt x="133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8" y="0"/>
                    <a:pt x="133" y="5"/>
                    <a:pt x="133" y="12"/>
                  </a:cubicBez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8">
              <a:extLst>
                <a:ext uri="{FF2B5EF4-FFF2-40B4-BE49-F238E27FC236}">
                  <a16:creationId xmlns:a16="http://schemas.microsoft.com/office/drawing/2014/main" id="{5285C26C-7D7C-ED4A-825F-A4B406CBA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7726" y="4646613"/>
              <a:ext cx="247650" cy="55563"/>
            </a:xfrm>
            <a:custGeom>
              <a:avLst/>
              <a:gdLst>
                <a:gd name="T0" fmla="*/ 4 w 22"/>
                <a:gd name="T1" fmla="*/ 3 h 5"/>
                <a:gd name="T2" fmla="*/ 4 w 22"/>
                <a:gd name="T3" fmla="*/ 3 h 5"/>
                <a:gd name="T4" fmla="*/ 2 w 22"/>
                <a:gd name="T5" fmla="*/ 5 h 5"/>
                <a:gd name="T6" fmla="*/ 0 w 22"/>
                <a:gd name="T7" fmla="*/ 3 h 5"/>
                <a:gd name="T8" fmla="*/ 0 w 22"/>
                <a:gd name="T9" fmla="*/ 3 h 5"/>
                <a:gd name="T10" fmla="*/ 2 w 22"/>
                <a:gd name="T11" fmla="*/ 0 h 5"/>
                <a:gd name="T12" fmla="*/ 4 w 22"/>
                <a:gd name="T13" fmla="*/ 3 h 5"/>
                <a:gd name="T14" fmla="*/ 11 w 22"/>
                <a:gd name="T15" fmla="*/ 0 h 5"/>
                <a:gd name="T16" fmla="*/ 9 w 22"/>
                <a:gd name="T17" fmla="*/ 3 h 5"/>
                <a:gd name="T18" fmla="*/ 9 w 22"/>
                <a:gd name="T19" fmla="*/ 3 h 5"/>
                <a:gd name="T20" fmla="*/ 11 w 22"/>
                <a:gd name="T21" fmla="*/ 5 h 5"/>
                <a:gd name="T22" fmla="*/ 13 w 22"/>
                <a:gd name="T23" fmla="*/ 3 h 5"/>
                <a:gd name="T24" fmla="*/ 13 w 22"/>
                <a:gd name="T25" fmla="*/ 3 h 5"/>
                <a:gd name="T26" fmla="*/ 11 w 22"/>
                <a:gd name="T27" fmla="*/ 0 h 5"/>
                <a:gd name="T28" fmla="*/ 20 w 22"/>
                <a:gd name="T29" fmla="*/ 0 h 5"/>
                <a:gd name="T30" fmla="*/ 17 w 22"/>
                <a:gd name="T31" fmla="*/ 3 h 5"/>
                <a:gd name="T32" fmla="*/ 17 w 22"/>
                <a:gd name="T33" fmla="*/ 3 h 5"/>
                <a:gd name="T34" fmla="*/ 20 w 22"/>
                <a:gd name="T35" fmla="*/ 5 h 5"/>
                <a:gd name="T36" fmla="*/ 22 w 22"/>
                <a:gd name="T37" fmla="*/ 3 h 5"/>
                <a:gd name="T38" fmla="*/ 22 w 22"/>
                <a:gd name="T39" fmla="*/ 3 h 5"/>
                <a:gd name="T40" fmla="*/ 20 w 22"/>
                <a:gd name="T4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5">
                  <a:moveTo>
                    <a:pt x="4" y="3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3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3"/>
                  </a:cubicBezTo>
                  <a:close/>
                  <a:moveTo>
                    <a:pt x="11" y="0"/>
                  </a:moveTo>
                  <a:cubicBezTo>
                    <a:pt x="10" y="0"/>
                    <a:pt x="9" y="1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10" y="5"/>
                    <a:pt x="11" y="5"/>
                  </a:cubicBezTo>
                  <a:cubicBezTo>
                    <a:pt x="12" y="5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1"/>
                    <a:pt x="12" y="0"/>
                    <a:pt x="11" y="0"/>
                  </a:cubicBezTo>
                  <a:close/>
                  <a:moveTo>
                    <a:pt x="20" y="0"/>
                  </a:moveTo>
                  <a:cubicBezTo>
                    <a:pt x="18" y="0"/>
                    <a:pt x="17" y="1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4"/>
                    <a:pt x="18" y="5"/>
                    <a:pt x="20" y="5"/>
                  </a:cubicBezTo>
                  <a:cubicBezTo>
                    <a:pt x="21" y="5"/>
                    <a:pt x="22" y="4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1"/>
                    <a:pt x="21" y="0"/>
                    <a:pt x="20" y="0"/>
                  </a:cubicBezTo>
                  <a:close/>
                </a:path>
              </a:pathLst>
            </a:custGeom>
            <a:solidFill>
              <a:srgbClr val="7777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9">
              <a:extLst>
                <a:ext uri="{FF2B5EF4-FFF2-40B4-BE49-F238E27FC236}">
                  <a16:creationId xmlns:a16="http://schemas.microsoft.com/office/drawing/2014/main" id="{CCB1B285-623A-544A-9D63-67B76186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1713" y="4476750"/>
              <a:ext cx="1500188" cy="1341438"/>
            </a:xfrm>
            <a:custGeom>
              <a:avLst/>
              <a:gdLst>
                <a:gd name="T0" fmla="*/ 133 w 133"/>
                <a:gd name="T1" fmla="*/ 26 h 119"/>
                <a:gd name="T2" fmla="*/ 133 w 133"/>
                <a:gd name="T3" fmla="*/ 108 h 119"/>
                <a:gd name="T4" fmla="*/ 121 w 133"/>
                <a:gd name="T5" fmla="*/ 119 h 119"/>
                <a:gd name="T6" fmla="*/ 11 w 133"/>
                <a:gd name="T7" fmla="*/ 119 h 119"/>
                <a:gd name="T8" fmla="*/ 0 w 133"/>
                <a:gd name="T9" fmla="*/ 108 h 119"/>
                <a:gd name="T10" fmla="*/ 0 w 133"/>
                <a:gd name="T11" fmla="*/ 26 h 119"/>
                <a:gd name="T12" fmla="*/ 17 w 133"/>
                <a:gd name="T13" fmla="*/ 26 h 119"/>
                <a:gd name="T14" fmla="*/ 17 w 133"/>
                <a:gd name="T15" fmla="*/ 6 h 119"/>
                <a:gd name="T16" fmla="*/ 23 w 133"/>
                <a:gd name="T17" fmla="*/ 0 h 119"/>
                <a:gd name="T18" fmla="*/ 46 w 133"/>
                <a:gd name="T19" fmla="*/ 0 h 119"/>
                <a:gd name="T20" fmla="*/ 52 w 133"/>
                <a:gd name="T21" fmla="*/ 6 h 119"/>
                <a:gd name="T22" fmla="*/ 52 w 133"/>
                <a:gd name="T23" fmla="*/ 26 h 119"/>
                <a:gd name="T24" fmla="*/ 133 w 133"/>
                <a:gd name="T25" fmla="*/ 26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3" h="119">
                  <a:moveTo>
                    <a:pt x="133" y="26"/>
                  </a:moveTo>
                  <a:cubicBezTo>
                    <a:pt x="133" y="108"/>
                    <a:pt x="133" y="108"/>
                    <a:pt x="133" y="108"/>
                  </a:cubicBezTo>
                  <a:cubicBezTo>
                    <a:pt x="133" y="114"/>
                    <a:pt x="128" y="119"/>
                    <a:pt x="121" y="119"/>
                  </a:cubicBezTo>
                  <a:cubicBezTo>
                    <a:pt x="11" y="119"/>
                    <a:pt x="11" y="119"/>
                    <a:pt x="11" y="119"/>
                  </a:cubicBezTo>
                  <a:cubicBezTo>
                    <a:pt x="5" y="119"/>
                    <a:pt x="0" y="114"/>
                    <a:pt x="0" y="108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3"/>
                    <a:pt x="20" y="0"/>
                    <a:pt x="23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9" y="0"/>
                    <a:pt x="52" y="3"/>
                    <a:pt x="52" y="6"/>
                  </a:cubicBezTo>
                  <a:cubicBezTo>
                    <a:pt x="52" y="26"/>
                    <a:pt x="52" y="26"/>
                    <a:pt x="52" y="26"/>
                  </a:cubicBezTo>
                  <a:lnTo>
                    <a:pt x="133" y="26"/>
                  </a:lnTo>
                  <a:close/>
                </a:path>
              </a:pathLst>
            </a:custGeom>
            <a:solidFill>
              <a:srgbClr val="E9F2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AB18352C-DD5B-4E4D-8E47-944D68F6EB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3801" y="4476750"/>
              <a:ext cx="393700" cy="293688"/>
            </a:xfrm>
            <a:custGeom>
              <a:avLst/>
              <a:gdLst>
                <a:gd name="T0" fmla="*/ 35 w 35"/>
                <a:gd name="T1" fmla="*/ 6 h 26"/>
                <a:gd name="T2" fmla="*/ 35 w 35"/>
                <a:gd name="T3" fmla="*/ 26 h 26"/>
                <a:gd name="T4" fmla="*/ 0 w 35"/>
                <a:gd name="T5" fmla="*/ 26 h 26"/>
                <a:gd name="T6" fmla="*/ 0 w 35"/>
                <a:gd name="T7" fmla="*/ 6 h 26"/>
                <a:gd name="T8" fmla="*/ 6 w 35"/>
                <a:gd name="T9" fmla="*/ 0 h 26"/>
                <a:gd name="T10" fmla="*/ 29 w 35"/>
                <a:gd name="T11" fmla="*/ 0 h 26"/>
                <a:gd name="T12" fmla="*/ 35 w 35"/>
                <a:gd name="T13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6">
                  <a:moveTo>
                    <a:pt x="35" y="6"/>
                  </a:moveTo>
                  <a:cubicBezTo>
                    <a:pt x="35" y="26"/>
                    <a:pt x="35" y="26"/>
                    <a:pt x="35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3"/>
                    <a:pt x="35" y="6"/>
                  </a:cubicBezTo>
                  <a:close/>
                </a:path>
              </a:pathLst>
            </a:custGeom>
            <a:solidFill>
              <a:srgbClr val="C3E4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1">
              <a:extLst>
                <a:ext uri="{FF2B5EF4-FFF2-40B4-BE49-F238E27FC236}">
                  <a16:creationId xmlns:a16="http://schemas.microsoft.com/office/drawing/2014/main" id="{8825AD55-013B-A441-B8E3-923219CCF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0476" y="4567238"/>
              <a:ext cx="260350" cy="123825"/>
            </a:xfrm>
            <a:custGeom>
              <a:avLst/>
              <a:gdLst>
                <a:gd name="T0" fmla="*/ 23 w 23"/>
                <a:gd name="T1" fmla="*/ 2 h 11"/>
                <a:gd name="T2" fmla="*/ 23 w 23"/>
                <a:gd name="T3" fmla="*/ 8 h 11"/>
                <a:gd name="T4" fmla="*/ 20 w 23"/>
                <a:gd name="T5" fmla="*/ 11 h 11"/>
                <a:gd name="T6" fmla="*/ 3 w 23"/>
                <a:gd name="T7" fmla="*/ 11 h 11"/>
                <a:gd name="T8" fmla="*/ 0 w 23"/>
                <a:gd name="T9" fmla="*/ 8 h 11"/>
                <a:gd name="T10" fmla="*/ 0 w 23"/>
                <a:gd name="T11" fmla="*/ 2 h 11"/>
                <a:gd name="T12" fmla="*/ 3 w 23"/>
                <a:gd name="T13" fmla="*/ 0 h 11"/>
                <a:gd name="T14" fmla="*/ 20 w 23"/>
                <a:gd name="T15" fmla="*/ 0 h 11"/>
                <a:gd name="T16" fmla="*/ 23 w 23"/>
                <a:gd name="T17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11">
                  <a:moveTo>
                    <a:pt x="23" y="2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23" y="10"/>
                    <a:pt x="22" y="11"/>
                    <a:pt x="20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0"/>
                    <a:pt x="23" y="1"/>
                    <a:pt x="23" y="2"/>
                  </a:cubicBezTo>
                  <a:close/>
                </a:path>
              </a:pathLst>
            </a:custGeom>
            <a:solidFill>
              <a:srgbClr val="B2D1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2">
              <a:extLst>
                <a:ext uri="{FF2B5EF4-FFF2-40B4-BE49-F238E27FC236}">
                  <a16:creationId xmlns:a16="http://schemas.microsoft.com/office/drawing/2014/main" id="{6CC27B74-9D59-864F-839E-975830EBEB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8876" y="4916488"/>
              <a:ext cx="1184275" cy="755650"/>
            </a:xfrm>
            <a:custGeom>
              <a:avLst/>
              <a:gdLst>
                <a:gd name="T0" fmla="*/ 99 w 105"/>
                <a:gd name="T1" fmla="*/ 67 h 67"/>
                <a:gd name="T2" fmla="*/ 6 w 105"/>
                <a:gd name="T3" fmla="*/ 67 h 67"/>
                <a:gd name="T4" fmla="*/ 0 w 105"/>
                <a:gd name="T5" fmla="*/ 61 h 67"/>
                <a:gd name="T6" fmla="*/ 0 w 105"/>
                <a:gd name="T7" fmla="*/ 29 h 67"/>
                <a:gd name="T8" fmla="*/ 6 w 105"/>
                <a:gd name="T9" fmla="*/ 24 h 67"/>
                <a:gd name="T10" fmla="*/ 99 w 105"/>
                <a:gd name="T11" fmla="*/ 24 h 67"/>
                <a:gd name="T12" fmla="*/ 105 w 105"/>
                <a:gd name="T13" fmla="*/ 29 h 67"/>
                <a:gd name="T14" fmla="*/ 105 w 105"/>
                <a:gd name="T15" fmla="*/ 61 h 67"/>
                <a:gd name="T16" fmla="*/ 99 w 105"/>
                <a:gd name="T17" fmla="*/ 67 h 67"/>
                <a:gd name="T18" fmla="*/ 38 w 105"/>
                <a:gd name="T19" fmla="*/ 6 h 67"/>
                <a:gd name="T20" fmla="*/ 38 w 105"/>
                <a:gd name="T21" fmla="*/ 6 h 67"/>
                <a:gd name="T22" fmla="*/ 32 w 105"/>
                <a:gd name="T23" fmla="*/ 0 h 67"/>
                <a:gd name="T24" fmla="*/ 6 w 105"/>
                <a:gd name="T25" fmla="*/ 0 h 67"/>
                <a:gd name="T26" fmla="*/ 0 w 105"/>
                <a:gd name="T27" fmla="*/ 6 h 67"/>
                <a:gd name="T28" fmla="*/ 0 w 105"/>
                <a:gd name="T29" fmla="*/ 6 h 67"/>
                <a:gd name="T30" fmla="*/ 6 w 105"/>
                <a:gd name="T31" fmla="*/ 12 h 67"/>
                <a:gd name="T32" fmla="*/ 32 w 105"/>
                <a:gd name="T33" fmla="*/ 12 h 67"/>
                <a:gd name="T34" fmla="*/ 38 w 105"/>
                <a:gd name="T35" fmla="*/ 6 h 67"/>
                <a:gd name="T36" fmla="*/ 105 w 105"/>
                <a:gd name="T37" fmla="*/ 6 h 67"/>
                <a:gd name="T38" fmla="*/ 105 w 105"/>
                <a:gd name="T39" fmla="*/ 6 h 67"/>
                <a:gd name="T40" fmla="*/ 99 w 105"/>
                <a:gd name="T41" fmla="*/ 0 h 67"/>
                <a:gd name="T42" fmla="*/ 52 w 105"/>
                <a:gd name="T43" fmla="*/ 0 h 67"/>
                <a:gd name="T44" fmla="*/ 47 w 105"/>
                <a:gd name="T45" fmla="*/ 6 h 67"/>
                <a:gd name="T46" fmla="*/ 47 w 105"/>
                <a:gd name="T47" fmla="*/ 6 h 67"/>
                <a:gd name="T48" fmla="*/ 52 w 105"/>
                <a:gd name="T49" fmla="*/ 12 h 67"/>
                <a:gd name="T50" fmla="*/ 99 w 105"/>
                <a:gd name="T51" fmla="*/ 12 h 67"/>
                <a:gd name="T52" fmla="*/ 105 w 105"/>
                <a:gd name="T53" fmla="*/ 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5" h="67">
                  <a:moveTo>
                    <a:pt x="99" y="67"/>
                  </a:moveTo>
                  <a:cubicBezTo>
                    <a:pt x="6" y="67"/>
                    <a:pt x="6" y="67"/>
                    <a:pt x="6" y="67"/>
                  </a:cubicBezTo>
                  <a:cubicBezTo>
                    <a:pt x="3" y="67"/>
                    <a:pt x="0" y="65"/>
                    <a:pt x="0" y="6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6"/>
                    <a:pt x="3" y="24"/>
                    <a:pt x="6" y="24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2" y="24"/>
                    <a:pt x="105" y="26"/>
                    <a:pt x="105" y="29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5" y="65"/>
                    <a:pt x="102" y="67"/>
                    <a:pt x="99" y="67"/>
                  </a:cubicBezTo>
                  <a:close/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8" y="3"/>
                    <a:pt x="35" y="0"/>
                    <a:pt x="3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5" y="12"/>
                    <a:pt x="38" y="9"/>
                    <a:pt x="38" y="6"/>
                  </a:cubicBezTo>
                  <a:close/>
                  <a:moveTo>
                    <a:pt x="105" y="6"/>
                  </a:moveTo>
                  <a:cubicBezTo>
                    <a:pt x="105" y="6"/>
                    <a:pt x="105" y="6"/>
                    <a:pt x="105" y="6"/>
                  </a:cubicBezTo>
                  <a:cubicBezTo>
                    <a:pt x="105" y="3"/>
                    <a:pt x="102" y="0"/>
                    <a:pt x="99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9" y="0"/>
                    <a:pt x="47" y="3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9"/>
                    <a:pt x="49" y="12"/>
                    <a:pt x="52" y="12"/>
                  </a:cubicBezTo>
                  <a:cubicBezTo>
                    <a:pt x="99" y="12"/>
                    <a:pt x="99" y="12"/>
                    <a:pt x="99" y="12"/>
                  </a:cubicBezTo>
                  <a:cubicBezTo>
                    <a:pt x="102" y="12"/>
                    <a:pt x="105" y="9"/>
                    <a:pt x="105" y="6"/>
                  </a:cubicBezTo>
                  <a:close/>
                </a:path>
              </a:pathLst>
            </a:custGeom>
            <a:solidFill>
              <a:srgbClr val="CFDF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">
              <a:extLst>
                <a:ext uri="{FF2B5EF4-FFF2-40B4-BE49-F238E27FC236}">
                  <a16:creationId xmlns:a16="http://schemas.microsoft.com/office/drawing/2014/main" id="{EFBDBBB3-870F-2246-9E32-E63402C1E0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0826" y="5278438"/>
              <a:ext cx="822325" cy="709613"/>
            </a:xfrm>
            <a:custGeom>
              <a:avLst/>
              <a:gdLst>
                <a:gd name="T0" fmla="*/ 67 w 73"/>
                <a:gd name="T1" fmla="*/ 25 h 63"/>
                <a:gd name="T2" fmla="*/ 50 w 73"/>
                <a:gd name="T3" fmla="*/ 25 h 63"/>
                <a:gd name="T4" fmla="*/ 50 w 73"/>
                <a:gd name="T5" fmla="*/ 14 h 63"/>
                <a:gd name="T6" fmla="*/ 36 w 73"/>
                <a:gd name="T7" fmla="*/ 0 h 63"/>
                <a:gd name="T8" fmla="*/ 23 w 73"/>
                <a:gd name="T9" fmla="*/ 14 h 63"/>
                <a:gd name="T10" fmla="*/ 23 w 73"/>
                <a:gd name="T11" fmla="*/ 25 h 63"/>
                <a:gd name="T12" fmla="*/ 6 w 73"/>
                <a:gd name="T13" fmla="*/ 25 h 63"/>
                <a:gd name="T14" fmla="*/ 0 w 73"/>
                <a:gd name="T15" fmla="*/ 31 h 63"/>
                <a:gd name="T16" fmla="*/ 6 w 73"/>
                <a:gd name="T17" fmla="*/ 37 h 63"/>
                <a:gd name="T18" fmla="*/ 7 w 73"/>
                <a:gd name="T19" fmla="*/ 37 h 63"/>
                <a:gd name="T20" fmla="*/ 12 w 73"/>
                <a:gd name="T21" fmla="*/ 54 h 63"/>
                <a:gd name="T22" fmla="*/ 23 w 73"/>
                <a:gd name="T23" fmla="*/ 63 h 63"/>
                <a:gd name="T24" fmla="*/ 49 w 73"/>
                <a:gd name="T25" fmla="*/ 63 h 63"/>
                <a:gd name="T26" fmla="*/ 60 w 73"/>
                <a:gd name="T27" fmla="*/ 54 h 63"/>
                <a:gd name="T28" fmla="*/ 66 w 73"/>
                <a:gd name="T29" fmla="*/ 37 h 63"/>
                <a:gd name="T30" fmla="*/ 67 w 73"/>
                <a:gd name="T31" fmla="*/ 37 h 63"/>
                <a:gd name="T32" fmla="*/ 73 w 73"/>
                <a:gd name="T33" fmla="*/ 31 h 63"/>
                <a:gd name="T34" fmla="*/ 67 w 73"/>
                <a:gd name="T35" fmla="*/ 25 h 63"/>
                <a:gd name="T36" fmla="*/ 27 w 73"/>
                <a:gd name="T37" fmla="*/ 25 h 63"/>
                <a:gd name="T38" fmla="*/ 27 w 73"/>
                <a:gd name="T39" fmla="*/ 14 h 63"/>
                <a:gd name="T40" fmla="*/ 36 w 73"/>
                <a:gd name="T41" fmla="*/ 5 h 63"/>
                <a:gd name="T42" fmla="*/ 46 w 73"/>
                <a:gd name="T43" fmla="*/ 14 h 63"/>
                <a:gd name="T44" fmla="*/ 46 w 73"/>
                <a:gd name="T45" fmla="*/ 25 h 63"/>
                <a:gd name="T46" fmla="*/ 27 w 73"/>
                <a:gd name="T47" fmla="*/ 2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3" h="63">
                  <a:moveTo>
                    <a:pt x="67" y="25"/>
                  </a:moveTo>
                  <a:cubicBezTo>
                    <a:pt x="50" y="25"/>
                    <a:pt x="50" y="25"/>
                    <a:pt x="50" y="25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7"/>
                    <a:pt x="44" y="0"/>
                    <a:pt x="36" y="0"/>
                  </a:cubicBezTo>
                  <a:cubicBezTo>
                    <a:pt x="29" y="0"/>
                    <a:pt x="23" y="7"/>
                    <a:pt x="23" y="14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0" y="28"/>
                    <a:pt x="0" y="31"/>
                  </a:cubicBezTo>
                  <a:cubicBezTo>
                    <a:pt x="0" y="34"/>
                    <a:pt x="3" y="37"/>
                    <a:pt x="6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9"/>
                    <a:pt x="18" y="63"/>
                    <a:pt x="23" y="63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55" y="63"/>
                    <a:pt x="59" y="59"/>
                    <a:pt x="60" y="54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70" y="37"/>
                    <a:pt x="73" y="34"/>
                    <a:pt x="73" y="31"/>
                  </a:cubicBezTo>
                  <a:cubicBezTo>
                    <a:pt x="73" y="28"/>
                    <a:pt x="70" y="25"/>
                    <a:pt x="67" y="25"/>
                  </a:cubicBezTo>
                  <a:close/>
                  <a:moveTo>
                    <a:pt x="27" y="25"/>
                  </a:moveTo>
                  <a:cubicBezTo>
                    <a:pt x="27" y="14"/>
                    <a:pt x="27" y="14"/>
                    <a:pt x="27" y="14"/>
                  </a:cubicBezTo>
                  <a:cubicBezTo>
                    <a:pt x="27" y="9"/>
                    <a:pt x="31" y="5"/>
                    <a:pt x="36" y="5"/>
                  </a:cubicBezTo>
                  <a:cubicBezTo>
                    <a:pt x="41" y="5"/>
                    <a:pt x="46" y="9"/>
                    <a:pt x="46" y="14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27" y="25"/>
                    <a:pt x="27" y="25"/>
                    <a:pt x="27" y="25"/>
                  </a:cubicBezTo>
                  <a:close/>
                </a:path>
              </a:pathLst>
            </a:custGeom>
            <a:solidFill>
              <a:srgbClr val="FC80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4">
              <a:extLst>
                <a:ext uri="{FF2B5EF4-FFF2-40B4-BE49-F238E27FC236}">
                  <a16:creationId xmlns:a16="http://schemas.microsoft.com/office/drawing/2014/main" id="{7AFBC778-2A98-924B-A1EF-ECEA7BFC3F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0826" y="5559425"/>
              <a:ext cx="822325" cy="349250"/>
            </a:xfrm>
            <a:custGeom>
              <a:avLst/>
              <a:gdLst>
                <a:gd name="T0" fmla="*/ 73 w 73"/>
                <a:gd name="T1" fmla="*/ 6 h 31"/>
                <a:gd name="T2" fmla="*/ 67 w 73"/>
                <a:gd name="T3" fmla="*/ 12 h 31"/>
                <a:gd name="T4" fmla="*/ 27 w 73"/>
                <a:gd name="T5" fmla="*/ 12 h 31"/>
                <a:gd name="T6" fmla="*/ 27 w 73"/>
                <a:gd name="T7" fmla="*/ 0 h 31"/>
                <a:gd name="T8" fmla="*/ 46 w 73"/>
                <a:gd name="T9" fmla="*/ 0 h 31"/>
                <a:gd name="T10" fmla="*/ 50 w 73"/>
                <a:gd name="T11" fmla="*/ 0 h 31"/>
                <a:gd name="T12" fmla="*/ 67 w 73"/>
                <a:gd name="T13" fmla="*/ 0 h 31"/>
                <a:gd name="T14" fmla="*/ 73 w 73"/>
                <a:gd name="T15" fmla="*/ 6 h 31"/>
                <a:gd name="T16" fmla="*/ 23 w 73"/>
                <a:gd name="T17" fmla="*/ 0 h 31"/>
                <a:gd name="T18" fmla="*/ 6 w 73"/>
                <a:gd name="T19" fmla="*/ 0 h 31"/>
                <a:gd name="T20" fmla="*/ 0 w 73"/>
                <a:gd name="T21" fmla="*/ 6 h 31"/>
                <a:gd name="T22" fmla="*/ 6 w 73"/>
                <a:gd name="T23" fmla="*/ 12 h 31"/>
                <a:gd name="T24" fmla="*/ 23 w 73"/>
                <a:gd name="T25" fmla="*/ 12 h 31"/>
                <a:gd name="T26" fmla="*/ 23 w 73"/>
                <a:gd name="T27" fmla="*/ 0 h 31"/>
                <a:gd name="T28" fmla="*/ 48 w 73"/>
                <a:gd name="T29" fmla="*/ 18 h 31"/>
                <a:gd name="T30" fmla="*/ 46 w 73"/>
                <a:gd name="T31" fmla="*/ 20 h 31"/>
                <a:gd name="T32" fmla="*/ 46 w 73"/>
                <a:gd name="T33" fmla="*/ 29 h 31"/>
                <a:gd name="T34" fmla="*/ 48 w 73"/>
                <a:gd name="T35" fmla="*/ 31 h 31"/>
                <a:gd name="T36" fmla="*/ 50 w 73"/>
                <a:gd name="T37" fmla="*/ 29 h 31"/>
                <a:gd name="T38" fmla="*/ 50 w 73"/>
                <a:gd name="T39" fmla="*/ 20 h 31"/>
                <a:gd name="T40" fmla="*/ 48 w 73"/>
                <a:gd name="T41" fmla="*/ 18 h 31"/>
                <a:gd name="T42" fmla="*/ 36 w 73"/>
                <a:gd name="T43" fmla="*/ 18 h 31"/>
                <a:gd name="T44" fmla="*/ 34 w 73"/>
                <a:gd name="T45" fmla="*/ 20 h 31"/>
                <a:gd name="T46" fmla="*/ 34 w 73"/>
                <a:gd name="T47" fmla="*/ 29 h 31"/>
                <a:gd name="T48" fmla="*/ 36 w 73"/>
                <a:gd name="T49" fmla="*/ 31 h 31"/>
                <a:gd name="T50" fmla="*/ 38 w 73"/>
                <a:gd name="T51" fmla="*/ 29 h 31"/>
                <a:gd name="T52" fmla="*/ 38 w 73"/>
                <a:gd name="T53" fmla="*/ 20 h 31"/>
                <a:gd name="T54" fmla="*/ 36 w 73"/>
                <a:gd name="T55" fmla="*/ 18 h 31"/>
                <a:gd name="T56" fmla="*/ 25 w 73"/>
                <a:gd name="T57" fmla="*/ 18 h 31"/>
                <a:gd name="T58" fmla="*/ 23 w 73"/>
                <a:gd name="T59" fmla="*/ 20 h 31"/>
                <a:gd name="T60" fmla="*/ 23 w 73"/>
                <a:gd name="T61" fmla="*/ 29 h 31"/>
                <a:gd name="T62" fmla="*/ 25 w 73"/>
                <a:gd name="T63" fmla="*/ 31 h 31"/>
                <a:gd name="T64" fmla="*/ 27 w 73"/>
                <a:gd name="T65" fmla="*/ 29 h 31"/>
                <a:gd name="T66" fmla="*/ 27 w 73"/>
                <a:gd name="T67" fmla="*/ 20 h 31"/>
                <a:gd name="T68" fmla="*/ 25 w 73"/>
                <a:gd name="T6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" h="31">
                  <a:moveTo>
                    <a:pt x="73" y="6"/>
                  </a:moveTo>
                  <a:cubicBezTo>
                    <a:pt x="73" y="9"/>
                    <a:pt x="70" y="12"/>
                    <a:pt x="67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0" y="0"/>
                    <a:pt x="73" y="3"/>
                    <a:pt x="73" y="6"/>
                  </a:cubicBezTo>
                  <a:close/>
                  <a:moveTo>
                    <a:pt x="23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23" y="12"/>
                    <a:pt x="23" y="12"/>
                    <a:pt x="23" y="12"/>
                  </a:cubicBezTo>
                  <a:lnTo>
                    <a:pt x="23" y="0"/>
                  </a:lnTo>
                  <a:close/>
                  <a:moveTo>
                    <a:pt x="48" y="18"/>
                  </a:moveTo>
                  <a:cubicBezTo>
                    <a:pt x="47" y="18"/>
                    <a:pt x="46" y="19"/>
                    <a:pt x="46" y="2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30"/>
                    <a:pt x="47" y="31"/>
                    <a:pt x="48" y="31"/>
                  </a:cubicBezTo>
                  <a:cubicBezTo>
                    <a:pt x="49" y="31"/>
                    <a:pt x="50" y="30"/>
                    <a:pt x="50" y="29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19"/>
                    <a:pt x="49" y="18"/>
                    <a:pt x="48" y="18"/>
                  </a:cubicBezTo>
                  <a:close/>
                  <a:moveTo>
                    <a:pt x="36" y="18"/>
                  </a:moveTo>
                  <a:cubicBezTo>
                    <a:pt x="35" y="18"/>
                    <a:pt x="34" y="19"/>
                    <a:pt x="34" y="20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30"/>
                    <a:pt x="35" y="31"/>
                    <a:pt x="36" y="31"/>
                  </a:cubicBezTo>
                  <a:cubicBezTo>
                    <a:pt x="37" y="31"/>
                    <a:pt x="38" y="30"/>
                    <a:pt x="38" y="29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19"/>
                    <a:pt x="37" y="18"/>
                    <a:pt x="36" y="18"/>
                  </a:cubicBezTo>
                  <a:close/>
                  <a:moveTo>
                    <a:pt x="25" y="18"/>
                  </a:moveTo>
                  <a:cubicBezTo>
                    <a:pt x="23" y="18"/>
                    <a:pt x="23" y="19"/>
                    <a:pt x="23" y="2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30"/>
                    <a:pt x="23" y="31"/>
                    <a:pt x="25" y="31"/>
                  </a:cubicBezTo>
                  <a:cubicBezTo>
                    <a:pt x="26" y="31"/>
                    <a:pt x="27" y="30"/>
                    <a:pt x="27" y="29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19"/>
                    <a:pt x="26" y="18"/>
                    <a:pt x="25" y="18"/>
                  </a:cubicBezTo>
                  <a:close/>
                </a:path>
              </a:pathLst>
            </a:custGeom>
            <a:solidFill>
              <a:srgbClr val="AD3C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" name="Group 2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94F57FE-1A75-7C43-89DF-E16B27543527}"/>
              </a:ext>
            </a:extLst>
          </p:cNvPr>
          <p:cNvGrpSpPr/>
          <p:nvPr/>
        </p:nvGrpSpPr>
        <p:grpSpPr>
          <a:xfrm>
            <a:off x="8430349" y="5271363"/>
            <a:ext cx="766902" cy="772583"/>
            <a:chOff x="7150101" y="869950"/>
            <a:chExt cx="1500188" cy="1511301"/>
          </a:xfrm>
        </p:grpSpPr>
        <p:sp>
          <p:nvSpPr>
            <p:cNvPr id="22" name="Freeform 44">
              <a:extLst>
                <a:ext uri="{FF2B5EF4-FFF2-40B4-BE49-F238E27FC236}">
                  <a16:creationId xmlns:a16="http://schemas.microsoft.com/office/drawing/2014/main" id="{189A3843-B5F6-A340-8843-0E66BA932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1563" y="2030413"/>
              <a:ext cx="957263" cy="350838"/>
            </a:xfrm>
            <a:custGeom>
              <a:avLst/>
              <a:gdLst>
                <a:gd name="T0" fmla="*/ 85 w 85"/>
                <a:gd name="T1" fmla="*/ 28 h 31"/>
                <a:gd name="T2" fmla="*/ 83 w 85"/>
                <a:gd name="T3" fmla="*/ 31 h 31"/>
                <a:gd name="T4" fmla="*/ 2 w 85"/>
                <a:gd name="T5" fmla="*/ 31 h 31"/>
                <a:gd name="T6" fmla="*/ 0 w 85"/>
                <a:gd name="T7" fmla="*/ 28 h 31"/>
                <a:gd name="T8" fmla="*/ 2 w 85"/>
                <a:gd name="T9" fmla="*/ 26 h 31"/>
                <a:gd name="T10" fmla="*/ 29 w 85"/>
                <a:gd name="T11" fmla="*/ 26 h 31"/>
                <a:gd name="T12" fmla="*/ 29 w 85"/>
                <a:gd name="T13" fmla="*/ 2 h 31"/>
                <a:gd name="T14" fmla="*/ 31 w 85"/>
                <a:gd name="T15" fmla="*/ 0 h 31"/>
                <a:gd name="T16" fmla="*/ 33 w 85"/>
                <a:gd name="T17" fmla="*/ 2 h 31"/>
                <a:gd name="T18" fmla="*/ 33 w 85"/>
                <a:gd name="T19" fmla="*/ 26 h 31"/>
                <a:gd name="T20" fmla="*/ 52 w 85"/>
                <a:gd name="T21" fmla="*/ 26 h 31"/>
                <a:gd name="T22" fmla="*/ 52 w 85"/>
                <a:gd name="T23" fmla="*/ 2 h 31"/>
                <a:gd name="T24" fmla="*/ 54 w 85"/>
                <a:gd name="T25" fmla="*/ 0 h 31"/>
                <a:gd name="T26" fmla="*/ 56 w 85"/>
                <a:gd name="T27" fmla="*/ 2 h 31"/>
                <a:gd name="T28" fmla="*/ 56 w 85"/>
                <a:gd name="T29" fmla="*/ 26 h 31"/>
                <a:gd name="T30" fmla="*/ 83 w 85"/>
                <a:gd name="T31" fmla="*/ 26 h 31"/>
                <a:gd name="T32" fmla="*/ 85 w 85"/>
                <a:gd name="T33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5" h="31">
                  <a:moveTo>
                    <a:pt x="85" y="28"/>
                  </a:moveTo>
                  <a:cubicBezTo>
                    <a:pt x="85" y="30"/>
                    <a:pt x="84" y="31"/>
                    <a:pt x="83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27"/>
                    <a:pt x="1" y="26"/>
                    <a:pt x="2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1"/>
                    <a:pt x="30" y="0"/>
                    <a:pt x="31" y="0"/>
                  </a:cubicBezTo>
                  <a:cubicBezTo>
                    <a:pt x="32" y="0"/>
                    <a:pt x="33" y="1"/>
                    <a:pt x="33" y="2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2" y="1"/>
                    <a:pt x="53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4" y="26"/>
                    <a:pt x="85" y="27"/>
                    <a:pt x="85" y="28"/>
                  </a:cubicBezTo>
                  <a:close/>
                </a:path>
              </a:pathLst>
            </a:custGeom>
            <a:solidFill>
              <a:srgbClr val="7777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45">
              <a:extLst>
                <a:ext uri="{FF2B5EF4-FFF2-40B4-BE49-F238E27FC236}">
                  <a16:creationId xmlns:a16="http://schemas.microsoft.com/office/drawing/2014/main" id="{61F88E54-C0F9-7047-84BA-37B8D0CCD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0101" y="1004888"/>
              <a:ext cx="1500188" cy="1082675"/>
            </a:xfrm>
            <a:custGeom>
              <a:avLst/>
              <a:gdLst>
                <a:gd name="T0" fmla="*/ 121 w 133"/>
                <a:gd name="T1" fmla="*/ 96 h 96"/>
                <a:gd name="T2" fmla="*/ 11 w 133"/>
                <a:gd name="T3" fmla="*/ 96 h 96"/>
                <a:gd name="T4" fmla="*/ 0 w 133"/>
                <a:gd name="T5" fmla="*/ 84 h 96"/>
                <a:gd name="T6" fmla="*/ 0 w 133"/>
                <a:gd name="T7" fmla="*/ 12 h 96"/>
                <a:gd name="T8" fmla="*/ 11 w 133"/>
                <a:gd name="T9" fmla="*/ 0 h 96"/>
                <a:gd name="T10" fmla="*/ 121 w 133"/>
                <a:gd name="T11" fmla="*/ 0 h 96"/>
                <a:gd name="T12" fmla="*/ 133 w 133"/>
                <a:gd name="T13" fmla="*/ 12 h 96"/>
                <a:gd name="T14" fmla="*/ 133 w 133"/>
                <a:gd name="T15" fmla="*/ 84 h 96"/>
                <a:gd name="T16" fmla="*/ 121 w 133"/>
                <a:gd name="T1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96">
                  <a:moveTo>
                    <a:pt x="121" y="96"/>
                  </a:moveTo>
                  <a:cubicBezTo>
                    <a:pt x="11" y="96"/>
                    <a:pt x="11" y="96"/>
                    <a:pt x="11" y="96"/>
                  </a:cubicBezTo>
                  <a:cubicBezTo>
                    <a:pt x="5" y="96"/>
                    <a:pt x="0" y="90"/>
                    <a:pt x="0" y="8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8" y="0"/>
                    <a:pt x="133" y="5"/>
                    <a:pt x="133" y="12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33" y="90"/>
                    <a:pt x="128" y="96"/>
                    <a:pt x="121" y="96"/>
                  </a:cubicBezTo>
                  <a:close/>
                </a:path>
              </a:pathLst>
            </a:custGeom>
            <a:solidFill>
              <a:srgbClr val="E2D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46">
              <a:extLst>
                <a:ext uri="{FF2B5EF4-FFF2-40B4-BE49-F238E27FC236}">
                  <a16:creationId xmlns:a16="http://schemas.microsoft.com/office/drawing/2014/main" id="{B2A57C08-FD86-D347-A45F-A7F15B39D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1" y="1073150"/>
              <a:ext cx="1374775" cy="946150"/>
            </a:xfrm>
            <a:custGeom>
              <a:avLst/>
              <a:gdLst>
                <a:gd name="T0" fmla="*/ 116 w 122"/>
                <a:gd name="T1" fmla="*/ 84 h 84"/>
                <a:gd name="T2" fmla="*/ 6 w 122"/>
                <a:gd name="T3" fmla="*/ 84 h 84"/>
                <a:gd name="T4" fmla="*/ 0 w 122"/>
                <a:gd name="T5" fmla="*/ 78 h 84"/>
                <a:gd name="T6" fmla="*/ 0 w 122"/>
                <a:gd name="T7" fmla="*/ 6 h 84"/>
                <a:gd name="T8" fmla="*/ 6 w 122"/>
                <a:gd name="T9" fmla="*/ 0 h 84"/>
                <a:gd name="T10" fmla="*/ 116 w 122"/>
                <a:gd name="T11" fmla="*/ 0 h 84"/>
                <a:gd name="T12" fmla="*/ 122 w 122"/>
                <a:gd name="T13" fmla="*/ 6 h 84"/>
                <a:gd name="T14" fmla="*/ 122 w 122"/>
                <a:gd name="T15" fmla="*/ 78 h 84"/>
                <a:gd name="T16" fmla="*/ 116 w 122"/>
                <a:gd name="T1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84">
                  <a:moveTo>
                    <a:pt x="116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1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20" y="0"/>
                    <a:pt x="122" y="2"/>
                    <a:pt x="122" y="6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2" y="81"/>
                    <a:pt x="120" y="84"/>
                    <a:pt x="116" y="84"/>
                  </a:cubicBezTo>
                  <a:close/>
                </a:path>
              </a:pathLst>
            </a:custGeom>
            <a:solidFill>
              <a:srgbClr val="F4E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47">
              <a:extLst>
                <a:ext uri="{FF2B5EF4-FFF2-40B4-BE49-F238E27FC236}">
                  <a16:creationId xmlns:a16="http://schemas.microsoft.com/office/drawing/2014/main" id="{359D6645-BEF0-1345-AC04-A3670CDA0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3788" y="2019300"/>
              <a:ext cx="912813" cy="125413"/>
            </a:xfrm>
            <a:custGeom>
              <a:avLst/>
              <a:gdLst>
                <a:gd name="T0" fmla="*/ 75 w 81"/>
                <a:gd name="T1" fmla="*/ 11 h 11"/>
                <a:gd name="T2" fmla="*/ 6 w 81"/>
                <a:gd name="T3" fmla="*/ 11 h 11"/>
                <a:gd name="T4" fmla="*/ 0 w 81"/>
                <a:gd name="T5" fmla="*/ 6 h 11"/>
                <a:gd name="T6" fmla="*/ 0 w 81"/>
                <a:gd name="T7" fmla="*/ 6 h 11"/>
                <a:gd name="T8" fmla="*/ 6 w 81"/>
                <a:gd name="T9" fmla="*/ 0 h 11"/>
                <a:gd name="T10" fmla="*/ 75 w 81"/>
                <a:gd name="T11" fmla="*/ 0 h 11"/>
                <a:gd name="T12" fmla="*/ 81 w 81"/>
                <a:gd name="T13" fmla="*/ 6 h 11"/>
                <a:gd name="T14" fmla="*/ 81 w 81"/>
                <a:gd name="T15" fmla="*/ 6 h 11"/>
                <a:gd name="T16" fmla="*/ 75 w 81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1">
                  <a:moveTo>
                    <a:pt x="7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8" y="0"/>
                    <a:pt x="81" y="2"/>
                    <a:pt x="81" y="6"/>
                  </a:cubicBezTo>
                  <a:cubicBezTo>
                    <a:pt x="81" y="6"/>
                    <a:pt x="81" y="6"/>
                    <a:pt x="81" y="6"/>
                  </a:cubicBezTo>
                  <a:cubicBezTo>
                    <a:pt x="81" y="9"/>
                    <a:pt x="78" y="11"/>
                    <a:pt x="75" y="11"/>
                  </a:cubicBezTo>
                  <a:close/>
                </a:path>
              </a:pathLst>
            </a:custGeom>
            <a:solidFill>
              <a:srgbClr val="BFB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48">
              <a:extLst>
                <a:ext uri="{FF2B5EF4-FFF2-40B4-BE49-F238E27FC236}">
                  <a16:creationId xmlns:a16="http://schemas.microsoft.com/office/drawing/2014/main" id="{2922D68D-0601-7846-8BB1-F4E641C437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6238" y="869950"/>
              <a:ext cx="293688" cy="947738"/>
            </a:xfrm>
            <a:custGeom>
              <a:avLst/>
              <a:gdLst>
                <a:gd name="T0" fmla="*/ 26 w 26"/>
                <a:gd name="T1" fmla="*/ 84 h 84"/>
                <a:gd name="T2" fmla="*/ 0 w 26"/>
                <a:gd name="T3" fmla="*/ 84 h 84"/>
                <a:gd name="T4" fmla="*/ 0 w 26"/>
                <a:gd name="T5" fmla="*/ 6 h 84"/>
                <a:gd name="T6" fmla="*/ 6 w 26"/>
                <a:gd name="T7" fmla="*/ 0 h 84"/>
                <a:gd name="T8" fmla="*/ 20 w 26"/>
                <a:gd name="T9" fmla="*/ 0 h 84"/>
                <a:gd name="T10" fmla="*/ 26 w 26"/>
                <a:gd name="T11" fmla="*/ 6 h 84"/>
                <a:gd name="T12" fmla="*/ 26 w 26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84">
                  <a:moveTo>
                    <a:pt x="26" y="84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4" y="0"/>
                    <a:pt x="26" y="3"/>
                    <a:pt x="26" y="6"/>
                  </a:cubicBezTo>
                  <a:lnTo>
                    <a:pt x="26" y="84"/>
                  </a:lnTo>
                  <a:close/>
                </a:path>
              </a:pathLst>
            </a:custGeom>
            <a:solidFill>
              <a:srgbClr val="A3CC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49">
              <a:extLst>
                <a:ext uri="{FF2B5EF4-FFF2-40B4-BE49-F238E27FC236}">
                  <a16:creationId xmlns:a16="http://schemas.microsoft.com/office/drawing/2014/main" id="{F4434736-64DA-7E43-9124-AA77C6BA9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9076" y="1230313"/>
              <a:ext cx="292100" cy="587375"/>
            </a:xfrm>
            <a:custGeom>
              <a:avLst/>
              <a:gdLst>
                <a:gd name="T0" fmla="*/ 26 w 26"/>
                <a:gd name="T1" fmla="*/ 52 h 52"/>
                <a:gd name="T2" fmla="*/ 0 w 26"/>
                <a:gd name="T3" fmla="*/ 52 h 52"/>
                <a:gd name="T4" fmla="*/ 0 w 26"/>
                <a:gd name="T5" fmla="*/ 6 h 52"/>
                <a:gd name="T6" fmla="*/ 5 w 26"/>
                <a:gd name="T7" fmla="*/ 0 h 52"/>
                <a:gd name="T8" fmla="*/ 20 w 26"/>
                <a:gd name="T9" fmla="*/ 0 h 52"/>
                <a:gd name="T10" fmla="*/ 26 w 26"/>
                <a:gd name="T11" fmla="*/ 6 h 52"/>
                <a:gd name="T12" fmla="*/ 26 w 2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52">
                  <a:moveTo>
                    <a:pt x="26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3" y="0"/>
                    <a:pt x="26" y="3"/>
                    <a:pt x="26" y="6"/>
                  </a:cubicBezTo>
                  <a:lnTo>
                    <a:pt x="26" y="52"/>
                  </a:lnTo>
                  <a:close/>
                </a:path>
              </a:pathLst>
            </a:custGeom>
            <a:solidFill>
              <a:srgbClr val="80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50">
              <a:extLst>
                <a:ext uri="{FF2B5EF4-FFF2-40B4-BE49-F238E27FC236}">
                  <a16:creationId xmlns:a16="http://schemas.microsoft.com/office/drawing/2014/main" id="{D1507BBF-B950-0C48-A9CD-4CEA3B468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0813" y="1163638"/>
              <a:ext cx="293688" cy="654050"/>
            </a:xfrm>
            <a:custGeom>
              <a:avLst/>
              <a:gdLst>
                <a:gd name="T0" fmla="*/ 26 w 26"/>
                <a:gd name="T1" fmla="*/ 58 h 58"/>
                <a:gd name="T2" fmla="*/ 0 w 26"/>
                <a:gd name="T3" fmla="*/ 58 h 58"/>
                <a:gd name="T4" fmla="*/ 0 w 26"/>
                <a:gd name="T5" fmla="*/ 6 h 58"/>
                <a:gd name="T6" fmla="*/ 6 w 26"/>
                <a:gd name="T7" fmla="*/ 0 h 58"/>
                <a:gd name="T8" fmla="*/ 20 w 26"/>
                <a:gd name="T9" fmla="*/ 0 h 58"/>
                <a:gd name="T10" fmla="*/ 26 w 26"/>
                <a:gd name="T11" fmla="*/ 6 h 58"/>
                <a:gd name="T12" fmla="*/ 26 w 26"/>
                <a:gd name="T1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58">
                  <a:moveTo>
                    <a:pt x="26" y="58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3" y="0"/>
                    <a:pt x="26" y="3"/>
                    <a:pt x="26" y="6"/>
                  </a:cubicBezTo>
                  <a:cubicBezTo>
                    <a:pt x="26" y="58"/>
                    <a:pt x="26" y="58"/>
                    <a:pt x="26" y="58"/>
                  </a:cubicBezTo>
                  <a:close/>
                </a:path>
              </a:pathLst>
            </a:custGeom>
            <a:solidFill>
              <a:srgbClr val="FC80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51">
              <a:extLst>
                <a:ext uri="{FF2B5EF4-FFF2-40B4-BE49-F238E27FC236}">
                  <a16:creationId xmlns:a16="http://schemas.microsoft.com/office/drawing/2014/main" id="{8FDCF21A-8E0A-314D-8164-BF77EFD73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0951" y="1524000"/>
              <a:ext cx="293688" cy="293688"/>
            </a:xfrm>
            <a:custGeom>
              <a:avLst/>
              <a:gdLst>
                <a:gd name="T0" fmla="*/ 26 w 26"/>
                <a:gd name="T1" fmla="*/ 26 h 26"/>
                <a:gd name="T2" fmla="*/ 0 w 26"/>
                <a:gd name="T3" fmla="*/ 26 h 26"/>
                <a:gd name="T4" fmla="*/ 0 w 26"/>
                <a:gd name="T5" fmla="*/ 6 h 26"/>
                <a:gd name="T6" fmla="*/ 6 w 26"/>
                <a:gd name="T7" fmla="*/ 0 h 26"/>
                <a:gd name="T8" fmla="*/ 21 w 26"/>
                <a:gd name="T9" fmla="*/ 0 h 26"/>
                <a:gd name="T10" fmla="*/ 26 w 26"/>
                <a:gd name="T11" fmla="*/ 6 h 26"/>
                <a:gd name="T12" fmla="*/ 26 w 26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26" y="26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4" y="0"/>
                    <a:pt x="26" y="3"/>
                    <a:pt x="26" y="6"/>
                  </a:cubicBezTo>
                  <a:lnTo>
                    <a:pt x="26" y="26"/>
                  </a:lnTo>
                  <a:close/>
                </a:path>
              </a:pathLst>
            </a:custGeom>
            <a:solidFill>
              <a:srgbClr val="BF52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52">
              <a:extLst>
                <a:ext uri="{FF2B5EF4-FFF2-40B4-BE49-F238E27FC236}">
                  <a16:creationId xmlns:a16="http://schemas.microsoft.com/office/drawing/2014/main" id="{9D3B6CB3-00A6-0A43-B346-E19D5E676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4276" y="1466850"/>
              <a:ext cx="304800" cy="350838"/>
            </a:xfrm>
            <a:custGeom>
              <a:avLst/>
              <a:gdLst>
                <a:gd name="T0" fmla="*/ 27 w 27"/>
                <a:gd name="T1" fmla="*/ 31 h 31"/>
                <a:gd name="T2" fmla="*/ 0 w 27"/>
                <a:gd name="T3" fmla="*/ 31 h 31"/>
                <a:gd name="T4" fmla="*/ 0 w 27"/>
                <a:gd name="T5" fmla="*/ 5 h 31"/>
                <a:gd name="T6" fmla="*/ 6 w 27"/>
                <a:gd name="T7" fmla="*/ 0 h 31"/>
                <a:gd name="T8" fmla="*/ 21 w 27"/>
                <a:gd name="T9" fmla="*/ 0 h 31"/>
                <a:gd name="T10" fmla="*/ 27 w 27"/>
                <a:gd name="T11" fmla="*/ 5 h 31"/>
                <a:gd name="T12" fmla="*/ 27 w 27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1">
                  <a:moveTo>
                    <a:pt x="27" y="31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4" y="0"/>
                    <a:pt x="27" y="2"/>
                    <a:pt x="27" y="5"/>
                  </a:cubicBezTo>
                  <a:lnTo>
                    <a:pt x="27" y="31"/>
                  </a:lnTo>
                  <a:close/>
                </a:path>
              </a:pathLst>
            </a:custGeom>
            <a:solidFill>
              <a:srgbClr val="FED7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53">
              <a:extLst>
                <a:ext uri="{FF2B5EF4-FFF2-40B4-BE49-F238E27FC236}">
                  <a16:creationId xmlns:a16="http://schemas.microsoft.com/office/drawing/2014/main" id="{CAD1F453-2D72-B54B-B835-5552781AC9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1076" y="1804988"/>
              <a:ext cx="1127125" cy="46038"/>
            </a:xfrm>
            <a:custGeom>
              <a:avLst/>
              <a:gdLst>
                <a:gd name="T0" fmla="*/ 92 w 100"/>
                <a:gd name="T1" fmla="*/ 2 h 4"/>
                <a:gd name="T2" fmla="*/ 90 w 100"/>
                <a:gd name="T3" fmla="*/ 4 h 4"/>
                <a:gd name="T4" fmla="*/ 3 w 100"/>
                <a:gd name="T5" fmla="*/ 4 h 4"/>
                <a:gd name="T6" fmla="*/ 0 w 100"/>
                <a:gd name="T7" fmla="*/ 2 h 4"/>
                <a:gd name="T8" fmla="*/ 3 w 100"/>
                <a:gd name="T9" fmla="*/ 0 h 4"/>
                <a:gd name="T10" fmla="*/ 90 w 100"/>
                <a:gd name="T11" fmla="*/ 0 h 4"/>
                <a:gd name="T12" fmla="*/ 92 w 100"/>
                <a:gd name="T13" fmla="*/ 2 h 4"/>
                <a:gd name="T14" fmla="*/ 98 w 100"/>
                <a:gd name="T15" fmla="*/ 0 h 4"/>
                <a:gd name="T16" fmla="*/ 98 w 100"/>
                <a:gd name="T17" fmla="*/ 0 h 4"/>
                <a:gd name="T18" fmla="*/ 96 w 100"/>
                <a:gd name="T19" fmla="*/ 2 h 4"/>
                <a:gd name="T20" fmla="*/ 98 w 100"/>
                <a:gd name="T21" fmla="*/ 4 h 4"/>
                <a:gd name="T22" fmla="*/ 98 w 100"/>
                <a:gd name="T23" fmla="*/ 4 h 4"/>
                <a:gd name="T24" fmla="*/ 100 w 100"/>
                <a:gd name="T25" fmla="*/ 2 h 4"/>
                <a:gd name="T26" fmla="*/ 98 w 100"/>
                <a:gd name="T2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0" h="4">
                  <a:moveTo>
                    <a:pt x="92" y="2"/>
                  </a:moveTo>
                  <a:cubicBezTo>
                    <a:pt x="92" y="3"/>
                    <a:pt x="91" y="4"/>
                    <a:pt x="90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2" y="1"/>
                    <a:pt x="92" y="2"/>
                  </a:cubicBezTo>
                  <a:close/>
                  <a:moveTo>
                    <a:pt x="98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7" y="0"/>
                    <a:pt x="96" y="1"/>
                    <a:pt x="96" y="2"/>
                  </a:cubicBezTo>
                  <a:cubicBezTo>
                    <a:pt x="96" y="3"/>
                    <a:pt x="97" y="4"/>
                    <a:pt x="98" y="4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9" y="4"/>
                    <a:pt x="100" y="3"/>
                    <a:pt x="100" y="2"/>
                  </a:cubicBezTo>
                  <a:cubicBezTo>
                    <a:pt x="100" y="1"/>
                    <a:pt x="99" y="0"/>
                    <a:pt x="98" y="0"/>
                  </a:cubicBezTo>
                  <a:close/>
                </a:path>
              </a:pathLst>
            </a:custGeom>
            <a:solidFill>
              <a:srgbClr val="BFB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" name="Group 3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EE29C8C5-308E-C54F-BBF9-F5F3F06B68BE}"/>
              </a:ext>
            </a:extLst>
          </p:cNvPr>
          <p:cNvGrpSpPr/>
          <p:nvPr/>
        </p:nvGrpSpPr>
        <p:grpSpPr>
          <a:xfrm>
            <a:off x="4778947" y="5317621"/>
            <a:ext cx="766090" cy="680067"/>
            <a:chOff x="5346701" y="960438"/>
            <a:chExt cx="1498600" cy="1330325"/>
          </a:xfrm>
        </p:grpSpPr>
        <p:sp>
          <p:nvSpPr>
            <p:cNvPr id="33" name="Oval 54">
              <a:extLst>
                <a:ext uri="{FF2B5EF4-FFF2-40B4-BE49-F238E27FC236}">
                  <a16:creationId xmlns:a16="http://schemas.microsoft.com/office/drawing/2014/main" id="{EB4567FB-A200-5544-942E-C27E329FF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2488" y="1084263"/>
              <a:ext cx="912813" cy="912813"/>
            </a:xfrm>
            <a:prstGeom prst="ellipse">
              <a:avLst/>
            </a:prstGeom>
            <a:solidFill>
              <a:srgbClr val="E9F2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55">
              <a:extLst>
                <a:ext uri="{FF2B5EF4-FFF2-40B4-BE49-F238E27FC236}">
                  <a16:creationId xmlns:a16="http://schemas.microsoft.com/office/drawing/2014/main" id="{9D4DEE64-B9A2-6E4E-8C0E-FFD48B784C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4576" y="1287463"/>
              <a:ext cx="530225" cy="517525"/>
            </a:xfrm>
            <a:prstGeom prst="ellipse">
              <a:avLst/>
            </a:prstGeom>
            <a:solidFill>
              <a:srgbClr val="CFDF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56">
              <a:extLst>
                <a:ext uri="{FF2B5EF4-FFF2-40B4-BE49-F238E27FC236}">
                  <a16:creationId xmlns:a16="http://schemas.microsoft.com/office/drawing/2014/main" id="{073F9D87-BCD7-AA44-9C74-A42129AEB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7201" y="1670050"/>
              <a:ext cx="428625" cy="620713"/>
            </a:xfrm>
            <a:custGeom>
              <a:avLst/>
              <a:gdLst>
                <a:gd name="T0" fmla="*/ 32 w 38"/>
                <a:gd name="T1" fmla="*/ 55 h 55"/>
                <a:gd name="T2" fmla="*/ 16 w 38"/>
                <a:gd name="T3" fmla="*/ 55 h 55"/>
                <a:gd name="T4" fmla="*/ 11 w 38"/>
                <a:gd name="T5" fmla="*/ 51 h 55"/>
                <a:gd name="T6" fmla="*/ 0 w 38"/>
                <a:gd name="T7" fmla="*/ 0 h 55"/>
                <a:gd name="T8" fmla="*/ 38 w 38"/>
                <a:gd name="T9" fmla="*/ 0 h 55"/>
                <a:gd name="T10" fmla="*/ 38 w 38"/>
                <a:gd name="T11" fmla="*/ 50 h 55"/>
                <a:gd name="T12" fmla="*/ 32 w 38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55">
                  <a:moveTo>
                    <a:pt x="32" y="55"/>
                  </a:moveTo>
                  <a:cubicBezTo>
                    <a:pt x="16" y="55"/>
                    <a:pt x="16" y="55"/>
                    <a:pt x="16" y="55"/>
                  </a:cubicBezTo>
                  <a:cubicBezTo>
                    <a:pt x="14" y="55"/>
                    <a:pt x="11" y="53"/>
                    <a:pt x="11" y="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3"/>
                    <a:pt x="35" y="55"/>
                    <a:pt x="32" y="55"/>
                  </a:cubicBezTo>
                  <a:close/>
                </a:path>
              </a:pathLst>
            </a:custGeom>
            <a:solidFill>
              <a:srgbClr val="BF52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57">
              <a:extLst>
                <a:ext uri="{FF2B5EF4-FFF2-40B4-BE49-F238E27FC236}">
                  <a16:creationId xmlns:a16="http://schemas.microsoft.com/office/drawing/2014/main" id="{BB72053A-34F0-9D45-A80F-470F631038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7063" y="1670050"/>
              <a:ext cx="258763" cy="620713"/>
            </a:xfrm>
            <a:custGeom>
              <a:avLst/>
              <a:gdLst>
                <a:gd name="T0" fmla="*/ 17 w 23"/>
                <a:gd name="T1" fmla="*/ 55 h 55"/>
                <a:gd name="T2" fmla="*/ 16 w 23"/>
                <a:gd name="T3" fmla="*/ 55 h 55"/>
                <a:gd name="T4" fmla="*/ 10 w 23"/>
                <a:gd name="T5" fmla="*/ 51 h 55"/>
                <a:gd name="T6" fmla="*/ 0 w 23"/>
                <a:gd name="T7" fmla="*/ 0 h 55"/>
                <a:gd name="T8" fmla="*/ 23 w 23"/>
                <a:gd name="T9" fmla="*/ 0 h 55"/>
                <a:gd name="T10" fmla="*/ 23 w 23"/>
                <a:gd name="T11" fmla="*/ 50 h 55"/>
                <a:gd name="T12" fmla="*/ 17 w 23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55">
                  <a:moveTo>
                    <a:pt x="17" y="55"/>
                  </a:moveTo>
                  <a:cubicBezTo>
                    <a:pt x="16" y="55"/>
                    <a:pt x="16" y="55"/>
                    <a:pt x="16" y="55"/>
                  </a:cubicBezTo>
                  <a:cubicBezTo>
                    <a:pt x="13" y="55"/>
                    <a:pt x="11" y="53"/>
                    <a:pt x="10" y="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53"/>
                    <a:pt x="20" y="55"/>
                    <a:pt x="17" y="55"/>
                  </a:cubicBezTo>
                  <a:close/>
                </a:path>
              </a:pathLst>
            </a:custGeom>
            <a:solidFill>
              <a:srgbClr val="AD3A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58">
              <a:extLst>
                <a:ext uri="{FF2B5EF4-FFF2-40B4-BE49-F238E27FC236}">
                  <a16:creationId xmlns:a16="http://schemas.microsoft.com/office/drawing/2014/main" id="{3F8434F1-E722-9D44-AFA3-3C8C7EB2B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6701" y="1343025"/>
              <a:ext cx="415925" cy="395288"/>
            </a:xfrm>
            <a:custGeom>
              <a:avLst/>
              <a:gdLst>
                <a:gd name="T0" fmla="*/ 37 w 37"/>
                <a:gd name="T1" fmla="*/ 35 h 35"/>
                <a:gd name="T2" fmla="*/ 17 w 37"/>
                <a:gd name="T3" fmla="*/ 35 h 35"/>
                <a:gd name="T4" fmla="*/ 0 w 37"/>
                <a:gd name="T5" fmla="*/ 18 h 35"/>
                <a:gd name="T6" fmla="*/ 0 w 37"/>
                <a:gd name="T7" fmla="*/ 18 h 35"/>
                <a:gd name="T8" fmla="*/ 17 w 37"/>
                <a:gd name="T9" fmla="*/ 0 h 35"/>
                <a:gd name="T10" fmla="*/ 37 w 37"/>
                <a:gd name="T11" fmla="*/ 0 h 35"/>
                <a:gd name="T12" fmla="*/ 37 w 37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5">
                  <a:moveTo>
                    <a:pt x="37" y="35"/>
                  </a:moveTo>
                  <a:cubicBezTo>
                    <a:pt x="17" y="35"/>
                    <a:pt x="17" y="35"/>
                    <a:pt x="17" y="35"/>
                  </a:cubicBezTo>
                  <a:cubicBezTo>
                    <a:pt x="7" y="35"/>
                    <a:pt x="0" y="27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37" y="0"/>
                    <a:pt x="37" y="0"/>
                    <a:pt x="37" y="0"/>
                  </a:cubicBezTo>
                  <a:lnTo>
                    <a:pt x="37" y="35"/>
                  </a:lnTo>
                  <a:close/>
                </a:path>
              </a:pathLst>
            </a:custGeom>
            <a:solidFill>
              <a:srgbClr val="FC80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59">
              <a:extLst>
                <a:ext uri="{FF2B5EF4-FFF2-40B4-BE49-F238E27FC236}">
                  <a16:creationId xmlns:a16="http://schemas.microsoft.com/office/drawing/2014/main" id="{AAD84CB1-32D2-8948-9857-A2229A64D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5601" y="1343025"/>
              <a:ext cx="327025" cy="236538"/>
            </a:xfrm>
            <a:custGeom>
              <a:avLst/>
              <a:gdLst>
                <a:gd name="T0" fmla="*/ 29 w 29"/>
                <a:gd name="T1" fmla="*/ 21 h 21"/>
                <a:gd name="T2" fmla="*/ 11 w 29"/>
                <a:gd name="T3" fmla="*/ 21 h 21"/>
                <a:gd name="T4" fmla="*/ 0 w 29"/>
                <a:gd name="T5" fmla="*/ 11 h 21"/>
                <a:gd name="T6" fmla="*/ 0 w 29"/>
                <a:gd name="T7" fmla="*/ 11 h 21"/>
                <a:gd name="T8" fmla="*/ 11 w 29"/>
                <a:gd name="T9" fmla="*/ 0 h 21"/>
                <a:gd name="T10" fmla="*/ 29 w 29"/>
                <a:gd name="T11" fmla="*/ 0 h 21"/>
                <a:gd name="T12" fmla="*/ 29 w 29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1">
                  <a:moveTo>
                    <a:pt x="29" y="21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16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29" y="21"/>
                  </a:lnTo>
                  <a:close/>
                </a:path>
              </a:pathLst>
            </a:custGeom>
            <a:solidFill>
              <a:srgbClr val="FF9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0">
              <a:extLst>
                <a:ext uri="{FF2B5EF4-FFF2-40B4-BE49-F238E27FC236}">
                  <a16:creationId xmlns:a16="http://schemas.microsoft.com/office/drawing/2014/main" id="{A441C156-147A-5D49-9C7C-9B74AFB7C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7063" y="1095375"/>
              <a:ext cx="620713" cy="890588"/>
            </a:xfrm>
            <a:custGeom>
              <a:avLst/>
              <a:gdLst>
                <a:gd name="T0" fmla="*/ 55 w 55"/>
                <a:gd name="T1" fmla="*/ 0 h 79"/>
                <a:gd name="T2" fmla="*/ 55 w 55"/>
                <a:gd name="T3" fmla="*/ 79 h 79"/>
                <a:gd name="T4" fmla="*/ 49 w 55"/>
                <a:gd name="T5" fmla="*/ 79 h 79"/>
                <a:gd name="T6" fmla="*/ 49 w 55"/>
                <a:gd name="T7" fmla="*/ 79 h 79"/>
                <a:gd name="T8" fmla="*/ 8 w 55"/>
                <a:gd name="T9" fmla="*/ 66 h 79"/>
                <a:gd name="T10" fmla="*/ 0 w 55"/>
                <a:gd name="T11" fmla="*/ 55 h 79"/>
                <a:gd name="T12" fmla="*/ 0 w 55"/>
                <a:gd name="T13" fmla="*/ 25 h 79"/>
                <a:gd name="T14" fmla="*/ 8 w 55"/>
                <a:gd name="T15" fmla="*/ 14 h 79"/>
                <a:gd name="T16" fmla="*/ 49 w 55"/>
                <a:gd name="T17" fmla="*/ 0 h 79"/>
                <a:gd name="T18" fmla="*/ 55 w 55"/>
                <a:gd name="T1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79">
                  <a:moveTo>
                    <a:pt x="55" y="0"/>
                  </a:moveTo>
                  <a:cubicBezTo>
                    <a:pt x="55" y="79"/>
                    <a:pt x="55" y="79"/>
                    <a:pt x="55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3" y="64"/>
                    <a:pt x="0" y="60"/>
                    <a:pt x="0" y="5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0"/>
                    <a:pt x="3" y="16"/>
                    <a:pt x="8" y="14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FED7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1">
              <a:extLst>
                <a:ext uri="{FF2B5EF4-FFF2-40B4-BE49-F238E27FC236}">
                  <a16:creationId xmlns:a16="http://schemas.microsoft.com/office/drawing/2014/main" id="{8AC81741-80EF-6144-A218-DADD82528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226" y="1095375"/>
              <a:ext cx="463550" cy="631825"/>
            </a:xfrm>
            <a:custGeom>
              <a:avLst/>
              <a:gdLst>
                <a:gd name="T0" fmla="*/ 41 w 41"/>
                <a:gd name="T1" fmla="*/ 0 h 56"/>
                <a:gd name="T2" fmla="*/ 41 w 41"/>
                <a:gd name="T3" fmla="*/ 56 h 56"/>
                <a:gd name="T4" fmla="*/ 35 w 41"/>
                <a:gd name="T5" fmla="*/ 56 h 56"/>
                <a:gd name="T6" fmla="*/ 35 w 41"/>
                <a:gd name="T7" fmla="*/ 56 h 56"/>
                <a:gd name="T8" fmla="*/ 6 w 41"/>
                <a:gd name="T9" fmla="*/ 46 h 56"/>
                <a:gd name="T10" fmla="*/ 0 w 41"/>
                <a:gd name="T11" fmla="*/ 39 h 56"/>
                <a:gd name="T12" fmla="*/ 0 w 41"/>
                <a:gd name="T13" fmla="*/ 18 h 56"/>
                <a:gd name="T14" fmla="*/ 6 w 41"/>
                <a:gd name="T15" fmla="*/ 10 h 56"/>
                <a:gd name="T16" fmla="*/ 35 w 41"/>
                <a:gd name="T17" fmla="*/ 0 h 56"/>
                <a:gd name="T18" fmla="*/ 41 w 41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56">
                  <a:moveTo>
                    <a:pt x="41" y="0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2" y="45"/>
                    <a:pt x="0" y="42"/>
                    <a:pt x="0" y="3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4"/>
                    <a:pt x="2" y="11"/>
                    <a:pt x="6" y="10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FFDE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62">
              <a:extLst>
                <a:ext uri="{FF2B5EF4-FFF2-40B4-BE49-F238E27FC236}">
                  <a16:creationId xmlns:a16="http://schemas.microsoft.com/office/drawing/2014/main" id="{DEACB7F9-BE98-044A-A421-8E4D058A2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9513" y="960438"/>
              <a:ext cx="192088" cy="1171575"/>
            </a:xfrm>
            <a:custGeom>
              <a:avLst/>
              <a:gdLst>
                <a:gd name="T0" fmla="*/ 0 w 17"/>
                <a:gd name="T1" fmla="*/ 95 h 104"/>
                <a:gd name="T2" fmla="*/ 0 w 17"/>
                <a:gd name="T3" fmla="*/ 8 h 104"/>
                <a:gd name="T4" fmla="*/ 9 w 17"/>
                <a:gd name="T5" fmla="*/ 0 h 104"/>
                <a:gd name="T6" fmla="*/ 9 w 17"/>
                <a:gd name="T7" fmla="*/ 0 h 104"/>
                <a:gd name="T8" fmla="*/ 17 w 17"/>
                <a:gd name="T9" fmla="*/ 8 h 104"/>
                <a:gd name="T10" fmla="*/ 17 w 17"/>
                <a:gd name="T11" fmla="*/ 95 h 104"/>
                <a:gd name="T12" fmla="*/ 9 w 17"/>
                <a:gd name="T13" fmla="*/ 104 h 104"/>
                <a:gd name="T14" fmla="*/ 9 w 17"/>
                <a:gd name="T15" fmla="*/ 104 h 104"/>
                <a:gd name="T16" fmla="*/ 0 w 17"/>
                <a:gd name="T17" fmla="*/ 9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4">
                  <a:moveTo>
                    <a:pt x="0" y="95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3" y="0"/>
                    <a:pt x="17" y="3"/>
                    <a:pt x="17" y="8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100"/>
                    <a:pt x="13" y="104"/>
                    <a:pt x="9" y="104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4" y="104"/>
                    <a:pt x="0" y="100"/>
                    <a:pt x="0" y="95"/>
                  </a:cubicBezTo>
                  <a:close/>
                </a:path>
              </a:pathLst>
            </a:custGeom>
            <a:solidFill>
              <a:srgbClr val="FC80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63">
              <a:extLst>
                <a:ext uri="{FF2B5EF4-FFF2-40B4-BE49-F238E27FC236}">
                  <a16:creationId xmlns:a16="http://schemas.microsoft.com/office/drawing/2014/main" id="{216488DE-8B39-9E46-8EC7-27B52FE8E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9513" y="960438"/>
              <a:ext cx="101600" cy="1171575"/>
            </a:xfrm>
            <a:custGeom>
              <a:avLst/>
              <a:gdLst>
                <a:gd name="T0" fmla="*/ 9 w 9"/>
                <a:gd name="T1" fmla="*/ 104 h 104"/>
                <a:gd name="T2" fmla="*/ 0 w 9"/>
                <a:gd name="T3" fmla="*/ 95 h 104"/>
                <a:gd name="T4" fmla="*/ 0 w 9"/>
                <a:gd name="T5" fmla="*/ 8 h 104"/>
                <a:gd name="T6" fmla="*/ 9 w 9"/>
                <a:gd name="T7" fmla="*/ 0 h 104"/>
                <a:gd name="T8" fmla="*/ 9 w 9"/>
                <a:gd name="T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4">
                  <a:moveTo>
                    <a:pt x="9" y="104"/>
                  </a:moveTo>
                  <a:cubicBezTo>
                    <a:pt x="4" y="104"/>
                    <a:pt x="0" y="100"/>
                    <a:pt x="0" y="9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9" y="0"/>
                  </a:cubicBezTo>
                  <a:lnTo>
                    <a:pt x="9" y="104"/>
                  </a:lnTo>
                  <a:close/>
                </a:path>
              </a:pathLst>
            </a:custGeom>
            <a:solidFill>
              <a:srgbClr val="BF52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3" name="TextBox 42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9F345D6-3B14-3344-9A91-42B94498FC70}"/>
              </a:ext>
            </a:extLst>
          </p:cNvPr>
          <p:cNvSpPr txBox="1"/>
          <p:nvPr/>
        </p:nvSpPr>
        <p:spPr>
          <a:xfrm>
            <a:off x="2098083" y="5271363"/>
            <a:ext cx="193091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1600" b="1">
                <a:ea typeface="Open Sans SemiBold" panose="020B0606030504020204" pitchFamily="34" charset="0"/>
                <a:cs typeface="Open Sans SemiBold" panose="020B0606030504020204" pitchFamily="34" charset="0"/>
              </a:rPr>
              <a:t>Keyword targeting</a:t>
            </a:r>
          </a:p>
        </p:txBody>
      </p:sp>
      <p:sp>
        <p:nvSpPr>
          <p:cNvPr id="44" name="TextBox 4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3BCA0321-4B8C-CD4F-9291-DC22653BB6FD}"/>
              </a:ext>
            </a:extLst>
          </p:cNvPr>
          <p:cNvSpPr txBox="1"/>
          <p:nvPr/>
        </p:nvSpPr>
        <p:spPr>
          <a:xfrm flipH="1">
            <a:off x="2099177" y="5588673"/>
            <a:ext cx="2083356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Lorem ipsum dolor si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" name="TextBox 4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1EC650B8-F087-DE48-A1C1-70D74D661454}"/>
              </a:ext>
            </a:extLst>
          </p:cNvPr>
          <p:cNvSpPr txBox="1"/>
          <p:nvPr/>
        </p:nvSpPr>
        <p:spPr>
          <a:xfrm>
            <a:off x="5720501" y="5271363"/>
            <a:ext cx="193091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1600" b="1">
                <a:ea typeface="Open Sans SemiBold" panose="020B0606030504020204" pitchFamily="34" charset="0"/>
                <a:cs typeface="Open Sans SemiBold" panose="020B0606030504020204" pitchFamily="34" charset="0"/>
              </a:rPr>
              <a:t>Keyword targeting</a:t>
            </a:r>
          </a:p>
        </p:txBody>
      </p:sp>
      <p:sp>
        <p:nvSpPr>
          <p:cNvPr id="46" name="TextBox 4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F279FB4A-8A3B-4F46-B660-278A49184441}"/>
              </a:ext>
            </a:extLst>
          </p:cNvPr>
          <p:cNvSpPr txBox="1"/>
          <p:nvPr/>
        </p:nvSpPr>
        <p:spPr>
          <a:xfrm flipH="1">
            <a:off x="5721595" y="5588673"/>
            <a:ext cx="2083356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Lorem ipsum dolor si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" name="TextBox 4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10E7A040-69A5-D14D-A397-A1CF2FDCDB95}"/>
              </a:ext>
            </a:extLst>
          </p:cNvPr>
          <p:cNvSpPr txBox="1"/>
          <p:nvPr/>
        </p:nvSpPr>
        <p:spPr>
          <a:xfrm>
            <a:off x="9386056" y="5271363"/>
            <a:ext cx="193091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1600" b="1">
                <a:ea typeface="Open Sans SemiBold" panose="020B0606030504020204" pitchFamily="34" charset="0"/>
                <a:cs typeface="Open Sans SemiBold" panose="020B0606030504020204" pitchFamily="34" charset="0"/>
              </a:rPr>
              <a:t>Keyword targeting</a:t>
            </a:r>
          </a:p>
        </p:txBody>
      </p:sp>
      <p:sp>
        <p:nvSpPr>
          <p:cNvPr id="48" name="TextBox 4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5BBEA45B-E8A5-E148-BD54-9C21D4EA470D}"/>
              </a:ext>
            </a:extLst>
          </p:cNvPr>
          <p:cNvSpPr txBox="1"/>
          <p:nvPr/>
        </p:nvSpPr>
        <p:spPr>
          <a:xfrm flipH="1">
            <a:off x="9387150" y="5588673"/>
            <a:ext cx="2083356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Lorem ipsum dolor sit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en-US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endParaRPr lang="en-US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" name="TextBox 4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2518F299-FB92-234E-868C-7779B477F58C}"/>
              </a:ext>
            </a:extLst>
          </p:cNvPr>
          <p:cNvSpPr txBox="1"/>
          <p:nvPr/>
        </p:nvSpPr>
        <p:spPr>
          <a:xfrm>
            <a:off x="6247465" y="3255124"/>
            <a:ext cx="417556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2800" b="1">
                <a:ea typeface="Open Sans SemiBold" panose="020B0606030504020204" pitchFamily="34" charset="0"/>
                <a:cs typeface="Open Sans SemiBold" panose="020B0606030504020204" pitchFamily="34" charset="0"/>
              </a:rPr>
              <a:t>Amazing Core Features</a:t>
            </a:r>
          </a:p>
        </p:txBody>
      </p:sp>
      <p:sp>
        <p:nvSpPr>
          <p:cNvPr id="50" name="TextBox 4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>
            <a:extLst>
              <a:ext uri="{FF2B5EF4-FFF2-40B4-BE49-F238E27FC236}">
                <a16:creationId xmlns:a16="http://schemas.microsoft.com/office/drawing/2014/main" id="{C9EBD9CB-FA9B-9443-A509-2DC4DCD7B3D8}"/>
              </a:ext>
            </a:extLst>
          </p:cNvPr>
          <p:cNvSpPr txBox="1"/>
          <p:nvPr/>
        </p:nvSpPr>
        <p:spPr>
          <a:xfrm>
            <a:off x="6247465" y="3751146"/>
            <a:ext cx="360803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vi-VN" sz="1400">
                <a:ea typeface="Open Sans" panose="020B0606030504020204" pitchFamily="34" charset="0"/>
                <a:cs typeface="Open Sans" panose="020B0606030504020204" pitchFamily="34" charset="0"/>
              </a:rPr>
              <a:t>Check your website’s SEO Score For Free</a:t>
            </a:r>
          </a:p>
        </p:txBody>
      </p:sp>
      <p:pic>
        <p:nvPicPr>
          <p:cNvPr id="5" name="图片 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1" y="-168811"/>
            <a:ext cx="5162842" cy="5162842"/>
          </a:xfrm>
          <a:prstGeom prst="rect">
            <a:avLst/>
          </a:prstGeom>
        </p:spPr>
      </p:pic>
      <p:sp>
        <p:nvSpPr>
          <p:cNvPr id="6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20834827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占位符 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9" b="7869"/>
          <a:stretch>
            <a:fillRect/>
          </a:stretch>
        </p:blipFill>
        <p:spPr/>
      </p:pic>
      <p:pic>
        <p:nvPicPr>
          <p:cNvPr id="4" name="图片 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9884" y="1183104"/>
            <a:ext cx="3862137" cy="3862137"/>
          </a:xfrm>
          <a:prstGeom prst="rect">
            <a:avLst/>
          </a:prstGeom>
        </p:spPr>
      </p:pic>
      <p:sp>
        <p:nvSpPr>
          <p:cNvPr id="17" name="Rounded Rectangle 16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3380014" y="3023599"/>
            <a:ext cx="7933865" cy="2822029"/>
          </a:xfrm>
          <a:prstGeom prst="roundRect">
            <a:avLst>
              <a:gd name="adj" fmla="val 8096"/>
            </a:avLst>
          </a:prstGeom>
          <a:gradFill>
            <a:gsLst>
              <a:gs pos="0">
                <a:schemeClr val="accent2">
                  <a:alpha val="69000"/>
                </a:schemeClr>
              </a:gs>
              <a:gs pos="100000">
                <a:schemeClr val="accent1">
                  <a:alpha val="70000"/>
                </a:schemeClr>
              </a:gs>
            </a:gsLst>
            <a:lin ang="2700000" scaled="0"/>
          </a:gradFill>
          <a:ln>
            <a:noFill/>
          </a:ln>
          <a:effectLst>
            <a:outerShdw blurRad="4699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extBox 1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650875" y="4434613"/>
            <a:ext cx="2067874" cy="9848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200" b="1">
                <a:solidFill>
                  <a:schemeClr val="bg1"/>
                </a:solidFill>
                <a:latin typeface="Open Sans SemiBold" charset="0"/>
                <a:ea typeface="Open Sans SemiBold" charset="0"/>
                <a:cs typeface="Open Sans SemiBold" charset="0"/>
              </a:rPr>
              <a:t>ABOUT</a:t>
            </a:r>
          </a:p>
          <a:p>
            <a:r>
              <a:rPr lang="en-US" sz="3200" b="1" dirty="0">
                <a:solidFill>
                  <a:schemeClr val="bg1"/>
                </a:solidFill>
                <a:latin typeface="Open Sans SemiBold" charset="0"/>
                <a:ea typeface="Open Sans SemiBold" charset="0"/>
                <a:cs typeface="Open Sans SemiBold" charset="0"/>
              </a:rPr>
              <a:t>COMPANY</a:t>
            </a:r>
          </a:p>
        </p:txBody>
      </p:sp>
      <p:sp>
        <p:nvSpPr>
          <p:cNvPr id="21" name="Oval 2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2615525" y="2280023"/>
            <a:ext cx="1528978" cy="1528978"/>
          </a:xfrm>
          <a:prstGeom prst="ellipse">
            <a:avLst/>
          </a:prstGeom>
          <a:gradFill>
            <a:gsLst>
              <a:gs pos="0">
                <a:schemeClr val="accent2">
                  <a:alpha val="57000"/>
                </a:schemeClr>
              </a:gs>
              <a:gs pos="100000">
                <a:schemeClr val="accent1">
                  <a:alpha val="53000"/>
                </a:schemeClr>
              </a:gs>
            </a:gsLst>
            <a:lin ang="2700000" scaled="0"/>
          </a:gradFill>
          <a:ln>
            <a:noFill/>
          </a:ln>
          <a:effectLst>
            <a:outerShdw blurRad="50800" dist="76200" dir="2700000" algn="tl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Oval 19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2773696" y="2431277"/>
            <a:ext cx="1212636" cy="1212633"/>
          </a:xfrm>
          <a:prstGeom prst="ellipse">
            <a:avLst/>
          </a:prstGeom>
          <a:gradFill>
            <a:gsLst>
              <a:gs pos="0">
                <a:schemeClr val="accent2">
                  <a:alpha val="49000"/>
                </a:schemeClr>
              </a:gs>
              <a:gs pos="100000">
                <a:schemeClr val="accent1">
                  <a:alpha val="66000"/>
                </a:schemeClr>
              </a:gs>
            </a:gsLst>
            <a:lin ang="2700000" scaled="0"/>
          </a:gradFill>
          <a:ln>
            <a:noFill/>
          </a:ln>
          <a:effectLst>
            <a:outerShdw blurRad="50800" dist="76200" dir="27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Oval 18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/>
          <p:nvPr/>
        </p:nvSpPr>
        <p:spPr>
          <a:xfrm>
            <a:off x="2925390" y="2582969"/>
            <a:ext cx="909245" cy="909245"/>
          </a:xfrm>
          <a:prstGeom prst="ellipse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  <a:effectLst>
            <a:outerShdw blurRad="50800" dist="762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TextBox 23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3085060" y="2900412"/>
            <a:ext cx="5899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rPr>
              <a:t>2021</a:t>
            </a:r>
          </a:p>
        </p:txBody>
      </p:sp>
      <p:sp>
        <p:nvSpPr>
          <p:cNvPr id="25" name="TextBox 2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650875" y="5477847"/>
            <a:ext cx="220073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>
                <a:latin typeface="Open Sans" charset="0"/>
                <a:ea typeface="Open Sans" charset="0"/>
                <a:cs typeface="Open Sans" charset="0"/>
              </a:rPr>
              <a:t>Amazing Core Features</a:t>
            </a:r>
          </a:p>
        </p:txBody>
      </p:sp>
      <p:sp>
        <p:nvSpPr>
          <p:cNvPr id="26" name="TextBox 25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>
            <a:off x="5836116" y="3429000"/>
            <a:ext cx="302166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Open Sans SemiBold" charset="0"/>
                <a:ea typeface="Open Sans SemiBold" charset="0"/>
                <a:cs typeface="Open Sans SemiBold" charset="0"/>
              </a:rPr>
              <a:t>Responsive &amp; Retina</a:t>
            </a:r>
          </a:p>
        </p:txBody>
      </p:sp>
      <p:cxnSp>
        <p:nvCxnSpPr>
          <p:cNvPr id="28" name="Straight Connector 27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CxnSpPr/>
          <p:nvPr/>
        </p:nvCxnSpPr>
        <p:spPr>
          <a:xfrm>
            <a:off x="3380012" y="4677006"/>
            <a:ext cx="7933867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GrpSpPr/>
          <p:nvPr/>
        </p:nvGrpSpPr>
        <p:grpSpPr>
          <a:xfrm>
            <a:off x="4136674" y="4809636"/>
            <a:ext cx="6420544" cy="754487"/>
            <a:chOff x="4047708" y="4809636"/>
            <a:chExt cx="6420544" cy="754487"/>
          </a:xfrm>
        </p:grpSpPr>
        <p:sp>
          <p:nvSpPr>
            <p:cNvPr id="33" name="TextBox 32"/>
            <p:cNvSpPr txBox="1"/>
            <p:nvPr/>
          </p:nvSpPr>
          <p:spPr>
            <a:xfrm>
              <a:off x="6947583" y="4809636"/>
              <a:ext cx="78867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3600" b="1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699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6575404" y="5379457"/>
              <a:ext cx="153303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Unlimited Options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475191" y="4809636"/>
              <a:ext cx="678071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3600" b="1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6%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047708" y="5379457"/>
              <a:ext cx="153303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Ready To Launch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9397326" y="4809636"/>
              <a:ext cx="990656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3600" b="1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15</a:t>
              </a:r>
              <a:r>
                <a:rPr lang="zh-CN" altLang="en-US" sz="3600" b="1" dirty="0">
                  <a:solidFill>
                    <a:schemeClr val="bg1"/>
                  </a:solidFill>
                  <a:latin typeface="Open Sans" charset="0"/>
                  <a:ea typeface="Open Sans" charset="0"/>
                  <a:cs typeface="Open Sans" charset="0"/>
                </a:rPr>
                <a:t>￥</a:t>
              </a:r>
              <a:endParaRPr lang="en-US" sz="3600" b="1" dirty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9317054" y="5379457"/>
              <a:ext cx="115119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Latest Projects</a:t>
              </a:r>
            </a:p>
          </p:txBody>
        </p:sp>
      </p:grpSp>
      <p:sp>
        <p:nvSpPr>
          <p:cNvPr id="42" name="TextBox 41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SpPr txBox="1"/>
          <p:nvPr/>
        </p:nvSpPr>
        <p:spPr>
          <a:xfrm flipH="1">
            <a:off x="3883235" y="3937576"/>
            <a:ext cx="6927422" cy="674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5000"/>
              </a:lnSpc>
            </a:pPr>
            <a:r>
              <a:rPr lang="en-US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y, hey, hey! It's Fat Company! Now I'm </a:t>
            </a:r>
            <a:r>
              <a:rPr lang="en-US" sz="12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nna</a:t>
            </a:r>
            <a:r>
              <a:rPr lang="en-US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ing a song for you, and this is </a:t>
            </a:r>
            <a:r>
              <a:rPr lang="en-US" sz="12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nna</a:t>
            </a:r>
            <a:r>
              <a:rPr lang="en-US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how you a thing or two. You'll have some fun now With me and the gang, learning from each other While we do our thing.</a:t>
            </a:r>
          </a:p>
        </p:txBody>
      </p:sp>
      <p:pic>
        <p:nvPicPr>
          <p:cNvPr id="5" name="图片 4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3189" y="-2598821"/>
            <a:ext cx="6858000" cy="6858000"/>
          </a:xfrm>
          <a:prstGeom prst="rect">
            <a:avLst/>
          </a:prstGeom>
        </p:spPr>
      </p:pic>
      <p:sp>
        <p:nvSpPr>
          <p:cNvPr id="6" name="e7d195523061f1c0" descr="e7d195523061f1c03a90ee8e42cb24248e56383cd534985688F9F494128731F165EE95AB4B0C0A38076AAEA07667B1565C446FC45FF01DFB0E885BCDBDF3A284F3DB14DA61DD97F0BAB2E6C668FB493178367F3B319CA52CAB5B9BD55595343D8C21578E7A0F63DFED0E2DCB453DED60E7028F237F07B43FD2173614ED32F179AE7985634772C491" hidden="1"/>
          <p:cNvSpPr txBox="1"/>
          <p:nvPr/>
        </p:nvSpPr>
        <p:spPr>
          <a:xfrm>
            <a:off x="-355600" y="1803400"/>
            <a:ext cx="303160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3a90ee8e42cb24248e56383cd534985688F9F494128731F165EE95AB4B0C0A38076AAEA07667B1565C446FC45FF01DFB0E885BCDBDF3A284F3DB14DA61DD97F0BAB2E6C668FB493178367F3B319CA52CAB5B9BD55595343D8C21578E7A0F63DFED0E2DCB453DED60E7028F237F07B43FD2173614ED32F179AE7985634772C491</a:t>
            </a:r>
            <a:endParaRPr lang="zh-CN" altLang="en-US" sz="100"/>
          </a:p>
        </p:txBody>
      </p:sp>
    </p:spTree>
    <p:extLst>
      <p:ext uri="{BB962C8B-B14F-4D97-AF65-F5344CB8AC3E}">
        <p14:creationId xmlns:p14="http://schemas.microsoft.com/office/powerpoint/2010/main" val="4936360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heme/theme1.xml><?xml version="1.0" encoding="utf-8"?>
<a:theme xmlns:a="http://schemas.openxmlformats.org/drawingml/2006/main" name="Office 主题​​">
  <a:themeElements>
    <a:clrScheme name="深色--绚丽 黑伽罗">
      <a:dk1>
        <a:srgbClr val="000064"/>
      </a:dk1>
      <a:lt1>
        <a:srgbClr val="FFFFFF"/>
      </a:lt1>
      <a:dk2>
        <a:srgbClr val="000064"/>
      </a:dk2>
      <a:lt2>
        <a:srgbClr val="FFFFFF"/>
      </a:lt2>
      <a:accent1>
        <a:srgbClr val="4B39EF"/>
      </a:accent1>
      <a:accent2>
        <a:srgbClr val="FFCC70"/>
      </a:accent2>
      <a:accent3>
        <a:srgbClr val="E75CDE"/>
      </a:accent3>
      <a:accent4>
        <a:srgbClr val="6F60F2"/>
      </a:accent4>
      <a:accent5>
        <a:srgbClr val="FFD68C"/>
      </a:accent5>
      <a:accent6>
        <a:srgbClr val="EB7CE4"/>
      </a:accent6>
      <a:hlink>
        <a:srgbClr val="0563C1"/>
      </a:hlink>
      <a:folHlink>
        <a:srgbClr val="954F72"/>
      </a:folHlink>
    </a:clrScheme>
    <a:fontScheme name="自定义 1">
      <a:majorFont>
        <a:latin typeface="Poppins SemiBold"/>
        <a:ea typeface="Poppins SemiBold"/>
        <a:cs typeface=""/>
      </a:majorFont>
      <a:minorFont>
        <a:latin typeface="Poppins "/>
        <a:ea typeface="Poppins 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65BADA"/>
      </a:accent1>
      <a:accent2>
        <a:srgbClr val="343399"/>
      </a:accent2>
      <a:accent3>
        <a:srgbClr val="BB7FB5"/>
      </a:accent3>
      <a:accent4>
        <a:srgbClr val="6353A0"/>
      </a:accent4>
      <a:accent5>
        <a:srgbClr val="16D7F7"/>
      </a:accent5>
      <a:accent6>
        <a:srgbClr val="A960FB"/>
      </a:accent6>
      <a:hlink>
        <a:srgbClr val="4472C4"/>
      </a:hlink>
      <a:folHlink>
        <a:srgbClr val="BFBFBF"/>
      </a:folHlink>
    </a:clrScheme>
    <a:fontScheme name="自定义 6">
      <a:majorFont>
        <a:latin typeface="Miriam"/>
        <a:ea typeface="思源黑体 CN Regular"/>
        <a:cs typeface=""/>
      </a:majorFont>
      <a:minorFont>
        <a:latin typeface="思源黑体 CN Regular"/>
        <a:ea typeface="思源黑体 CN Norm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主题">
  <a:themeElements>
    <a:clrScheme name="Office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65BADA"/>
      </a:accent1>
      <a:accent2>
        <a:srgbClr val="343399"/>
      </a:accent2>
      <a:accent3>
        <a:srgbClr val="BB7FB5"/>
      </a:accent3>
      <a:accent4>
        <a:srgbClr val="6353A0"/>
      </a:accent4>
      <a:accent5>
        <a:srgbClr val="16D7F7"/>
      </a:accent5>
      <a:accent6>
        <a:srgbClr val="A960FB"/>
      </a:accent6>
      <a:hlink>
        <a:srgbClr val="4472C4"/>
      </a:hlink>
      <a:folHlink>
        <a:srgbClr val="BFBFBF"/>
      </a:folHlink>
    </a:clrScheme>
    <a:fontScheme name="自定义 6">
      <a:majorFont>
        <a:latin typeface="Miriam"/>
        <a:ea typeface="思源黑体 CN Regular"/>
        <a:cs typeface=""/>
      </a:majorFont>
      <a:minorFont>
        <a:latin typeface="思源黑体 CN Regular"/>
        <a:ea typeface="思源黑体 CN Norm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4"/>
    </a:dk2>
    <a:lt2>
      <a:srgbClr val="F0F0F0"/>
    </a:lt2>
    <a:accent1>
      <a:srgbClr val="65BADA"/>
    </a:accent1>
    <a:accent2>
      <a:srgbClr val="343399"/>
    </a:accent2>
    <a:accent3>
      <a:srgbClr val="BB7FB5"/>
    </a:accent3>
    <a:accent4>
      <a:srgbClr val="6353A0"/>
    </a:accent4>
    <a:accent5>
      <a:srgbClr val="16D7F7"/>
    </a:accent5>
    <a:accent6>
      <a:srgbClr val="A960FB"/>
    </a:accent6>
    <a:hlink>
      <a:srgbClr val="4472C4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e7d195523061f1c0 xmlns="http://e7d195523061f1c0/custom/data/def">
  <_7b1dac89e7d195523061f1c0316ecb71 xmlns="">e7d195523061f1c03a90ee8e42cb24248e56383cd534985688F9F494128731F165EE95AB4B0C0A38076AAEA07667B1565C446FC45FF01DFB0E885BCDBDF3A284F3DB14DA61DD97F0BAB2E6C668FB493184BEA2B79408FB094EB53969616FE837C4DDA931FB4B50B287CB9E976CD8A286A6B09202195C1175A3DD2481D60CC400D4B189D647C28541</_7b1dac89e7d195523061f1c0316ecb71>
</e7d195523061f1c0>
</file>

<file path=customXml/itemProps1.xml><?xml version="1.0" encoding="utf-8"?>
<ds:datastoreItem xmlns:ds="http://schemas.openxmlformats.org/officeDocument/2006/customXml" ds:itemID="{7C263262-67F8-4865-A302-BFAACCB76B53}">
  <ds:schemaRefs>
    <ds:schemaRef ds:uri="http://e7d195523061f1c0/custom/data/def"/>
    <ds:schemaRef ds:uri="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9</TotalTime>
  <Words>4111</Words>
  <Application>Microsoft Office PowerPoint</Application>
  <PresentationFormat>宽屏</PresentationFormat>
  <Paragraphs>740</Paragraphs>
  <Slides>43</Slides>
  <Notes>31</Notes>
  <HiddenSlides>0</HiddenSlides>
  <MMClips>0</MMClips>
  <ScaleCrop>false</ScaleCrop>
  <HeadingPairs>
    <vt:vector size="6" baseType="variant">
      <vt:variant>
        <vt:lpstr>已用的字体</vt:lpstr>
      </vt:variant>
      <vt:variant>
        <vt:i4>25</vt:i4>
      </vt:variant>
      <vt:variant>
        <vt:lpstr>主题</vt:lpstr>
      </vt:variant>
      <vt:variant>
        <vt:i4>3</vt:i4>
      </vt:variant>
      <vt:variant>
        <vt:lpstr>幻灯片标题</vt:lpstr>
      </vt:variant>
      <vt:variant>
        <vt:i4>43</vt:i4>
      </vt:variant>
    </vt:vector>
  </HeadingPairs>
  <TitlesOfParts>
    <vt:vector size="71" baseType="lpstr">
      <vt:lpstr>Helvetica</vt:lpstr>
      <vt:lpstr>Roboto</vt:lpstr>
      <vt:lpstr>Montserrat</vt:lpstr>
      <vt:lpstr>华文细黑</vt:lpstr>
      <vt:lpstr>Open Sans BOLD</vt:lpstr>
      <vt:lpstr>思源黑体</vt:lpstr>
      <vt:lpstr>Calibri</vt:lpstr>
      <vt:lpstr>Open Sans</vt:lpstr>
      <vt:lpstr>Arial</vt:lpstr>
      <vt:lpstr>Open Sans Semibold</vt:lpstr>
      <vt:lpstr>Gill Sans</vt:lpstr>
      <vt:lpstr>Open Sans Semibold</vt:lpstr>
      <vt:lpstr>Chaparral Pro Light</vt:lpstr>
      <vt:lpstr>Source Han Sans CN</vt:lpstr>
      <vt:lpstr>Poppins SemiBold</vt:lpstr>
      <vt:lpstr>等线</vt:lpstr>
      <vt:lpstr>Poppins </vt:lpstr>
      <vt:lpstr>Nexa Light</vt:lpstr>
      <vt:lpstr>微软雅黑</vt:lpstr>
      <vt:lpstr>Miriam</vt:lpstr>
      <vt:lpstr>Advent Pro</vt:lpstr>
      <vt:lpstr>思源黑体 CN Normal</vt:lpstr>
      <vt:lpstr>思源黑体 CN Regular</vt:lpstr>
      <vt:lpstr>Open Sans Light</vt:lpstr>
      <vt:lpstr>微软雅黑 Light</vt:lpstr>
      <vt:lpstr>Office 主题​​</vt:lpstr>
      <vt:lpstr>Office 主题</vt:lpstr>
      <vt:lpstr>1_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Agenda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©PPTSTO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©PPTSTORE</dc:creator>
  <dc:description>©PPTSTORE 版权所有</dc:description>
  <cp:lastModifiedBy>刘 德昊</cp:lastModifiedBy>
  <cp:revision>21</cp:revision>
  <dcterms:created xsi:type="dcterms:W3CDTF">2022-01-18T04:35:07Z</dcterms:created>
  <dcterms:modified xsi:type="dcterms:W3CDTF">2023-05-19T02:43:58Z</dcterms:modified>
</cp:coreProperties>
</file>